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79"/>
  </p:notesMasterIdLst>
  <p:sldIdLst>
    <p:sldId id="256" r:id="rId2"/>
    <p:sldId id="320" r:id="rId3"/>
    <p:sldId id="271" r:id="rId4"/>
    <p:sldId id="280" r:id="rId5"/>
    <p:sldId id="281" r:id="rId6"/>
    <p:sldId id="282" r:id="rId7"/>
    <p:sldId id="283" r:id="rId8"/>
    <p:sldId id="284" r:id="rId9"/>
    <p:sldId id="285" r:id="rId10"/>
    <p:sldId id="286" r:id="rId11"/>
    <p:sldId id="287" r:id="rId12"/>
    <p:sldId id="289" r:id="rId13"/>
    <p:sldId id="290" r:id="rId14"/>
    <p:sldId id="291" r:id="rId15"/>
    <p:sldId id="318" r:id="rId16"/>
    <p:sldId id="319" r:id="rId17"/>
    <p:sldId id="292" r:id="rId18"/>
    <p:sldId id="293" r:id="rId19"/>
    <p:sldId id="294" r:id="rId20"/>
    <p:sldId id="295" r:id="rId21"/>
    <p:sldId id="296" r:id="rId22"/>
    <p:sldId id="297" r:id="rId23"/>
    <p:sldId id="302" r:id="rId24"/>
    <p:sldId id="303" r:id="rId25"/>
    <p:sldId id="304" r:id="rId26"/>
    <p:sldId id="305" r:id="rId27"/>
    <p:sldId id="306" r:id="rId28"/>
    <p:sldId id="307" r:id="rId29"/>
    <p:sldId id="348" r:id="rId30"/>
    <p:sldId id="309" r:id="rId31"/>
    <p:sldId id="310" r:id="rId32"/>
    <p:sldId id="311" r:id="rId33"/>
    <p:sldId id="312" r:id="rId34"/>
    <p:sldId id="313" r:id="rId35"/>
    <p:sldId id="327" r:id="rId36"/>
    <p:sldId id="349" r:id="rId37"/>
    <p:sldId id="322" r:id="rId38"/>
    <p:sldId id="323" r:id="rId39"/>
    <p:sldId id="324" r:id="rId40"/>
    <p:sldId id="325" r:id="rId41"/>
    <p:sldId id="326" r:id="rId42"/>
    <p:sldId id="342" r:id="rId43"/>
    <p:sldId id="329" r:id="rId44"/>
    <p:sldId id="330" r:id="rId45"/>
    <p:sldId id="331" r:id="rId46"/>
    <p:sldId id="332" r:id="rId47"/>
    <p:sldId id="333" r:id="rId48"/>
    <p:sldId id="334" r:id="rId49"/>
    <p:sldId id="335" r:id="rId50"/>
    <p:sldId id="336" r:id="rId51"/>
    <p:sldId id="337" r:id="rId52"/>
    <p:sldId id="338" r:id="rId53"/>
    <p:sldId id="343" r:id="rId54"/>
    <p:sldId id="350" r:id="rId55"/>
    <p:sldId id="351" r:id="rId56"/>
    <p:sldId id="341" r:id="rId57"/>
    <p:sldId id="344" r:id="rId58"/>
    <p:sldId id="345" r:id="rId59"/>
    <p:sldId id="346" r:id="rId60"/>
    <p:sldId id="347" r:id="rId61"/>
    <p:sldId id="354" r:id="rId62"/>
    <p:sldId id="355" r:id="rId63"/>
    <p:sldId id="352" r:id="rId64"/>
    <p:sldId id="353" r:id="rId65"/>
    <p:sldId id="258" r:id="rId66"/>
    <p:sldId id="261" r:id="rId67"/>
    <p:sldId id="267" r:id="rId68"/>
    <p:sldId id="273" r:id="rId69"/>
    <p:sldId id="275" r:id="rId70"/>
    <p:sldId id="272" r:id="rId71"/>
    <p:sldId id="259" r:id="rId72"/>
    <p:sldId id="260" r:id="rId73"/>
    <p:sldId id="262" r:id="rId74"/>
    <p:sldId id="264" r:id="rId75"/>
    <p:sldId id="266" r:id="rId76"/>
    <p:sldId id="265" r:id="rId77"/>
    <p:sldId id="269" r:id="rId78"/>
  </p:sldIdLst>
  <p:sldSz cx="12192000" cy="6858000"/>
  <p:notesSz cx="6858000" cy="9144000"/>
  <p:embeddedFontLst>
    <p:embeddedFont>
      <p:font typeface="Segoe UI Semibold" panose="020B0702040204020203" pitchFamily="34" charset="0"/>
      <p:bold r:id="rId80"/>
      <p:boldItalic r:id="rId81"/>
    </p:embeddedFont>
    <p:embeddedFont>
      <p:font typeface="Segoe UI Black" panose="020B0A02040204020203" pitchFamily="34" charset="0"/>
      <p:bold r:id="rId82"/>
      <p:boldItalic r:id="rId83"/>
    </p:embeddedFont>
    <p:embeddedFont>
      <p:font typeface="Segoe Light" panose="020B0604020202020204" charset="0"/>
      <p:regular r:id="rId84"/>
      <p:italic r:id="rId85"/>
    </p:embeddedFont>
    <p:embeddedFont>
      <p:font typeface="Calibri" panose="020F0502020204030204" pitchFamily="34" charset="0"/>
      <p:regular r:id="rId86"/>
      <p:bold r:id="rId87"/>
      <p:italic r:id="rId88"/>
      <p:boldItalic r:id="rId89"/>
    </p:embeddedFont>
    <p:embeddedFont>
      <p:font typeface="Segoe UI Light" panose="020B0502040204020203" pitchFamily="34" charset="0"/>
      <p:regular r:id="rId90"/>
      <p:italic r:id="rId91"/>
    </p:embeddedFont>
    <p:embeddedFont>
      <p:font typeface="Segoe UI" panose="020B0502040204020203" pitchFamily="34" charset="0"/>
      <p:regular r:id="rId92"/>
      <p:bold r:id="rId93"/>
      <p:italic r:id="rId94"/>
      <p:boldItalic r:id="rId95"/>
    </p:embeddedFont>
    <p:embeddedFont>
      <p:font typeface="Cooper Black" panose="0208090404030B020404" pitchFamily="18" charset="0"/>
      <p:regular r:id="rId9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313B"/>
    <a:srgbClr val="E3EFF6"/>
    <a:srgbClr val="9E0000"/>
    <a:srgbClr val="C80000"/>
    <a:srgbClr val="42463F"/>
    <a:srgbClr val="0095FC"/>
    <a:srgbClr val="CE000F"/>
    <a:srgbClr val="0397FF"/>
    <a:srgbClr val="30AAFF"/>
    <a:srgbClr val="1F1D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6" autoAdjust="0"/>
    <p:restoredTop sz="94660"/>
  </p:normalViewPr>
  <p:slideViewPr>
    <p:cSldViewPr snapToGrid="0">
      <p:cViewPr varScale="1">
        <p:scale>
          <a:sx n="57" d="100"/>
          <a:sy n="57" d="100"/>
        </p:scale>
        <p:origin x="62" y="758"/>
      </p:cViewPr>
      <p:guideLst/>
    </p:cSldViewPr>
  </p:slideViewPr>
  <p:notesTextViewPr>
    <p:cViewPr>
      <p:scale>
        <a:sx n="1" d="1"/>
        <a:sy n="1" d="1"/>
      </p:scale>
      <p:origin x="0" y="0"/>
    </p:cViewPr>
  </p:notesTextViewPr>
  <p:notesViewPr>
    <p:cSldViewPr snapToGrid="0">
      <p:cViewPr varScale="1">
        <p:scale>
          <a:sx n="76" d="100"/>
          <a:sy n="76" d="100"/>
        </p:scale>
        <p:origin x="2237"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font" Target="fonts/font5.fntdata"/><Relationship Id="rId89" Type="http://schemas.openxmlformats.org/officeDocument/2006/relationships/font" Target="fonts/font10.fntdata"/><Relationship Id="rId9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13.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notesMaster" Target="notesMasters/notesMaster1.xml"/><Relationship Id="rId87" Type="http://schemas.openxmlformats.org/officeDocument/2006/relationships/font" Target="fonts/font8.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font" Target="fonts/font3.fntdata"/><Relationship Id="rId90" Type="http://schemas.openxmlformats.org/officeDocument/2006/relationships/font" Target="fonts/font11.fntdata"/><Relationship Id="rId95" Type="http://schemas.openxmlformats.org/officeDocument/2006/relationships/font" Target="fonts/font16.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font" Target="fonts/font1.fntdata"/><Relationship Id="rId85" Type="http://schemas.openxmlformats.org/officeDocument/2006/relationships/font" Target="fonts/font6.fntdata"/><Relationship Id="rId93" Type="http://schemas.openxmlformats.org/officeDocument/2006/relationships/font" Target="fonts/font14.fntdata"/><Relationship Id="rId98"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font" Target="fonts/font4.fntdata"/><Relationship Id="rId88" Type="http://schemas.openxmlformats.org/officeDocument/2006/relationships/font" Target="fonts/font9.fntdata"/><Relationship Id="rId91" Type="http://schemas.openxmlformats.org/officeDocument/2006/relationships/font" Target="fonts/font12.fntdata"/><Relationship Id="rId96" Type="http://schemas.openxmlformats.org/officeDocument/2006/relationships/font" Target="fonts/font17.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font" Target="fonts/font2.fntdata"/><Relationship Id="rId86" Type="http://schemas.openxmlformats.org/officeDocument/2006/relationships/font" Target="fonts/font7.fntdata"/><Relationship Id="rId94" Type="http://schemas.openxmlformats.org/officeDocument/2006/relationships/font" Target="fonts/font15.fntdata"/><Relationship Id="rId9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76B931-7CA1-4E2B-867F-C48D141D006F}" type="datetimeFigureOut">
              <a:rPr lang="en-US" smtClean="0"/>
              <a:t>6/4/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776903-7B5C-41CD-93A8-95FBBECC11E1}" type="slidenum">
              <a:rPr lang="en-US" smtClean="0"/>
              <a:t>‹#›</a:t>
            </a:fld>
            <a:endParaRPr lang="en-US"/>
          </a:p>
        </p:txBody>
      </p:sp>
    </p:spTree>
    <p:extLst>
      <p:ext uri="{BB962C8B-B14F-4D97-AF65-F5344CB8AC3E}">
        <p14:creationId xmlns:p14="http://schemas.microsoft.com/office/powerpoint/2010/main" val="4028118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ore’s Law (amount of computing power / </a:t>
            </a:r>
            <a:r>
              <a:rPr lang="en-US" dirty="0" err="1" smtClean="0"/>
              <a:t>sq</a:t>
            </a:r>
            <a:r>
              <a:rPr lang="en-US" dirty="0" smtClean="0"/>
              <a:t> in.)</a:t>
            </a:r>
          </a:p>
          <a:p>
            <a:r>
              <a:rPr lang="en-US" dirty="0" smtClean="0"/>
              <a:t>Low Bandwidth / Low Power Wireless Networking</a:t>
            </a:r>
          </a:p>
          <a:p>
            <a:r>
              <a:rPr lang="en-US" dirty="0" smtClean="0"/>
              <a:t>Lower Power CPUs (Intel, ARM)</a:t>
            </a:r>
          </a:p>
          <a:p>
            <a:r>
              <a:rPr lang="en-US" dirty="0" smtClean="0"/>
              <a:t>Cloud Computing</a:t>
            </a:r>
          </a:p>
          <a:p>
            <a:r>
              <a:rPr lang="en-US" dirty="0" smtClean="0"/>
              <a:t>Cloud Data Storage</a:t>
            </a:r>
          </a:p>
          <a:p>
            <a:r>
              <a:rPr lang="en-US" dirty="0" smtClean="0"/>
              <a:t>Big Data – </a:t>
            </a:r>
            <a:r>
              <a:rPr lang="en-US" dirty="0" err="1" smtClean="0"/>
              <a:t>Hadoop</a:t>
            </a:r>
            <a:endParaRPr lang="en-US" dirty="0" smtClean="0"/>
          </a:p>
          <a:p>
            <a:r>
              <a:rPr lang="en-US" dirty="0" smtClean="0"/>
              <a:t>Convenient prototyping (</a:t>
            </a:r>
            <a:r>
              <a:rPr lang="en-US" dirty="0" err="1" smtClean="0"/>
              <a:t>Arduino</a:t>
            </a:r>
            <a:r>
              <a:rPr lang="en-US" dirty="0" smtClean="0"/>
              <a:t>, </a:t>
            </a:r>
            <a:r>
              <a:rPr lang="en-US" dirty="0" err="1" smtClean="0"/>
              <a:t>Netduino</a:t>
            </a:r>
            <a:r>
              <a:rPr lang="en-US" dirty="0" smtClean="0"/>
              <a:t>, 3D Printing)</a:t>
            </a:r>
          </a:p>
          <a:p>
            <a:r>
              <a:rPr lang="en-US" dirty="0" smtClean="0"/>
              <a:t>Standards (MQTT / OMA-DM)</a:t>
            </a:r>
          </a:p>
          <a:p>
            <a:r>
              <a:rPr lang="en-US" dirty="0" smtClean="0"/>
              <a:t>Toolsets (m2m.eclipse.org) </a:t>
            </a:r>
          </a:p>
          <a:p>
            <a:endParaRPr lang="en-US" dirty="0"/>
          </a:p>
        </p:txBody>
      </p:sp>
      <p:sp>
        <p:nvSpPr>
          <p:cNvPr id="4" name="Slide Number Placeholder 3"/>
          <p:cNvSpPr>
            <a:spLocks noGrp="1"/>
          </p:cNvSpPr>
          <p:nvPr>
            <p:ph type="sldNum" sz="quarter" idx="10"/>
          </p:nvPr>
        </p:nvSpPr>
        <p:spPr/>
        <p:txBody>
          <a:bodyPr/>
          <a:lstStyle/>
          <a:p>
            <a:fld id="{F0E8E58F-8741-4CDE-8739-BF64D033B68C}" type="slidenum">
              <a:rPr lang="en-US" smtClean="0"/>
              <a:t>12</a:t>
            </a:fld>
            <a:endParaRPr lang="en-US"/>
          </a:p>
        </p:txBody>
      </p:sp>
    </p:spTree>
    <p:extLst>
      <p:ext uri="{BB962C8B-B14F-4D97-AF65-F5344CB8AC3E}">
        <p14:creationId xmlns:p14="http://schemas.microsoft.com/office/powerpoint/2010/main" val="2741671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Let’s talk about Windows a bit here, because Windows</a:t>
            </a:r>
            <a:r>
              <a:rPr lang="en-US" baseline="0" dirty="0" smtClean="0"/>
              <a:t> is one of our main IoT client platforms.</a:t>
            </a:r>
          </a:p>
          <a:p>
            <a:pPr defTabSz="924916">
              <a:defRPr/>
            </a:pPr>
            <a:endParaRPr lang="en-US" baseline="0" dirty="0" smtClean="0"/>
          </a:p>
          <a:p>
            <a:pPr defTabSz="924916">
              <a:defRPr/>
            </a:pPr>
            <a:r>
              <a:rPr lang="en-US" baseline="0" dirty="0" smtClean="0"/>
              <a:t>We also have things like Band, and of course, the .NET Micro framework, but we’re going big on IoT with Windows 10.</a:t>
            </a:r>
          </a:p>
          <a:p>
            <a:pPr defTabSz="924916">
              <a:defRPr/>
            </a:pPr>
            <a:endParaRPr lang="en-US" baseline="0" dirty="0" smtClean="0"/>
          </a:p>
          <a:p>
            <a:pPr defTabSz="924916">
              <a:defRPr/>
            </a:pPr>
            <a:r>
              <a:rPr lang="en-US" baseline="0" dirty="0" smtClean="0"/>
              <a:t>Windows 10 is the convergence of all of our operating system development, including IoT and desktop. </a:t>
            </a:r>
          </a:p>
          <a:p>
            <a:pPr defTabSz="924916">
              <a:defRPr/>
            </a:pPr>
            <a:endParaRPr lang="en-US" baseline="0" dirty="0" smtClean="0"/>
          </a:p>
          <a:p>
            <a:pPr marL="0" marR="0" indent="0" algn="l" defTabSz="924916" rtl="0" eaLnBrk="1" fontAlgn="auto" latinLnBrk="0" hangingPunct="1">
              <a:lnSpc>
                <a:spcPct val="100000"/>
              </a:lnSpc>
              <a:spcBef>
                <a:spcPts val="0"/>
              </a:spcBef>
              <a:spcAft>
                <a:spcPts val="0"/>
              </a:spcAft>
              <a:buClrTx/>
              <a:buSzTx/>
              <a:buFontTx/>
              <a:buNone/>
              <a:tabLst/>
              <a:defRPr/>
            </a:pPr>
            <a:r>
              <a:rPr lang="en-US" dirty="0" smtClean="0"/>
              <a:t>It’s the best of everything we’ve had to offer to date. It’s something we believe in so much that we’ve made Windows 10 a free upgrade</a:t>
            </a:r>
            <a:r>
              <a:rPr lang="en-US" baseline="0" dirty="0" smtClean="0"/>
              <a:t> from Windows 7, 8, and 8.1 as long as the upgrade happens during the first year after Windows 10 releases.</a:t>
            </a:r>
            <a:endParaRPr lang="en-US" dirty="0" smtClean="0"/>
          </a:p>
          <a:p>
            <a:pPr defTabSz="924916">
              <a:defRPr/>
            </a:pP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1039588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Windows 10 supports a full range of devices</a:t>
            </a:r>
            <a:r>
              <a:rPr lang="en-US" baseline="0" dirty="0" smtClean="0"/>
              <a:t> from phones to tablets to laptops, </a:t>
            </a:r>
            <a:r>
              <a:rPr lang="en-US" baseline="0" dirty="0" err="1" smtClean="0"/>
              <a:t>hololens</a:t>
            </a:r>
            <a:r>
              <a:rPr lang="en-US" baseline="0" dirty="0" smtClean="0"/>
              <a:t>, Xbox and tiny IoT and maker devices like the Raspberry Pi 2</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894179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miliar experience, but tuned for each</a:t>
            </a:r>
            <a:r>
              <a:rPr lang="en-US" baseline="0" dirty="0" smtClean="0"/>
              <a:t> form factor:</a:t>
            </a:r>
          </a:p>
          <a:p>
            <a:r>
              <a:rPr lang="en-US" baseline="0" dirty="0" smtClean="0"/>
              <a:t>10’ experience, Phones, Tablets, Desktops, IoT.</a:t>
            </a:r>
          </a:p>
          <a:p>
            <a:endParaRPr lang="en-US" baseline="0" dirty="0" smtClean="0"/>
          </a:p>
          <a:p>
            <a:r>
              <a:rPr lang="en-US" baseline="0" dirty="0" smtClean="0"/>
              <a:t>The Xbox experience is not going to be the same as the phone experience. And for IoT, you the developer have 100% complete control over the experience because there is no Windows shell.</a:t>
            </a:r>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4280198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 unified API set (Universal App Platform) where you compile different binaries only for architectures (x86/64/ARM) and </a:t>
            </a:r>
            <a:r>
              <a:rPr lang="en-US" b="1" baseline="0" dirty="0" smtClean="0"/>
              <a:t>not for each device</a:t>
            </a:r>
            <a:r>
              <a:rPr lang="en-US" baseline="0" dirty="0" smtClean="0"/>
              <a:t>.</a:t>
            </a:r>
          </a:p>
          <a:p>
            <a:endParaRPr lang="en-US" baseline="0" dirty="0" smtClean="0"/>
          </a:p>
          <a:p>
            <a:r>
              <a:rPr lang="en-US" baseline="0" dirty="0" smtClean="0"/>
              <a:t>In Windows 10, we have the Universal App Platform (UAP) which is the programming model that covers all of our Windows 10 devices from screens in board rooms, to desktops, tablets, phones, Xbox, tiny IoT devices, and more. You can write a single application that provides maximum reach.</a:t>
            </a:r>
          </a:p>
          <a:p>
            <a:endParaRPr lang="en-US" baseline="0" dirty="0" smtClean="0"/>
          </a:p>
          <a:p>
            <a:r>
              <a:rPr lang="en-US" sz="1961" b="1" dirty="0" smtClean="0">
                <a:solidFill>
                  <a:schemeClr val="tx1"/>
                </a:solidFill>
                <a:latin typeface="+mn-lt"/>
              </a:rPr>
              <a:t>Converged</a:t>
            </a:r>
            <a:r>
              <a:rPr lang="en-US" sz="1961" dirty="0" smtClean="0">
                <a:solidFill>
                  <a:schemeClr val="tx1"/>
                </a:solidFill>
                <a:latin typeface="+mn-lt"/>
              </a:rPr>
              <a:t> APIs, write </a:t>
            </a:r>
            <a:r>
              <a:rPr lang="en-US" sz="1961" b="1" dirty="0" smtClean="0">
                <a:solidFill>
                  <a:schemeClr val="tx1"/>
                </a:solidFill>
                <a:latin typeface="+mn-lt"/>
              </a:rPr>
              <a:t>ONE</a:t>
            </a:r>
            <a:r>
              <a:rPr lang="en-US" sz="1961" dirty="0" smtClean="0">
                <a:solidFill>
                  <a:schemeClr val="tx1"/>
                </a:solidFill>
                <a:latin typeface="+mn-lt"/>
              </a:rPr>
              <a:t> Universal App and target all Windows 10 editions</a:t>
            </a:r>
          </a:p>
          <a:p>
            <a:pPr marL="336145" lvl="1" indent="-336145"/>
            <a:r>
              <a:rPr lang="en-US" sz="1961" b="1" dirty="0" smtClean="0">
                <a:solidFill>
                  <a:schemeClr val="tx1"/>
                </a:solidFill>
              </a:rPr>
              <a:t>Scale</a:t>
            </a:r>
            <a:r>
              <a:rPr lang="en-US" sz="1961" dirty="0" smtClean="0">
                <a:solidFill>
                  <a:schemeClr val="tx1"/>
                </a:solidFill>
              </a:rPr>
              <a:t> and get </a:t>
            </a:r>
            <a:r>
              <a:rPr lang="en-US" sz="1961" b="1" dirty="0" smtClean="0">
                <a:solidFill>
                  <a:schemeClr val="tx1"/>
                </a:solidFill>
              </a:rPr>
              <a:t>higher ROI </a:t>
            </a:r>
            <a:r>
              <a:rPr lang="en-US" sz="1961" dirty="0" smtClean="0">
                <a:solidFill>
                  <a:schemeClr val="tx1"/>
                </a:solidFill>
              </a:rPr>
              <a:t>by selling same App to all Windows 10 editions </a:t>
            </a:r>
            <a:r>
              <a:rPr lang="en-US" sz="1961" dirty="0" smtClean="0"/>
              <a:t>OEMs/ODMSs</a:t>
            </a:r>
          </a:p>
          <a:p>
            <a:pPr marL="336145" lvl="1" indent="-336145"/>
            <a:r>
              <a:rPr lang="en-US" sz="1961" dirty="0" smtClean="0"/>
              <a:t>Reuse </a:t>
            </a:r>
            <a:r>
              <a:rPr lang="en-US" sz="1961" b="1" dirty="0" smtClean="0"/>
              <a:t>existing development skills</a:t>
            </a:r>
          </a:p>
          <a:p>
            <a:endParaRPr lang="en-US" baseline="0" dirty="0" smtClean="0"/>
          </a:p>
          <a:p>
            <a:r>
              <a:rPr lang="en-US" baseline="0" dirty="0" smtClean="0"/>
              <a:t>Across all of those devices you can use the same programming model and languages, making it simple to scale applications from tiny devices to multi-core 64 bit Intel monster workhorses.</a:t>
            </a:r>
          </a:p>
          <a:p>
            <a:endParaRPr lang="en-US" baseline="0" dirty="0" smtClean="0"/>
          </a:p>
          <a:p>
            <a:r>
              <a:rPr lang="en-US" baseline="0" dirty="0" smtClean="0"/>
              <a:t>Part of UAP is our programming model for IoT. Through that, you get low-level access to GPIO, PWM, SPI, I2C, and more.</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9143956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10 for IoT will be</a:t>
            </a:r>
            <a:r>
              <a:rPr lang="en-US" baseline="0" dirty="0" smtClean="0"/>
              <a:t> available initially on three boards:</a:t>
            </a:r>
          </a:p>
          <a:p>
            <a:endParaRPr lang="en-US" baseline="0" dirty="0" smtClean="0"/>
          </a:p>
          <a:p>
            <a:r>
              <a:rPr lang="en-US" baseline="0" dirty="0" smtClean="0"/>
              <a:t>Raspberry Pi 2</a:t>
            </a:r>
          </a:p>
          <a:p>
            <a:r>
              <a:rPr lang="en-US" baseline="0" dirty="0" err="1" smtClean="0"/>
              <a:t>Minnowboard</a:t>
            </a:r>
            <a:r>
              <a:rPr lang="en-US" baseline="0" dirty="0" smtClean="0"/>
              <a:t> Max (essentially the guts of a tablet)</a:t>
            </a:r>
          </a:p>
          <a:p>
            <a:r>
              <a:rPr lang="en-US" baseline="0" dirty="0" err="1" smtClean="0"/>
              <a:t>Dragonboard</a:t>
            </a:r>
            <a:r>
              <a:rPr lang="en-US" baseline="0" dirty="0" smtClean="0"/>
              <a:t> (essentially the guts of a phone)</a:t>
            </a:r>
          </a:p>
          <a:p>
            <a:endParaRPr lang="en-US" baseline="0" dirty="0" smtClean="0"/>
          </a:p>
          <a:p>
            <a:r>
              <a:rPr lang="en-US" baseline="0" dirty="0" smtClean="0"/>
              <a:t>All of these boards support universal apps and the new IoT APIs in UAP. All three have first-class developer experience in Visual Studio.</a:t>
            </a:r>
          </a:p>
          <a:p>
            <a:endParaRPr lang="en-US" baseline="0" dirty="0" smtClean="0"/>
          </a:p>
          <a:p>
            <a:r>
              <a:rPr lang="en-US" baseline="0" dirty="0" smtClean="0"/>
              <a:t>We also support other Windows 10 IoT SKUs for mobile and larger systems, all of which support the same UAP programming model and binaries.</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1788199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In addition to Windows, which runs on phone and tablet-class x86/64 and ARM processors, we have technology which runs on low-cost, low-power ARM microcontrollers.</a:t>
            </a:r>
          </a:p>
          <a:p>
            <a:endParaRPr lang="en-US" b="1" baseline="0" dirty="0" smtClean="0"/>
          </a:p>
          <a:p>
            <a:r>
              <a:rPr lang="en-US" b="1" baseline="0" dirty="0" smtClean="0"/>
              <a:t>NETMF</a:t>
            </a:r>
          </a:p>
          <a:p>
            <a:endParaRPr lang="en-US" baseline="0" dirty="0" smtClean="0"/>
          </a:p>
          <a:p>
            <a:r>
              <a:rPr lang="en-US" baseline="0" dirty="0" smtClean="0"/>
              <a:t>Our platform for very tiny devices. We’re working to improve performance here, and also to help drive NETMF down to even lower power, lower cost processors.</a:t>
            </a:r>
          </a:p>
          <a:p>
            <a:endParaRPr lang="en-US" baseline="0" dirty="0" smtClean="0"/>
          </a:p>
          <a:p>
            <a:r>
              <a:rPr lang="en-US" b="1" baseline="0" dirty="0" smtClean="0"/>
              <a:t>Gadgeteer</a:t>
            </a:r>
          </a:p>
          <a:p>
            <a:r>
              <a:rPr lang="en-US" dirty="0" smtClean="0"/>
              <a:t>Platform for prototyping, </a:t>
            </a:r>
            <a:r>
              <a:rPr lang="en-US" dirty="0" err="1" smtClean="0"/>
              <a:t>iot</a:t>
            </a:r>
            <a:r>
              <a:rPr lang="en-US" dirty="0" smtClean="0"/>
              <a:t> startups, and makers, built on</a:t>
            </a:r>
            <a:r>
              <a:rPr lang="en-US" baseline="0" dirty="0" smtClean="0"/>
              <a:t> top of NETMF</a:t>
            </a:r>
            <a:endParaRPr lang="en-US" dirty="0" smtClean="0"/>
          </a:p>
          <a:p>
            <a:r>
              <a:rPr lang="en-US" dirty="0" smtClean="0"/>
              <a:t>Working to complete open sourcing</a:t>
            </a:r>
          </a:p>
          <a:p>
            <a:r>
              <a:rPr lang="en-US" dirty="0" smtClean="0"/>
              <a:t>Soon</a:t>
            </a:r>
            <a:r>
              <a:rPr lang="en-US" baseline="0" dirty="0" smtClean="0"/>
              <a:t> to be h</a:t>
            </a:r>
            <a:r>
              <a:rPr lang="en-US" dirty="0" smtClean="0"/>
              <a:t>osted on GitHub as a true OSS project with community contribution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ce of the choices in today’s lab.</a:t>
            </a:r>
          </a:p>
          <a:p>
            <a:endParaRPr lang="en-US" baseline="0" dirty="0" smtClean="0"/>
          </a:p>
          <a:p>
            <a:r>
              <a:rPr lang="en-US" baseline="0" dirty="0" smtClean="0"/>
              <a:t>Both NETMF and Gadgeteer support full Visual Studio development, debugging, and deployment experiences.</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298273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Prototype shown</a:t>
            </a:r>
          </a:p>
          <a:p>
            <a:endParaRPr lang="en-US" b="1" baseline="0" dirty="0" smtClean="0"/>
          </a:p>
          <a:p>
            <a:r>
              <a:rPr lang="en-US" dirty="0" smtClean="0"/>
              <a:t>Not available</a:t>
            </a:r>
            <a:r>
              <a:rPr lang="en-US" baseline="0" dirty="0" smtClean="0"/>
              <a:t> in the lab today, but we’re working with our partner GHI, and with the community, to port the Open Source Gadgeteer framework to Windows 10.</a:t>
            </a:r>
          </a:p>
          <a:p>
            <a:endParaRPr lang="en-US" dirty="0" smtClean="0"/>
          </a:p>
          <a:p>
            <a:r>
              <a:rPr lang="en-US" b="1" dirty="0" smtClean="0"/>
              <a:t>Benefits:</a:t>
            </a:r>
            <a:br>
              <a:rPr lang="en-US" b="1" dirty="0" smtClean="0"/>
            </a:br>
            <a:endParaRPr lang="en-US" b="1" dirty="0" smtClean="0"/>
          </a:p>
          <a:p>
            <a:pPr lvl="1"/>
            <a:r>
              <a:rPr lang="en-US" dirty="0" smtClean="0"/>
              <a:t>Provides a way to scale up from Gadgeteer on NETMF, while still using same sensors</a:t>
            </a:r>
          </a:p>
          <a:p>
            <a:pPr lvl="1"/>
            <a:r>
              <a:rPr lang="en-US" dirty="0" smtClean="0"/>
              <a:t>Raspberry Pi 2 is primary board</a:t>
            </a:r>
          </a:p>
          <a:p>
            <a:r>
              <a:rPr lang="en-US" dirty="0" smtClean="0"/>
              <a:t>Better Azure integration, better </a:t>
            </a:r>
            <a:r>
              <a:rPr lang="en-US" dirty="0" err="1" smtClean="0"/>
              <a:t>AllJoyn</a:t>
            </a:r>
            <a:r>
              <a:rPr lang="en-US" dirty="0" smtClean="0"/>
              <a:t> integration, all the power of Windows UAP.</a:t>
            </a:r>
          </a:p>
          <a:p>
            <a:r>
              <a:rPr lang="en-US" dirty="0" smtClean="0"/>
              <a:t>Early bits to be available this</a:t>
            </a:r>
            <a:r>
              <a:rPr lang="en-US" baseline="0" dirty="0" smtClean="0"/>
              <a:t> spring/summer</a:t>
            </a:r>
            <a:endParaRPr lang="en-US" dirty="0" smtClean="0"/>
          </a:p>
          <a:p>
            <a:r>
              <a:rPr lang="en-US" dirty="0" smtClean="0"/>
              <a:t>Full designer experience later in 2015, depending on contributions from community</a:t>
            </a:r>
          </a:p>
          <a:p>
            <a:endParaRPr lang="en-US" dirty="0" smtClean="0"/>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30932269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B98AFB-CB0D-4DFE-87B9-B4B0D0DE73CD}" type="slidenum">
              <a:rPr lang="en-US" smtClean="0"/>
              <a:t>15</a:t>
            </a:fld>
            <a:endParaRPr lang="en-US"/>
          </a:p>
        </p:txBody>
      </p:sp>
    </p:spTree>
    <p:extLst>
      <p:ext uri="{BB962C8B-B14F-4D97-AF65-F5344CB8AC3E}">
        <p14:creationId xmlns:p14="http://schemas.microsoft.com/office/powerpoint/2010/main" val="46875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274685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631439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114848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41</a:t>
            </a:fld>
            <a:endParaRPr lang="en-US">
              <a:solidFill>
                <a:prstClr val="black"/>
              </a:solidFill>
            </a:endParaRPr>
          </a:p>
        </p:txBody>
      </p:sp>
    </p:spTree>
    <p:extLst>
      <p:ext uri="{BB962C8B-B14F-4D97-AF65-F5344CB8AC3E}">
        <p14:creationId xmlns:p14="http://schemas.microsoft.com/office/powerpoint/2010/main" val="1136355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60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Land Microsoft’s unique and differentiated point-of-view on the Internet of Things: the Internet of </a:t>
            </a:r>
            <a:r>
              <a:rPr lang="en-US" sz="900" u="sng"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Your</a:t>
            </a: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Things. </a:t>
            </a: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icrosoft believes the Internet of Things doesn’t have to be overwhelming. Businesses can start small, with a few changes that make a big impact. It’s not about the billions of things that can be connected, it’s about YOUR THINGS. And, it’s already happening!</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not about ripping and replacing technologies in your enterprise. It’s about leveraging what you have, adding on to your existing systems, using your existing things in new ways, and innovating and optimizing so everything works better together. If you’re a retailer, think about how smarter POS terminals can increase cross-selling and up-selling. If you’re in healthcare, think about how connecting patient monitors, tablets, signage and other equipment can streamline patient care. For manufacturers, sensors on the factory floor can “talk” to diagnostic monitors to improve production efficiency and reduce down tim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Things starts with your things. It is about the things that matter most to your busines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Build on the infrastructure you already hav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Connect the devices you already own…then add to your existing investmen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ap into the data that already exis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about getting away from spending all your time just running your business, and thinking about finding ways to make it thrive. </a:t>
            </a:r>
            <a:r>
              <a:rPr lang="en-US" sz="900" kern="1200" dirty="0" smtClean="0">
                <a:solidFill>
                  <a:schemeClr val="tx1"/>
                </a:solidFill>
                <a:effectLst/>
                <a:latin typeface="Segoe UI Light" pitchFamily="34" charset="0"/>
                <a:ea typeface="+mn-ea"/>
                <a:cs typeface="+mn-cs"/>
              </a:rPr>
              <a:t>Start realizing the potential of the Internet of Your Things.</a:t>
            </a:r>
          </a:p>
          <a:p>
            <a:pPr marL="342900" marR="0" lvl="0" indent="-342900">
              <a:lnSpc>
                <a:spcPct val="115000"/>
              </a:lnSpc>
              <a:spcBef>
                <a:spcPts val="0"/>
              </a:spcBef>
              <a:spcAft>
                <a:spcPts val="1000"/>
              </a:spcAft>
              <a:buFont typeface="Symbol" panose="05050102010706020507" pitchFamily="18" charset="2"/>
              <a:buChar cha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471274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pport from previous slide. Advance to this</a:t>
            </a:r>
            <a:r>
              <a:rPr lang="en-US" baseline="0" dirty="0" smtClean="0"/>
              <a:t> slide while working through talk track from previous slide.</a:t>
            </a:r>
            <a:endParaRPr lang="en-US" dirty="0" smtClean="0"/>
          </a:p>
          <a:p>
            <a:endParaRPr lang="en-US" dirty="0" smtClean="0"/>
          </a:p>
          <a:p>
            <a:r>
              <a:rPr lang="en-US" dirty="0" smtClean="0"/>
              <a:t>Advance here </a:t>
            </a:r>
          </a:p>
          <a:p>
            <a:endParaRPr lang="en-US" dirty="0" smtClean="0"/>
          </a:p>
          <a:p>
            <a:r>
              <a:rPr lang="en-US" dirty="0" smtClean="0"/>
              <a:t>Raspberry Pi (B+,</a:t>
            </a:r>
            <a:r>
              <a:rPr lang="en-US" baseline="0" dirty="0" smtClean="0"/>
              <a:t> module, etc.)</a:t>
            </a:r>
            <a:endParaRPr lang="en-US" dirty="0" smtClean="0"/>
          </a:p>
          <a:p>
            <a:r>
              <a:rPr lang="en-US" dirty="0" err="1" smtClean="0"/>
              <a:t>Tessel</a:t>
            </a:r>
            <a:endParaRPr lang="en-US" dirty="0" smtClean="0"/>
          </a:p>
          <a:p>
            <a:r>
              <a:rPr lang="en-US" dirty="0" smtClean="0"/>
              <a:t>Arduino</a:t>
            </a:r>
          </a:p>
          <a:p>
            <a:r>
              <a:rPr lang="en-US" dirty="0" smtClean="0"/>
              <a:t>Edison</a:t>
            </a:r>
          </a:p>
          <a:p>
            <a:r>
              <a:rPr lang="en-US" dirty="0" smtClean="0"/>
              <a:t>Linux embedded PCs</a:t>
            </a:r>
          </a:p>
          <a:p>
            <a:r>
              <a:rPr lang="en-US" dirty="0" smtClean="0"/>
              <a:t>Etc.</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44</a:t>
            </a:fld>
            <a:endParaRPr lang="nl-NL">
              <a:solidFill>
                <a:prstClr val="black"/>
              </a:solidFill>
            </a:endParaRPr>
          </a:p>
        </p:txBody>
      </p:sp>
    </p:spTree>
    <p:extLst>
      <p:ext uri="{BB962C8B-B14F-4D97-AF65-F5344CB8AC3E}">
        <p14:creationId xmlns:p14="http://schemas.microsoft.com/office/powerpoint/2010/main" val="2852335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Symbol" panose="05050102010706020507" pitchFamily="18" charset="2"/>
              <a:buNone/>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Of course, we also provid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our own devices which can scale up from solutions based on NETMF or Windows, all the way up to large processing clusters running the same software and applications.</a:t>
            </a:r>
          </a:p>
          <a:p>
            <a:pPr marL="0" marR="0" lvl="0" indent="0">
              <a:lnSpc>
                <a:spcPct val="115000"/>
              </a:lnSpc>
              <a:spcBef>
                <a:spcPts val="0"/>
              </a:spcBef>
              <a:spcAft>
                <a:spcPts val="1000"/>
              </a:spcAft>
              <a:buFont typeface="Symbol" panose="05050102010706020507" pitchFamily="18" charset="2"/>
              <a:buNone/>
            </a:pPr>
            <a:endPar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5000"/>
              </a:lnSpc>
              <a:spcBef>
                <a:spcPts val="0"/>
              </a:spcBef>
              <a:spcAft>
                <a:spcPts val="1000"/>
              </a:spcAft>
              <a:buFont typeface="Symbol" panose="05050102010706020507" pitchFamily="18" charset="2"/>
              <a:buNone/>
            </a:pP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Let’s talk about Window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001102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29385002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860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No Log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88788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37715448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5363726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68172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6192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1907327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532143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974055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05953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Demo Slide">
    <p:spTree>
      <p:nvGrpSpPr>
        <p:cNvPr id="1" name=""/>
        <p:cNvGrpSpPr/>
        <p:nvPr/>
      </p:nvGrpSpPr>
      <p:grpSpPr>
        <a:xfrm>
          <a:off x="0" y="0"/>
          <a:ext cx="0" cy="0"/>
          <a:chOff x="0" y="0"/>
          <a:chExt cx="0" cy="0"/>
        </a:xfrm>
      </p:grpSpPr>
      <p:sp>
        <p:nvSpPr>
          <p:cNvPr id="3" name="Rectangle 2"/>
          <p:cNvSpPr/>
          <p:nvPr/>
        </p:nvSpPr>
        <p:spPr>
          <a:xfrm>
            <a:off x="-15240" y="2553629"/>
            <a:ext cx="12192000" cy="1895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58683" y="2553629"/>
            <a:ext cx="8095785" cy="1895707"/>
          </a:xfrm>
        </p:spPr>
        <p:txBody>
          <a:bodyPr/>
          <a:lstStyle>
            <a:lvl1pPr>
              <a:defRPr cap="none" spc="0" baseline="0">
                <a:latin typeface="+mn-lt"/>
              </a:defRPr>
            </a:lvl1pPr>
          </a:lstStyle>
          <a:p>
            <a:r>
              <a:rPr lang="en-US" smtClean="0"/>
              <a:t>Click to edit Master title style</a:t>
            </a:r>
            <a:endParaRPr lang="en-US" dirty="0"/>
          </a:p>
        </p:txBody>
      </p:sp>
      <p:sp>
        <p:nvSpPr>
          <p:cNvPr id="15" name="Arduino Board Outline"/>
          <p:cNvSpPr>
            <a:spLocks noChangeAspect="1"/>
          </p:cNvSpPr>
          <p:nvPr userDrawn="1"/>
        </p:nvSpPr>
        <p:spPr bwMode="auto">
          <a:xfrm>
            <a:off x="4754" y="2319454"/>
            <a:ext cx="3320478" cy="2363990"/>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3C454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 name="TextBox 4"/>
          <p:cNvSpPr txBox="1"/>
          <p:nvPr/>
        </p:nvSpPr>
        <p:spPr>
          <a:xfrm>
            <a:off x="230977" y="3039782"/>
            <a:ext cx="3114250" cy="923330"/>
          </a:xfrm>
          <a:prstGeom prst="rect">
            <a:avLst/>
          </a:prstGeom>
          <a:noFill/>
        </p:spPr>
        <p:txBody>
          <a:bodyPr wrap="square" rtlCol="0" anchor="ctr">
            <a:spAutoFit/>
          </a:bodyPr>
          <a:lstStyle/>
          <a:p>
            <a:pPr algn="ctr"/>
            <a:r>
              <a:rPr lang="en-US" sz="5400" dirty="0" smtClean="0">
                <a:solidFill>
                  <a:schemeClr val="bg1"/>
                </a:solidFill>
                <a:latin typeface="+mj-lt"/>
              </a:rPr>
              <a:t>DEMO</a:t>
            </a:r>
            <a:endParaRPr lang="en-US" sz="5400" dirty="0">
              <a:solidFill>
                <a:schemeClr val="bg1"/>
              </a:solidFill>
              <a:latin typeface="+mj-lt"/>
            </a:endParaRPr>
          </a:p>
        </p:txBody>
      </p:sp>
    </p:spTree>
    <p:extLst>
      <p:ext uri="{BB962C8B-B14F-4D97-AF65-F5344CB8AC3E}">
        <p14:creationId xmlns:p14="http://schemas.microsoft.com/office/powerpoint/2010/main" val="2152631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on Graph Paper">
    <p:bg>
      <p:bgPr>
        <a:solidFill>
          <a:schemeClr val="bg1"/>
        </a:solidFill>
        <a:effectLst/>
      </p:bgPr>
    </p:bg>
    <p:spTree>
      <p:nvGrpSpPr>
        <p:cNvPr id="1" name=""/>
        <p:cNvGrpSpPr/>
        <p:nvPr/>
      </p:nvGrpSpPr>
      <p:grpSpPr>
        <a:xfrm>
          <a:off x="0" y="0"/>
          <a:ext cx="0" cy="0"/>
          <a:chOff x="0" y="0"/>
          <a:chExt cx="0" cy="0"/>
        </a:xfrm>
      </p:grpSpPr>
      <p:grpSp>
        <p:nvGrpSpPr>
          <p:cNvPr id="90" name="Group 89"/>
          <p:cNvGrpSpPr/>
          <p:nvPr/>
        </p:nvGrpSpPr>
        <p:grpSpPr>
          <a:xfrm>
            <a:off x="0" y="0"/>
            <a:ext cx="12192000" cy="6858000"/>
            <a:chOff x="0" y="0"/>
            <a:chExt cx="12192000" cy="6858000"/>
          </a:xfrm>
        </p:grpSpPr>
        <p:grpSp>
          <p:nvGrpSpPr>
            <p:cNvPr id="6" name="Vertical Lines"/>
            <p:cNvGrpSpPr/>
            <p:nvPr/>
          </p:nvGrpSpPr>
          <p:grpSpPr>
            <a:xfrm>
              <a:off x="228600" y="0"/>
              <a:ext cx="11887200" cy="6858000"/>
              <a:chOff x="228600" y="0"/>
              <a:chExt cx="11887200" cy="6858000"/>
            </a:xfrm>
          </p:grpSpPr>
          <p:cxnSp>
            <p:nvCxnSpPr>
              <p:cNvPr id="7" name="Straight Connector 6"/>
              <p:cNvCxnSpPr/>
              <p:nvPr/>
            </p:nvCxnSpPr>
            <p:spPr>
              <a:xfrm>
                <a:off x="22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8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14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143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371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600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828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057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286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514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71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00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429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657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886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14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43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72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800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029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257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486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715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3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172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400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629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858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86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15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543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772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01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29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458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86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915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144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372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601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829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0058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287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0515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0744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972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201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1430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165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188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211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60" name="Horizontal Lines"/>
            <p:cNvGrpSpPr/>
            <p:nvPr/>
          </p:nvGrpSpPr>
          <p:grpSpPr>
            <a:xfrm>
              <a:off x="0" y="226140"/>
              <a:ext cx="12192000" cy="6400800"/>
              <a:chOff x="0" y="226140"/>
              <a:chExt cx="6858000" cy="6400800"/>
            </a:xfrm>
          </p:grpSpPr>
          <p:cxnSp>
            <p:nvCxnSpPr>
              <p:cNvPr id="61" name="Straight Connector 60"/>
              <p:cNvCxnSpPr/>
              <p:nvPr/>
            </p:nvCxnSpPr>
            <p:spPr>
              <a:xfrm rot="5400000">
                <a:off x="3429000" y="-3202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3429000" y="-2974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3429000" y="-2745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3429000" y="-2517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3429000" y="-2288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429000" y="-2059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3429000" y="-1831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429000" y="-1602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3429000" y="-1374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429000" y="-1145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3429000" y="-916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3429000" y="-688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a:off x="3429000" y="-459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3429000" y="-231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3429000" y="-2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a:off x="3429000" y="226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3429000" y="454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5400000">
                <a:off x="3429000" y="683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5400000">
                <a:off x="3429000" y="911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3429000" y="1140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5400000">
                <a:off x="3429000" y="1369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a:off x="3429000" y="1597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3429000" y="1826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5400000">
                <a:off x="3429000" y="2054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5400000">
                <a:off x="3429000" y="2283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3429000" y="2512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3429000" y="2740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3429000" y="2969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3429000" y="3197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Click to edit Master title style</a:t>
            </a:r>
            <a:endParaRPr lang="en-US"/>
          </a:p>
        </p:txBody>
      </p:sp>
      <p:grpSp>
        <p:nvGrpSpPr>
          <p:cNvPr id="100" name="Microsoft Logo with Clear Space"/>
          <p:cNvGrpSpPr/>
          <p:nvPr userDrawn="1"/>
        </p:nvGrpSpPr>
        <p:grpSpPr>
          <a:xfrm>
            <a:off x="10375145" y="6176963"/>
            <a:ext cx="1816855" cy="681037"/>
            <a:chOff x="3147060" y="4252913"/>
            <a:chExt cx="6111240" cy="2290762"/>
          </a:xfrm>
        </p:grpSpPr>
        <p:sp>
          <p:nvSpPr>
            <p:cNvPr id="101"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 name="Microsoft Logo"/>
            <p:cNvGrpSpPr/>
            <p:nvPr/>
          </p:nvGrpSpPr>
          <p:grpSpPr>
            <a:xfrm>
              <a:off x="3761967" y="4890363"/>
              <a:ext cx="4874034" cy="1038709"/>
              <a:chOff x="3761967" y="4890363"/>
              <a:chExt cx="4874034" cy="1038709"/>
            </a:xfrm>
          </p:grpSpPr>
          <p:grpSp>
            <p:nvGrpSpPr>
              <p:cNvPr id="103" name="Microsoft Logo Symbol"/>
              <p:cNvGrpSpPr/>
              <p:nvPr/>
            </p:nvGrpSpPr>
            <p:grpSpPr>
              <a:xfrm>
                <a:off x="3761967" y="4890363"/>
                <a:ext cx="1040066" cy="1038709"/>
                <a:chOff x="1864676" y="4056446"/>
                <a:chExt cx="1764300" cy="1761998"/>
              </a:xfrm>
            </p:grpSpPr>
            <p:sp>
              <p:nvSpPr>
                <p:cNvPr id="105"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8901475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7" name="Group 16"/>
          <p:cNvGrpSpPr>
            <a:grpSpLocks noChangeAspect="1"/>
          </p:cNvGrpSpPr>
          <p:nvPr userDrawn="1"/>
        </p:nvGrpSpPr>
        <p:grpSpPr>
          <a:xfrm>
            <a:off x="171116" y="6265685"/>
            <a:ext cx="1582974" cy="530352"/>
            <a:chOff x="333596" y="333170"/>
            <a:chExt cx="11729320" cy="3929737"/>
          </a:xfrm>
        </p:grpSpPr>
        <p:sp>
          <p:nvSpPr>
            <p:cNvPr id="18" name="Freeform 17"/>
            <p:cNvSpPr>
              <a:spLocks noChangeArrowheads="1"/>
            </p:cNvSpPr>
            <p:nvPr/>
          </p:nvSpPr>
          <p:spPr bwMode="auto">
            <a:xfrm>
              <a:off x="333596" y="333170"/>
              <a:ext cx="4679549" cy="3929737"/>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9" name="Freeform 18"/>
            <p:cNvSpPr/>
            <p:nvPr/>
          </p:nvSpPr>
          <p:spPr>
            <a:xfrm>
              <a:off x="5437367" y="571362"/>
              <a:ext cx="6625549"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Placeholder 1"/>
          <p:cNvSpPr>
            <a:spLocks noGrp="1"/>
          </p:cNvSpPr>
          <p:nvPr>
            <p:ph type="title"/>
          </p:nvPr>
        </p:nvSpPr>
        <p:spPr>
          <a:xfrm>
            <a:off x="822960" y="34988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Microsoft Logo with Clear Space"/>
          <p:cNvGrpSpPr/>
          <p:nvPr userDrawn="1"/>
        </p:nvGrpSpPr>
        <p:grpSpPr>
          <a:xfrm>
            <a:off x="10375145" y="6176963"/>
            <a:ext cx="1816855" cy="681037"/>
            <a:chOff x="3147060" y="4252913"/>
            <a:chExt cx="6111240" cy="2290762"/>
          </a:xfrm>
        </p:grpSpPr>
        <p:sp>
          <p:nvSpPr>
            <p:cNvPr id="8"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Microsoft Logo"/>
            <p:cNvGrpSpPr/>
            <p:nvPr/>
          </p:nvGrpSpPr>
          <p:grpSpPr>
            <a:xfrm>
              <a:off x="3761967" y="4890363"/>
              <a:ext cx="4874034" cy="1038709"/>
              <a:chOff x="3761967" y="4890363"/>
              <a:chExt cx="4874034" cy="1038709"/>
            </a:xfrm>
          </p:grpSpPr>
          <p:grpSp>
            <p:nvGrpSpPr>
              <p:cNvPr id="10" name="Microsoft Logo Symbol"/>
              <p:cNvGrpSpPr/>
              <p:nvPr/>
            </p:nvGrpSpPr>
            <p:grpSpPr>
              <a:xfrm>
                <a:off x="3761967" y="4890363"/>
                <a:ext cx="1040066" cy="1038709"/>
                <a:chOff x="1864676" y="4056446"/>
                <a:chExt cx="1764300" cy="1761998"/>
              </a:xfrm>
            </p:grpSpPr>
            <p:sp>
              <p:nvSpPr>
                <p:cNvPr id="12"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5227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51" r:id="rId4"/>
    <p:sldLayoutId id="2147483652" r:id="rId5"/>
    <p:sldLayoutId id="2147483653" r:id="rId6"/>
    <p:sldLayoutId id="2147483654" r:id="rId7"/>
    <p:sldLayoutId id="2147483663" r:id="rId8"/>
    <p:sldLayoutId id="2147483660" r:id="rId9"/>
    <p:sldLayoutId id="2147483655" r:id="rId10"/>
    <p:sldLayoutId id="2147483662" r:id="rId11"/>
    <p:sldLayoutId id="2147483656" r:id="rId12"/>
    <p:sldLayoutId id="2147483657" r:id="rId13"/>
  </p:sldLayoutIdLst>
  <p:timing>
    <p:tnLst>
      <p:par>
        <p:cTn id="1" dur="indefinite" restart="never" nodeType="tmRoot"/>
      </p:par>
    </p:tnLst>
  </p:timing>
  <p:txStyles>
    <p:titleStyle>
      <a:lvl1pPr algn="l" defTabSz="914400" rtl="0" eaLnBrk="1" latinLnBrk="0" hangingPunct="1">
        <a:lnSpc>
          <a:spcPct val="90000"/>
        </a:lnSpc>
        <a:spcBef>
          <a:spcPct val="0"/>
        </a:spcBef>
        <a:buNone/>
        <a:defRPr sz="3200" b="1" kern="1200" cap="all" spc="6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internetworldstats.com/stats.htm" TargetMode="External"/><Relationship Id="rId2" Type="http://schemas.openxmlformats.org/officeDocument/2006/relationships/hyperlink" Target="http://share.cisco.com/internet-of-things.html"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tagg.com/" TargetMode="External"/><Relationship Id="rId13" Type="http://schemas.openxmlformats.org/officeDocument/2006/relationships/image" Target="../media/image8.png"/><Relationship Id="rId18" Type="http://schemas.openxmlformats.org/officeDocument/2006/relationships/image" Target="../media/image11.jpeg"/><Relationship Id="rId3" Type="http://schemas.openxmlformats.org/officeDocument/2006/relationships/image" Target="../media/image1.jpeg"/><Relationship Id="rId21" Type="http://schemas.openxmlformats.org/officeDocument/2006/relationships/image" Target="../media/image13.jpeg"/><Relationship Id="rId7" Type="http://schemas.openxmlformats.org/officeDocument/2006/relationships/image" Target="../media/image4.png"/><Relationship Id="rId12" Type="http://schemas.openxmlformats.org/officeDocument/2006/relationships/image" Target="../media/image7.jpg"/><Relationship Id="rId17" Type="http://schemas.openxmlformats.org/officeDocument/2006/relationships/hyperlink" Target="https://buy.garmin.com/en-US/US/cIntoSports-cRunning-p1.html" TargetMode="External"/><Relationship Id="rId25" Type="http://schemas.openxmlformats.org/officeDocument/2006/relationships/image" Target="../media/image16.png"/><Relationship Id="rId2" Type="http://schemas.openxmlformats.org/officeDocument/2006/relationships/hyperlink" Target="http://withings.com/en/bodyanalyzer" TargetMode="External"/><Relationship Id="rId16" Type="http://schemas.openxmlformats.org/officeDocument/2006/relationships/image" Target="../media/image10.jpeg"/><Relationship Id="rId20" Type="http://schemas.openxmlformats.org/officeDocument/2006/relationships/hyperlink" Target="http://hapifork.com/" TargetMode="External"/><Relationship Id="rId1" Type="http://schemas.openxmlformats.org/officeDocument/2006/relationships/slideLayout" Target="../slideLayouts/slideLayout3.xml"/><Relationship Id="rId6" Type="http://schemas.openxmlformats.org/officeDocument/2006/relationships/image" Target="../media/image3.jpeg"/><Relationship Id="rId11" Type="http://schemas.openxmlformats.org/officeDocument/2006/relationships/hyperlink" Target="http://memoto.com/" TargetMode="External"/><Relationship Id="rId24" Type="http://schemas.openxmlformats.org/officeDocument/2006/relationships/image" Target="../media/image15.png"/><Relationship Id="rId5" Type="http://schemas.openxmlformats.org/officeDocument/2006/relationships/hyperlink" Target="http://cubesensors.com/" TargetMode="External"/><Relationship Id="rId15" Type="http://schemas.openxmlformats.org/officeDocument/2006/relationships/image" Target="../media/image9.gif"/><Relationship Id="rId23" Type="http://schemas.openxmlformats.org/officeDocument/2006/relationships/hyperlink" Target="http://thetileapp.com/" TargetMode="External"/><Relationship Id="rId10" Type="http://schemas.openxmlformats.org/officeDocument/2006/relationships/image" Target="../media/image6.png"/><Relationship Id="rId19" Type="http://schemas.openxmlformats.org/officeDocument/2006/relationships/image" Target="../media/image12.jpeg"/><Relationship Id="rId4" Type="http://schemas.openxmlformats.org/officeDocument/2006/relationships/image" Target="../media/image2.jpeg"/><Relationship Id="rId9" Type="http://schemas.openxmlformats.org/officeDocument/2006/relationships/image" Target="../media/image5.jpeg"/><Relationship Id="rId14" Type="http://schemas.openxmlformats.org/officeDocument/2006/relationships/hyperlink" Target="http://fitbit.com/" TargetMode="External"/><Relationship Id="rId22" Type="http://schemas.openxmlformats.org/officeDocument/2006/relationships/image" Target="../media/image14.jpg"/></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www.youtube.com/watch?v=vlnjXlm2sm0"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vimeo.com/79246854" TargetMode="External"/><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crunchwear.com/"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www.youtube.com/watch?v=s9nrm8q5eGg" TargetMode="External"/><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hyperlink" Target="http://www.raspberrypi.org/" TargetMode="External"/><Relationship Id="rId18" Type="http://schemas.openxmlformats.org/officeDocument/2006/relationships/image" Target="../media/image32.jpeg"/><Relationship Id="rId26" Type="http://schemas.openxmlformats.org/officeDocument/2006/relationships/hyperlink" Target="http://parallax.com/" TargetMode="External"/><Relationship Id="rId3" Type="http://schemas.openxmlformats.org/officeDocument/2006/relationships/image" Target="../media/image21.png"/><Relationship Id="rId21" Type="http://schemas.openxmlformats.org/officeDocument/2006/relationships/image" Target="../media/image35.jpeg"/><Relationship Id="rId7" Type="http://schemas.openxmlformats.org/officeDocument/2006/relationships/hyperlink" Target="http://www.netduino.com/" TargetMode="External"/><Relationship Id="rId12" Type="http://schemas.openxmlformats.org/officeDocument/2006/relationships/image" Target="../media/image27.png"/><Relationship Id="rId17" Type="http://schemas.openxmlformats.org/officeDocument/2006/relationships/image" Target="../media/image31.jpeg"/><Relationship Id="rId25" Type="http://schemas.openxmlformats.org/officeDocument/2006/relationships/image" Target="../media/image37.jpeg"/><Relationship Id="rId2" Type="http://schemas.openxmlformats.org/officeDocument/2006/relationships/hyperlink" Target="http://makezine.com/" TargetMode="External"/><Relationship Id="rId16" Type="http://schemas.openxmlformats.org/officeDocument/2006/relationships/image" Target="../media/image30.jpg"/><Relationship Id="rId20" Type="http://schemas.openxmlformats.org/officeDocument/2006/relationships/image" Target="../media/image34.jpeg"/><Relationship Id="rId29"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6.png"/><Relationship Id="rId24" Type="http://schemas.openxmlformats.org/officeDocument/2006/relationships/hyperlink" Target="http://www.adafruit.com/" TargetMode="External"/><Relationship Id="rId5" Type="http://schemas.openxmlformats.org/officeDocument/2006/relationships/image" Target="../media/image22.png"/><Relationship Id="rId15" Type="http://schemas.openxmlformats.org/officeDocument/2006/relationships/image" Target="../media/image29.png"/><Relationship Id="rId23" Type="http://schemas.openxmlformats.org/officeDocument/2006/relationships/image" Target="../media/image36.jpeg"/><Relationship Id="rId28" Type="http://schemas.openxmlformats.org/officeDocument/2006/relationships/hyperlink" Target="https://www.tindie.com/" TargetMode="External"/><Relationship Id="rId10" Type="http://schemas.openxmlformats.org/officeDocument/2006/relationships/hyperlink" Target="http://beagleboard.org/" TargetMode="External"/><Relationship Id="rId19" Type="http://schemas.openxmlformats.org/officeDocument/2006/relationships/image" Target="../media/image33.jpeg"/><Relationship Id="rId4" Type="http://schemas.openxmlformats.org/officeDocument/2006/relationships/hyperlink" Target="http://www.arduino.cc/" TargetMode="External"/><Relationship Id="rId9" Type="http://schemas.openxmlformats.org/officeDocument/2006/relationships/image" Target="../media/image25.png"/><Relationship Id="rId14" Type="http://schemas.openxmlformats.org/officeDocument/2006/relationships/image" Target="../media/image28.png"/><Relationship Id="rId22" Type="http://schemas.openxmlformats.org/officeDocument/2006/relationships/hyperlink" Target="https://www.sparkfun.com/" TargetMode="External"/><Relationship Id="rId27" Type="http://schemas.openxmlformats.org/officeDocument/2006/relationships/image" Target="../media/image38.gif"/></Relationships>
</file>

<file path=ppt/slides/_rels/slide2.xml.rels><?xml version="1.0" encoding="UTF-8" standalone="yes"?>
<Relationships xmlns="http://schemas.openxmlformats.org/package/2006/relationships"><Relationship Id="rId2" Type="http://schemas.openxmlformats.org/officeDocument/2006/relationships/hyperlink" Target="http://aka.ms/iotcampsea"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hyperlink" Target="http://makerbot.com/"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makerplace.com/" TargetMode="Externa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hyperlink" Target="http://fundly.com/" TargetMode="External"/><Relationship Id="rId3" Type="http://schemas.openxmlformats.org/officeDocument/2006/relationships/image" Target="../media/image43.jpg"/><Relationship Id="rId7" Type="http://schemas.openxmlformats.org/officeDocument/2006/relationships/image" Target="../media/image45.jpg"/><Relationship Id="rId12" Type="http://schemas.openxmlformats.org/officeDocument/2006/relationships/hyperlink" Target="kickstarter.com" TargetMode="External"/><Relationship Id="rId2" Type="http://schemas.openxmlformats.org/officeDocument/2006/relationships/hyperlink" Target="http://kickstarter.com/" TargetMode="External"/><Relationship Id="rId1" Type="http://schemas.openxmlformats.org/officeDocument/2006/relationships/slideLayout" Target="../slideLayouts/slideLayout3.xml"/><Relationship Id="rId6" Type="http://schemas.openxmlformats.org/officeDocument/2006/relationships/hyperlink" Target="http://fundageek.com/" TargetMode="External"/><Relationship Id="rId11" Type="http://schemas.openxmlformats.org/officeDocument/2006/relationships/image" Target="../media/image47.png"/><Relationship Id="rId5" Type="http://schemas.openxmlformats.org/officeDocument/2006/relationships/image" Target="../media/image44.jpeg"/><Relationship Id="rId10" Type="http://schemas.openxmlformats.org/officeDocument/2006/relationships/hyperlink" Target="http://rockethub.com/" TargetMode="External"/><Relationship Id="rId4" Type="http://schemas.openxmlformats.org/officeDocument/2006/relationships/hyperlink" Target="http://indiegogo.com/" TargetMode="External"/><Relationship Id="rId9" Type="http://schemas.openxmlformats.org/officeDocument/2006/relationships/image" Target="../media/image46.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51.jpg"/><Relationship Id="rId2" Type="http://schemas.openxmlformats.org/officeDocument/2006/relationships/hyperlink" Target="http://www.zigbee.org/" TargetMode="External"/><Relationship Id="rId1" Type="http://schemas.openxmlformats.org/officeDocument/2006/relationships/slideLayout" Target="../slideLayouts/slideLayout3.xml"/><Relationship Id="rId6" Type="http://schemas.openxmlformats.org/officeDocument/2006/relationships/hyperlink" Target="http://www.youtube.com/watch?v=p9Mb_0nH61c" TargetMode="External"/><Relationship Id="rId5" Type="http://schemas.openxmlformats.org/officeDocument/2006/relationships/image" Target="../media/image50.png"/><Relationship Id="rId4" Type="http://schemas.openxmlformats.org/officeDocument/2006/relationships/image" Target="../media/image49.jpeg"/></Relationships>
</file>

<file path=ppt/slides/_rels/slide28.xml.rels><?xml version="1.0" encoding="UTF-8" standalone="yes"?>
<Relationships xmlns="http://schemas.openxmlformats.org/package/2006/relationships"><Relationship Id="rId3" Type="http://schemas.openxmlformats.org/officeDocument/2006/relationships/image" Target="../media/image52.jpg"/><Relationship Id="rId7" Type="http://schemas.openxmlformats.org/officeDocument/2006/relationships/image" Target="../media/image54.gif"/><Relationship Id="rId2" Type="http://schemas.openxmlformats.org/officeDocument/2006/relationships/hyperlink" Target="http://openmobilealliance.org/about-oma/work-program/device-management/" TargetMode="External"/><Relationship Id="rId1" Type="http://schemas.openxmlformats.org/officeDocument/2006/relationships/slideLayout" Target="../slideLayouts/slideLayout5.xml"/><Relationship Id="rId6" Type="http://schemas.openxmlformats.org/officeDocument/2006/relationships/hyperlink" Target="https://www.oasis-open.org/news/announcements/call-for-participation-message-queuing-telemetry-transport-mqtt-tc" TargetMode="External"/><Relationship Id="rId5" Type="http://schemas.openxmlformats.org/officeDocument/2006/relationships/image" Target="../media/image53.png"/><Relationship Id="rId4" Type="http://schemas.openxmlformats.org/officeDocument/2006/relationships/hyperlink" Target="http://mqtt.org/"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blogs.office.com/b/microsoft-outlook/archive/2013/05/02/outlook-com-400-million-active-accounts-hotmail-upgrade-complete-and-more-features-on-the-way.aspx" TargetMode="External"/><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hyperlink" Target="http://www.enterprisenetworkingplanet.com/datacenter/cisco-internet-traffic-to-hit-1.3-zettabytes.html"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www.flickr.com/photos/portal23/9675045955/" TargetMode="External"/><Relationship Id="rId2" Type="http://schemas.openxmlformats.org/officeDocument/2006/relationships/image" Target="../media/image57.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www.linkedin.com/pulse/internet-things-thing-clemens-vasters" TargetMode="External"/><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9.xml"/><Relationship Id="rId7"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hyperlink" Target="http://oxforddictionaries.com/definition/american_english/Internet-of-things"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64.png"/><Relationship Id="rId3" Type="http://schemas.openxmlformats.org/officeDocument/2006/relationships/tags" Target="../tags/tag15.xml"/><Relationship Id="rId7" Type="http://schemas.openxmlformats.org/officeDocument/2006/relationships/slideLayout" Target="../slideLayouts/slideLayout7.xml"/><Relationship Id="rId12" Type="http://schemas.openxmlformats.org/officeDocument/2006/relationships/image" Target="../media/image6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62.png"/><Relationship Id="rId5" Type="http://schemas.openxmlformats.org/officeDocument/2006/relationships/tags" Target="../tags/tag17.xml"/><Relationship Id="rId10" Type="http://schemas.openxmlformats.org/officeDocument/2006/relationships/image" Target="../media/image61.png"/><Relationship Id="rId4" Type="http://schemas.openxmlformats.org/officeDocument/2006/relationships/tags" Target="../tags/tag16.xml"/><Relationship Id="rId9" Type="http://schemas.openxmlformats.org/officeDocument/2006/relationships/image" Target="../media/image60.png"/></Relationships>
</file>

<file path=ppt/slides/_rels/slide41.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emf"/><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6.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emf"/><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emf"/><Relationship Id="rId14" Type="http://schemas.openxmlformats.org/officeDocument/2006/relationships/image" Target="../media/image76.emf"/><Relationship Id="rId22"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5.emf"/><Relationship Id="rId2"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86.png"/><Relationship Id="rId4" Type="http://schemas.openxmlformats.org/officeDocument/2006/relationships/notesSlide" Target="../notesSlides/notesSlide7.xml"/></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5.emf"/><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86.png"/><Relationship Id="rId4" Type="http://schemas.openxmlformats.org/officeDocument/2006/relationships/notesSlide" Target="../notesSlides/notesSlide9.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jpe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hyperlink" Target="http://www.cisco.com/web/about/ac79/innov/IoE.html" TargetMode="Externa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109.png"/></Relationships>
</file>

<file path=ppt/slides/_rels/slide52.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111.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hyperlink" Target="http://msopentech.com/" TargetMode="External"/><Relationship Id="rId2" Type="http://schemas.openxmlformats.org/officeDocument/2006/relationships/hyperlink" Target="http://connectthedots.io/" TargetMode="Externa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www.rfidjournal.com/article/view/4986" TargetMode="Externa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oT Camp </a:t>
            </a:r>
            <a:br>
              <a:rPr lang="en-US" dirty="0" smtClean="0"/>
            </a:br>
            <a:r>
              <a:rPr lang="en-US" dirty="0" smtClean="0"/>
              <a:t>SEATTLE</a:t>
            </a:r>
            <a:endParaRPr lang="en-US" dirty="0"/>
          </a:p>
        </p:txBody>
      </p:sp>
      <p:sp>
        <p:nvSpPr>
          <p:cNvPr id="3" name="Subtitle 2"/>
          <p:cNvSpPr>
            <a:spLocks noGrp="1"/>
          </p:cNvSpPr>
          <p:nvPr>
            <p:ph type="subTitle" idx="1"/>
          </p:nvPr>
        </p:nvSpPr>
        <p:spPr/>
        <p:txBody>
          <a:bodyPr/>
          <a:lstStyle/>
          <a:p>
            <a:r>
              <a:rPr lang="en-US" dirty="0" smtClean="0"/>
              <a:t>SO MUCH COOL STUFF</a:t>
            </a:r>
            <a:endParaRPr lang="en-US" dirty="0"/>
          </a:p>
        </p:txBody>
      </p:sp>
    </p:spTree>
    <p:extLst>
      <p:ext uri="{BB962C8B-B14F-4D97-AF65-F5344CB8AC3E}">
        <p14:creationId xmlns:p14="http://schemas.microsoft.com/office/powerpoint/2010/main" val="31998409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rose by any other name</a:t>
            </a:r>
            <a:endParaRPr lang="en-US" dirty="0"/>
          </a:p>
        </p:txBody>
      </p:sp>
      <p:sp>
        <p:nvSpPr>
          <p:cNvPr id="4" name="Internet of Things"/>
          <p:cNvSpPr txBox="1"/>
          <p:nvPr/>
        </p:nvSpPr>
        <p:spPr>
          <a:xfrm>
            <a:off x="3575534" y="3229618"/>
            <a:ext cx="5040932" cy="707886"/>
          </a:xfrm>
          <a:prstGeom prst="rect">
            <a:avLst/>
          </a:prstGeom>
          <a:noFill/>
        </p:spPr>
        <p:txBody>
          <a:bodyPr wrap="none" rtlCol="0">
            <a:spAutoFit/>
          </a:bodyPr>
          <a:lstStyle/>
          <a:p>
            <a:r>
              <a:rPr lang="en-US" sz="4000" dirty="0" smtClean="0">
                <a:latin typeface="Segoe Light" panose="020B0302040504020203" pitchFamily="34" charset="0"/>
              </a:rPr>
              <a:t>Internet of Things (</a:t>
            </a:r>
            <a:r>
              <a:rPr lang="en-US" sz="4000" dirty="0" err="1" smtClean="0">
                <a:latin typeface="Segoe Light" panose="020B0302040504020203" pitchFamily="34" charset="0"/>
              </a:rPr>
              <a:t>IoT</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5" name="Internet of Everything"/>
          <p:cNvSpPr txBox="1"/>
          <p:nvPr/>
        </p:nvSpPr>
        <p:spPr>
          <a:xfrm>
            <a:off x="3142307" y="4101953"/>
            <a:ext cx="5907386" cy="707886"/>
          </a:xfrm>
          <a:prstGeom prst="rect">
            <a:avLst/>
          </a:prstGeom>
          <a:noFill/>
        </p:spPr>
        <p:txBody>
          <a:bodyPr wrap="none" rtlCol="0">
            <a:spAutoFit/>
          </a:bodyPr>
          <a:lstStyle/>
          <a:p>
            <a:r>
              <a:rPr lang="en-US" sz="4000" dirty="0" smtClean="0">
                <a:latin typeface="Segoe Light" panose="020B0302040504020203" pitchFamily="34" charset="0"/>
              </a:rPr>
              <a:t>Internet of Everything (</a:t>
            </a:r>
            <a:r>
              <a:rPr lang="en-US" sz="4000" dirty="0" err="1" smtClean="0">
                <a:latin typeface="Segoe Light" panose="020B0302040504020203" pitchFamily="34" charset="0"/>
              </a:rPr>
              <a:t>IoE</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6" name="Pervasive Computing"/>
          <p:cNvSpPr txBox="1"/>
          <p:nvPr/>
        </p:nvSpPr>
        <p:spPr>
          <a:xfrm>
            <a:off x="3731763" y="1484948"/>
            <a:ext cx="4728474" cy="707886"/>
          </a:xfrm>
          <a:prstGeom prst="rect">
            <a:avLst/>
          </a:prstGeom>
          <a:noFill/>
        </p:spPr>
        <p:txBody>
          <a:bodyPr wrap="none" rtlCol="0">
            <a:spAutoFit/>
          </a:bodyPr>
          <a:lstStyle/>
          <a:p>
            <a:r>
              <a:rPr lang="en-US" sz="4000" dirty="0" smtClean="0">
                <a:latin typeface="Segoe Light" panose="020B0302040504020203" pitchFamily="34" charset="0"/>
              </a:rPr>
              <a:t>Pervasive Computing</a:t>
            </a:r>
            <a:endParaRPr lang="en-US" sz="4000" dirty="0">
              <a:latin typeface="Segoe Light" panose="020B0302040504020203" pitchFamily="34" charset="0"/>
            </a:endParaRPr>
          </a:p>
        </p:txBody>
      </p:sp>
      <p:sp>
        <p:nvSpPr>
          <p:cNvPr id="7" name="Ubiquitous Computing"/>
          <p:cNvSpPr txBox="1"/>
          <p:nvPr/>
        </p:nvSpPr>
        <p:spPr>
          <a:xfrm>
            <a:off x="2415345" y="2357283"/>
            <a:ext cx="7361311" cy="707886"/>
          </a:xfrm>
          <a:prstGeom prst="rect">
            <a:avLst/>
          </a:prstGeom>
          <a:noFill/>
        </p:spPr>
        <p:txBody>
          <a:bodyPr wrap="none" rtlCol="0">
            <a:spAutoFit/>
          </a:bodyPr>
          <a:lstStyle/>
          <a:p>
            <a:r>
              <a:rPr lang="en-US" sz="4000" dirty="0" smtClean="0">
                <a:latin typeface="Segoe Light" panose="020B0302040504020203" pitchFamily="34" charset="0"/>
              </a:rPr>
              <a:t>Ubiquitous Computing (</a:t>
            </a:r>
            <a:r>
              <a:rPr lang="en-US" sz="4000" dirty="0" err="1" smtClean="0">
                <a:latin typeface="Segoe Light" panose="020B0302040504020203" pitchFamily="34" charset="0"/>
              </a:rPr>
              <a:t>ubicomp</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8" name="Machine to Machine"/>
          <p:cNvSpPr txBox="1"/>
          <p:nvPr/>
        </p:nvSpPr>
        <p:spPr>
          <a:xfrm>
            <a:off x="3044524" y="4974288"/>
            <a:ext cx="6102953" cy="707886"/>
          </a:xfrm>
          <a:prstGeom prst="rect">
            <a:avLst/>
          </a:prstGeom>
          <a:noFill/>
        </p:spPr>
        <p:txBody>
          <a:bodyPr wrap="none" rtlCol="0">
            <a:spAutoFit/>
          </a:bodyPr>
          <a:lstStyle/>
          <a:p>
            <a:r>
              <a:rPr lang="en-US" sz="4000" dirty="0" smtClean="0">
                <a:latin typeface="Segoe Light" panose="020B0302040504020203" pitchFamily="34" charset="0"/>
              </a:rPr>
              <a:t>Machine to Machine (M2M)</a:t>
            </a:r>
          </a:p>
        </p:txBody>
      </p:sp>
      <p:sp>
        <p:nvSpPr>
          <p:cNvPr id="12" name="Industrial Internet"/>
          <p:cNvSpPr txBox="1"/>
          <p:nvPr/>
        </p:nvSpPr>
        <p:spPr>
          <a:xfrm>
            <a:off x="4135303" y="5846622"/>
            <a:ext cx="3921395" cy="707886"/>
          </a:xfrm>
          <a:prstGeom prst="rect">
            <a:avLst/>
          </a:prstGeom>
          <a:noFill/>
        </p:spPr>
        <p:txBody>
          <a:bodyPr wrap="none" rtlCol="0">
            <a:spAutoFit/>
          </a:bodyPr>
          <a:lstStyle/>
          <a:p>
            <a:r>
              <a:rPr lang="en-US" sz="4000" dirty="0" smtClean="0">
                <a:latin typeface="Segoe Light" panose="020B0302040504020203" pitchFamily="34" charset="0"/>
              </a:rPr>
              <a:t>Industrial Internet</a:t>
            </a:r>
          </a:p>
        </p:txBody>
      </p:sp>
    </p:spTree>
    <p:extLst>
      <p:ext uri="{BB962C8B-B14F-4D97-AF65-F5344CB8AC3E}">
        <p14:creationId xmlns:p14="http://schemas.microsoft.com/office/powerpoint/2010/main" val="651168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ED</a:t>
            </a:r>
            <a:r>
              <a:rPr lang="en-US" dirty="0" smtClean="0">
                <a:solidFill>
                  <a:schemeClr val="accent2"/>
                </a:solidFill>
              </a:rPr>
              <a:t> “THINGS” </a:t>
            </a:r>
            <a:r>
              <a:rPr lang="en-US" dirty="0" err="1" smtClean="0"/>
              <a:t>vs</a:t>
            </a:r>
            <a:r>
              <a:rPr lang="en-US" dirty="0" smtClean="0"/>
              <a:t>  </a:t>
            </a:r>
            <a:r>
              <a:rPr lang="en-US" dirty="0" smtClean="0">
                <a:solidFill>
                  <a:schemeClr val="accent1"/>
                </a:solidFill>
              </a:rPr>
              <a:t>people</a:t>
            </a:r>
            <a:endParaRPr lang="en-US" dirty="0">
              <a:solidFill>
                <a:schemeClr val="accent1"/>
              </a:solidFill>
            </a:endParaRPr>
          </a:p>
        </p:txBody>
      </p:sp>
      <p:sp>
        <p:nvSpPr>
          <p:cNvPr id="5" name="TextBox 4"/>
          <p:cNvSpPr txBox="1"/>
          <p:nvPr/>
        </p:nvSpPr>
        <p:spPr>
          <a:xfrm>
            <a:off x="4865347" y="6581001"/>
            <a:ext cx="2506327" cy="276999"/>
          </a:xfrm>
          <a:prstGeom prst="rect">
            <a:avLst/>
          </a:prstGeom>
          <a:noFill/>
        </p:spPr>
        <p:txBody>
          <a:bodyPr wrap="none" rtlCol="0">
            <a:spAutoFit/>
          </a:bodyPr>
          <a:lstStyle/>
          <a:p>
            <a:r>
              <a:rPr lang="en-US" sz="1200" dirty="0" smtClean="0"/>
              <a:t>Source: </a:t>
            </a:r>
            <a:r>
              <a:rPr lang="en-US" sz="1200" dirty="0" smtClean="0">
                <a:hlinkClick r:id="rId2"/>
              </a:rPr>
              <a:t>Cisco</a:t>
            </a:r>
            <a:r>
              <a:rPr lang="en-US" sz="1200" dirty="0" smtClean="0"/>
              <a:t> &amp; </a:t>
            </a:r>
            <a:r>
              <a:rPr lang="en-US" sz="1200" dirty="0" smtClean="0">
                <a:hlinkClick r:id="rId3"/>
              </a:rPr>
              <a:t>Internet World Stats</a:t>
            </a:r>
            <a:endParaRPr lang="en-US" sz="1200" dirty="0"/>
          </a:p>
        </p:txBody>
      </p:sp>
      <p:grpSp>
        <p:nvGrpSpPr>
          <p:cNvPr id="11" name="2003"/>
          <p:cNvGrpSpPr/>
          <p:nvPr/>
        </p:nvGrpSpPr>
        <p:grpSpPr>
          <a:xfrm>
            <a:off x="1562451" y="3519170"/>
            <a:ext cx="697627" cy="2902805"/>
            <a:chOff x="1562451" y="3519170"/>
            <a:chExt cx="697627" cy="2902805"/>
          </a:xfrm>
        </p:grpSpPr>
        <p:sp>
          <p:nvSpPr>
            <p:cNvPr id="6" name="People"/>
            <p:cNvSpPr/>
            <p:nvPr/>
          </p:nvSpPr>
          <p:spPr>
            <a:xfrm>
              <a:off x="1664376" y="3519170"/>
              <a:ext cx="493776" cy="4937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evices"/>
            <p:cNvSpPr/>
            <p:nvPr/>
          </p:nvSpPr>
          <p:spPr>
            <a:xfrm flipH="1">
              <a:off x="1867576" y="3722370"/>
              <a:ext cx="87376" cy="873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562451" y="6052643"/>
              <a:ext cx="697627" cy="369332"/>
            </a:xfrm>
            <a:prstGeom prst="rect">
              <a:avLst/>
            </a:prstGeom>
            <a:noFill/>
          </p:spPr>
          <p:txBody>
            <a:bodyPr wrap="none" rtlCol="0">
              <a:spAutoFit/>
            </a:bodyPr>
            <a:lstStyle/>
            <a:p>
              <a:r>
                <a:rPr lang="en-US" dirty="0" smtClean="0"/>
                <a:t>2003</a:t>
              </a:r>
              <a:endParaRPr lang="en-US" dirty="0"/>
            </a:p>
          </p:txBody>
        </p:sp>
      </p:grpSp>
      <p:grpSp>
        <p:nvGrpSpPr>
          <p:cNvPr id="27" name="2015 - 2020"/>
          <p:cNvGrpSpPr/>
          <p:nvPr/>
        </p:nvGrpSpPr>
        <p:grpSpPr>
          <a:xfrm>
            <a:off x="4865347" y="1508760"/>
            <a:ext cx="6513077" cy="4913215"/>
            <a:chOff x="4865347" y="1508760"/>
            <a:chExt cx="6513077" cy="4913215"/>
          </a:xfrm>
        </p:grpSpPr>
        <p:grpSp>
          <p:nvGrpSpPr>
            <p:cNvPr id="25" name="2015"/>
            <p:cNvGrpSpPr/>
            <p:nvPr/>
          </p:nvGrpSpPr>
          <p:grpSpPr>
            <a:xfrm>
              <a:off x="4865347" y="2568194"/>
              <a:ext cx="2395728" cy="3853781"/>
              <a:chOff x="4865347" y="2568194"/>
              <a:chExt cx="2395728" cy="3853781"/>
            </a:xfrm>
          </p:grpSpPr>
          <p:sp>
            <p:nvSpPr>
              <p:cNvPr id="12" name="Oval 11"/>
              <p:cNvSpPr/>
              <p:nvPr/>
            </p:nvSpPr>
            <p:spPr>
              <a:xfrm>
                <a:off x="4865347" y="2568194"/>
                <a:ext cx="2395728" cy="23957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5624299" y="3327146"/>
                <a:ext cx="877824" cy="8778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5714398" y="6052643"/>
                <a:ext cx="697627" cy="369332"/>
              </a:xfrm>
              <a:prstGeom prst="rect">
                <a:avLst/>
              </a:prstGeom>
              <a:noFill/>
            </p:spPr>
            <p:txBody>
              <a:bodyPr wrap="none" rtlCol="0">
                <a:spAutoFit/>
              </a:bodyPr>
              <a:lstStyle/>
              <a:p>
                <a:r>
                  <a:rPr lang="en-US" dirty="0" smtClean="0"/>
                  <a:t>2015</a:t>
                </a:r>
                <a:endParaRPr lang="en-US" dirty="0"/>
              </a:p>
            </p:txBody>
          </p:sp>
        </p:grpSp>
        <p:grpSp>
          <p:nvGrpSpPr>
            <p:cNvPr id="26" name="2050"/>
            <p:cNvGrpSpPr/>
            <p:nvPr/>
          </p:nvGrpSpPr>
          <p:grpSpPr>
            <a:xfrm>
              <a:off x="7316093" y="1508760"/>
              <a:ext cx="4062331" cy="4913215"/>
              <a:chOff x="7316093" y="1508760"/>
              <a:chExt cx="4062331" cy="4913215"/>
            </a:xfrm>
          </p:grpSpPr>
          <p:sp>
            <p:nvSpPr>
              <p:cNvPr id="14" name="Oval 13"/>
              <p:cNvSpPr/>
              <p:nvPr/>
            </p:nvSpPr>
            <p:spPr>
              <a:xfrm>
                <a:off x="7518458" y="1937258"/>
                <a:ext cx="3657600" cy="3657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848910" y="3267710"/>
                <a:ext cx="996696" cy="9966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8998445" y="6052643"/>
                <a:ext cx="697627" cy="369332"/>
              </a:xfrm>
              <a:prstGeom prst="rect">
                <a:avLst/>
              </a:prstGeom>
              <a:noFill/>
            </p:spPr>
            <p:txBody>
              <a:bodyPr wrap="none" rtlCol="0">
                <a:spAutoFit/>
              </a:bodyPr>
              <a:lstStyle/>
              <a:p>
                <a:r>
                  <a:rPr lang="en-US" dirty="0" smtClean="0"/>
                  <a:t>2020</a:t>
                </a:r>
                <a:endParaRPr lang="en-US" dirty="0"/>
              </a:p>
            </p:txBody>
          </p:sp>
          <p:sp>
            <p:nvSpPr>
              <p:cNvPr id="30" name="TextBox 29"/>
              <p:cNvSpPr txBox="1"/>
              <p:nvPr/>
            </p:nvSpPr>
            <p:spPr>
              <a:xfrm>
                <a:off x="7316093" y="1508760"/>
                <a:ext cx="4062331" cy="369332"/>
              </a:xfrm>
              <a:prstGeom prst="rect">
                <a:avLst/>
              </a:prstGeom>
              <a:noFill/>
            </p:spPr>
            <p:txBody>
              <a:bodyPr wrap="none" rtlCol="0">
                <a:spAutoFit/>
              </a:bodyPr>
              <a:lstStyle/>
              <a:p>
                <a:r>
                  <a:rPr lang="en-US" dirty="0" smtClean="0">
                    <a:latin typeface="Segoe Light" panose="020B0302040504020203" pitchFamily="34" charset="0"/>
                  </a:rPr>
                  <a:t>Est. 50 Billion connected devices in 2020</a:t>
                </a:r>
                <a:endParaRPr lang="en-US" dirty="0">
                  <a:latin typeface="Segoe Light" panose="020B0302040504020203" pitchFamily="34" charset="0"/>
                </a:endParaRPr>
              </a:p>
            </p:txBody>
          </p:sp>
        </p:grpSp>
      </p:grpSp>
      <p:grpSp>
        <p:nvGrpSpPr>
          <p:cNvPr id="24" name="2010"/>
          <p:cNvGrpSpPr/>
          <p:nvPr/>
        </p:nvGrpSpPr>
        <p:grpSpPr>
          <a:xfrm>
            <a:off x="2500565" y="1510611"/>
            <a:ext cx="4306307" cy="2211759"/>
            <a:chOff x="2500565" y="1510611"/>
            <a:chExt cx="4306307" cy="2211759"/>
          </a:xfrm>
        </p:grpSpPr>
        <p:sp>
          <p:nvSpPr>
            <p:cNvPr id="29" name="TextBox 28"/>
            <p:cNvSpPr txBox="1"/>
            <p:nvPr/>
          </p:nvSpPr>
          <p:spPr>
            <a:xfrm>
              <a:off x="2500565" y="1510611"/>
              <a:ext cx="4306307" cy="646331"/>
            </a:xfrm>
            <a:prstGeom prst="rect">
              <a:avLst/>
            </a:prstGeom>
            <a:noFill/>
          </p:spPr>
          <p:txBody>
            <a:bodyPr wrap="none" rtlCol="0">
              <a:spAutoFit/>
            </a:bodyPr>
            <a:lstStyle/>
            <a:p>
              <a:pPr algn="ctr"/>
              <a:r>
                <a:rPr lang="en-US" dirty="0" smtClean="0">
                  <a:latin typeface="Segoe Light" panose="020B0302040504020203" pitchFamily="34" charset="0"/>
                </a:rPr>
                <a:t>2013 - Est. </a:t>
              </a:r>
              <a:r>
                <a:rPr lang="en-US" b="1" i="1" dirty="0" smtClean="0">
                  <a:solidFill>
                    <a:srgbClr val="70A826"/>
                  </a:solidFill>
                  <a:latin typeface="Segoe Light" panose="020B0302040504020203" pitchFamily="34" charset="0"/>
                </a:rPr>
                <a:t>10 Billion CONNECTED Devices</a:t>
              </a:r>
              <a:endParaRPr lang="en-US" dirty="0" smtClean="0">
                <a:latin typeface="Segoe Light" panose="020B0302040504020203" pitchFamily="34" charset="0"/>
              </a:endParaRPr>
            </a:p>
            <a:p>
              <a:pPr algn="ctr"/>
              <a:r>
                <a:rPr lang="en-US" dirty="0" smtClean="0">
                  <a:latin typeface="Segoe Light" panose="020B0302040504020203" pitchFamily="34" charset="0"/>
                </a:rPr>
                <a:t>vs. Est. </a:t>
              </a:r>
              <a:r>
                <a:rPr lang="en-US" b="1" i="1" dirty="0" smtClean="0">
                  <a:solidFill>
                    <a:schemeClr val="accent2"/>
                  </a:solidFill>
                  <a:latin typeface="Segoe Light" panose="020B0302040504020203" pitchFamily="34" charset="0"/>
                </a:rPr>
                <a:t>7.14 Billion People World Population</a:t>
              </a:r>
              <a:endParaRPr lang="en-US" b="1" i="1" dirty="0">
                <a:solidFill>
                  <a:schemeClr val="accent2"/>
                </a:solidFill>
                <a:latin typeface="Segoe Light" panose="020B0302040504020203" pitchFamily="34" charset="0"/>
              </a:endParaRPr>
            </a:p>
          </p:txBody>
        </p:sp>
        <p:cxnSp>
          <p:nvCxnSpPr>
            <p:cNvPr id="38" name="Straight Connector 37"/>
            <p:cNvCxnSpPr/>
            <p:nvPr/>
          </p:nvCxnSpPr>
          <p:spPr>
            <a:xfrm>
              <a:off x="4653718" y="2270760"/>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grpSp>
      <p:grpSp>
        <p:nvGrpSpPr>
          <p:cNvPr id="21" name="2008"/>
          <p:cNvGrpSpPr/>
          <p:nvPr/>
        </p:nvGrpSpPr>
        <p:grpSpPr>
          <a:xfrm>
            <a:off x="2416216" y="3400298"/>
            <a:ext cx="2544479" cy="3021677"/>
            <a:chOff x="2416216" y="3400298"/>
            <a:chExt cx="2544479" cy="3021677"/>
          </a:xfrm>
        </p:grpSpPr>
        <p:sp>
          <p:nvSpPr>
            <p:cNvPr id="8" name="Devices"/>
            <p:cNvSpPr/>
            <p:nvPr/>
          </p:nvSpPr>
          <p:spPr>
            <a:xfrm>
              <a:off x="3322695" y="3400298"/>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eople"/>
            <p:cNvSpPr/>
            <p:nvPr/>
          </p:nvSpPr>
          <p:spPr>
            <a:xfrm>
              <a:off x="3345555" y="3423158"/>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2008"/>
            <p:cNvSpPr txBox="1"/>
            <p:nvPr/>
          </p:nvSpPr>
          <p:spPr>
            <a:xfrm>
              <a:off x="2419576" y="6052643"/>
              <a:ext cx="2537759" cy="369332"/>
            </a:xfrm>
            <a:prstGeom prst="rect">
              <a:avLst/>
            </a:prstGeom>
            <a:noFill/>
          </p:spPr>
          <p:txBody>
            <a:bodyPr wrap="square" rtlCol="0">
              <a:spAutoFit/>
            </a:bodyPr>
            <a:lstStyle/>
            <a:p>
              <a:pPr algn="ctr"/>
              <a:r>
                <a:rPr lang="en-US" dirty="0" smtClean="0"/>
                <a:t>2008</a:t>
              </a:r>
              <a:endParaRPr lang="en-US" dirty="0"/>
            </a:p>
          </p:txBody>
        </p:sp>
        <p:cxnSp>
          <p:nvCxnSpPr>
            <p:cNvPr id="33" name="Straight Connector 32"/>
            <p:cNvCxnSpPr/>
            <p:nvPr/>
          </p:nvCxnSpPr>
          <p:spPr>
            <a:xfrm flipV="1">
              <a:off x="3688455" y="3766058"/>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416216" y="5362645"/>
              <a:ext cx="2544479" cy="646331"/>
            </a:xfrm>
            <a:prstGeom prst="rect">
              <a:avLst/>
            </a:prstGeom>
            <a:noFill/>
          </p:spPr>
          <p:txBody>
            <a:bodyPr wrap="none" rtlCol="0">
              <a:spAutoFit/>
            </a:bodyPr>
            <a:lstStyle/>
            <a:p>
              <a:pPr algn="ctr"/>
              <a:r>
                <a:rPr lang="en-US" dirty="0" smtClean="0">
                  <a:latin typeface="Segoe Light" panose="020B0302040504020203" pitchFamily="34" charset="0"/>
                </a:rPr>
                <a:t>More connected devices</a:t>
              </a:r>
              <a:br>
                <a:rPr lang="en-US" dirty="0" smtClean="0">
                  <a:latin typeface="Segoe Light" panose="020B0302040504020203" pitchFamily="34" charset="0"/>
                </a:rPr>
              </a:br>
              <a:r>
                <a:rPr lang="en-US" dirty="0" smtClean="0">
                  <a:latin typeface="Segoe Light" panose="020B0302040504020203" pitchFamily="34" charset="0"/>
                </a:rPr>
                <a:t>than connected people</a:t>
              </a:r>
              <a:endParaRPr lang="en-US" dirty="0">
                <a:latin typeface="Segoe Light" panose="020B0302040504020203" pitchFamily="34" charset="0"/>
              </a:endParaRPr>
            </a:p>
          </p:txBody>
        </p:sp>
      </p:grpSp>
    </p:spTree>
    <p:extLst>
      <p:ext uri="{BB962C8B-B14F-4D97-AF65-F5344CB8AC3E}">
        <p14:creationId xmlns:p14="http://schemas.microsoft.com/office/powerpoint/2010/main" val="171727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rs</a:t>
            </a:r>
            <a:endParaRPr lang="en-US" dirty="0"/>
          </a:p>
        </p:txBody>
      </p:sp>
      <p:grpSp>
        <p:nvGrpSpPr>
          <p:cNvPr id="11" name="Moore's Law"/>
          <p:cNvGrpSpPr/>
          <p:nvPr/>
        </p:nvGrpSpPr>
        <p:grpSpPr>
          <a:xfrm>
            <a:off x="3781064" y="1506799"/>
            <a:ext cx="1371600" cy="1371600"/>
            <a:chOff x="822960" y="1511675"/>
            <a:chExt cx="1371600" cy="1371600"/>
          </a:xfrm>
        </p:grpSpPr>
        <p:sp>
          <p:nvSpPr>
            <p:cNvPr id="5" name="Pink Square Tile"/>
            <p:cNvSpPr>
              <a:spLocks noChangeAspect="1"/>
            </p:cNvSpPr>
            <p:nvPr/>
          </p:nvSpPr>
          <p:spPr>
            <a:xfrm>
              <a:off x="822960" y="1511675"/>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Moore’s Law</a:t>
              </a:r>
              <a:endParaRPr lang="en-US" sz="1400" dirty="0"/>
            </a:p>
          </p:txBody>
        </p:sp>
        <p:sp>
          <p:nvSpPr>
            <p:cNvPr id="10" name="Up Arrow 9"/>
            <p:cNvSpPr/>
            <p:nvPr/>
          </p:nvSpPr>
          <p:spPr>
            <a:xfrm rot="2700000">
              <a:off x="1265683" y="1624314"/>
              <a:ext cx="486156" cy="728605"/>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Low Power Wireless"/>
          <p:cNvGrpSpPr/>
          <p:nvPr/>
        </p:nvGrpSpPr>
        <p:grpSpPr>
          <a:xfrm>
            <a:off x="5410199" y="1506799"/>
            <a:ext cx="1371600" cy="1371600"/>
            <a:chOff x="2450877" y="1511675"/>
            <a:chExt cx="1371600" cy="1371600"/>
          </a:xfrm>
        </p:grpSpPr>
        <p:sp>
          <p:nvSpPr>
            <p:cNvPr id="13" name="Green Square Tile"/>
            <p:cNvSpPr>
              <a:spLocks noChangeAspect="1"/>
            </p:cNvSpPr>
            <p:nvPr/>
          </p:nvSpPr>
          <p:spPr>
            <a:xfrm>
              <a:off x="2450877" y="1511675"/>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Wireless</a:t>
              </a:r>
              <a:endParaRPr lang="en-US" sz="1400" dirty="0"/>
            </a:p>
          </p:txBody>
        </p:sp>
        <p:sp>
          <p:nvSpPr>
            <p:cNvPr id="14" name="RSS Icon"/>
            <p:cNvSpPr>
              <a:spLocks noChangeAspect="1"/>
            </p:cNvSpPr>
            <p:nvPr/>
          </p:nvSpPr>
          <p:spPr>
            <a:xfrm flipH="1">
              <a:off x="2833701" y="1675448"/>
              <a:ext cx="613692" cy="616584"/>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Low Power CPUs"/>
          <p:cNvGrpSpPr/>
          <p:nvPr/>
        </p:nvGrpSpPr>
        <p:grpSpPr>
          <a:xfrm>
            <a:off x="7039336" y="1506799"/>
            <a:ext cx="1371600" cy="1371600"/>
            <a:chOff x="4078794" y="1506799"/>
            <a:chExt cx="1371600" cy="1371600"/>
          </a:xfrm>
        </p:grpSpPr>
        <p:sp>
          <p:nvSpPr>
            <p:cNvPr id="16" name="Purple Square Tile"/>
            <p:cNvSpPr>
              <a:spLocks noChangeAspect="1"/>
            </p:cNvSpPr>
            <p:nvPr/>
          </p:nvSpPr>
          <p:spPr>
            <a:xfrm>
              <a:off x="4078794" y="1506799"/>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CPUs</a:t>
              </a:r>
              <a:endParaRPr lang="en-US" sz="1400" dirty="0"/>
            </a:p>
          </p:txBody>
        </p:sp>
        <p:sp>
          <p:nvSpPr>
            <p:cNvPr id="48" name="Freeform 47"/>
            <p:cNvSpPr/>
            <p:nvPr/>
          </p:nvSpPr>
          <p:spPr>
            <a:xfrm>
              <a:off x="4457412" y="1677491"/>
              <a:ext cx="616584" cy="616584"/>
            </a:xfrm>
            <a:custGeom>
              <a:avLst/>
              <a:gdLst>
                <a:gd name="connsiteX0" fmla="*/ 418857 w 2217755"/>
                <a:gd name="connsiteY0" fmla="*/ 0 h 2217754"/>
                <a:gd name="connsiteX1" fmla="*/ 519723 w 2217755"/>
                <a:gd name="connsiteY1" fmla="*/ 0 h 2217754"/>
                <a:gd name="connsiteX2" fmla="*/ 519723 w 2217755"/>
                <a:gd name="connsiteY2" fmla="*/ 199353 h 2217754"/>
                <a:gd name="connsiteX3" fmla="*/ 599412 w 2217755"/>
                <a:gd name="connsiteY3" fmla="*/ 199353 h 2217754"/>
                <a:gd name="connsiteX4" fmla="*/ 599412 w 2217755"/>
                <a:gd name="connsiteY4" fmla="*/ 0 h 2217754"/>
                <a:gd name="connsiteX5" fmla="*/ 700278 w 2217755"/>
                <a:gd name="connsiteY5" fmla="*/ 0 h 2217754"/>
                <a:gd name="connsiteX6" fmla="*/ 700278 w 2217755"/>
                <a:gd name="connsiteY6" fmla="*/ 199353 h 2217754"/>
                <a:gd name="connsiteX7" fmla="*/ 779967 w 2217755"/>
                <a:gd name="connsiteY7" fmla="*/ 199353 h 2217754"/>
                <a:gd name="connsiteX8" fmla="*/ 779967 w 2217755"/>
                <a:gd name="connsiteY8" fmla="*/ 0 h 2217754"/>
                <a:gd name="connsiteX9" fmla="*/ 880833 w 2217755"/>
                <a:gd name="connsiteY9" fmla="*/ 0 h 2217754"/>
                <a:gd name="connsiteX10" fmla="*/ 880833 w 2217755"/>
                <a:gd name="connsiteY10" fmla="*/ 199353 h 2217754"/>
                <a:gd name="connsiteX11" fmla="*/ 960522 w 2217755"/>
                <a:gd name="connsiteY11" fmla="*/ 199353 h 2217754"/>
                <a:gd name="connsiteX12" fmla="*/ 960522 w 2217755"/>
                <a:gd name="connsiteY12" fmla="*/ 0 h 2217754"/>
                <a:gd name="connsiteX13" fmla="*/ 1061388 w 2217755"/>
                <a:gd name="connsiteY13" fmla="*/ 0 h 2217754"/>
                <a:gd name="connsiteX14" fmla="*/ 1061388 w 2217755"/>
                <a:gd name="connsiteY14" fmla="*/ 199353 h 2217754"/>
                <a:gd name="connsiteX15" fmla="*/ 1141077 w 2217755"/>
                <a:gd name="connsiteY15" fmla="*/ 199353 h 2217754"/>
                <a:gd name="connsiteX16" fmla="*/ 1141077 w 2217755"/>
                <a:gd name="connsiteY16" fmla="*/ 0 h 2217754"/>
                <a:gd name="connsiteX17" fmla="*/ 1241943 w 2217755"/>
                <a:gd name="connsiteY17" fmla="*/ 0 h 2217754"/>
                <a:gd name="connsiteX18" fmla="*/ 1241943 w 2217755"/>
                <a:gd name="connsiteY18" fmla="*/ 199353 h 2217754"/>
                <a:gd name="connsiteX19" fmla="*/ 1321632 w 2217755"/>
                <a:gd name="connsiteY19" fmla="*/ 199353 h 2217754"/>
                <a:gd name="connsiteX20" fmla="*/ 1321632 w 2217755"/>
                <a:gd name="connsiteY20" fmla="*/ 0 h 2217754"/>
                <a:gd name="connsiteX21" fmla="*/ 1422498 w 2217755"/>
                <a:gd name="connsiteY21" fmla="*/ 0 h 2217754"/>
                <a:gd name="connsiteX22" fmla="*/ 1422498 w 2217755"/>
                <a:gd name="connsiteY22" fmla="*/ 199353 h 2217754"/>
                <a:gd name="connsiteX23" fmla="*/ 1502187 w 2217755"/>
                <a:gd name="connsiteY23" fmla="*/ 199353 h 2217754"/>
                <a:gd name="connsiteX24" fmla="*/ 1502187 w 2217755"/>
                <a:gd name="connsiteY24" fmla="*/ 0 h 2217754"/>
                <a:gd name="connsiteX25" fmla="*/ 1603053 w 2217755"/>
                <a:gd name="connsiteY25" fmla="*/ 0 h 2217754"/>
                <a:gd name="connsiteX26" fmla="*/ 1603053 w 2217755"/>
                <a:gd name="connsiteY26" fmla="*/ 199353 h 2217754"/>
                <a:gd name="connsiteX27" fmla="*/ 1682742 w 2217755"/>
                <a:gd name="connsiteY27" fmla="*/ 199353 h 2217754"/>
                <a:gd name="connsiteX28" fmla="*/ 1682742 w 2217755"/>
                <a:gd name="connsiteY28" fmla="*/ 0 h 2217754"/>
                <a:gd name="connsiteX29" fmla="*/ 1783608 w 2217755"/>
                <a:gd name="connsiteY29" fmla="*/ 0 h 2217754"/>
                <a:gd name="connsiteX30" fmla="*/ 1783608 w 2217755"/>
                <a:gd name="connsiteY30" fmla="*/ 199353 h 2217754"/>
                <a:gd name="connsiteX31" fmla="*/ 1863229 w 2217755"/>
                <a:gd name="connsiteY31" fmla="*/ 199353 h 2217754"/>
                <a:gd name="connsiteX32" fmla="*/ 2015632 w 2217755"/>
                <a:gd name="connsiteY32" fmla="*/ 351756 h 2217754"/>
                <a:gd name="connsiteX33" fmla="*/ 2015632 w 2217755"/>
                <a:gd name="connsiteY33" fmla="*/ 427556 h 2217754"/>
                <a:gd name="connsiteX34" fmla="*/ 2217755 w 2217755"/>
                <a:gd name="connsiteY34" fmla="*/ 427556 h 2217754"/>
                <a:gd name="connsiteX35" fmla="*/ 2217755 w 2217755"/>
                <a:gd name="connsiteY35" fmla="*/ 528422 h 2217754"/>
                <a:gd name="connsiteX36" fmla="*/ 2015632 w 2217755"/>
                <a:gd name="connsiteY36" fmla="*/ 528422 h 2217754"/>
                <a:gd name="connsiteX37" fmla="*/ 2015632 w 2217755"/>
                <a:gd name="connsiteY37" fmla="*/ 608111 h 2217754"/>
                <a:gd name="connsiteX38" fmla="*/ 2217755 w 2217755"/>
                <a:gd name="connsiteY38" fmla="*/ 608111 h 2217754"/>
                <a:gd name="connsiteX39" fmla="*/ 2217755 w 2217755"/>
                <a:gd name="connsiteY39" fmla="*/ 708977 h 2217754"/>
                <a:gd name="connsiteX40" fmla="*/ 2015632 w 2217755"/>
                <a:gd name="connsiteY40" fmla="*/ 708977 h 2217754"/>
                <a:gd name="connsiteX41" fmla="*/ 2015632 w 2217755"/>
                <a:gd name="connsiteY41" fmla="*/ 788666 h 2217754"/>
                <a:gd name="connsiteX42" fmla="*/ 2217755 w 2217755"/>
                <a:gd name="connsiteY42" fmla="*/ 788666 h 2217754"/>
                <a:gd name="connsiteX43" fmla="*/ 2217755 w 2217755"/>
                <a:gd name="connsiteY43" fmla="*/ 889532 h 2217754"/>
                <a:gd name="connsiteX44" fmla="*/ 2015632 w 2217755"/>
                <a:gd name="connsiteY44" fmla="*/ 889532 h 2217754"/>
                <a:gd name="connsiteX45" fmla="*/ 2015632 w 2217755"/>
                <a:gd name="connsiteY45" fmla="*/ 969221 h 2217754"/>
                <a:gd name="connsiteX46" fmla="*/ 2217755 w 2217755"/>
                <a:gd name="connsiteY46" fmla="*/ 969221 h 2217754"/>
                <a:gd name="connsiteX47" fmla="*/ 2217755 w 2217755"/>
                <a:gd name="connsiteY47" fmla="*/ 1070087 h 2217754"/>
                <a:gd name="connsiteX48" fmla="*/ 2015632 w 2217755"/>
                <a:gd name="connsiteY48" fmla="*/ 1070087 h 2217754"/>
                <a:gd name="connsiteX49" fmla="*/ 2015632 w 2217755"/>
                <a:gd name="connsiteY49" fmla="*/ 1113753 h 2217754"/>
                <a:gd name="connsiteX50" fmla="*/ 2015632 w 2217755"/>
                <a:gd name="connsiteY50" fmla="*/ 1149776 h 2217754"/>
                <a:gd name="connsiteX51" fmla="*/ 2217755 w 2217755"/>
                <a:gd name="connsiteY51" fmla="*/ 1149776 h 2217754"/>
                <a:gd name="connsiteX52" fmla="*/ 2217755 w 2217755"/>
                <a:gd name="connsiteY52" fmla="*/ 1250642 h 2217754"/>
                <a:gd name="connsiteX53" fmla="*/ 2015632 w 2217755"/>
                <a:gd name="connsiteY53" fmla="*/ 1250642 h 2217754"/>
                <a:gd name="connsiteX54" fmla="*/ 2015632 w 2217755"/>
                <a:gd name="connsiteY54" fmla="*/ 1330331 h 2217754"/>
                <a:gd name="connsiteX55" fmla="*/ 2217755 w 2217755"/>
                <a:gd name="connsiteY55" fmla="*/ 1330331 h 2217754"/>
                <a:gd name="connsiteX56" fmla="*/ 2217755 w 2217755"/>
                <a:gd name="connsiteY56" fmla="*/ 1431197 h 2217754"/>
                <a:gd name="connsiteX57" fmla="*/ 2015632 w 2217755"/>
                <a:gd name="connsiteY57" fmla="*/ 1431197 h 2217754"/>
                <a:gd name="connsiteX58" fmla="*/ 2015632 w 2217755"/>
                <a:gd name="connsiteY58" fmla="*/ 1510886 h 2217754"/>
                <a:gd name="connsiteX59" fmla="*/ 2217755 w 2217755"/>
                <a:gd name="connsiteY59" fmla="*/ 1510886 h 2217754"/>
                <a:gd name="connsiteX60" fmla="*/ 2217755 w 2217755"/>
                <a:gd name="connsiteY60" fmla="*/ 1611752 h 2217754"/>
                <a:gd name="connsiteX61" fmla="*/ 2015632 w 2217755"/>
                <a:gd name="connsiteY61" fmla="*/ 1611752 h 2217754"/>
                <a:gd name="connsiteX62" fmla="*/ 2015632 w 2217755"/>
                <a:gd name="connsiteY62" fmla="*/ 1691441 h 2217754"/>
                <a:gd name="connsiteX63" fmla="*/ 2217755 w 2217755"/>
                <a:gd name="connsiteY63" fmla="*/ 1691441 h 2217754"/>
                <a:gd name="connsiteX64" fmla="*/ 2217755 w 2217755"/>
                <a:gd name="connsiteY64" fmla="*/ 1792307 h 2217754"/>
                <a:gd name="connsiteX65" fmla="*/ 2015632 w 2217755"/>
                <a:gd name="connsiteY65" fmla="*/ 1792307 h 2217754"/>
                <a:gd name="connsiteX66" fmla="*/ 2015632 w 2217755"/>
                <a:gd name="connsiteY66" fmla="*/ 1875750 h 2217754"/>
                <a:gd name="connsiteX67" fmla="*/ 1863229 w 2217755"/>
                <a:gd name="connsiteY67" fmla="*/ 2028153 h 2217754"/>
                <a:gd name="connsiteX68" fmla="*/ 1791253 w 2217755"/>
                <a:gd name="connsiteY68" fmla="*/ 2028153 h 2217754"/>
                <a:gd name="connsiteX69" fmla="*/ 1791253 w 2217755"/>
                <a:gd name="connsiteY69" fmla="*/ 2217754 h 2217754"/>
                <a:gd name="connsiteX70" fmla="*/ 1690387 w 2217755"/>
                <a:gd name="connsiteY70" fmla="*/ 2217754 h 2217754"/>
                <a:gd name="connsiteX71" fmla="*/ 1690387 w 2217755"/>
                <a:gd name="connsiteY71" fmla="*/ 2028153 h 2217754"/>
                <a:gd name="connsiteX72" fmla="*/ 1610698 w 2217755"/>
                <a:gd name="connsiteY72" fmla="*/ 2028153 h 2217754"/>
                <a:gd name="connsiteX73" fmla="*/ 1610698 w 2217755"/>
                <a:gd name="connsiteY73" fmla="*/ 2217754 h 2217754"/>
                <a:gd name="connsiteX74" fmla="*/ 1509832 w 2217755"/>
                <a:gd name="connsiteY74" fmla="*/ 2217754 h 2217754"/>
                <a:gd name="connsiteX75" fmla="*/ 1509832 w 2217755"/>
                <a:gd name="connsiteY75" fmla="*/ 2028153 h 2217754"/>
                <a:gd name="connsiteX76" fmla="*/ 1430143 w 2217755"/>
                <a:gd name="connsiteY76" fmla="*/ 2028153 h 2217754"/>
                <a:gd name="connsiteX77" fmla="*/ 1430143 w 2217755"/>
                <a:gd name="connsiteY77" fmla="*/ 2217754 h 2217754"/>
                <a:gd name="connsiteX78" fmla="*/ 1329277 w 2217755"/>
                <a:gd name="connsiteY78" fmla="*/ 2217754 h 2217754"/>
                <a:gd name="connsiteX79" fmla="*/ 1329277 w 2217755"/>
                <a:gd name="connsiteY79" fmla="*/ 2028153 h 2217754"/>
                <a:gd name="connsiteX80" fmla="*/ 1249588 w 2217755"/>
                <a:gd name="connsiteY80" fmla="*/ 2028153 h 2217754"/>
                <a:gd name="connsiteX81" fmla="*/ 1249588 w 2217755"/>
                <a:gd name="connsiteY81" fmla="*/ 2217754 h 2217754"/>
                <a:gd name="connsiteX82" fmla="*/ 1148722 w 2217755"/>
                <a:gd name="connsiteY82" fmla="*/ 2217754 h 2217754"/>
                <a:gd name="connsiteX83" fmla="*/ 1148722 w 2217755"/>
                <a:gd name="connsiteY83" fmla="*/ 2028153 h 2217754"/>
                <a:gd name="connsiteX84" fmla="*/ 1069033 w 2217755"/>
                <a:gd name="connsiteY84" fmla="*/ 2028153 h 2217754"/>
                <a:gd name="connsiteX85" fmla="*/ 1069033 w 2217755"/>
                <a:gd name="connsiteY85" fmla="*/ 2217754 h 2217754"/>
                <a:gd name="connsiteX86" fmla="*/ 968167 w 2217755"/>
                <a:gd name="connsiteY86" fmla="*/ 2217754 h 2217754"/>
                <a:gd name="connsiteX87" fmla="*/ 968167 w 2217755"/>
                <a:gd name="connsiteY87" fmla="*/ 2028153 h 2217754"/>
                <a:gd name="connsiteX88" fmla="*/ 888478 w 2217755"/>
                <a:gd name="connsiteY88" fmla="*/ 2028153 h 2217754"/>
                <a:gd name="connsiteX89" fmla="*/ 888478 w 2217755"/>
                <a:gd name="connsiteY89" fmla="*/ 2217754 h 2217754"/>
                <a:gd name="connsiteX90" fmla="*/ 787612 w 2217755"/>
                <a:gd name="connsiteY90" fmla="*/ 2217754 h 2217754"/>
                <a:gd name="connsiteX91" fmla="*/ 787612 w 2217755"/>
                <a:gd name="connsiteY91" fmla="*/ 2028153 h 2217754"/>
                <a:gd name="connsiteX92" fmla="*/ 707923 w 2217755"/>
                <a:gd name="connsiteY92" fmla="*/ 2028153 h 2217754"/>
                <a:gd name="connsiteX93" fmla="*/ 707923 w 2217755"/>
                <a:gd name="connsiteY93" fmla="*/ 2217754 h 2217754"/>
                <a:gd name="connsiteX94" fmla="*/ 607057 w 2217755"/>
                <a:gd name="connsiteY94" fmla="*/ 2217754 h 2217754"/>
                <a:gd name="connsiteX95" fmla="*/ 607057 w 2217755"/>
                <a:gd name="connsiteY95" fmla="*/ 2028153 h 2217754"/>
                <a:gd name="connsiteX96" fmla="*/ 527368 w 2217755"/>
                <a:gd name="connsiteY96" fmla="*/ 2028153 h 2217754"/>
                <a:gd name="connsiteX97" fmla="*/ 527368 w 2217755"/>
                <a:gd name="connsiteY97" fmla="*/ 2217754 h 2217754"/>
                <a:gd name="connsiteX98" fmla="*/ 426502 w 2217755"/>
                <a:gd name="connsiteY98" fmla="*/ 2217754 h 2217754"/>
                <a:gd name="connsiteX99" fmla="*/ 426502 w 2217755"/>
                <a:gd name="connsiteY99" fmla="*/ 2028153 h 2217754"/>
                <a:gd name="connsiteX100" fmla="*/ 339235 w 2217755"/>
                <a:gd name="connsiteY100" fmla="*/ 2028153 h 2217754"/>
                <a:gd name="connsiteX101" fmla="*/ 186832 w 2217755"/>
                <a:gd name="connsiteY101" fmla="*/ 1875750 h 2217754"/>
                <a:gd name="connsiteX102" fmla="*/ 186832 w 2217755"/>
                <a:gd name="connsiteY102" fmla="*/ 1799952 h 2217754"/>
                <a:gd name="connsiteX103" fmla="*/ 0 w 2217755"/>
                <a:gd name="connsiteY103" fmla="*/ 1799952 h 2217754"/>
                <a:gd name="connsiteX104" fmla="*/ 0 w 2217755"/>
                <a:gd name="connsiteY104" fmla="*/ 1699086 h 2217754"/>
                <a:gd name="connsiteX105" fmla="*/ 186832 w 2217755"/>
                <a:gd name="connsiteY105" fmla="*/ 1699086 h 2217754"/>
                <a:gd name="connsiteX106" fmla="*/ 186832 w 2217755"/>
                <a:gd name="connsiteY106" fmla="*/ 1619397 h 2217754"/>
                <a:gd name="connsiteX107" fmla="*/ 0 w 2217755"/>
                <a:gd name="connsiteY107" fmla="*/ 1619397 h 2217754"/>
                <a:gd name="connsiteX108" fmla="*/ 0 w 2217755"/>
                <a:gd name="connsiteY108" fmla="*/ 1518531 h 2217754"/>
                <a:gd name="connsiteX109" fmla="*/ 186832 w 2217755"/>
                <a:gd name="connsiteY109" fmla="*/ 1518531 h 2217754"/>
                <a:gd name="connsiteX110" fmla="*/ 186832 w 2217755"/>
                <a:gd name="connsiteY110" fmla="*/ 1438842 h 2217754"/>
                <a:gd name="connsiteX111" fmla="*/ 0 w 2217755"/>
                <a:gd name="connsiteY111" fmla="*/ 1438842 h 2217754"/>
                <a:gd name="connsiteX112" fmla="*/ 0 w 2217755"/>
                <a:gd name="connsiteY112" fmla="*/ 1337976 h 2217754"/>
                <a:gd name="connsiteX113" fmla="*/ 186832 w 2217755"/>
                <a:gd name="connsiteY113" fmla="*/ 1337976 h 2217754"/>
                <a:gd name="connsiteX114" fmla="*/ 186832 w 2217755"/>
                <a:gd name="connsiteY114" fmla="*/ 1258287 h 2217754"/>
                <a:gd name="connsiteX115" fmla="*/ 0 w 2217755"/>
                <a:gd name="connsiteY115" fmla="*/ 1258287 h 2217754"/>
                <a:gd name="connsiteX116" fmla="*/ 0 w 2217755"/>
                <a:gd name="connsiteY116" fmla="*/ 1157421 h 2217754"/>
                <a:gd name="connsiteX117" fmla="*/ 186832 w 2217755"/>
                <a:gd name="connsiteY117" fmla="*/ 1157421 h 2217754"/>
                <a:gd name="connsiteX118" fmla="*/ 186832 w 2217755"/>
                <a:gd name="connsiteY118" fmla="*/ 1113753 h 2217754"/>
                <a:gd name="connsiteX119" fmla="*/ 186832 w 2217755"/>
                <a:gd name="connsiteY119" fmla="*/ 1077732 h 2217754"/>
                <a:gd name="connsiteX120" fmla="*/ 0 w 2217755"/>
                <a:gd name="connsiteY120" fmla="*/ 1077732 h 2217754"/>
                <a:gd name="connsiteX121" fmla="*/ 0 w 2217755"/>
                <a:gd name="connsiteY121" fmla="*/ 976866 h 2217754"/>
                <a:gd name="connsiteX122" fmla="*/ 186832 w 2217755"/>
                <a:gd name="connsiteY122" fmla="*/ 976866 h 2217754"/>
                <a:gd name="connsiteX123" fmla="*/ 186832 w 2217755"/>
                <a:gd name="connsiteY123" fmla="*/ 897177 h 2217754"/>
                <a:gd name="connsiteX124" fmla="*/ 0 w 2217755"/>
                <a:gd name="connsiteY124" fmla="*/ 897177 h 2217754"/>
                <a:gd name="connsiteX125" fmla="*/ 0 w 2217755"/>
                <a:gd name="connsiteY125" fmla="*/ 796311 h 2217754"/>
                <a:gd name="connsiteX126" fmla="*/ 186832 w 2217755"/>
                <a:gd name="connsiteY126" fmla="*/ 796311 h 2217754"/>
                <a:gd name="connsiteX127" fmla="*/ 186832 w 2217755"/>
                <a:gd name="connsiteY127" fmla="*/ 716622 h 2217754"/>
                <a:gd name="connsiteX128" fmla="*/ 0 w 2217755"/>
                <a:gd name="connsiteY128" fmla="*/ 716622 h 2217754"/>
                <a:gd name="connsiteX129" fmla="*/ 0 w 2217755"/>
                <a:gd name="connsiteY129" fmla="*/ 615756 h 2217754"/>
                <a:gd name="connsiteX130" fmla="*/ 186832 w 2217755"/>
                <a:gd name="connsiteY130" fmla="*/ 615756 h 2217754"/>
                <a:gd name="connsiteX131" fmla="*/ 186832 w 2217755"/>
                <a:gd name="connsiteY131" fmla="*/ 536067 h 2217754"/>
                <a:gd name="connsiteX132" fmla="*/ 0 w 2217755"/>
                <a:gd name="connsiteY132" fmla="*/ 536067 h 2217754"/>
                <a:gd name="connsiteX133" fmla="*/ 0 w 2217755"/>
                <a:gd name="connsiteY133" fmla="*/ 435201 h 2217754"/>
                <a:gd name="connsiteX134" fmla="*/ 186832 w 2217755"/>
                <a:gd name="connsiteY134" fmla="*/ 435201 h 2217754"/>
                <a:gd name="connsiteX135" fmla="*/ 186832 w 2217755"/>
                <a:gd name="connsiteY135" fmla="*/ 351756 h 2217754"/>
                <a:gd name="connsiteX136" fmla="*/ 339235 w 2217755"/>
                <a:gd name="connsiteY136" fmla="*/ 199353 h 2217754"/>
                <a:gd name="connsiteX137" fmla="*/ 418857 w 2217755"/>
                <a:gd name="connsiteY137" fmla="*/ 199353 h 22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217755" h="2217754">
                  <a:moveTo>
                    <a:pt x="418857" y="0"/>
                  </a:moveTo>
                  <a:lnTo>
                    <a:pt x="519723" y="0"/>
                  </a:lnTo>
                  <a:lnTo>
                    <a:pt x="519723" y="199353"/>
                  </a:lnTo>
                  <a:lnTo>
                    <a:pt x="599412" y="199353"/>
                  </a:lnTo>
                  <a:lnTo>
                    <a:pt x="599412" y="0"/>
                  </a:lnTo>
                  <a:lnTo>
                    <a:pt x="700278" y="0"/>
                  </a:lnTo>
                  <a:lnTo>
                    <a:pt x="700278" y="199353"/>
                  </a:lnTo>
                  <a:lnTo>
                    <a:pt x="779967" y="199353"/>
                  </a:lnTo>
                  <a:lnTo>
                    <a:pt x="779967" y="0"/>
                  </a:lnTo>
                  <a:lnTo>
                    <a:pt x="880833" y="0"/>
                  </a:lnTo>
                  <a:lnTo>
                    <a:pt x="880833" y="199353"/>
                  </a:lnTo>
                  <a:lnTo>
                    <a:pt x="960522" y="199353"/>
                  </a:lnTo>
                  <a:lnTo>
                    <a:pt x="960522" y="0"/>
                  </a:lnTo>
                  <a:lnTo>
                    <a:pt x="1061388" y="0"/>
                  </a:lnTo>
                  <a:lnTo>
                    <a:pt x="1061388" y="199353"/>
                  </a:lnTo>
                  <a:lnTo>
                    <a:pt x="1141077" y="199353"/>
                  </a:lnTo>
                  <a:lnTo>
                    <a:pt x="1141077" y="0"/>
                  </a:lnTo>
                  <a:lnTo>
                    <a:pt x="1241943" y="0"/>
                  </a:lnTo>
                  <a:lnTo>
                    <a:pt x="1241943" y="199353"/>
                  </a:lnTo>
                  <a:lnTo>
                    <a:pt x="1321632" y="199353"/>
                  </a:lnTo>
                  <a:lnTo>
                    <a:pt x="1321632" y="0"/>
                  </a:lnTo>
                  <a:lnTo>
                    <a:pt x="1422498" y="0"/>
                  </a:lnTo>
                  <a:lnTo>
                    <a:pt x="1422498" y="199353"/>
                  </a:lnTo>
                  <a:lnTo>
                    <a:pt x="1502187" y="199353"/>
                  </a:lnTo>
                  <a:lnTo>
                    <a:pt x="1502187" y="0"/>
                  </a:lnTo>
                  <a:lnTo>
                    <a:pt x="1603053" y="0"/>
                  </a:lnTo>
                  <a:lnTo>
                    <a:pt x="1603053" y="199353"/>
                  </a:lnTo>
                  <a:lnTo>
                    <a:pt x="1682742" y="199353"/>
                  </a:lnTo>
                  <a:lnTo>
                    <a:pt x="1682742" y="0"/>
                  </a:lnTo>
                  <a:lnTo>
                    <a:pt x="1783608" y="0"/>
                  </a:lnTo>
                  <a:lnTo>
                    <a:pt x="1783608" y="199353"/>
                  </a:lnTo>
                  <a:lnTo>
                    <a:pt x="1863229" y="199353"/>
                  </a:lnTo>
                  <a:lnTo>
                    <a:pt x="2015632" y="351756"/>
                  </a:lnTo>
                  <a:lnTo>
                    <a:pt x="2015632" y="427556"/>
                  </a:lnTo>
                  <a:lnTo>
                    <a:pt x="2217755" y="427556"/>
                  </a:lnTo>
                  <a:lnTo>
                    <a:pt x="2217755" y="528422"/>
                  </a:lnTo>
                  <a:lnTo>
                    <a:pt x="2015632" y="528422"/>
                  </a:lnTo>
                  <a:lnTo>
                    <a:pt x="2015632" y="608111"/>
                  </a:lnTo>
                  <a:lnTo>
                    <a:pt x="2217755" y="608111"/>
                  </a:lnTo>
                  <a:lnTo>
                    <a:pt x="2217755" y="708977"/>
                  </a:lnTo>
                  <a:lnTo>
                    <a:pt x="2015632" y="708977"/>
                  </a:lnTo>
                  <a:lnTo>
                    <a:pt x="2015632" y="788666"/>
                  </a:lnTo>
                  <a:lnTo>
                    <a:pt x="2217755" y="788666"/>
                  </a:lnTo>
                  <a:lnTo>
                    <a:pt x="2217755" y="889532"/>
                  </a:lnTo>
                  <a:lnTo>
                    <a:pt x="2015632" y="889532"/>
                  </a:lnTo>
                  <a:lnTo>
                    <a:pt x="2015632" y="969221"/>
                  </a:lnTo>
                  <a:lnTo>
                    <a:pt x="2217755" y="969221"/>
                  </a:lnTo>
                  <a:lnTo>
                    <a:pt x="2217755" y="1070087"/>
                  </a:lnTo>
                  <a:lnTo>
                    <a:pt x="2015632" y="1070087"/>
                  </a:lnTo>
                  <a:lnTo>
                    <a:pt x="2015632" y="1113753"/>
                  </a:lnTo>
                  <a:lnTo>
                    <a:pt x="2015632" y="1149776"/>
                  </a:lnTo>
                  <a:lnTo>
                    <a:pt x="2217755" y="1149776"/>
                  </a:lnTo>
                  <a:lnTo>
                    <a:pt x="2217755" y="1250642"/>
                  </a:lnTo>
                  <a:lnTo>
                    <a:pt x="2015632" y="1250642"/>
                  </a:lnTo>
                  <a:lnTo>
                    <a:pt x="2015632" y="1330331"/>
                  </a:lnTo>
                  <a:lnTo>
                    <a:pt x="2217755" y="1330331"/>
                  </a:lnTo>
                  <a:lnTo>
                    <a:pt x="2217755" y="1431197"/>
                  </a:lnTo>
                  <a:lnTo>
                    <a:pt x="2015632" y="1431197"/>
                  </a:lnTo>
                  <a:lnTo>
                    <a:pt x="2015632" y="1510886"/>
                  </a:lnTo>
                  <a:lnTo>
                    <a:pt x="2217755" y="1510886"/>
                  </a:lnTo>
                  <a:lnTo>
                    <a:pt x="2217755" y="1611752"/>
                  </a:lnTo>
                  <a:lnTo>
                    <a:pt x="2015632" y="1611752"/>
                  </a:lnTo>
                  <a:lnTo>
                    <a:pt x="2015632" y="1691441"/>
                  </a:lnTo>
                  <a:lnTo>
                    <a:pt x="2217755" y="1691441"/>
                  </a:lnTo>
                  <a:lnTo>
                    <a:pt x="2217755" y="1792307"/>
                  </a:lnTo>
                  <a:lnTo>
                    <a:pt x="2015632" y="1792307"/>
                  </a:lnTo>
                  <a:lnTo>
                    <a:pt x="2015632" y="1875750"/>
                  </a:lnTo>
                  <a:lnTo>
                    <a:pt x="1863229" y="2028153"/>
                  </a:lnTo>
                  <a:lnTo>
                    <a:pt x="1791253" y="2028153"/>
                  </a:lnTo>
                  <a:lnTo>
                    <a:pt x="1791253" y="2217754"/>
                  </a:lnTo>
                  <a:lnTo>
                    <a:pt x="1690387" y="2217754"/>
                  </a:lnTo>
                  <a:lnTo>
                    <a:pt x="1690387" y="2028153"/>
                  </a:lnTo>
                  <a:lnTo>
                    <a:pt x="1610698" y="2028153"/>
                  </a:lnTo>
                  <a:lnTo>
                    <a:pt x="1610698" y="2217754"/>
                  </a:lnTo>
                  <a:lnTo>
                    <a:pt x="1509832" y="2217754"/>
                  </a:lnTo>
                  <a:lnTo>
                    <a:pt x="1509832" y="2028153"/>
                  </a:lnTo>
                  <a:lnTo>
                    <a:pt x="1430143" y="2028153"/>
                  </a:lnTo>
                  <a:lnTo>
                    <a:pt x="1430143" y="2217754"/>
                  </a:lnTo>
                  <a:lnTo>
                    <a:pt x="1329277" y="2217754"/>
                  </a:lnTo>
                  <a:lnTo>
                    <a:pt x="1329277" y="2028153"/>
                  </a:lnTo>
                  <a:lnTo>
                    <a:pt x="1249588" y="2028153"/>
                  </a:lnTo>
                  <a:lnTo>
                    <a:pt x="1249588" y="2217754"/>
                  </a:lnTo>
                  <a:lnTo>
                    <a:pt x="1148722" y="2217754"/>
                  </a:lnTo>
                  <a:lnTo>
                    <a:pt x="1148722" y="2028153"/>
                  </a:lnTo>
                  <a:lnTo>
                    <a:pt x="1069033" y="2028153"/>
                  </a:lnTo>
                  <a:lnTo>
                    <a:pt x="1069033" y="2217754"/>
                  </a:lnTo>
                  <a:lnTo>
                    <a:pt x="968167" y="2217754"/>
                  </a:lnTo>
                  <a:lnTo>
                    <a:pt x="968167" y="2028153"/>
                  </a:lnTo>
                  <a:lnTo>
                    <a:pt x="888478" y="2028153"/>
                  </a:lnTo>
                  <a:lnTo>
                    <a:pt x="888478" y="2217754"/>
                  </a:lnTo>
                  <a:lnTo>
                    <a:pt x="787612" y="2217754"/>
                  </a:lnTo>
                  <a:lnTo>
                    <a:pt x="787612" y="2028153"/>
                  </a:lnTo>
                  <a:lnTo>
                    <a:pt x="707923" y="2028153"/>
                  </a:lnTo>
                  <a:lnTo>
                    <a:pt x="707923" y="2217754"/>
                  </a:lnTo>
                  <a:lnTo>
                    <a:pt x="607057" y="2217754"/>
                  </a:lnTo>
                  <a:lnTo>
                    <a:pt x="607057" y="2028153"/>
                  </a:lnTo>
                  <a:lnTo>
                    <a:pt x="527368" y="2028153"/>
                  </a:lnTo>
                  <a:lnTo>
                    <a:pt x="527368" y="2217754"/>
                  </a:lnTo>
                  <a:lnTo>
                    <a:pt x="426502" y="2217754"/>
                  </a:lnTo>
                  <a:lnTo>
                    <a:pt x="426502" y="2028153"/>
                  </a:lnTo>
                  <a:lnTo>
                    <a:pt x="339235" y="2028153"/>
                  </a:lnTo>
                  <a:lnTo>
                    <a:pt x="186832" y="1875750"/>
                  </a:lnTo>
                  <a:lnTo>
                    <a:pt x="186832" y="1799952"/>
                  </a:lnTo>
                  <a:lnTo>
                    <a:pt x="0" y="1799952"/>
                  </a:lnTo>
                  <a:lnTo>
                    <a:pt x="0" y="1699086"/>
                  </a:lnTo>
                  <a:lnTo>
                    <a:pt x="186832" y="1699086"/>
                  </a:lnTo>
                  <a:lnTo>
                    <a:pt x="186832" y="1619397"/>
                  </a:lnTo>
                  <a:lnTo>
                    <a:pt x="0" y="1619397"/>
                  </a:lnTo>
                  <a:lnTo>
                    <a:pt x="0" y="1518531"/>
                  </a:lnTo>
                  <a:lnTo>
                    <a:pt x="186832" y="1518531"/>
                  </a:lnTo>
                  <a:lnTo>
                    <a:pt x="186832" y="1438842"/>
                  </a:lnTo>
                  <a:lnTo>
                    <a:pt x="0" y="1438842"/>
                  </a:lnTo>
                  <a:lnTo>
                    <a:pt x="0" y="1337976"/>
                  </a:lnTo>
                  <a:lnTo>
                    <a:pt x="186832" y="1337976"/>
                  </a:lnTo>
                  <a:lnTo>
                    <a:pt x="186832" y="1258287"/>
                  </a:lnTo>
                  <a:lnTo>
                    <a:pt x="0" y="1258287"/>
                  </a:lnTo>
                  <a:lnTo>
                    <a:pt x="0" y="1157421"/>
                  </a:lnTo>
                  <a:lnTo>
                    <a:pt x="186832" y="1157421"/>
                  </a:lnTo>
                  <a:lnTo>
                    <a:pt x="186832" y="1113753"/>
                  </a:lnTo>
                  <a:lnTo>
                    <a:pt x="186832" y="1077732"/>
                  </a:lnTo>
                  <a:lnTo>
                    <a:pt x="0" y="1077732"/>
                  </a:lnTo>
                  <a:lnTo>
                    <a:pt x="0" y="976866"/>
                  </a:lnTo>
                  <a:lnTo>
                    <a:pt x="186832" y="976866"/>
                  </a:lnTo>
                  <a:lnTo>
                    <a:pt x="186832" y="897177"/>
                  </a:lnTo>
                  <a:lnTo>
                    <a:pt x="0" y="897177"/>
                  </a:lnTo>
                  <a:lnTo>
                    <a:pt x="0" y="796311"/>
                  </a:lnTo>
                  <a:lnTo>
                    <a:pt x="186832" y="796311"/>
                  </a:lnTo>
                  <a:lnTo>
                    <a:pt x="186832" y="716622"/>
                  </a:lnTo>
                  <a:lnTo>
                    <a:pt x="0" y="716622"/>
                  </a:lnTo>
                  <a:lnTo>
                    <a:pt x="0" y="615756"/>
                  </a:lnTo>
                  <a:lnTo>
                    <a:pt x="186832" y="615756"/>
                  </a:lnTo>
                  <a:lnTo>
                    <a:pt x="186832" y="536067"/>
                  </a:lnTo>
                  <a:lnTo>
                    <a:pt x="0" y="536067"/>
                  </a:lnTo>
                  <a:lnTo>
                    <a:pt x="0" y="435201"/>
                  </a:lnTo>
                  <a:lnTo>
                    <a:pt x="186832" y="435201"/>
                  </a:lnTo>
                  <a:lnTo>
                    <a:pt x="186832" y="351756"/>
                  </a:lnTo>
                  <a:lnTo>
                    <a:pt x="339235" y="199353"/>
                  </a:lnTo>
                  <a:lnTo>
                    <a:pt x="418857" y="1993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3" name="Cloud Computing"/>
          <p:cNvGrpSpPr/>
          <p:nvPr/>
        </p:nvGrpSpPr>
        <p:grpSpPr>
          <a:xfrm>
            <a:off x="5410199" y="3134716"/>
            <a:ext cx="1371600" cy="1371600"/>
            <a:chOff x="5705676" y="1506799"/>
            <a:chExt cx="1371600" cy="1371600"/>
          </a:xfrm>
        </p:grpSpPr>
        <p:sp>
          <p:nvSpPr>
            <p:cNvPr id="50" name="Orange Square Tile"/>
            <p:cNvSpPr>
              <a:spLocks noChangeAspect="1"/>
            </p:cNvSpPr>
            <p:nvPr/>
          </p:nvSpPr>
          <p:spPr>
            <a:xfrm>
              <a:off x="5705676" y="1506799"/>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Computing</a:t>
              </a:r>
              <a:endParaRPr lang="en-US" sz="1400" dirty="0"/>
            </a:p>
          </p:txBody>
        </p:sp>
        <p:sp>
          <p:nvSpPr>
            <p:cNvPr id="51" name="Cloud Icon 02"/>
            <p:cNvSpPr>
              <a:spLocks noChangeAspect="1"/>
            </p:cNvSpPr>
            <p:nvPr/>
          </p:nvSpPr>
          <p:spPr bwMode="auto">
            <a:xfrm>
              <a:off x="5939723" y="1675448"/>
              <a:ext cx="903505" cy="616584"/>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2" name="Cloud Data"/>
          <p:cNvGrpSpPr/>
          <p:nvPr/>
        </p:nvGrpSpPr>
        <p:grpSpPr>
          <a:xfrm>
            <a:off x="7039336" y="3134716"/>
            <a:ext cx="1371600" cy="1371600"/>
            <a:chOff x="7332558" y="1506799"/>
            <a:chExt cx="1371600" cy="1371600"/>
          </a:xfrm>
        </p:grpSpPr>
        <p:sp>
          <p:nvSpPr>
            <p:cNvPr id="52" name="XBOX Live Green Square Tile"/>
            <p:cNvSpPr>
              <a:spLocks noChangeAspect="1"/>
            </p:cNvSpPr>
            <p:nvPr/>
          </p:nvSpPr>
          <p:spPr>
            <a:xfrm>
              <a:off x="7332558" y="1506799"/>
              <a:ext cx="1371600" cy="1371600"/>
            </a:xfrm>
            <a:prstGeom prst="rect">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Data Storage</a:t>
              </a:r>
              <a:endParaRPr lang="en-US" sz="1400" dirty="0"/>
            </a:p>
          </p:txBody>
        </p:sp>
        <p:sp>
          <p:nvSpPr>
            <p:cNvPr id="53" name="Cloud Icon 02"/>
            <p:cNvSpPr>
              <a:spLocks noChangeAspect="1"/>
            </p:cNvSpPr>
            <p:nvPr/>
          </p:nvSpPr>
          <p:spPr bwMode="auto">
            <a:xfrm>
              <a:off x="7566605" y="1675448"/>
              <a:ext cx="903506" cy="616584"/>
            </a:xfrm>
            <a:custGeom>
              <a:avLst/>
              <a:gdLst/>
              <a:ahLst/>
              <a:cxnLst/>
              <a:rect l="l" t="t" r="r" b="b"/>
              <a:pathLst>
                <a:path w="2152696" h="1469076">
                  <a:moveTo>
                    <a:pt x="1076348" y="592839"/>
                  </a:moveTo>
                  <a:cubicBezTo>
                    <a:pt x="1193605" y="592839"/>
                    <a:pt x="1288661" y="623997"/>
                    <a:pt x="1288661" y="662431"/>
                  </a:cubicBezTo>
                  <a:cubicBezTo>
                    <a:pt x="1288661" y="700866"/>
                    <a:pt x="1193605" y="732024"/>
                    <a:pt x="1076348" y="732024"/>
                  </a:cubicBezTo>
                  <a:cubicBezTo>
                    <a:pt x="959091" y="732024"/>
                    <a:pt x="864036" y="700866"/>
                    <a:pt x="864036" y="662431"/>
                  </a:cubicBezTo>
                  <a:cubicBezTo>
                    <a:pt x="864036" y="623997"/>
                    <a:pt x="959091" y="592839"/>
                    <a:pt x="1076348" y="592839"/>
                  </a:cubicBezTo>
                  <a:close/>
                  <a:moveTo>
                    <a:pt x="1076348" y="554676"/>
                  </a:moveTo>
                  <a:cubicBezTo>
                    <a:pt x="913285" y="554676"/>
                    <a:pt x="781096" y="598005"/>
                    <a:pt x="781096" y="651454"/>
                  </a:cubicBezTo>
                  <a:lnTo>
                    <a:pt x="781096" y="1238500"/>
                  </a:lnTo>
                  <a:lnTo>
                    <a:pt x="781096" y="1244208"/>
                  </a:lnTo>
                  <a:lnTo>
                    <a:pt x="782852" y="1244208"/>
                  </a:lnTo>
                  <a:cubicBezTo>
                    <a:pt x="790991" y="1295119"/>
                    <a:pt x="919361" y="1335278"/>
                    <a:pt x="1076348" y="1335278"/>
                  </a:cubicBezTo>
                  <a:cubicBezTo>
                    <a:pt x="1233335" y="1335278"/>
                    <a:pt x="1361706" y="1295119"/>
                    <a:pt x="1369845" y="1244208"/>
                  </a:cubicBezTo>
                  <a:lnTo>
                    <a:pt x="1371600" y="1244208"/>
                  </a:lnTo>
                  <a:lnTo>
                    <a:pt x="1371600" y="1238500"/>
                  </a:lnTo>
                  <a:lnTo>
                    <a:pt x="1371600" y="651454"/>
                  </a:lnTo>
                  <a:cubicBezTo>
                    <a:pt x="1371600" y="598005"/>
                    <a:pt x="1239412" y="554676"/>
                    <a:pt x="1076348" y="554676"/>
                  </a:cubicBezTo>
                  <a:close/>
                  <a:moveTo>
                    <a:pt x="1370492" y="0"/>
                  </a:moveTo>
                  <a:cubicBezTo>
                    <a:pt x="1649741" y="0"/>
                    <a:pt x="1876118" y="226377"/>
                    <a:pt x="1876118" y="505626"/>
                  </a:cubicBezTo>
                  <a:cubicBezTo>
                    <a:pt x="1876118" y="551426"/>
                    <a:pt x="1870029" y="595803"/>
                    <a:pt x="1856561" y="637440"/>
                  </a:cubicBezTo>
                  <a:cubicBezTo>
                    <a:pt x="2029305" y="688718"/>
                    <a:pt x="2152696" y="849860"/>
                    <a:pt x="2152696" y="1039818"/>
                  </a:cubicBezTo>
                  <a:cubicBezTo>
                    <a:pt x="2152696" y="1276888"/>
                    <a:pt x="1960511" y="1469074"/>
                    <a:pt x="1723441" y="1469074"/>
                  </a:cubicBezTo>
                  <a:lnTo>
                    <a:pt x="1723428" y="1469071"/>
                  </a:lnTo>
                  <a:lnTo>
                    <a:pt x="429282" y="1469071"/>
                  </a:lnTo>
                  <a:cubicBezTo>
                    <a:pt x="429274" y="1469076"/>
                    <a:pt x="429263" y="1469076"/>
                    <a:pt x="429255" y="1469076"/>
                  </a:cubicBezTo>
                  <a:cubicBezTo>
                    <a:pt x="192186" y="1469076"/>
                    <a:pt x="0" y="1276891"/>
                    <a:pt x="0" y="1039821"/>
                  </a:cubicBezTo>
                  <a:cubicBezTo>
                    <a:pt x="0" y="850277"/>
                    <a:pt x="122857" y="689423"/>
                    <a:pt x="294992" y="637672"/>
                  </a:cubicBezTo>
                  <a:cubicBezTo>
                    <a:pt x="279383" y="605099"/>
                    <a:pt x="273467" y="568771"/>
                    <a:pt x="273467" y="531060"/>
                  </a:cubicBezTo>
                  <a:cubicBezTo>
                    <a:pt x="273467" y="336143"/>
                    <a:pt x="431477" y="178133"/>
                    <a:pt x="626395" y="178133"/>
                  </a:cubicBezTo>
                  <a:cubicBezTo>
                    <a:pt x="740212" y="178133"/>
                    <a:pt x="841446" y="232009"/>
                    <a:pt x="901373" y="319209"/>
                  </a:cubicBezTo>
                  <a:cubicBezTo>
                    <a:pt x="974777" y="132049"/>
                    <a:pt x="1157215" y="0"/>
                    <a:pt x="137049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1" name="Rapid Prototyping"/>
          <p:cNvGrpSpPr/>
          <p:nvPr/>
        </p:nvGrpSpPr>
        <p:grpSpPr>
          <a:xfrm>
            <a:off x="7039336" y="4762633"/>
            <a:ext cx="1371600" cy="1371600"/>
            <a:chOff x="8938205" y="1506799"/>
            <a:chExt cx="1371600" cy="1371600"/>
          </a:xfrm>
        </p:grpSpPr>
        <p:sp>
          <p:nvSpPr>
            <p:cNvPr id="55" name="Pink Square Tile"/>
            <p:cNvSpPr>
              <a:spLocks noChangeAspect="1"/>
            </p:cNvSpPr>
            <p:nvPr/>
          </p:nvSpPr>
          <p:spPr>
            <a:xfrm>
              <a:off x="8938205" y="1506799"/>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Rapid Prototyping</a:t>
              </a:r>
              <a:endParaRPr lang="en-US" sz="1400" dirty="0"/>
            </a:p>
          </p:txBody>
        </p:sp>
        <p:sp>
          <p:nvSpPr>
            <p:cNvPr id="62" name="Freeform 61"/>
            <p:cNvSpPr/>
            <p:nvPr/>
          </p:nvSpPr>
          <p:spPr>
            <a:xfrm>
              <a:off x="9090861" y="1674136"/>
              <a:ext cx="1066287" cy="619209"/>
            </a:xfrm>
            <a:custGeom>
              <a:avLst/>
              <a:gdLst>
                <a:gd name="connsiteX0" fmla="*/ 310439 w 895062"/>
                <a:gd name="connsiteY0" fmla="*/ 295750 h 519776"/>
                <a:gd name="connsiteX1" fmla="*/ 320015 w 895062"/>
                <a:gd name="connsiteY1" fmla="*/ 303313 h 519776"/>
                <a:gd name="connsiteX2" fmla="*/ 338889 w 895062"/>
                <a:gd name="connsiteY2" fmla="*/ 336718 h 519776"/>
                <a:gd name="connsiteX3" fmla="*/ 345069 w 895062"/>
                <a:gd name="connsiteY3" fmla="*/ 374465 h 519776"/>
                <a:gd name="connsiteX4" fmla="*/ 333377 w 895062"/>
                <a:gd name="connsiteY4" fmla="*/ 433592 h 519776"/>
                <a:gd name="connsiteX5" fmla="*/ 297801 w 895062"/>
                <a:gd name="connsiteY5" fmla="*/ 479523 h 519776"/>
                <a:gd name="connsiteX6" fmla="*/ 237505 w 895062"/>
                <a:gd name="connsiteY6" fmla="*/ 509254 h 519776"/>
                <a:gd name="connsiteX7" fmla="*/ 151655 w 895062"/>
                <a:gd name="connsiteY7" fmla="*/ 519776 h 519776"/>
                <a:gd name="connsiteX8" fmla="*/ 112739 w 895062"/>
                <a:gd name="connsiteY8" fmla="*/ 517939 h 519776"/>
                <a:gd name="connsiteX9" fmla="*/ 77831 w 895062"/>
                <a:gd name="connsiteY9" fmla="*/ 513095 h 519776"/>
                <a:gd name="connsiteX10" fmla="*/ 47934 w 895062"/>
                <a:gd name="connsiteY10" fmla="*/ 506247 h 519776"/>
                <a:gd name="connsiteX11" fmla="*/ 24384 w 895062"/>
                <a:gd name="connsiteY11" fmla="*/ 498397 h 519776"/>
                <a:gd name="connsiteX12" fmla="*/ 24384 w 895062"/>
                <a:gd name="connsiteY12" fmla="*/ 490269 h 519776"/>
                <a:gd name="connsiteX13" fmla="*/ 35742 w 895062"/>
                <a:gd name="connsiteY13" fmla="*/ 494055 h 519776"/>
                <a:gd name="connsiteX14" fmla="*/ 65639 w 895062"/>
                <a:gd name="connsiteY14" fmla="*/ 500903 h 519776"/>
                <a:gd name="connsiteX15" fmla="*/ 100547 w 895062"/>
                <a:gd name="connsiteY15" fmla="*/ 505747 h 519776"/>
                <a:gd name="connsiteX16" fmla="*/ 139463 w 895062"/>
                <a:gd name="connsiteY16" fmla="*/ 507584 h 519776"/>
                <a:gd name="connsiteX17" fmla="*/ 225313 w 895062"/>
                <a:gd name="connsiteY17" fmla="*/ 497062 h 519776"/>
                <a:gd name="connsiteX18" fmla="*/ 285609 w 895062"/>
                <a:gd name="connsiteY18" fmla="*/ 467331 h 519776"/>
                <a:gd name="connsiteX19" fmla="*/ 321185 w 895062"/>
                <a:gd name="connsiteY19" fmla="*/ 421400 h 519776"/>
                <a:gd name="connsiteX20" fmla="*/ 332877 w 895062"/>
                <a:gd name="connsiteY20" fmla="*/ 362273 h 519776"/>
                <a:gd name="connsiteX21" fmla="*/ 326697 w 895062"/>
                <a:gd name="connsiteY21" fmla="*/ 324526 h 519776"/>
                <a:gd name="connsiteX22" fmla="*/ 587739 w 895062"/>
                <a:gd name="connsiteY22" fmla="*/ 145309 h 519776"/>
                <a:gd name="connsiteX23" fmla="*/ 587739 w 895062"/>
                <a:gd name="connsiteY23" fmla="*/ 374133 h 519776"/>
                <a:gd name="connsiteX24" fmla="*/ 603775 w 895062"/>
                <a:gd name="connsiteY24" fmla="*/ 374133 h 519776"/>
                <a:gd name="connsiteX25" fmla="*/ 651209 w 895062"/>
                <a:gd name="connsiteY25" fmla="*/ 364613 h 519776"/>
                <a:gd name="connsiteX26" fmla="*/ 686952 w 895062"/>
                <a:gd name="connsiteY26" fmla="*/ 337889 h 519776"/>
                <a:gd name="connsiteX27" fmla="*/ 709500 w 895062"/>
                <a:gd name="connsiteY27" fmla="*/ 296467 h 519776"/>
                <a:gd name="connsiteX28" fmla="*/ 717351 w 895062"/>
                <a:gd name="connsiteY28" fmla="*/ 242852 h 519776"/>
                <a:gd name="connsiteX29" fmla="*/ 710336 w 895062"/>
                <a:gd name="connsiteY29" fmla="*/ 197422 h 519776"/>
                <a:gd name="connsiteX30" fmla="*/ 694650 w 895062"/>
                <a:gd name="connsiteY30" fmla="*/ 168748 h 519776"/>
                <a:gd name="connsiteX31" fmla="*/ 676929 w 895062"/>
                <a:gd name="connsiteY31" fmla="*/ 155497 h 519776"/>
                <a:gd name="connsiteX32" fmla="*/ 624818 w 895062"/>
                <a:gd name="connsiteY32" fmla="*/ 145309 h 519776"/>
                <a:gd name="connsiteX33" fmla="*/ 563355 w 895062"/>
                <a:gd name="connsiteY33" fmla="*/ 120925 h 519776"/>
                <a:gd name="connsiteX34" fmla="*/ 563355 w 895062"/>
                <a:gd name="connsiteY34" fmla="*/ 374133 h 519776"/>
                <a:gd name="connsiteX35" fmla="*/ 575547 w 895062"/>
                <a:gd name="connsiteY35" fmla="*/ 374133 h 519776"/>
                <a:gd name="connsiteX36" fmla="*/ 575547 w 895062"/>
                <a:gd name="connsiteY36" fmla="*/ 133117 h 519776"/>
                <a:gd name="connsiteX37" fmla="*/ 612626 w 895062"/>
                <a:gd name="connsiteY37" fmla="*/ 133117 h 519776"/>
                <a:gd name="connsiteX38" fmla="*/ 664737 w 895062"/>
                <a:gd name="connsiteY38" fmla="*/ 143305 h 519776"/>
                <a:gd name="connsiteX39" fmla="*/ 691803 w 895062"/>
                <a:gd name="connsiteY39" fmla="*/ 163543 h 519776"/>
                <a:gd name="connsiteX40" fmla="*/ 688956 w 895062"/>
                <a:gd name="connsiteY40" fmla="*/ 158338 h 519776"/>
                <a:gd name="connsiteX41" fmla="*/ 652545 w 895062"/>
                <a:gd name="connsiteY41" fmla="*/ 131113 h 519776"/>
                <a:gd name="connsiteX42" fmla="*/ 600434 w 895062"/>
                <a:gd name="connsiteY42" fmla="*/ 120925 h 519776"/>
                <a:gd name="connsiteX43" fmla="*/ 832827 w 895062"/>
                <a:gd name="connsiteY43" fmla="*/ 93576 h 519776"/>
                <a:gd name="connsiteX44" fmla="*/ 841114 w 895062"/>
                <a:gd name="connsiteY44" fmla="*/ 99878 h 519776"/>
                <a:gd name="connsiteX45" fmla="*/ 872347 w 895062"/>
                <a:gd name="connsiteY45" fmla="*/ 146979 h 519776"/>
                <a:gd name="connsiteX46" fmla="*/ 889718 w 895062"/>
                <a:gd name="connsiteY46" fmla="*/ 203099 h 519776"/>
                <a:gd name="connsiteX47" fmla="*/ 895062 w 895062"/>
                <a:gd name="connsiteY47" fmla="*/ 265900 h 519776"/>
                <a:gd name="connsiteX48" fmla="*/ 877191 w 895062"/>
                <a:gd name="connsiteY48" fmla="*/ 367451 h 519776"/>
                <a:gd name="connsiteX49" fmla="*/ 826750 w 895062"/>
                <a:gd name="connsiteY49" fmla="*/ 444782 h 519776"/>
                <a:gd name="connsiteX50" fmla="*/ 748249 w 895062"/>
                <a:gd name="connsiteY50" fmla="*/ 494055 h 519776"/>
                <a:gd name="connsiteX51" fmla="*/ 646197 w 895062"/>
                <a:gd name="connsiteY51" fmla="*/ 511425 h 519776"/>
                <a:gd name="connsiteX52" fmla="*/ 443430 w 895062"/>
                <a:gd name="connsiteY52" fmla="*/ 511425 h 519776"/>
                <a:gd name="connsiteX53" fmla="*/ 443430 w 895062"/>
                <a:gd name="connsiteY53" fmla="*/ 499233 h 519776"/>
                <a:gd name="connsiteX54" fmla="*/ 634005 w 895062"/>
                <a:gd name="connsiteY54" fmla="*/ 499233 h 519776"/>
                <a:gd name="connsiteX55" fmla="*/ 736057 w 895062"/>
                <a:gd name="connsiteY55" fmla="*/ 481863 h 519776"/>
                <a:gd name="connsiteX56" fmla="*/ 814558 w 895062"/>
                <a:gd name="connsiteY56" fmla="*/ 432590 h 519776"/>
                <a:gd name="connsiteX57" fmla="*/ 864999 w 895062"/>
                <a:gd name="connsiteY57" fmla="*/ 355259 h 519776"/>
                <a:gd name="connsiteX58" fmla="*/ 882870 w 895062"/>
                <a:gd name="connsiteY58" fmla="*/ 253708 h 519776"/>
                <a:gd name="connsiteX59" fmla="*/ 877526 w 895062"/>
                <a:gd name="connsiteY59" fmla="*/ 190907 h 519776"/>
                <a:gd name="connsiteX60" fmla="*/ 860155 w 895062"/>
                <a:gd name="connsiteY60" fmla="*/ 134787 h 519776"/>
                <a:gd name="connsiteX61" fmla="*/ 419046 w 895062"/>
                <a:gd name="connsiteY61" fmla="*/ 8017 h 519776"/>
                <a:gd name="connsiteX62" fmla="*/ 617470 w 895062"/>
                <a:gd name="connsiteY62" fmla="*/ 8017 h 519776"/>
                <a:gd name="connsiteX63" fmla="*/ 703488 w 895062"/>
                <a:gd name="connsiteY63" fmla="*/ 16201 h 519776"/>
                <a:gd name="connsiteX64" fmla="*/ 769295 w 895062"/>
                <a:gd name="connsiteY64" fmla="*/ 39417 h 519776"/>
                <a:gd name="connsiteX65" fmla="*/ 816730 w 895062"/>
                <a:gd name="connsiteY65" fmla="*/ 75494 h 519776"/>
                <a:gd name="connsiteX66" fmla="*/ 847963 w 895062"/>
                <a:gd name="connsiteY66" fmla="*/ 122595 h 519776"/>
                <a:gd name="connsiteX67" fmla="*/ 865334 w 895062"/>
                <a:gd name="connsiteY67" fmla="*/ 178715 h 519776"/>
                <a:gd name="connsiteX68" fmla="*/ 870678 w 895062"/>
                <a:gd name="connsiteY68" fmla="*/ 241516 h 519776"/>
                <a:gd name="connsiteX69" fmla="*/ 852807 w 895062"/>
                <a:gd name="connsiteY69" fmla="*/ 343067 h 519776"/>
                <a:gd name="connsiteX70" fmla="*/ 802366 w 895062"/>
                <a:gd name="connsiteY70" fmla="*/ 420398 h 519776"/>
                <a:gd name="connsiteX71" fmla="*/ 723865 w 895062"/>
                <a:gd name="connsiteY71" fmla="*/ 469671 h 519776"/>
                <a:gd name="connsiteX72" fmla="*/ 621813 w 895062"/>
                <a:gd name="connsiteY72" fmla="*/ 487041 h 519776"/>
                <a:gd name="connsiteX73" fmla="*/ 419046 w 895062"/>
                <a:gd name="connsiteY73" fmla="*/ 487041 h 519776"/>
                <a:gd name="connsiteX74" fmla="*/ 138629 w 895062"/>
                <a:gd name="connsiteY74" fmla="*/ 0 h 519776"/>
                <a:gd name="connsiteX75" fmla="*/ 221139 w 895062"/>
                <a:gd name="connsiteY75" fmla="*/ 11357 h 519776"/>
                <a:gd name="connsiteX76" fmla="*/ 273250 w 895062"/>
                <a:gd name="connsiteY76" fmla="*/ 40419 h 519776"/>
                <a:gd name="connsiteX77" fmla="*/ 300475 w 895062"/>
                <a:gd name="connsiteY77" fmla="*/ 79837 h 519776"/>
                <a:gd name="connsiteX78" fmla="*/ 308326 w 895062"/>
                <a:gd name="connsiteY78" fmla="*/ 122261 h 519776"/>
                <a:gd name="connsiteX79" fmla="*/ 302980 w 895062"/>
                <a:gd name="connsiteY79" fmla="*/ 160844 h 519776"/>
                <a:gd name="connsiteX80" fmla="*/ 286278 w 895062"/>
                <a:gd name="connsiteY80" fmla="*/ 194749 h 519776"/>
                <a:gd name="connsiteX81" fmla="*/ 257550 w 895062"/>
                <a:gd name="connsiteY81" fmla="*/ 221139 h 519776"/>
                <a:gd name="connsiteX82" fmla="*/ 216128 w 895062"/>
                <a:gd name="connsiteY82" fmla="*/ 237174 h 519776"/>
                <a:gd name="connsiteX83" fmla="*/ 216128 w 895062"/>
                <a:gd name="connsiteY83" fmla="*/ 238844 h 519776"/>
                <a:gd name="connsiteX84" fmla="*/ 238117 w 895062"/>
                <a:gd name="connsiteY84" fmla="*/ 245574 h 519776"/>
                <a:gd name="connsiteX85" fmla="*/ 269742 w 895062"/>
                <a:gd name="connsiteY85" fmla="*/ 233331 h 519776"/>
                <a:gd name="connsiteX86" fmla="*/ 298470 w 895062"/>
                <a:gd name="connsiteY86" fmla="*/ 206941 h 519776"/>
                <a:gd name="connsiteX87" fmla="*/ 315172 w 895062"/>
                <a:gd name="connsiteY87" fmla="*/ 173036 h 519776"/>
                <a:gd name="connsiteX88" fmla="*/ 320518 w 895062"/>
                <a:gd name="connsiteY88" fmla="*/ 134453 h 519776"/>
                <a:gd name="connsiteX89" fmla="*/ 312667 w 895062"/>
                <a:gd name="connsiteY89" fmla="*/ 92029 h 519776"/>
                <a:gd name="connsiteX90" fmla="*/ 291500 w 895062"/>
                <a:gd name="connsiteY90" fmla="*/ 61382 h 519776"/>
                <a:gd name="connsiteX91" fmla="*/ 297634 w 895062"/>
                <a:gd name="connsiteY91" fmla="*/ 64803 h 519776"/>
                <a:gd name="connsiteX92" fmla="*/ 324859 w 895062"/>
                <a:gd name="connsiteY92" fmla="*/ 104221 h 519776"/>
                <a:gd name="connsiteX93" fmla="*/ 332710 w 895062"/>
                <a:gd name="connsiteY93" fmla="*/ 146645 h 519776"/>
                <a:gd name="connsiteX94" fmla="*/ 327364 w 895062"/>
                <a:gd name="connsiteY94" fmla="*/ 185228 h 519776"/>
                <a:gd name="connsiteX95" fmla="*/ 310662 w 895062"/>
                <a:gd name="connsiteY95" fmla="*/ 219133 h 519776"/>
                <a:gd name="connsiteX96" fmla="*/ 281934 w 895062"/>
                <a:gd name="connsiteY96" fmla="*/ 245523 h 519776"/>
                <a:gd name="connsiteX97" fmla="*/ 262514 w 895062"/>
                <a:gd name="connsiteY97" fmla="*/ 253040 h 519776"/>
                <a:gd name="connsiteX98" fmla="*/ 263061 w 895062"/>
                <a:gd name="connsiteY98" fmla="*/ 253208 h 519776"/>
                <a:gd name="connsiteX99" fmla="*/ 295631 w 895062"/>
                <a:gd name="connsiteY99" fmla="*/ 278929 h 519776"/>
                <a:gd name="connsiteX100" fmla="*/ 314505 w 895062"/>
                <a:gd name="connsiteY100" fmla="*/ 312334 h 519776"/>
                <a:gd name="connsiteX101" fmla="*/ 320685 w 895062"/>
                <a:gd name="connsiteY101" fmla="*/ 350081 h 519776"/>
                <a:gd name="connsiteX102" fmla="*/ 308993 w 895062"/>
                <a:gd name="connsiteY102" fmla="*/ 409208 h 519776"/>
                <a:gd name="connsiteX103" fmla="*/ 273417 w 895062"/>
                <a:gd name="connsiteY103" fmla="*/ 455139 h 519776"/>
                <a:gd name="connsiteX104" fmla="*/ 213121 w 895062"/>
                <a:gd name="connsiteY104" fmla="*/ 484870 h 519776"/>
                <a:gd name="connsiteX105" fmla="*/ 127271 w 895062"/>
                <a:gd name="connsiteY105" fmla="*/ 495392 h 519776"/>
                <a:gd name="connsiteX106" fmla="*/ 88355 w 895062"/>
                <a:gd name="connsiteY106" fmla="*/ 493555 h 519776"/>
                <a:gd name="connsiteX107" fmla="*/ 53447 w 895062"/>
                <a:gd name="connsiteY107" fmla="*/ 488711 h 519776"/>
                <a:gd name="connsiteX108" fmla="*/ 23550 w 895062"/>
                <a:gd name="connsiteY108" fmla="*/ 481863 h 519776"/>
                <a:gd name="connsiteX109" fmla="*/ 0 w 895062"/>
                <a:gd name="connsiteY109" fmla="*/ 474013 h 519776"/>
                <a:gd name="connsiteX110" fmla="*/ 0 w 895062"/>
                <a:gd name="connsiteY110" fmla="*/ 362442 h 519776"/>
                <a:gd name="connsiteX111" fmla="*/ 24051 w 895062"/>
                <a:gd name="connsiteY111" fmla="*/ 374467 h 519776"/>
                <a:gd name="connsiteX112" fmla="*/ 51109 w 895062"/>
                <a:gd name="connsiteY112" fmla="*/ 383486 h 519776"/>
                <a:gd name="connsiteX113" fmla="*/ 80004 w 895062"/>
                <a:gd name="connsiteY113" fmla="*/ 389165 h 519776"/>
                <a:gd name="connsiteX114" fmla="*/ 109233 w 895062"/>
                <a:gd name="connsiteY114" fmla="*/ 391169 h 519776"/>
                <a:gd name="connsiteX115" fmla="*/ 141969 w 895062"/>
                <a:gd name="connsiteY115" fmla="*/ 387494 h 519776"/>
                <a:gd name="connsiteX116" fmla="*/ 163682 w 895062"/>
                <a:gd name="connsiteY116" fmla="*/ 377473 h 519776"/>
                <a:gd name="connsiteX117" fmla="*/ 175875 w 895062"/>
                <a:gd name="connsiteY117" fmla="*/ 362442 h 519776"/>
                <a:gd name="connsiteX118" fmla="*/ 179717 w 895062"/>
                <a:gd name="connsiteY118" fmla="*/ 344068 h 519776"/>
                <a:gd name="connsiteX119" fmla="*/ 174889 w 895062"/>
                <a:gd name="connsiteY119" fmla="*/ 329268 h 519776"/>
                <a:gd name="connsiteX120" fmla="*/ 148983 w 895062"/>
                <a:gd name="connsiteY120" fmla="*/ 321686 h 519776"/>
                <a:gd name="connsiteX121" fmla="*/ 119253 w 895062"/>
                <a:gd name="connsiteY121" fmla="*/ 319348 h 519776"/>
                <a:gd name="connsiteX122" fmla="*/ 73154 w 895062"/>
                <a:gd name="connsiteY122" fmla="*/ 319348 h 519776"/>
                <a:gd name="connsiteX123" fmla="*/ 73154 w 895062"/>
                <a:gd name="connsiteY123" fmla="*/ 307156 h 519776"/>
                <a:gd name="connsiteX124" fmla="*/ 107061 w 895062"/>
                <a:gd name="connsiteY124" fmla="*/ 307156 h 519776"/>
                <a:gd name="connsiteX125" fmla="*/ 136791 w 895062"/>
                <a:gd name="connsiteY125" fmla="*/ 309494 h 519776"/>
                <a:gd name="connsiteX126" fmla="*/ 164183 w 895062"/>
                <a:gd name="connsiteY126" fmla="*/ 317511 h 519776"/>
                <a:gd name="connsiteX127" fmla="*/ 173311 w 895062"/>
                <a:gd name="connsiteY127" fmla="*/ 324433 h 519776"/>
                <a:gd name="connsiteX128" fmla="*/ 172034 w 895062"/>
                <a:gd name="connsiteY128" fmla="*/ 320518 h 519776"/>
                <a:gd name="connsiteX129" fmla="*/ 151991 w 895062"/>
                <a:gd name="connsiteY129" fmla="*/ 305319 h 519776"/>
                <a:gd name="connsiteX130" fmla="*/ 124599 w 895062"/>
                <a:gd name="connsiteY130" fmla="*/ 297302 h 519776"/>
                <a:gd name="connsiteX131" fmla="*/ 94869 w 895062"/>
                <a:gd name="connsiteY131" fmla="*/ 294964 h 519776"/>
                <a:gd name="connsiteX132" fmla="*/ 48770 w 895062"/>
                <a:gd name="connsiteY132" fmla="*/ 294964 h 519776"/>
                <a:gd name="connsiteX133" fmla="*/ 48770 w 895062"/>
                <a:gd name="connsiteY133" fmla="*/ 190072 h 519776"/>
                <a:gd name="connsiteX134" fmla="*/ 89524 w 895062"/>
                <a:gd name="connsiteY134" fmla="*/ 190072 h 519776"/>
                <a:gd name="connsiteX135" fmla="*/ 149152 w 895062"/>
                <a:gd name="connsiteY135" fmla="*/ 177546 h 519776"/>
                <a:gd name="connsiteX136" fmla="*/ 168359 w 895062"/>
                <a:gd name="connsiteY136" fmla="*/ 144976 h 519776"/>
                <a:gd name="connsiteX137" fmla="*/ 163905 w 895062"/>
                <a:gd name="connsiteY137" fmla="*/ 135760 h 519776"/>
                <a:gd name="connsiteX138" fmla="*/ 133617 w 895062"/>
                <a:gd name="connsiteY138" fmla="*/ 128273 h 519776"/>
                <a:gd name="connsiteX139" fmla="*/ 106559 w 895062"/>
                <a:gd name="connsiteY139" fmla="*/ 130611 h 519776"/>
                <a:gd name="connsiteX140" fmla="*/ 81840 w 895062"/>
                <a:gd name="connsiteY140" fmla="*/ 136791 h 519776"/>
                <a:gd name="connsiteX141" fmla="*/ 59793 w 895062"/>
                <a:gd name="connsiteY141" fmla="*/ 145309 h 519776"/>
                <a:gd name="connsiteX142" fmla="*/ 40752 w 895062"/>
                <a:gd name="connsiteY142" fmla="*/ 154996 h 519776"/>
                <a:gd name="connsiteX143" fmla="*/ 40752 w 895062"/>
                <a:gd name="connsiteY143" fmla="*/ 136601 h 519776"/>
                <a:gd name="connsiteX144" fmla="*/ 47601 w 895062"/>
                <a:gd name="connsiteY144" fmla="*/ 133117 h 519776"/>
                <a:gd name="connsiteX145" fmla="*/ 69648 w 895062"/>
                <a:gd name="connsiteY145" fmla="*/ 124599 h 519776"/>
                <a:gd name="connsiteX146" fmla="*/ 94367 w 895062"/>
                <a:gd name="connsiteY146" fmla="*/ 118419 h 519776"/>
                <a:gd name="connsiteX147" fmla="*/ 121425 w 895062"/>
                <a:gd name="connsiteY147" fmla="*/ 116081 h 519776"/>
                <a:gd name="connsiteX148" fmla="*/ 158867 w 895062"/>
                <a:gd name="connsiteY148" fmla="*/ 125336 h 519776"/>
                <a:gd name="connsiteX149" fmla="*/ 153829 w 895062"/>
                <a:gd name="connsiteY149" fmla="*/ 114912 h 519776"/>
                <a:gd name="connsiteX150" fmla="*/ 109233 w 895062"/>
                <a:gd name="connsiteY150" fmla="*/ 103889 h 519776"/>
                <a:gd name="connsiteX151" fmla="*/ 82175 w 895062"/>
                <a:gd name="connsiteY151" fmla="*/ 106227 h 519776"/>
                <a:gd name="connsiteX152" fmla="*/ 57456 w 895062"/>
                <a:gd name="connsiteY152" fmla="*/ 112407 h 519776"/>
                <a:gd name="connsiteX153" fmla="*/ 35409 w 895062"/>
                <a:gd name="connsiteY153" fmla="*/ 120925 h 519776"/>
                <a:gd name="connsiteX154" fmla="*/ 16368 w 895062"/>
                <a:gd name="connsiteY154" fmla="*/ 130612 h 519776"/>
                <a:gd name="connsiteX155" fmla="*/ 16368 w 895062"/>
                <a:gd name="connsiteY155" fmla="*/ 24051 h 519776"/>
                <a:gd name="connsiteX156" fmla="*/ 38749 w 895062"/>
                <a:gd name="connsiteY156" fmla="*/ 15867 h 519776"/>
                <a:gd name="connsiteX157" fmla="*/ 66976 w 895062"/>
                <a:gd name="connsiteY157" fmla="*/ 8184 h 519776"/>
                <a:gd name="connsiteX158" fmla="*/ 100548 w 895062"/>
                <a:gd name="connsiteY158" fmla="*/ 2338 h 519776"/>
                <a:gd name="connsiteX159" fmla="*/ 138629 w 895062"/>
                <a:gd name="connsiteY159" fmla="*/ 0 h 51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895062" h="519776">
                  <a:moveTo>
                    <a:pt x="310439" y="295750"/>
                  </a:moveTo>
                  <a:lnTo>
                    <a:pt x="320015" y="303313"/>
                  </a:lnTo>
                  <a:cubicBezTo>
                    <a:pt x="328478" y="313335"/>
                    <a:pt x="334769" y="324470"/>
                    <a:pt x="338889" y="336718"/>
                  </a:cubicBezTo>
                  <a:cubicBezTo>
                    <a:pt x="343009" y="348967"/>
                    <a:pt x="345069" y="361549"/>
                    <a:pt x="345069" y="374465"/>
                  </a:cubicBezTo>
                  <a:cubicBezTo>
                    <a:pt x="345069" y="396067"/>
                    <a:pt x="341172" y="415776"/>
                    <a:pt x="333377" y="433592"/>
                  </a:cubicBezTo>
                  <a:cubicBezTo>
                    <a:pt x="325583" y="451408"/>
                    <a:pt x="313724" y="466718"/>
                    <a:pt x="297801" y="479523"/>
                  </a:cubicBezTo>
                  <a:cubicBezTo>
                    <a:pt x="281878" y="492329"/>
                    <a:pt x="261780" y="502239"/>
                    <a:pt x="237505" y="509254"/>
                  </a:cubicBezTo>
                  <a:cubicBezTo>
                    <a:pt x="213232" y="516269"/>
                    <a:pt x="184615" y="519776"/>
                    <a:pt x="151655" y="519776"/>
                  </a:cubicBezTo>
                  <a:cubicBezTo>
                    <a:pt x="138071" y="519776"/>
                    <a:pt x="125099" y="519164"/>
                    <a:pt x="112739" y="517939"/>
                  </a:cubicBezTo>
                  <a:cubicBezTo>
                    <a:pt x="100379" y="516714"/>
                    <a:pt x="88744" y="515099"/>
                    <a:pt x="77831" y="513095"/>
                  </a:cubicBezTo>
                  <a:cubicBezTo>
                    <a:pt x="66919" y="511091"/>
                    <a:pt x="56953" y="508808"/>
                    <a:pt x="47934" y="506247"/>
                  </a:cubicBezTo>
                  <a:cubicBezTo>
                    <a:pt x="38915" y="503686"/>
                    <a:pt x="31064" y="501069"/>
                    <a:pt x="24384" y="498397"/>
                  </a:cubicBezTo>
                  <a:lnTo>
                    <a:pt x="24384" y="490269"/>
                  </a:lnTo>
                  <a:lnTo>
                    <a:pt x="35742" y="494055"/>
                  </a:lnTo>
                  <a:cubicBezTo>
                    <a:pt x="44761" y="496616"/>
                    <a:pt x="54727" y="498899"/>
                    <a:pt x="65639" y="500903"/>
                  </a:cubicBezTo>
                  <a:cubicBezTo>
                    <a:pt x="76552" y="502907"/>
                    <a:pt x="88187" y="504522"/>
                    <a:pt x="100547" y="505747"/>
                  </a:cubicBezTo>
                  <a:cubicBezTo>
                    <a:pt x="112907" y="506972"/>
                    <a:pt x="125879" y="507584"/>
                    <a:pt x="139463" y="507584"/>
                  </a:cubicBezTo>
                  <a:cubicBezTo>
                    <a:pt x="172423" y="507584"/>
                    <a:pt x="201040" y="504077"/>
                    <a:pt x="225313" y="497062"/>
                  </a:cubicBezTo>
                  <a:cubicBezTo>
                    <a:pt x="249588" y="490047"/>
                    <a:pt x="269686" y="480137"/>
                    <a:pt x="285609" y="467331"/>
                  </a:cubicBezTo>
                  <a:cubicBezTo>
                    <a:pt x="301532" y="454526"/>
                    <a:pt x="313391" y="439216"/>
                    <a:pt x="321185" y="421400"/>
                  </a:cubicBezTo>
                  <a:cubicBezTo>
                    <a:pt x="328980" y="403584"/>
                    <a:pt x="332877" y="383875"/>
                    <a:pt x="332877" y="362273"/>
                  </a:cubicBezTo>
                  <a:cubicBezTo>
                    <a:pt x="332877" y="349357"/>
                    <a:pt x="330817" y="336775"/>
                    <a:pt x="326697" y="324526"/>
                  </a:cubicBezTo>
                  <a:close/>
                  <a:moveTo>
                    <a:pt x="587739" y="145309"/>
                  </a:moveTo>
                  <a:lnTo>
                    <a:pt x="587739" y="374133"/>
                  </a:lnTo>
                  <a:lnTo>
                    <a:pt x="603775" y="374133"/>
                  </a:lnTo>
                  <a:cubicBezTo>
                    <a:pt x="621368" y="374133"/>
                    <a:pt x="637179" y="370959"/>
                    <a:pt x="651209" y="364613"/>
                  </a:cubicBezTo>
                  <a:cubicBezTo>
                    <a:pt x="665240" y="358266"/>
                    <a:pt x="677153" y="349358"/>
                    <a:pt x="686952" y="337889"/>
                  </a:cubicBezTo>
                  <a:cubicBezTo>
                    <a:pt x="696751" y="326420"/>
                    <a:pt x="704267" y="312612"/>
                    <a:pt x="709500" y="296467"/>
                  </a:cubicBezTo>
                  <a:cubicBezTo>
                    <a:pt x="714734" y="280322"/>
                    <a:pt x="717351" y="262449"/>
                    <a:pt x="717351" y="242852"/>
                  </a:cubicBezTo>
                  <a:cubicBezTo>
                    <a:pt x="717351" y="227264"/>
                    <a:pt x="715012" y="212120"/>
                    <a:pt x="710336" y="197422"/>
                  </a:cubicBezTo>
                  <a:lnTo>
                    <a:pt x="694650" y="168748"/>
                  </a:lnTo>
                  <a:lnTo>
                    <a:pt x="676929" y="155497"/>
                  </a:lnTo>
                  <a:cubicBezTo>
                    <a:pt x="662231" y="148705"/>
                    <a:pt x="644861" y="145309"/>
                    <a:pt x="624818" y="145309"/>
                  </a:cubicBezTo>
                  <a:close/>
                  <a:moveTo>
                    <a:pt x="563355" y="120925"/>
                  </a:moveTo>
                  <a:lnTo>
                    <a:pt x="563355" y="374133"/>
                  </a:lnTo>
                  <a:lnTo>
                    <a:pt x="575547" y="374133"/>
                  </a:lnTo>
                  <a:lnTo>
                    <a:pt x="575547" y="133117"/>
                  </a:lnTo>
                  <a:lnTo>
                    <a:pt x="612626" y="133117"/>
                  </a:lnTo>
                  <a:cubicBezTo>
                    <a:pt x="632669" y="133117"/>
                    <a:pt x="650039" y="136513"/>
                    <a:pt x="664737" y="143305"/>
                  </a:cubicBezTo>
                  <a:lnTo>
                    <a:pt x="691803" y="163543"/>
                  </a:lnTo>
                  <a:lnTo>
                    <a:pt x="688956" y="158338"/>
                  </a:lnTo>
                  <a:cubicBezTo>
                    <a:pt x="679381" y="146981"/>
                    <a:pt x="667243" y="137906"/>
                    <a:pt x="652545" y="131113"/>
                  </a:cubicBezTo>
                  <a:cubicBezTo>
                    <a:pt x="637847" y="124321"/>
                    <a:pt x="620477" y="120925"/>
                    <a:pt x="600434" y="120925"/>
                  </a:cubicBezTo>
                  <a:close/>
                  <a:moveTo>
                    <a:pt x="832827" y="93576"/>
                  </a:moveTo>
                  <a:lnTo>
                    <a:pt x="841114" y="99878"/>
                  </a:lnTo>
                  <a:cubicBezTo>
                    <a:pt x="853919" y="113908"/>
                    <a:pt x="864330" y="129609"/>
                    <a:pt x="872347" y="146979"/>
                  </a:cubicBezTo>
                  <a:cubicBezTo>
                    <a:pt x="880364" y="164350"/>
                    <a:pt x="886154" y="183056"/>
                    <a:pt x="889718" y="203099"/>
                  </a:cubicBezTo>
                  <a:cubicBezTo>
                    <a:pt x="893280" y="223142"/>
                    <a:pt x="895062" y="244076"/>
                    <a:pt x="895062" y="265900"/>
                  </a:cubicBezTo>
                  <a:cubicBezTo>
                    <a:pt x="895062" y="303313"/>
                    <a:pt x="889105" y="337164"/>
                    <a:pt x="877191" y="367451"/>
                  </a:cubicBezTo>
                  <a:cubicBezTo>
                    <a:pt x="865276" y="397737"/>
                    <a:pt x="848463" y="423515"/>
                    <a:pt x="826750" y="444782"/>
                  </a:cubicBezTo>
                  <a:cubicBezTo>
                    <a:pt x="805036" y="466051"/>
                    <a:pt x="778870" y="482474"/>
                    <a:pt x="748249" y="494055"/>
                  </a:cubicBezTo>
                  <a:cubicBezTo>
                    <a:pt x="717628" y="505635"/>
                    <a:pt x="683611" y="511425"/>
                    <a:pt x="646197" y="511425"/>
                  </a:cubicBezTo>
                  <a:lnTo>
                    <a:pt x="443430" y="511425"/>
                  </a:lnTo>
                  <a:lnTo>
                    <a:pt x="443430" y="499233"/>
                  </a:lnTo>
                  <a:lnTo>
                    <a:pt x="634005" y="499233"/>
                  </a:lnTo>
                  <a:cubicBezTo>
                    <a:pt x="671419" y="499233"/>
                    <a:pt x="705436" y="493443"/>
                    <a:pt x="736057" y="481863"/>
                  </a:cubicBezTo>
                  <a:cubicBezTo>
                    <a:pt x="766678" y="470282"/>
                    <a:pt x="792844" y="453859"/>
                    <a:pt x="814558" y="432590"/>
                  </a:cubicBezTo>
                  <a:cubicBezTo>
                    <a:pt x="836271" y="411323"/>
                    <a:pt x="853084" y="385545"/>
                    <a:pt x="864999" y="355259"/>
                  </a:cubicBezTo>
                  <a:cubicBezTo>
                    <a:pt x="876913" y="324972"/>
                    <a:pt x="882870" y="291121"/>
                    <a:pt x="882870" y="253708"/>
                  </a:cubicBezTo>
                  <a:cubicBezTo>
                    <a:pt x="882870" y="231884"/>
                    <a:pt x="881088" y="210950"/>
                    <a:pt x="877526" y="190907"/>
                  </a:cubicBezTo>
                  <a:cubicBezTo>
                    <a:pt x="873962" y="170864"/>
                    <a:pt x="868172" y="152158"/>
                    <a:pt x="860155" y="134787"/>
                  </a:cubicBezTo>
                  <a:close/>
                  <a:moveTo>
                    <a:pt x="419046" y="8017"/>
                  </a:moveTo>
                  <a:lnTo>
                    <a:pt x="617470" y="8017"/>
                  </a:lnTo>
                  <a:cubicBezTo>
                    <a:pt x="649762" y="8017"/>
                    <a:pt x="678434" y="10745"/>
                    <a:pt x="703488" y="16201"/>
                  </a:cubicBezTo>
                  <a:cubicBezTo>
                    <a:pt x="728541" y="21657"/>
                    <a:pt x="750477" y="29396"/>
                    <a:pt x="769295" y="39417"/>
                  </a:cubicBezTo>
                  <a:cubicBezTo>
                    <a:pt x="788113" y="49439"/>
                    <a:pt x="803924" y="61465"/>
                    <a:pt x="816730" y="75494"/>
                  </a:cubicBezTo>
                  <a:cubicBezTo>
                    <a:pt x="829535" y="89524"/>
                    <a:pt x="839946" y="105225"/>
                    <a:pt x="847963" y="122595"/>
                  </a:cubicBezTo>
                  <a:cubicBezTo>
                    <a:pt x="855980" y="139966"/>
                    <a:pt x="861770" y="158672"/>
                    <a:pt x="865334" y="178715"/>
                  </a:cubicBezTo>
                  <a:cubicBezTo>
                    <a:pt x="868896" y="198758"/>
                    <a:pt x="870678" y="219692"/>
                    <a:pt x="870678" y="241516"/>
                  </a:cubicBezTo>
                  <a:cubicBezTo>
                    <a:pt x="870678" y="278929"/>
                    <a:pt x="864721" y="312780"/>
                    <a:pt x="852807" y="343067"/>
                  </a:cubicBezTo>
                  <a:cubicBezTo>
                    <a:pt x="840892" y="373353"/>
                    <a:pt x="824079" y="399131"/>
                    <a:pt x="802366" y="420398"/>
                  </a:cubicBezTo>
                  <a:cubicBezTo>
                    <a:pt x="780652" y="441667"/>
                    <a:pt x="754486" y="458090"/>
                    <a:pt x="723865" y="469671"/>
                  </a:cubicBezTo>
                  <a:cubicBezTo>
                    <a:pt x="693244" y="481251"/>
                    <a:pt x="659227" y="487041"/>
                    <a:pt x="621813" y="487041"/>
                  </a:cubicBezTo>
                  <a:lnTo>
                    <a:pt x="419046" y="487041"/>
                  </a:lnTo>
                  <a:close/>
                  <a:moveTo>
                    <a:pt x="138629" y="0"/>
                  </a:moveTo>
                  <a:cubicBezTo>
                    <a:pt x="171811" y="0"/>
                    <a:pt x="199315" y="3785"/>
                    <a:pt x="221139" y="11357"/>
                  </a:cubicBezTo>
                  <a:cubicBezTo>
                    <a:pt x="242964" y="18929"/>
                    <a:pt x="260334" y="28616"/>
                    <a:pt x="273250" y="40419"/>
                  </a:cubicBezTo>
                  <a:cubicBezTo>
                    <a:pt x="286167" y="52222"/>
                    <a:pt x="295241" y="65362"/>
                    <a:pt x="300475" y="79837"/>
                  </a:cubicBezTo>
                  <a:cubicBezTo>
                    <a:pt x="305709" y="94312"/>
                    <a:pt x="308326" y="108454"/>
                    <a:pt x="308326" y="122261"/>
                  </a:cubicBezTo>
                  <a:cubicBezTo>
                    <a:pt x="308326" y="135623"/>
                    <a:pt x="306544" y="148483"/>
                    <a:pt x="302980" y="160844"/>
                  </a:cubicBezTo>
                  <a:cubicBezTo>
                    <a:pt x="299417" y="173203"/>
                    <a:pt x="293850" y="184505"/>
                    <a:pt x="286278" y="194749"/>
                  </a:cubicBezTo>
                  <a:cubicBezTo>
                    <a:pt x="278706" y="204994"/>
                    <a:pt x="269131" y="213790"/>
                    <a:pt x="257550" y="221139"/>
                  </a:cubicBezTo>
                  <a:cubicBezTo>
                    <a:pt x="245970" y="228488"/>
                    <a:pt x="232162" y="233833"/>
                    <a:pt x="216128" y="237174"/>
                  </a:cubicBezTo>
                  <a:lnTo>
                    <a:pt x="216128" y="238844"/>
                  </a:lnTo>
                  <a:lnTo>
                    <a:pt x="238117" y="245574"/>
                  </a:lnTo>
                  <a:lnTo>
                    <a:pt x="269742" y="233331"/>
                  </a:lnTo>
                  <a:cubicBezTo>
                    <a:pt x="281323" y="225982"/>
                    <a:pt x="290898" y="217186"/>
                    <a:pt x="298470" y="206941"/>
                  </a:cubicBezTo>
                  <a:cubicBezTo>
                    <a:pt x="306042" y="196697"/>
                    <a:pt x="311609" y="185395"/>
                    <a:pt x="315172" y="173036"/>
                  </a:cubicBezTo>
                  <a:cubicBezTo>
                    <a:pt x="318736" y="160675"/>
                    <a:pt x="320518" y="147815"/>
                    <a:pt x="320518" y="134453"/>
                  </a:cubicBezTo>
                  <a:cubicBezTo>
                    <a:pt x="320518" y="120646"/>
                    <a:pt x="317901" y="106504"/>
                    <a:pt x="312667" y="92029"/>
                  </a:cubicBezTo>
                  <a:lnTo>
                    <a:pt x="291500" y="61382"/>
                  </a:lnTo>
                  <a:lnTo>
                    <a:pt x="297634" y="64803"/>
                  </a:lnTo>
                  <a:cubicBezTo>
                    <a:pt x="310551" y="76606"/>
                    <a:pt x="319625" y="89746"/>
                    <a:pt x="324859" y="104221"/>
                  </a:cubicBezTo>
                  <a:cubicBezTo>
                    <a:pt x="330093" y="118696"/>
                    <a:pt x="332710" y="132838"/>
                    <a:pt x="332710" y="146645"/>
                  </a:cubicBezTo>
                  <a:cubicBezTo>
                    <a:pt x="332710" y="160007"/>
                    <a:pt x="330928" y="172867"/>
                    <a:pt x="327364" y="185228"/>
                  </a:cubicBezTo>
                  <a:cubicBezTo>
                    <a:pt x="323801" y="197587"/>
                    <a:pt x="318234" y="208889"/>
                    <a:pt x="310662" y="219133"/>
                  </a:cubicBezTo>
                  <a:cubicBezTo>
                    <a:pt x="303090" y="229378"/>
                    <a:pt x="293515" y="238174"/>
                    <a:pt x="281934" y="245523"/>
                  </a:cubicBezTo>
                  <a:lnTo>
                    <a:pt x="262514" y="253040"/>
                  </a:lnTo>
                  <a:lnTo>
                    <a:pt x="263061" y="253208"/>
                  </a:lnTo>
                  <a:cubicBezTo>
                    <a:pt x="276312" y="260334"/>
                    <a:pt x="287169" y="268908"/>
                    <a:pt x="295631" y="278929"/>
                  </a:cubicBezTo>
                  <a:cubicBezTo>
                    <a:pt x="304094" y="288951"/>
                    <a:pt x="310385" y="300086"/>
                    <a:pt x="314505" y="312334"/>
                  </a:cubicBezTo>
                  <a:cubicBezTo>
                    <a:pt x="318625" y="324583"/>
                    <a:pt x="320685" y="337165"/>
                    <a:pt x="320685" y="350081"/>
                  </a:cubicBezTo>
                  <a:cubicBezTo>
                    <a:pt x="320685" y="371683"/>
                    <a:pt x="316788" y="391392"/>
                    <a:pt x="308993" y="409208"/>
                  </a:cubicBezTo>
                  <a:cubicBezTo>
                    <a:pt x="301199" y="427024"/>
                    <a:pt x="289340" y="442334"/>
                    <a:pt x="273417" y="455139"/>
                  </a:cubicBezTo>
                  <a:cubicBezTo>
                    <a:pt x="257494" y="467945"/>
                    <a:pt x="237396" y="477855"/>
                    <a:pt x="213121" y="484870"/>
                  </a:cubicBezTo>
                  <a:cubicBezTo>
                    <a:pt x="188848" y="491885"/>
                    <a:pt x="160231" y="495392"/>
                    <a:pt x="127271" y="495392"/>
                  </a:cubicBezTo>
                  <a:cubicBezTo>
                    <a:pt x="113687" y="495392"/>
                    <a:pt x="100715" y="494780"/>
                    <a:pt x="88355" y="493555"/>
                  </a:cubicBezTo>
                  <a:cubicBezTo>
                    <a:pt x="75995" y="492330"/>
                    <a:pt x="64360" y="490715"/>
                    <a:pt x="53447" y="488711"/>
                  </a:cubicBezTo>
                  <a:cubicBezTo>
                    <a:pt x="42535" y="486707"/>
                    <a:pt x="32569" y="484424"/>
                    <a:pt x="23550" y="481863"/>
                  </a:cubicBezTo>
                  <a:cubicBezTo>
                    <a:pt x="14531" y="479302"/>
                    <a:pt x="6680" y="476685"/>
                    <a:pt x="0" y="474013"/>
                  </a:cubicBezTo>
                  <a:lnTo>
                    <a:pt x="0" y="362442"/>
                  </a:lnTo>
                  <a:cubicBezTo>
                    <a:pt x="7349" y="366896"/>
                    <a:pt x="15366" y="370904"/>
                    <a:pt x="24051" y="374467"/>
                  </a:cubicBezTo>
                  <a:cubicBezTo>
                    <a:pt x="32736" y="378030"/>
                    <a:pt x="41755" y="381037"/>
                    <a:pt x="51109" y="383486"/>
                  </a:cubicBezTo>
                  <a:cubicBezTo>
                    <a:pt x="60462" y="385936"/>
                    <a:pt x="70094" y="387829"/>
                    <a:pt x="80004" y="389165"/>
                  </a:cubicBezTo>
                  <a:cubicBezTo>
                    <a:pt x="89914" y="390501"/>
                    <a:pt x="99657" y="391169"/>
                    <a:pt x="109233" y="391169"/>
                  </a:cubicBezTo>
                  <a:cubicBezTo>
                    <a:pt x="122150" y="391169"/>
                    <a:pt x="133061" y="389945"/>
                    <a:pt x="141969" y="387494"/>
                  </a:cubicBezTo>
                  <a:cubicBezTo>
                    <a:pt x="150877" y="385045"/>
                    <a:pt x="158115" y="381704"/>
                    <a:pt x="163682" y="377473"/>
                  </a:cubicBezTo>
                  <a:cubicBezTo>
                    <a:pt x="169250" y="373242"/>
                    <a:pt x="173314" y="368232"/>
                    <a:pt x="175875" y="362442"/>
                  </a:cubicBezTo>
                  <a:cubicBezTo>
                    <a:pt x="178437" y="356651"/>
                    <a:pt x="179717" y="350527"/>
                    <a:pt x="179717" y="344068"/>
                  </a:cubicBezTo>
                  <a:lnTo>
                    <a:pt x="174889" y="329268"/>
                  </a:lnTo>
                  <a:lnTo>
                    <a:pt x="148983" y="321686"/>
                  </a:lnTo>
                  <a:cubicBezTo>
                    <a:pt x="138962" y="320128"/>
                    <a:pt x="129052" y="319348"/>
                    <a:pt x="119253" y="319348"/>
                  </a:cubicBezTo>
                  <a:lnTo>
                    <a:pt x="73154" y="319348"/>
                  </a:lnTo>
                  <a:lnTo>
                    <a:pt x="73154" y="307156"/>
                  </a:lnTo>
                  <a:lnTo>
                    <a:pt x="107061" y="307156"/>
                  </a:lnTo>
                  <a:cubicBezTo>
                    <a:pt x="116860" y="307156"/>
                    <a:pt x="126770" y="307936"/>
                    <a:pt x="136791" y="309494"/>
                  </a:cubicBezTo>
                  <a:cubicBezTo>
                    <a:pt x="146812" y="311053"/>
                    <a:pt x="155943" y="313726"/>
                    <a:pt x="164183" y="317511"/>
                  </a:cubicBezTo>
                  <a:lnTo>
                    <a:pt x="173311" y="324433"/>
                  </a:lnTo>
                  <a:lnTo>
                    <a:pt x="172034" y="320518"/>
                  </a:lnTo>
                  <a:cubicBezTo>
                    <a:pt x="166912" y="314171"/>
                    <a:pt x="160231" y="309105"/>
                    <a:pt x="151991" y="305319"/>
                  </a:cubicBezTo>
                  <a:cubicBezTo>
                    <a:pt x="143751" y="301534"/>
                    <a:pt x="134620" y="298860"/>
                    <a:pt x="124599" y="297302"/>
                  </a:cubicBezTo>
                  <a:cubicBezTo>
                    <a:pt x="114578" y="295743"/>
                    <a:pt x="104668" y="294964"/>
                    <a:pt x="94869" y="294964"/>
                  </a:cubicBezTo>
                  <a:lnTo>
                    <a:pt x="48770" y="294964"/>
                  </a:lnTo>
                  <a:lnTo>
                    <a:pt x="48770" y="190072"/>
                  </a:lnTo>
                  <a:lnTo>
                    <a:pt x="89524" y="190072"/>
                  </a:lnTo>
                  <a:cubicBezTo>
                    <a:pt x="116471" y="190072"/>
                    <a:pt x="136347" y="185898"/>
                    <a:pt x="149152" y="177546"/>
                  </a:cubicBezTo>
                  <a:cubicBezTo>
                    <a:pt x="161957" y="169195"/>
                    <a:pt x="168359" y="158338"/>
                    <a:pt x="168359" y="144976"/>
                  </a:cubicBezTo>
                  <a:lnTo>
                    <a:pt x="163905" y="135760"/>
                  </a:lnTo>
                  <a:lnTo>
                    <a:pt x="133617" y="128273"/>
                  </a:lnTo>
                  <a:cubicBezTo>
                    <a:pt x="124263" y="128273"/>
                    <a:pt x="115244" y="129052"/>
                    <a:pt x="106559" y="130611"/>
                  </a:cubicBezTo>
                  <a:cubicBezTo>
                    <a:pt x="97874" y="132170"/>
                    <a:pt x="89634" y="134230"/>
                    <a:pt x="81840" y="136791"/>
                  </a:cubicBezTo>
                  <a:cubicBezTo>
                    <a:pt x="74045" y="139352"/>
                    <a:pt x="66696" y="142191"/>
                    <a:pt x="59793" y="145309"/>
                  </a:cubicBezTo>
                  <a:cubicBezTo>
                    <a:pt x="52889" y="148427"/>
                    <a:pt x="46542" y="151656"/>
                    <a:pt x="40752" y="154996"/>
                  </a:cubicBezTo>
                  <a:lnTo>
                    <a:pt x="40752" y="136601"/>
                  </a:lnTo>
                  <a:lnTo>
                    <a:pt x="47601" y="133117"/>
                  </a:lnTo>
                  <a:cubicBezTo>
                    <a:pt x="54504" y="129999"/>
                    <a:pt x="61853" y="127160"/>
                    <a:pt x="69648" y="124599"/>
                  </a:cubicBezTo>
                  <a:cubicBezTo>
                    <a:pt x="77442" y="122038"/>
                    <a:pt x="85682" y="119978"/>
                    <a:pt x="94367" y="118419"/>
                  </a:cubicBezTo>
                  <a:cubicBezTo>
                    <a:pt x="103052" y="116860"/>
                    <a:pt x="112071" y="116081"/>
                    <a:pt x="121425" y="116081"/>
                  </a:cubicBezTo>
                  <a:lnTo>
                    <a:pt x="158867" y="125336"/>
                  </a:lnTo>
                  <a:lnTo>
                    <a:pt x="153829" y="114912"/>
                  </a:lnTo>
                  <a:cubicBezTo>
                    <a:pt x="144141" y="107563"/>
                    <a:pt x="129276" y="103889"/>
                    <a:pt x="109233" y="103889"/>
                  </a:cubicBezTo>
                  <a:cubicBezTo>
                    <a:pt x="99879" y="103889"/>
                    <a:pt x="90860" y="104668"/>
                    <a:pt x="82175" y="106227"/>
                  </a:cubicBezTo>
                  <a:cubicBezTo>
                    <a:pt x="73490" y="107786"/>
                    <a:pt x="65250" y="109846"/>
                    <a:pt x="57456" y="112407"/>
                  </a:cubicBezTo>
                  <a:cubicBezTo>
                    <a:pt x="49661" y="114968"/>
                    <a:pt x="42312" y="117807"/>
                    <a:pt x="35409" y="120925"/>
                  </a:cubicBezTo>
                  <a:cubicBezTo>
                    <a:pt x="28505" y="124043"/>
                    <a:pt x="22158" y="127272"/>
                    <a:pt x="16368" y="130612"/>
                  </a:cubicBezTo>
                  <a:lnTo>
                    <a:pt x="16368" y="24051"/>
                  </a:lnTo>
                  <a:cubicBezTo>
                    <a:pt x="22826" y="21378"/>
                    <a:pt x="30286" y="18651"/>
                    <a:pt x="38749" y="15867"/>
                  </a:cubicBezTo>
                  <a:cubicBezTo>
                    <a:pt x="47212" y="13083"/>
                    <a:pt x="56621" y="10522"/>
                    <a:pt x="66976" y="8184"/>
                  </a:cubicBezTo>
                  <a:cubicBezTo>
                    <a:pt x="77331" y="5845"/>
                    <a:pt x="88522" y="3897"/>
                    <a:pt x="100548" y="2338"/>
                  </a:cubicBezTo>
                  <a:cubicBezTo>
                    <a:pt x="112574" y="779"/>
                    <a:pt x="125268" y="0"/>
                    <a:pt x="13862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Standards"/>
          <p:cNvGrpSpPr/>
          <p:nvPr/>
        </p:nvGrpSpPr>
        <p:grpSpPr>
          <a:xfrm>
            <a:off x="3781064" y="3134716"/>
            <a:ext cx="1371600" cy="1371600"/>
            <a:chOff x="820522" y="3134716"/>
            <a:chExt cx="1371600" cy="1371600"/>
          </a:xfrm>
        </p:grpSpPr>
        <p:sp>
          <p:nvSpPr>
            <p:cNvPr id="71" name="Green Square Tile"/>
            <p:cNvSpPr>
              <a:spLocks noChangeAspect="1"/>
            </p:cNvSpPr>
            <p:nvPr/>
          </p:nvSpPr>
          <p:spPr>
            <a:xfrm>
              <a:off x="820522" y="3134716"/>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Standards</a:t>
              </a:r>
              <a:endParaRPr lang="en-US" sz="1400" dirty="0"/>
            </a:p>
          </p:txBody>
        </p:sp>
        <p:sp>
          <p:nvSpPr>
            <p:cNvPr id="70" name="Freeform 69"/>
            <p:cNvSpPr/>
            <p:nvPr/>
          </p:nvSpPr>
          <p:spPr>
            <a:xfrm flipH="1">
              <a:off x="1276589" y="3298489"/>
              <a:ext cx="459466" cy="617896"/>
            </a:xfrm>
            <a:custGeom>
              <a:avLst/>
              <a:gdLst>
                <a:gd name="connsiteX0" fmla="*/ 645725 w 1443849"/>
                <a:gd name="connsiteY0" fmla="*/ 325692 h 1941705"/>
                <a:gd name="connsiteX1" fmla="*/ 869245 w 1443849"/>
                <a:gd name="connsiteY1" fmla="*/ 1265492 h 1941705"/>
                <a:gd name="connsiteX2" fmla="*/ 1057205 w 1443849"/>
                <a:gd name="connsiteY2" fmla="*/ 970852 h 1941705"/>
                <a:gd name="connsiteX3" fmla="*/ 1260405 w 1443849"/>
                <a:gd name="connsiteY3" fmla="*/ 1265492 h 1941705"/>
                <a:gd name="connsiteX4" fmla="*/ 833685 w 1443849"/>
                <a:gd name="connsiteY4" fmla="*/ 1616012 h 1941705"/>
                <a:gd name="connsiteX5" fmla="*/ 183445 w 1443849"/>
                <a:gd name="connsiteY5" fmla="*/ 615252 h 1941705"/>
                <a:gd name="connsiteX6" fmla="*/ 645725 w 1443849"/>
                <a:gd name="connsiteY6" fmla="*/ 325692 h 1941705"/>
                <a:gd name="connsiteX7" fmla="*/ 721925 w 1443849"/>
                <a:gd name="connsiteY7" fmla="*/ 0 h 1941705"/>
                <a:gd name="connsiteX8" fmla="*/ 644479 w 1443849"/>
                <a:gd name="connsiteY8" fmla="*/ 40816 h 1941705"/>
                <a:gd name="connsiteX9" fmla="*/ 902 w 1443849"/>
                <a:gd name="connsiteY9" fmla="*/ 309954 h 1941705"/>
                <a:gd name="connsiteX10" fmla="*/ 592336 w 1443849"/>
                <a:gd name="connsiteY10" fmla="*/ 1930325 h 1941705"/>
                <a:gd name="connsiteX11" fmla="*/ 721925 w 1443849"/>
                <a:gd name="connsiteY11" fmla="*/ 1941705 h 1941705"/>
                <a:gd name="connsiteX12" fmla="*/ 851513 w 1443849"/>
                <a:gd name="connsiteY12" fmla="*/ 1930325 h 1941705"/>
                <a:gd name="connsiteX13" fmla="*/ 1442947 w 1443849"/>
                <a:gd name="connsiteY13" fmla="*/ 309954 h 1941705"/>
                <a:gd name="connsiteX14" fmla="*/ 799370 w 1443849"/>
                <a:gd name="connsiteY14" fmla="*/ 40816 h 194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849" h="1941705">
                  <a:moveTo>
                    <a:pt x="645725" y="325692"/>
                  </a:moveTo>
                  <a:cubicBezTo>
                    <a:pt x="684672" y="654199"/>
                    <a:pt x="774418" y="957305"/>
                    <a:pt x="869245" y="1265492"/>
                  </a:cubicBezTo>
                  <a:lnTo>
                    <a:pt x="1057205" y="970852"/>
                  </a:lnTo>
                  <a:cubicBezTo>
                    <a:pt x="1104618" y="1130025"/>
                    <a:pt x="1172352" y="1207919"/>
                    <a:pt x="1260405" y="1265492"/>
                  </a:cubicBezTo>
                  <a:cubicBezTo>
                    <a:pt x="1123245" y="1331532"/>
                    <a:pt x="945445" y="1463612"/>
                    <a:pt x="833685" y="1616012"/>
                  </a:cubicBezTo>
                  <a:cubicBezTo>
                    <a:pt x="657578" y="1272265"/>
                    <a:pt x="425592" y="903119"/>
                    <a:pt x="183445" y="615252"/>
                  </a:cubicBezTo>
                  <a:cubicBezTo>
                    <a:pt x="347698" y="544132"/>
                    <a:pt x="527192" y="467932"/>
                    <a:pt x="645725" y="325692"/>
                  </a:cubicBezTo>
                  <a:close/>
                  <a:moveTo>
                    <a:pt x="721925" y="0"/>
                  </a:moveTo>
                  <a:lnTo>
                    <a:pt x="644479" y="40816"/>
                  </a:lnTo>
                  <a:cubicBezTo>
                    <a:pt x="472597" y="148909"/>
                    <a:pt x="407322" y="302952"/>
                    <a:pt x="902" y="309954"/>
                  </a:cubicBezTo>
                  <a:cubicBezTo>
                    <a:pt x="902" y="797591"/>
                    <a:pt x="-48941" y="1808503"/>
                    <a:pt x="592336" y="1930325"/>
                  </a:cubicBezTo>
                  <a:lnTo>
                    <a:pt x="721925" y="1941705"/>
                  </a:lnTo>
                  <a:lnTo>
                    <a:pt x="851513" y="1930325"/>
                  </a:lnTo>
                  <a:cubicBezTo>
                    <a:pt x="1492790" y="1808503"/>
                    <a:pt x="1442947" y="797591"/>
                    <a:pt x="1442947" y="309954"/>
                  </a:cubicBezTo>
                  <a:cubicBezTo>
                    <a:pt x="1036528" y="302952"/>
                    <a:pt x="971253" y="148909"/>
                    <a:pt x="799370" y="40816"/>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Crowdfunding"/>
          <p:cNvGrpSpPr/>
          <p:nvPr/>
        </p:nvGrpSpPr>
        <p:grpSpPr>
          <a:xfrm>
            <a:off x="3781064" y="4762633"/>
            <a:ext cx="1371600" cy="1371600"/>
            <a:chOff x="2450877" y="3134716"/>
            <a:chExt cx="1371600" cy="1371600"/>
          </a:xfrm>
        </p:grpSpPr>
        <p:sp>
          <p:nvSpPr>
            <p:cNvPr id="82" name="Purple Square Tile"/>
            <p:cNvSpPr>
              <a:spLocks noChangeAspect="1"/>
            </p:cNvSpPr>
            <p:nvPr/>
          </p:nvSpPr>
          <p:spPr>
            <a:xfrm>
              <a:off x="2450877" y="3134716"/>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err="1" smtClean="0"/>
                <a:t>Crowdfunding</a:t>
              </a:r>
              <a:endParaRPr lang="en-US" sz="1400" dirty="0"/>
            </a:p>
          </p:txBody>
        </p:sp>
        <p:sp>
          <p:nvSpPr>
            <p:cNvPr id="85" name="Freeform 84"/>
            <p:cNvSpPr/>
            <p:nvPr/>
          </p:nvSpPr>
          <p:spPr>
            <a:xfrm>
              <a:off x="2963082" y="3298489"/>
              <a:ext cx="337563" cy="617896"/>
            </a:xfrm>
            <a:custGeom>
              <a:avLst/>
              <a:gdLst/>
              <a:ahLst/>
              <a:cxnLst/>
              <a:rect l="l" t="t" r="r" b="b"/>
              <a:pathLst>
                <a:path w="439787" h="805012">
                  <a:moveTo>
                    <a:pt x="175468" y="0"/>
                  </a:moveTo>
                  <a:lnTo>
                    <a:pt x="281285" y="0"/>
                  </a:lnTo>
                  <a:lnTo>
                    <a:pt x="281285" y="84386"/>
                  </a:lnTo>
                  <a:cubicBezTo>
                    <a:pt x="308074" y="85874"/>
                    <a:pt x="332333" y="88404"/>
                    <a:pt x="354062" y="91976"/>
                  </a:cubicBezTo>
                  <a:cubicBezTo>
                    <a:pt x="375791" y="95548"/>
                    <a:pt x="393948" y="99715"/>
                    <a:pt x="408533" y="104478"/>
                  </a:cubicBezTo>
                  <a:lnTo>
                    <a:pt x="408533" y="266998"/>
                  </a:lnTo>
                  <a:cubicBezTo>
                    <a:pt x="399901" y="261640"/>
                    <a:pt x="389632" y="256133"/>
                    <a:pt x="377726" y="250478"/>
                  </a:cubicBezTo>
                  <a:cubicBezTo>
                    <a:pt x="365819" y="244823"/>
                    <a:pt x="352871" y="239688"/>
                    <a:pt x="338882" y="235074"/>
                  </a:cubicBezTo>
                  <a:cubicBezTo>
                    <a:pt x="324892" y="230461"/>
                    <a:pt x="310158" y="226740"/>
                    <a:pt x="294680" y="223912"/>
                  </a:cubicBezTo>
                  <a:cubicBezTo>
                    <a:pt x="279201" y="221084"/>
                    <a:pt x="263575" y="219671"/>
                    <a:pt x="247799" y="219671"/>
                  </a:cubicBezTo>
                  <a:cubicBezTo>
                    <a:pt x="238869" y="219671"/>
                    <a:pt x="230981" y="220787"/>
                    <a:pt x="224135" y="223019"/>
                  </a:cubicBezTo>
                  <a:cubicBezTo>
                    <a:pt x="217289" y="225252"/>
                    <a:pt x="211559" y="228228"/>
                    <a:pt x="206945" y="231949"/>
                  </a:cubicBezTo>
                  <a:cubicBezTo>
                    <a:pt x="202332" y="235670"/>
                    <a:pt x="198834" y="239911"/>
                    <a:pt x="196453" y="244674"/>
                  </a:cubicBezTo>
                  <a:cubicBezTo>
                    <a:pt x="194072" y="249436"/>
                    <a:pt x="192881" y="254496"/>
                    <a:pt x="192881" y="259854"/>
                  </a:cubicBezTo>
                  <a:cubicBezTo>
                    <a:pt x="192881" y="264617"/>
                    <a:pt x="193551" y="269454"/>
                    <a:pt x="194890" y="274365"/>
                  </a:cubicBezTo>
                  <a:cubicBezTo>
                    <a:pt x="196230" y="279276"/>
                    <a:pt x="199430" y="284485"/>
                    <a:pt x="204490" y="289992"/>
                  </a:cubicBezTo>
                  <a:cubicBezTo>
                    <a:pt x="209550" y="295499"/>
                    <a:pt x="217215" y="301303"/>
                    <a:pt x="227484" y="307405"/>
                  </a:cubicBezTo>
                  <a:cubicBezTo>
                    <a:pt x="237753" y="313507"/>
                    <a:pt x="251817" y="320278"/>
                    <a:pt x="269676" y="327720"/>
                  </a:cubicBezTo>
                  <a:cubicBezTo>
                    <a:pt x="301526" y="340817"/>
                    <a:pt x="328315" y="354583"/>
                    <a:pt x="350044" y="369020"/>
                  </a:cubicBezTo>
                  <a:cubicBezTo>
                    <a:pt x="371773" y="383456"/>
                    <a:pt x="389260" y="398711"/>
                    <a:pt x="402506" y="414784"/>
                  </a:cubicBezTo>
                  <a:cubicBezTo>
                    <a:pt x="415751" y="430858"/>
                    <a:pt x="425276" y="447675"/>
                    <a:pt x="431081" y="465237"/>
                  </a:cubicBezTo>
                  <a:cubicBezTo>
                    <a:pt x="436885" y="482799"/>
                    <a:pt x="439787" y="501253"/>
                    <a:pt x="439787" y="520601"/>
                  </a:cubicBezTo>
                  <a:cubicBezTo>
                    <a:pt x="439787" y="535484"/>
                    <a:pt x="437406" y="551855"/>
                    <a:pt x="432643" y="569714"/>
                  </a:cubicBezTo>
                  <a:cubicBezTo>
                    <a:pt x="427881" y="587574"/>
                    <a:pt x="419546" y="604987"/>
                    <a:pt x="407640" y="621953"/>
                  </a:cubicBezTo>
                  <a:cubicBezTo>
                    <a:pt x="395734" y="638920"/>
                    <a:pt x="379512" y="654546"/>
                    <a:pt x="358973" y="668834"/>
                  </a:cubicBezTo>
                  <a:cubicBezTo>
                    <a:pt x="338435" y="683121"/>
                    <a:pt x="312539" y="694284"/>
                    <a:pt x="281285" y="702320"/>
                  </a:cubicBezTo>
                  <a:lnTo>
                    <a:pt x="281285" y="805012"/>
                  </a:lnTo>
                  <a:lnTo>
                    <a:pt x="175468" y="805012"/>
                  </a:lnTo>
                  <a:lnTo>
                    <a:pt x="175468" y="714375"/>
                  </a:lnTo>
                  <a:cubicBezTo>
                    <a:pt x="160288" y="714078"/>
                    <a:pt x="143991" y="712887"/>
                    <a:pt x="126578" y="710803"/>
                  </a:cubicBezTo>
                  <a:cubicBezTo>
                    <a:pt x="109165" y="708720"/>
                    <a:pt x="92571" y="705967"/>
                    <a:pt x="76795" y="702544"/>
                  </a:cubicBezTo>
                  <a:cubicBezTo>
                    <a:pt x="61019" y="699120"/>
                    <a:pt x="46955" y="695251"/>
                    <a:pt x="34602" y="690935"/>
                  </a:cubicBezTo>
                  <a:cubicBezTo>
                    <a:pt x="22250" y="686619"/>
                    <a:pt x="13394" y="682228"/>
                    <a:pt x="8037" y="677764"/>
                  </a:cubicBezTo>
                  <a:lnTo>
                    <a:pt x="8037" y="510332"/>
                  </a:lnTo>
                  <a:cubicBezTo>
                    <a:pt x="36016" y="530870"/>
                    <a:pt x="65187" y="547316"/>
                    <a:pt x="95548" y="559669"/>
                  </a:cubicBezTo>
                  <a:cubicBezTo>
                    <a:pt x="125909" y="572021"/>
                    <a:pt x="156567" y="578198"/>
                    <a:pt x="187523" y="578198"/>
                  </a:cubicBezTo>
                  <a:cubicBezTo>
                    <a:pt x="196751" y="578198"/>
                    <a:pt x="204639" y="576933"/>
                    <a:pt x="211187" y="574403"/>
                  </a:cubicBezTo>
                  <a:cubicBezTo>
                    <a:pt x="217735" y="571872"/>
                    <a:pt x="223019" y="568598"/>
                    <a:pt x="227037" y="564580"/>
                  </a:cubicBezTo>
                  <a:cubicBezTo>
                    <a:pt x="231056" y="560562"/>
                    <a:pt x="233958" y="555948"/>
                    <a:pt x="235744" y="550739"/>
                  </a:cubicBezTo>
                  <a:cubicBezTo>
                    <a:pt x="237530" y="545530"/>
                    <a:pt x="238423" y="540246"/>
                    <a:pt x="238423" y="534889"/>
                  </a:cubicBezTo>
                  <a:cubicBezTo>
                    <a:pt x="238423" y="528935"/>
                    <a:pt x="237604" y="523354"/>
                    <a:pt x="235967" y="518145"/>
                  </a:cubicBezTo>
                  <a:cubicBezTo>
                    <a:pt x="234330" y="512936"/>
                    <a:pt x="230311" y="507504"/>
                    <a:pt x="223912" y="501849"/>
                  </a:cubicBezTo>
                  <a:cubicBezTo>
                    <a:pt x="217512" y="496193"/>
                    <a:pt x="208062" y="490091"/>
                    <a:pt x="195560" y="483543"/>
                  </a:cubicBezTo>
                  <a:cubicBezTo>
                    <a:pt x="183059" y="476994"/>
                    <a:pt x="165943" y="469553"/>
                    <a:pt x="144214" y="461219"/>
                  </a:cubicBezTo>
                  <a:cubicBezTo>
                    <a:pt x="118021" y="450801"/>
                    <a:pt x="95771" y="438894"/>
                    <a:pt x="77465" y="425500"/>
                  </a:cubicBezTo>
                  <a:cubicBezTo>
                    <a:pt x="59159" y="412105"/>
                    <a:pt x="44276" y="397595"/>
                    <a:pt x="32817" y="381968"/>
                  </a:cubicBezTo>
                  <a:cubicBezTo>
                    <a:pt x="21357" y="366341"/>
                    <a:pt x="13022" y="349746"/>
                    <a:pt x="7813" y="332185"/>
                  </a:cubicBezTo>
                  <a:cubicBezTo>
                    <a:pt x="2604" y="314623"/>
                    <a:pt x="0" y="296317"/>
                    <a:pt x="0" y="277267"/>
                  </a:cubicBezTo>
                  <a:cubicBezTo>
                    <a:pt x="0" y="252264"/>
                    <a:pt x="4093" y="229270"/>
                    <a:pt x="12278" y="208285"/>
                  </a:cubicBezTo>
                  <a:cubicBezTo>
                    <a:pt x="20464" y="187300"/>
                    <a:pt x="32147" y="168771"/>
                    <a:pt x="47327" y="152698"/>
                  </a:cubicBezTo>
                  <a:cubicBezTo>
                    <a:pt x="62508" y="136624"/>
                    <a:pt x="80888" y="123156"/>
                    <a:pt x="102468" y="112291"/>
                  </a:cubicBezTo>
                  <a:cubicBezTo>
                    <a:pt x="124048" y="101427"/>
                    <a:pt x="148382" y="93613"/>
                    <a:pt x="175468" y="888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Toolsets"/>
          <p:cNvGrpSpPr/>
          <p:nvPr/>
        </p:nvGrpSpPr>
        <p:grpSpPr>
          <a:xfrm>
            <a:off x="5410199" y="4762633"/>
            <a:ext cx="1371600" cy="1371600"/>
            <a:chOff x="4078794" y="3134716"/>
            <a:chExt cx="1371600" cy="1371600"/>
          </a:xfrm>
        </p:grpSpPr>
        <p:sp>
          <p:nvSpPr>
            <p:cNvPr id="86" name="Orange Square Tile"/>
            <p:cNvSpPr>
              <a:spLocks noChangeAspect="1"/>
            </p:cNvSpPr>
            <p:nvPr/>
          </p:nvSpPr>
          <p:spPr>
            <a:xfrm>
              <a:off x="4078794" y="3134716"/>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Toolsets &amp; Libraries</a:t>
              </a:r>
              <a:endParaRPr lang="en-US" sz="1400" dirty="0"/>
            </a:p>
          </p:txBody>
        </p:sp>
        <p:sp>
          <p:nvSpPr>
            <p:cNvPr id="87" name="Tools Icon"/>
            <p:cNvSpPr>
              <a:spLocks noChangeAspect="1" noEditPoints="1"/>
            </p:cNvSpPr>
            <p:nvPr/>
          </p:nvSpPr>
          <p:spPr bwMode="auto">
            <a:xfrm>
              <a:off x="4451532" y="3311219"/>
              <a:ext cx="626123" cy="626123"/>
            </a:xfrm>
            <a:custGeom>
              <a:avLst/>
              <a:gdLst>
                <a:gd name="T0" fmla="*/ 6840 w 13044"/>
                <a:gd name="T1" fmla="*/ 1034 h 12818"/>
                <a:gd name="T2" fmla="*/ 6025 w 13044"/>
                <a:gd name="T3" fmla="*/ 4848 h 12818"/>
                <a:gd name="T4" fmla="*/ 6836 w 13044"/>
                <a:gd name="T5" fmla="*/ 4771 h 12818"/>
                <a:gd name="T6" fmla="*/ 7429 w 13044"/>
                <a:gd name="T7" fmla="*/ 4771 h 12818"/>
                <a:gd name="T8" fmla="*/ 8169 w 13044"/>
                <a:gd name="T9" fmla="*/ 5511 h 12818"/>
                <a:gd name="T10" fmla="*/ 8179 w 13044"/>
                <a:gd name="T11" fmla="*/ 6242 h 12818"/>
                <a:gd name="T12" fmla="*/ 8928 w 13044"/>
                <a:gd name="T13" fmla="*/ 6270 h 12818"/>
                <a:gd name="T14" fmla="*/ 9653 w 13044"/>
                <a:gd name="T15" fmla="*/ 6995 h 12818"/>
                <a:gd name="T16" fmla="*/ 12634 w 13044"/>
                <a:gd name="T17" fmla="*/ 2386 h 12818"/>
                <a:gd name="T18" fmla="*/ 10515 w 13044"/>
                <a:gd name="T19" fmla="*/ 4506 h 12818"/>
                <a:gd name="T20" fmla="*/ 8330 w 13044"/>
                <a:gd name="T21" fmla="*/ 2321 h 12818"/>
                <a:gd name="T22" fmla="*/ 10459 w 13044"/>
                <a:gd name="T23" fmla="*/ 192 h 12818"/>
                <a:gd name="T24" fmla="*/ 671 w 13044"/>
                <a:gd name="T25" fmla="*/ 235 h 12818"/>
                <a:gd name="T26" fmla="*/ 375 w 13044"/>
                <a:gd name="T27" fmla="*/ 532 h 12818"/>
                <a:gd name="T28" fmla="*/ 1755 w 13044"/>
                <a:gd name="T29" fmla="*/ 2503 h 12818"/>
                <a:gd name="T30" fmla="*/ 5920 w 13044"/>
                <a:gd name="T31" fmla="*/ 6279 h 12818"/>
                <a:gd name="T32" fmla="*/ 5735 w 13044"/>
                <a:gd name="T33" fmla="*/ 7557 h 12818"/>
                <a:gd name="T34" fmla="*/ 6864 w 13044"/>
                <a:gd name="T35" fmla="*/ 8686 h 12818"/>
                <a:gd name="T36" fmla="*/ 12501 w 13044"/>
                <a:gd name="T37" fmla="*/ 10436 h 12818"/>
                <a:gd name="T38" fmla="*/ 7882 w 13044"/>
                <a:gd name="T39" fmla="*/ 6538 h 12818"/>
                <a:gd name="T40" fmla="*/ 7133 w 13044"/>
                <a:gd name="T41" fmla="*/ 5067 h 12818"/>
                <a:gd name="T42" fmla="*/ 2421 w 13044"/>
                <a:gd name="T43" fmla="*/ 1837 h 12818"/>
                <a:gd name="T44" fmla="*/ 2449 w 13044"/>
                <a:gd name="T45" fmla="*/ 1180 h 12818"/>
                <a:gd name="T46" fmla="*/ 4960 w 13044"/>
                <a:gd name="T47" fmla="*/ 5912 h 12818"/>
                <a:gd name="T48" fmla="*/ 537 w 13044"/>
                <a:gd name="T49" fmla="*/ 10337 h 12818"/>
                <a:gd name="T50" fmla="*/ 2480 w 13044"/>
                <a:gd name="T51" fmla="*/ 12281 h 12818"/>
                <a:gd name="T52" fmla="*/ 6483 w 13044"/>
                <a:gd name="T53" fmla="*/ 8278 h 12818"/>
                <a:gd name="T54" fmla="*/ 5874 w 13044"/>
                <a:gd name="T55" fmla="*/ 7955 h 12818"/>
                <a:gd name="T56" fmla="*/ 5438 w 13044"/>
                <a:gd name="T57" fmla="*/ 7853 h 12818"/>
                <a:gd name="T58" fmla="*/ 4596 w 13044"/>
                <a:gd name="T59" fmla="*/ 7010 h 12818"/>
                <a:gd name="T60" fmla="*/ 5327 w 13044"/>
                <a:gd name="T61" fmla="*/ 6279 h 12818"/>
                <a:gd name="T62" fmla="*/ 1508 w 13044"/>
                <a:gd name="T63" fmla="*/ 10432 h 12818"/>
                <a:gd name="T64" fmla="*/ 2128 w 13044"/>
                <a:gd name="T65" fmla="*/ 11929 h 12818"/>
                <a:gd name="T66" fmla="*/ 888 w 13044"/>
                <a:gd name="T67" fmla="*/ 10689 h 12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44" h="12818">
                  <a:moveTo>
                    <a:pt x="9274" y="6"/>
                  </a:moveTo>
                  <a:cubicBezTo>
                    <a:pt x="8392" y="19"/>
                    <a:pt x="7512" y="362"/>
                    <a:pt x="6840" y="1034"/>
                  </a:cubicBezTo>
                  <a:cubicBezTo>
                    <a:pt x="5817" y="2057"/>
                    <a:pt x="5555" y="3548"/>
                    <a:pt x="6062" y="4811"/>
                  </a:cubicBezTo>
                  <a:lnTo>
                    <a:pt x="6025" y="4848"/>
                  </a:lnTo>
                  <a:lnTo>
                    <a:pt x="6392" y="5215"/>
                  </a:lnTo>
                  <a:lnTo>
                    <a:pt x="6836" y="4771"/>
                  </a:lnTo>
                  <a:lnTo>
                    <a:pt x="7133" y="4475"/>
                  </a:lnTo>
                  <a:lnTo>
                    <a:pt x="7429" y="4771"/>
                  </a:lnTo>
                  <a:lnTo>
                    <a:pt x="7975" y="5317"/>
                  </a:lnTo>
                  <a:lnTo>
                    <a:pt x="8169" y="5511"/>
                  </a:lnTo>
                  <a:lnTo>
                    <a:pt x="8067" y="5761"/>
                  </a:lnTo>
                  <a:cubicBezTo>
                    <a:pt x="8008" y="5922"/>
                    <a:pt x="8045" y="6108"/>
                    <a:pt x="8179" y="6242"/>
                  </a:cubicBezTo>
                  <a:cubicBezTo>
                    <a:pt x="8313" y="6377"/>
                    <a:pt x="8518" y="6411"/>
                    <a:pt x="8678" y="6353"/>
                  </a:cubicBezTo>
                  <a:lnTo>
                    <a:pt x="8928" y="6270"/>
                  </a:lnTo>
                  <a:lnTo>
                    <a:pt x="9113" y="6456"/>
                  </a:lnTo>
                  <a:lnTo>
                    <a:pt x="9653" y="6995"/>
                  </a:lnTo>
                  <a:cubicBezTo>
                    <a:pt x="10433" y="6921"/>
                    <a:pt x="11193" y="6586"/>
                    <a:pt x="11792" y="5986"/>
                  </a:cubicBezTo>
                  <a:cubicBezTo>
                    <a:pt x="12764" y="5014"/>
                    <a:pt x="13044" y="3609"/>
                    <a:pt x="12634" y="2386"/>
                  </a:cubicBezTo>
                  <a:lnTo>
                    <a:pt x="10561" y="4460"/>
                  </a:lnTo>
                  <a:cubicBezTo>
                    <a:pt x="10546" y="4476"/>
                    <a:pt x="10537" y="4507"/>
                    <a:pt x="10515" y="4506"/>
                  </a:cubicBezTo>
                  <a:lnTo>
                    <a:pt x="8450" y="4386"/>
                  </a:lnTo>
                  <a:lnTo>
                    <a:pt x="8330" y="2321"/>
                  </a:lnTo>
                  <a:cubicBezTo>
                    <a:pt x="8329" y="2299"/>
                    <a:pt x="8360" y="2290"/>
                    <a:pt x="8376" y="2275"/>
                  </a:cubicBezTo>
                  <a:lnTo>
                    <a:pt x="10459" y="192"/>
                  </a:lnTo>
                  <a:cubicBezTo>
                    <a:pt x="10076" y="62"/>
                    <a:pt x="9675" y="0"/>
                    <a:pt x="9274" y="6"/>
                  </a:cubicBezTo>
                  <a:close/>
                  <a:moveTo>
                    <a:pt x="671" y="235"/>
                  </a:moveTo>
                  <a:lnTo>
                    <a:pt x="523" y="383"/>
                  </a:lnTo>
                  <a:lnTo>
                    <a:pt x="375" y="532"/>
                  </a:lnTo>
                  <a:lnTo>
                    <a:pt x="1320" y="2309"/>
                  </a:lnTo>
                  <a:lnTo>
                    <a:pt x="1755" y="2503"/>
                  </a:lnTo>
                  <a:lnTo>
                    <a:pt x="1949" y="2309"/>
                  </a:lnTo>
                  <a:lnTo>
                    <a:pt x="5920" y="6279"/>
                  </a:lnTo>
                  <a:lnTo>
                    <a:pt x="5189" y="7011"/>
                  </a:lnTo>
                  <a:lnTo>
                    <a:pt x="5735" y="7557"/>
                  </a:lnTo>
                  <a:cubicBezTo>
                    <a:pt x="6046" y="7445"/>
                    <a:pt x="6413" y="7513"/>
                    <a:pt x="6661" y="7761"/>
                  </a:cubicBezTo>
                  <a:cubicBezTo>
                    <a:pt x="6907" y="8007"/>
                    <a:pt x="6971" y="8373"/>
                    <a:pt x="6864" y="8686"/>
                  </a:cubicBezTo>
                  <a:lnTo>
                    <a:pt x="10557" y="12380"/>
                  </a:lnTo>
                  <a:lnTo>
                    <a:pt x="12501" y="10436"/>
                  </a:lnTo>
                  <a:lnTo>
                    <a:pt x="8817" y="6752"/>
                  </a:lnTo>
                  <a:cubicBezTo>
                    <a:pt x="8503" y="6865"/>
                    <a:pt x="8133" y="6789"/>
                    <a:pt x="7882" y="6538"/>
                  </a:cubicBezTo>
                  <a:cubicBezTo>
                    <a:pt x="7632" y="6288"/>
                    <a:pt x="7564" y="5924"/>
                    <a:pt x="7679" y="5613"/>
                  </a:cubicBezTo>
                  <a:lnTo>
                    <a:pt x="7133" y="5067"/>
                  </a:lnTo>
                  <a:lnTo>
                    <a:pt x="6392" y="5807"/>
                  </a:lnTo>
                  <a:lnTo>
                    <a:pt x="2421" y="1837"/>
                  </a:lnTo>
                  <a:lnTo>
                    <a:pt x="2634" y="1623"/>
                  </a:lnTo>
                  <a:lnTo>
                    <a:pt x="2449" y="1180"/>
                  </a:lnTo>
                  <a:lnTo>
                    <a:pt x="671" y="235"/>
                  </a:lnTo>
                  <a:close/>
                  <a:moveTo>
                    <a:pt x="4960" y="5912"/>
                  </a:moveTo>
                  <a:lnTo>
                    <a:pt x="582" y="10290"/>
                  </a:lnTo>
                  <a:cubicBezTo>
                    <a:pt x="566" y="10305"/>
                    <a:pt x="552" y="10321"/>
                    <a:pt x="537" y="10337"/>
                  </a:cubicBezTo>
                  <a:cubicBezTo>
                    <a:pt x="0" y="10874"/>
                    <a:pt x="0" y="11744"/>
                    <a:pt x="537" y="12281"/>
                  </a:cubicBezTo>
                  <a:cubicBezTo>
                    <a:pt x="1074" y="12818"/>
                    <a:pt x="1943" y="12818"/>
                    <a:pt x="2480" y="12281"/>
                  </a:cubicBezTo>
                  <a:cubicBezTo>
                    <a:pt x="2496" y="12265"/>
                    <a:pt x="2511" y="12250"/>
                    <a:pt x="2526" y="12234"/>
                  </a:cubicBezTo>
                  <a:lnTo>
                    <a:pt x="6483" y="8278"/>
                  </a:lnTo>
                  <a:cubicBezTo>
                    <a:pt x="6465" y="8195"/>
                    <a:pt x="6425" y="8117"/>
                    <a:pt x="6364" y="8056"/>
                  </a:cubicBezTo>
                  <a:cubicBezTo>
                    <a:pt x="6236" y="7928"/>
                    <a:pt x="6036" y="7897"/>
                    <a:pt x="5874" y="7955"/>
                  </a:cubicBezTo>
                  <a:lnTo>
                    <a:pt x="5633" y="8047"/>
                  </a:lnTo>
                  <a:lnTo>
                    <a:pt x="5438" y="7853"/>
                  </a:lnTo>
                  <a:lnTo>
                    <a:pt x="4892" y="7307"/>
                  </a:lnTo>
                  <a:lnTo>
                    <a:pt x="4596" y="7010"/>
                  </a:lnTo>
                  <a:lnTo>
                    <a:pt x="4892" y="6715"/>
                  </a:lnTo>
                  <a:lnTo>
                    <a:pt x="5327" y="6279"/>
                  </a:lnTo>
                  <a:lnTo>
                    <a:pt x="4960" y="5912"/>
                  </a:lnTo>
                  <a:close/>
                  <a:moveTo>
                    <a:pt x="1508" y="10432"/>
                  </a:moveTo>
                  <a:cubicBezTo>
                    <a:pt x="1733" y="10432"/>
                    <a:pt x="1957" y="10518"/>
                    <a:pt x="2128" y="10689"/>
                  </a:cubicBezTo>
                  <a:cubicBezTo>
                    <a:pt x="2471" y="11031"/>
                    <a:pt x="2471" y="11586"/>
                    <a:pt x="2128" y="11929"/>
                  </a:cubicBezTo>
                  <a:cubicBezTo>
                    <a:pt x="1786" y="12271"/>
                    <a:pt x="1231" y="12271"/>
                    <a:pt x="888" y="11929"/>
                  </a:cubicBezTo>
                  <a:cubicBezTo>
                    <a:pt x="546" y="11586"/>
                    <a:pt x="546" y="11031"/>
                    <a:pt x="888" y="10689"/>
                  </a:cubicBezTo>
                  <a:cubicBezTo>
                    <a:pt x="1060" y="10518"/>
                    <a:pt x="1284" y="10432"/>
                    <a:pt x="1508" y="1043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139453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 &amp; things</a:t>
            </a:r>
            <a:endParaRPr lang="en-US" dirty="0"/>
          </a:p>
        </p:txBody>
      </p:sp>
      <p:sp>
        <p:nvSpPr>
          <p:cNvPr id="5" name="Text Placeholder 4"/>
          <p:cNvSpPr>
            <a:spLocks noGrp="1"/>
          </p:cNvSpPr>
          <p:nvPr>
            <p:ph type="body" idx="1"/>
          </p:nvPr>
        </p:nvSpPr>
        <p:spPr/>
        <p:txBody>
          <a:bodyPr/>
          <a:lstStyle/>
          <a:p>
            <a:r>
              <a:rPr lang="en-US" dirty="0" smtClean="0"/>
              <a:t>Let’s see some cool stuff! </a:t>
            </a:r>
            <a:endParaRPr lang="en-US" dirty="0"/>
          </a:p>
        </p:txBody>
      </p:sp>
    </p:spTree>
    <p:extLst>
      <p:ext uri="{BB962C8B-B14F-4D97-AF65-F5344CB8AC3E}">
        <p14:creationId xmlns:p14="http://schemas.microsoft.com/office/powerpoint/2010/main" val="39713364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Quantified self</a:t>
            </a:r>
            <a:endParaRPr lang="en-US" dirty="0"/>
          </a:p>
        </p:txBody>
      </p:sp>
      <p:grpSp>
        <p:nvGrpSpPr>
          <p:cNvPr id="35" name="Withings"/>
          <p:cNvGrpSpPr/>
          <p:nvPr/>
        </p:nvGrpSpPr>
        <p:grpSpPr>
          <a:xfrm>
            <a:off x="5520055" y="5366796"/>
            <a:ext cx="3349625" cy="1135106"/>
            <a:chOff x="5520055" y="5366796"/>
            <a:chExt cx="3349625" cy="1135106"/>
          </a:xfrm>
        </p:grpSpPr>
        <p:pic>
          <p:nvPicPr>
            <p:cNvPr id="22" name="Picture 21">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0055" y="5366796"/>
              <a:ext cx="1699262" cy="1135106"/>
            </a:xfrm>
            <a:prstGeom prst="rect">
              <a:avLst/>
            </a:prstGeom>
          </p:spPr>
        </p:pic>
        <p:pic>
          <p:nvPicPr>
            <p:cNvPr id="23" name="Picture 22">
              <a:hlinkClick r:id="rId2"/>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4804" y="5669598"/>
              <a:ext cx="1454876" cy="432432"/>
            </a:xfrm>
            <a:prstGeom prst="rect">
              <a:avLst/>
            </a:prstGeom>
          </p:spPr>
        </p:pic>
      </p:grpSp>
      <p:grpSp>
        <p:nvGrpSpPr>
          <p:cNvPr id="119" name="Cube Sensors"/>
          <p:cNvGrpSpPr/>
          <p:nvPr/>
        </p:nvGrpSpPr>
        <p:grpSpPr>
          <a:xfrm>
            <a:off x="252654" y="1496695"/>
            <a:ext cx="7234125" cy="3870101"/>
            <a:chOff x="252654" y="1496695"/>
            <a:chExt cx="7234125" cy="3870101"/>
          </a:xfrm>
        </p:grpSpPr>
        <p:sp>
          <p:nvSpPr>
            <p:cNvPr id="118" name="Freeform 117"/>
            <p:cNvSpPr/>
            <p:nvPr/>
          </p:nvSpPr>
          <p:spPr>
            <a:xfrm>
              <a:off x="5082228" y="1496695"/>
              <a:ext cx="2404551" cy="3834304"/>
            </a:xfrm>
            <a:custGeom>
              <a:avLst/>
              <a:gdLst>
                <a:gd name="connsiteX0" fmla="*/ 983068 w 2404551"/>
                <a:gd name="connsiteY0" fmla="*/ 0 h 3834304"/>
                <a:gd name="connsiteX1" fmla="*/ 1297760 w 2404551"/>
                <a:gd name="connsiteY1" fmla="*/ 208591 h 3834304"/>
                <a:gd name="connsiteX2" fmla="*/ 1312034 w 2404551"/>
                <a:gd name="connsiteY2" fmla="*/ 254574 h 3834304"/>
                <a:gd name="connsiteX3" fmla="*/ 1365898 w 2404551"/>
                <a:gd name="connsiteY3" fmla="*/ 225337 h 3834304"/>
                <a:gd name="connsiteX4" fmla="*/ 1529301 w 2404551"/>
                <a:gd name="connsiteY4" fmla="*/ 192348 h 3834304"/>
                <a:gd name="connsiteX5" fmla="*/ 1949095 w 2404551"/>
                <a:gd name="connsiteY5" fmla="*/ 612142 h 3834304"/>
                <a:gd name="connsiteX6" fmla="*/ 1916106 w 2404551"/>
                <a:gd name="connsiteY6" fmla="*/ 775544 h 3834304"/>
                <a:gd name="connsiteX7" fmla="*/ 1893660 w 2404551"/>
                <a:gd name="connsiteY7" fmla="*/ 816897 h 3834304"/>
                <a:gd name="connsiteX8" fmla="*/ 1929586 w 2404551"/>
                <a:gd name="connsiteY8" fmla="*/ 846540 h 3834304"/>
                <a:gd name="connsiteX9" fmla="*/ 2104915 w 2404551"/>
                <a:gd name="connsiteY9" fmla="*/ 1269821 h 3834304"/>
                <a:gd name="connsiteX10" fmla="*/ 2057874 w 2404551"/>
                <a:gd name="connsiteY10" fmla="*/ 1502829 h 3834304"/>
                <a:gd name="connsiteX11" fmla="*/ 2025070 w 2404551"/>
                <a:gd name="connsiteY11" fmla="*/ 1563266 h 3834304"/>
                <a:gd name="connsiteX12" fmla="*/ 2064318 w 2404551"/>
                <a:gd name="connsiteY12" fmla="*/ 1595649 h 3834304"/>
                <a:gd name="connsiteX13" fmla="*/ 2163861 w 2404551"/>
                <a:gd name="connsiteY13" fmla="*/ 1835967 h 3834304"/>
                <a:gd name="connsiteX14" fmla="*/ 2137153 w 2404551"/>
                <a:gd name="connsiteY14" fmla="*/ 1968256 h 3834304"/>
                <a:gd name="connsiteX15" fmla="*/ 2122883 w 2404551"/>
                <a:gd name="connsiteY15" fmla="*/ 1994547 h 3834304"/>
                <a:gd name="connsiteX16" fmla="*/ 2168039 w 2404551"/>
                <a:gd name="connsiteY16" fmla="*/ 2019057 h 3834304"/>
                <a:gd name="connsiteX17" fmla="*/ 2404551 w 2404551"/>
                <a:gd name="connsiteY17" fmla="*/ 2463882 h 3834304"/>
                <a:gd name="connsiteX18" fmla="*/ 2076918 w 2404551"/>
                <a:gd name="connsiteY18" fmla="*/ 2958166 h 3834304"/>
                <a:gd name="connsiteX19" fmla="*/ 2033596 w 2404551"/>
                <a:gd name="connsiteY19" fmla="*/ 2971614 h 3834304"/>
                <a:gd name="connsiteX20" fmla="*/ 2031845 w 2404551"/>
                <a:gd name="connsiteY20" fmla="*/ 2988985 h 3834304"/>
                <a:gd name="connsiteX21" fmla="*/ 1690749 w 2404551"/>
                <a:gd name="connsiteY21" fmla="*/ 3384762 h 3834304"/>
                <a:gd name="connsiteX22" fmla="*/ 1671655 w 2404551"/>
                <a:gd name="connsiteY22" fmla="*/ 3389920 h 3834304"/>
                <a:gd name="connsiteX23" fmla="*/ 1670036 w 2404551"/>
                <a:gd name="connsiteY23" fmla="*/ 3405975 h 3834304"/>
                <a:gd name="connsiteX24" fmla="*/ 1144494 w 2404551"/>
                <a:gd name="connsiteY24" fmla="*/ 3834304 h 3834304"/>
                <a:gd name="connsiteX25" fmla="*/ 608053 w 2404551"/>
                <a:gd name="connsiteY25" fmla="*/ 3297863 h 3834304"/>
                <a:gd name="connsiteX26" fmla="*/ 614234 w 2404551"/>
                <a:gd name="connsiteY26" fmla="*/ 3216169 h 3834304"/>
                <a:gd name="connsiteX27" fmla="*/ 631568 w 2404551"/>
                <a:gd name="connsiteY27" fmla="*/ 3140959 h 3834304"/>
                <a:gd name="connsiteX28" fmla="*/ 619261 w 2404551"/>
                <a:gd name="connsiteY28" fmla="*/ 3139719 h 3834304"/>
                <a:gd name="connsiteX29" fmla="*/ 417651 w 2404551"/>
                <a:gd name="connsiteY29" fmla="*/ 3018214 h 3834304"/>
                <a:gd name="connsiteX30" fmla="*/ 401882 w 2404551"/>
                <a:gd name="connsiteY30" fmla="*/ 2995460 h 3834304"/>
                <a:gd name="connsiteX31" fmla="*/ 353632 w 2404551"/>
                <a:gd name="connsiteY31" fmla="*/ 3000323 h 3834304"/>
                <a:gd name="connsiteX32" fmla="*/ 0 w 2404551"/>
                <a:gd name="connsiteY32" fmla="*/ 2646691 h 3834304"/>
                <a:gd name="connsiteX33" fmla="*/ 282363 w 2404551"/>
                <a:gd name="connsiteY33" fmla="*/ 2300243 h 3834304"/>
                <a:gd name="connsiteX34" fmla="*/ 297380 w 2404551"/>
                <a:gd name="connsiteY34" fmla="*/ 2298729 h 3834304"/>
                <a:gd name="connsiteX35" fmla="*/ 290417 w 2404551"/>
                <a:gd name="connsiteY35" fmla="*/ 2285901 h 3834304"/>
                <a:gd name="connsiteX36" fmla="*/ 250536 w 2404551"/>
                <a:gd name="connsiteY36" fmla="*/ 2088366 h 3834304"/>
                <a:gd name="connsiteX37" fmla="*/ 290417 w 2404551"/>
                <a:gd name="connsiteY37" fmla="*/ 1890832 h 3834304"/>
                <a:gd name="connsiteX38" fmla="*/ 304810 w 2404551"/>
                <a:gd name="connsiteY38" fmla="*/ 1864314 h 3834304"/>
                <a:gd name="connsiteX39" fmla="*/ 232451 w 2404551"/>
                <a:gd name="connsiteY39" fmla="*/ 1825038 h 3834304"/>
                <a:gd name="connsiteX40" fmla="*/ 8707 w 2404551"/>
                <a:gd name="connsiteY40" fmla="*/ 1404227 h 3834304"/>
                <a:gd name="connsiteX41" fmla="*/ 157345 w 2404551"/>
                <a:gd name="connsiteY41" fmla="*/ 1045384 h 3834304"/>
                <a:gd name="connsiteX42" fmla="*/ 229532 w 2404551"/>
                <a:gd name="connsiteY42" fmla="*/ 985824 h 3834304"/>
                <a:gd name="connsiteX43" fmla="*/ 220397 w 2404551"/>
                <a:gd name="connsiteY43" fmla="*/ 978287 h 3834304"/>
                <a:gd name="connsiteX44" fmla="*/ 89543 w 2404551"/>
                <a:gd name="connsiteY44" fmla="*/ 662379 h 3834304"/>
                <a:gd name="connsiteX45" fmla="*/ 536306 w 2404551"/>
                <a:gd name="connsiteY45" fmla="*/ 215616 h 3834304"/>
                <a:gd name="connsiteX46" fmla="*/ 626344 w 2404551"/>
                <a:gd name="connsiteY46" fmla="*/ 224693 h 3834304"/>
                <a:gd name="connsiteX47" fmla="*/ 660123 w 2404551"/>
                <a:gd name="connsiteY47" fmla="*/ 235178 h 3834304"/>
                <a:gd name="connsiteX48" fmla="*/ 668376 w 2404551"/>
                <a:gd name="connsiteY48" fmla="*/ 208591 h 3834304"/>
                <a:gd name="connsiteX49" fmla="*/ 983068 w 2404551"/>
                <a:gd name="connsiteY49" fmla="*/ 0 h 383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04551" h="3834304">
                  <a:moveTo>
                    <a:pt x="983068" y="0"/>
                  </a:moveTo>
                  <a:cubicBezTo>
                    <a:pt x="1124535" y="0"/>
                    <a:pt x="1245913" y="86011"/>
                    <a:pt x="1297760" y="208591"/>
                  </a:cubicBezTo>
                  <a:lnTo>
                    <a:pt x="1312034" y="254574"/>
                  </a:lnTo>
                  <a:lnTo>
                    <a:pt x="1365898" y="225337"/>
                  </a:lnTo>
                  <a:cubicBezTo>
                    <a:pt x="1416122" y="204094"/>
                    <a:pt x="1471340" y="192348"/>
                    <a:pt x="1529301" y="192348"/>
                  </a:cubicBezTo>
                  <a:cubicBezTo>
                    <a:pt x="1761146" y="192348"/>
                    <a:pt x="1949095" y="380296"/>
                    <a:pt x="1949095" y="612142"/>
                  </a:cubicBezTo>
                  <a:cubicBezTo>
                    <a:pt x="1949095" y="670103"/>
                    <a:pt x="1937348" y="725321"/>
                    <a:pt x="1916106" y="775544"/>
                  </a:cubicBezTo>
                  <a:lnTo>
                    <a:pt x="1893660" y="816897"/>
                  </a:lnTo>
                  <a:lnTo>
                    <a:pt x="1929586" y="846540"/>
                  </a:lnTo>
                  <a:cubicBezTo>
                    <a:pt x="2037914" y="954866"/>
                    <a:pt x="2104915" y="1104519"/>
                    <a:pt x="2104915" y="1269821"/>
                  </a:cubicBezTo>
                  <a:cubicBezTo>
                    <a:pt x="2104915" y="1352473"/>
                    <a:pt x="2088165" y="1431212"/>
                    <a:pt x="2057874" y="1502829"/>
                  </a:cubicBezTo>
                  <a:lnTo>
                    <a:pt x="2025070" y="1563266"/>
                  </a:lnTo>
                  <a:lnTo>
                    <a:pt x="2064318" y="1595649"/>
                  </a:lnTo>
                  <a:cubicBezTo>
                    <a:pt x="2125821" y="1657152"/>
                    <a:pt x="2163861" y="1742117"/>
                    <a:pt x="2163861" y="1835967"/>
                  </a:cubicBezTo>
                  <a:cubicBezTo>
                    <a:pt x="2163861" y="1882892"/>
                    <a:pt x="2154351" y="1927596"/>
                    <a:pt x="2137153" y="1968256"/>
                  </a:cubicBezTo>
                  <a:lnTo>
                    <a:pt x="2122883" y="1994547"/>
                  </a:lnTo>
                  <a:lnTo>
                    <a:pt x="2168039" y="2019057"/>
                  </a:lnTo>
                  <a:cubicBezTo>
                    <a:pt x="2310734" y="2115459"/>
                    <a:pt x="2404551" y="2278715"/>
                    <a:pt x="2404551" y="2463882"/>
                  </a:cubicBezTo>
                  <a:cubicBezTo>
                    <a:pt x="2404551" y="2686082"/>
                    <a:pt x="2269454" y="2876730"/>
                    <a:pt x="2076918" y="2958166"/>
                  </a:cubicBezTo>
                  <a:lnTo>
                    <a:pt x="2033596" y="2971614"/>
                  </a:lnTo>
                  <a:lnTo>
                    <a:pt x="2031845" y="2988985"/>
                  </a:lnTo>
                  <a:cubicBezTo>
                    <a:pt x="1994329" y="3172319"/>
                    <a:pt x="1863289" y="3321587"/>
                    <a:pt x="1690749" y="3384762"/>
                  </a:cubicBezTo>
                  <a:lnTo>
                    <a:pt x="1671655" y="3389920"/>
                  </a:lnTo>
                  <a:lnTo>
                    <a:pt x="1670036" y="3405975"/>
                  </a:lnTo>
                  <a:cubicBezTo>
                    <a:pt x="1620015" y="3650422"/>
                    <a:pt x="1403728" y="3834304"/>
                    <a:pt x="1144494" y="3834304"/>
                  </a:cubicBezTo>
                  <a:cubicBezTo>
                    <a:pt x="848226" y="3834304"/>
                    <a:pt x="608053" y="3594131"/>
                    <a:pt x="608053" y="3297863"/>
                  </a:cubicBezTo>
                  <a:cubicBezTo>
                    <a:pt x="608053" y="3270088"/>
                    <a:pt x="610164" y="3242807"/>
                    <a:pt x="614234" y="3216169"/>
                  </a:cubicBezTo>
                  <a:lnTo>
                    <a:pt x="631568" y="3140959"/>
                  </a:lnTo>
                  <a:lnTo>
                    <a:pt x="619261" y="3139719"/>
                  </a:lnTo>
                  <a:cubicBezTo>
                    <a:pt x="538689" y="3123232"/>
                    <a:pt x="468098" y="3079343"/>
                    <a:pt x="417651" y="3018214"/>
                  </a:cubicBezTo>
                  <a:lnTo>
                    <a:pt x="401882" y="2995460"/>
                  </a:lnTo>
                  <a:lnTo>
                    <a:pt x="353632" y="3000323"/>
                  </a:lnTo>
                  <a:cubicBezTo>
                    <a:pt x="158326" y="3000323"/>
                    <a:pt x="0" y="2841997"/>
                    <a:pt x="0" y="2646691"/>
                  </a:cubicBezTo>
                  <a:cubicBezTo>
                    <a:pt x="0" y="2475798"/>
                    <a:pt x="121219" y="2333217"/>
                    <a:pt x="282363" y="2300243"/>
                  </a:cubicBezTo>
                  <a:lnTo>
                    <a:pt x="297380" y="2298729"/>
                  </a:lnTo>
                  <a:lnTo>
                    <a:pt x="290417" y="2285901"/>
                  </a:lnTo>
                  <a:cubicBezTo>
                    <a:pt x="264737" y="2225187"/>
                    <a:pt x="250536" y="2158434"/>
                    <a:pt x="250536" y="2088366"/>
                  </a:cubicBezTo>
                  <a:cubicBezTo>
                    <a:pt x="250536" y="2018297"/>
                    <a:pt x="264737" y="1951546"/>
                    <a:pt x="290417" y="1890832"/>
                  </a:cubicBezTo>
                  <a:lnTo>
                    <a:pt x="304810" y="1864314"/>
                  </a:lnTo>
                  <a:lnTo>
                    <a:pt x="232451" y="1825038"/>
                  </a:lnTo>
                  <a:cubicBezTo>
                    <a:pt x="97460" y="1733840"/>
                    <a:pt x="8707" y="1579398"/>
                    <a:pt x="8707" y="1404227"/>
                  </a:cubicBezTo>
                  <a:cubicBezTo>
                    <a:pt x="8707" y="1264090"/>
                    <a:pt x="65509" y="1137220"/>
                    <a:pt x="157345" y="1045384"/>
                  </a:cubicBezTo>
                  <a:lnTo>
                    <a:pt x="229532" y="985824"/>
                  </a:lnTo>
                  <a:lnTo>
                    <a:pt x="220397" y="978287"/>
                  </a:lnTo>
                  <a:cubicBezTo>
                    <a:pt x="139549" y="897439"/>
                    <a:pt x="89543" y="785749"/>
                    <a:pt x="89543" y="662379"/>
                  </a:cubicBezTo>
                  <a:cubicBezTo>
                    <a:pt x="89543" y="415639"/>
                    <a:pt x="289566" y="215616"/>
                    <a:pt x="536306" y="215616"/>
                  </a:cubicBezTo>
                  <a:cubicBezTo>
                    <a:pt x="567149" y="215616"/>
                    <a:pt x="597260" y="218741"/>
                    <a:pt x="626344" y="224693"/>
                  </a:cubicBezTo>
                  <a:lnTo>
                    <a:pt x="660123" y="235178"/>
                  </a:lnTo>
                  <a:lnTo>
                    <a:pt x="668376" y="208591"/>
                  </a:lnTo>
                  <a:cubicBezTo>
                    <a:pt x="720224" y="86011"/>
                    <a:pt x="841601" y="0"/>
                    <a:pt x="983068" y="0"/>
                  </a:cubicBezTo>
                  <a:close/>
                </a:path>
              </a:pathLst>
            </a:custGeom>
            <a:noFill/>
            <a:ln w="19050">
              <a:solidFill>
                <a:schemeClr val="bg1">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93"/>
            <p:cNvCxnSpPr/>
            <p:nvPr/>
          </p:nvCxnSpPr>
          <p:spPr>
            <a:xfrm flipH="1">
              <a:off x="2984500" y="4760807"/>
              <a:ext cx="271576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9" name="Cube Sensors"/>
            <p:cNvGrpSpPr/>
            <p:nvPr/>
          </p:nvGrpSpPr>
          <p:grpSpPr>
            <a:xfrm>
              <a:off x="252654" y="4228466"/>
              <a:ext cx="2649219" cy="1138330"/>
              <a:chOff x="252654" y="4228466"/>
              <a:chExt cx="2649219" cy="1138330"/>
            </a:xfrm>
          </p:grpSpPr>
          <p:pic>
            <p:nvPicPr>
              <p:cNvPr id="74" name="Picture 73">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63543" y="4228466"/>
                <a:ext cx="1138330" cy="1138330"/>
              </a:xfrm>
              <a:prstGeom prst="rect">
                <a:avLst/>
              </a:prstGeom>
            </p:spPr>
          </p:pic>
          <p:pic>
            <p:nvPicPr>
              <p:cNvPr id="98" name="Picture 97">
                <a:hlinkClick r:id="rId5"/>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2654" y="4511741"/>
                <a:ext cx="1716049" cy="498131"/>
              </a:xfrm>
              <a:prstGeom prst="rect">
                <a:avLst/>
              </a:prstGeom>
            </p:spPr>
          </p:pic>
        </p:grpSp>
      </p:grpSp>
      <p:sp>
        <p:nvSpPr>
          <p:cNvPr id="7" name="Person"/>
          <p:cNvSpPr>
            <a:spLocks/>
          </p:cNvSpPr>
          <p:nvPr/>
        </p:nvSpPr>
        <p:spPr bwMode="auto">
          <a:xfrm>
            <a:off x="5522300" y="1675448"/>
            <a:ext cx="1401105" cy="4062051"/>
          </a:xfrm>
          <a:custGeom>
            <a:avLst/>
            <a:gdLst>
              <a:gd name="T0" fmla="*/ 3003 w 5677"/>
              <a:gd name="T1" fmla="*/ 63 h 16171"/>
              <a:gd name="T2" fmla="*/ 3377 w 5677"/>
              <a:gd name="T3" fmla="*/ 451 h 16171"/>
              <a:gd name="T4" fmla="*/ 3476 w 5677"/>
              <a:gd name="T5" fmla="*/ 2173 h 16171"/>
              <a:gd name="T6" fmla="*/ 3899 w 5677"/>
              <a:gd name="T7" fmla="*/ 2596 h 16171"/>
              <a:gd name="T8" fmla="*/ 4979 w 5677"/>
              <a:gd name="T9" fmla="*/ 3111 h 16171"/>
              <a:gd name="T10" fmla="*/ 5508 w 5677"/>
              <a:gd name="T11" fmla="*/ 5150 h 16171"/>
              <a:gd name="T12" fmla="*/ 5550 w 5677"/>
              <a:gd name="T13" fmla="*/ 7620 h 16171"/>
              <a:gd name="T14" fmla="*/ 5374 w 5677"/>
              <a:gd name="T15" fmla="*/ 9348 h 16171"/>
              <a:gd name="T16" fmla="*/ 5071 w 5677"/>
              <a:gd name="T17" fmla="*/ 9567 h 16171"/>
              <a:gd name="T18" fmla="*/ 5042 w 5677"/>
              <a:gd name="T19" fmla="*/ 8805 h 16171"/>
              <a:gd name="T20" fmla="*/ 4922 w 5677"/>
              <a:gd name="T21" fmla="*/ 9059 h 16171"/>
              <a:gd name="T22" fmla="*/ 4915 w 5677"/>
              <a:gd name="T23" fmla="*/ 7634 h 16171"/>
              <a:gd name="T24" fmla="*/ 4690 w 5677"/>
              <a:gd name="T25" fmla="*/ 4953 h 16171"/>
              <a:gd name="T26" fmla="*/ 4450 w 5677"/>
              <a:gd name="T27" fmla="*/ 4572 h 16171"/>
              <a:gd name="T28" fmla="*/ 4316 w 5677"/>
              <a:gd name="T29" fmla="*/ 4995 h 16171"/>
              <a:gd name="T30" fmla="*/ 4069 w 5677"/>
              <a:gd name="T31" fmla="*/ 6731 h 16171"/>
              <a:gd name="T32" fmla="*/ 4337 w 5677"/>
              <a:gd name="T33" fmla="*/ 7888 h 16171"/>
              <a:gd name="T34" fmla="*/ 4520 w 5677"/>
              <a:gd name="T35" fmla="*/ 9913 h 16171"/>
              <a:gd name="T36" fmla="*/ 4534 w 5677"/>
              <a:gd name="T37" fmla="*/ 11006 h 16171"/>
              <a:gd name="T38" fmla="*/ 4760 w 5677"/>
              <a:gd name="T39" fmla="*/ 14111 h 16171"/>
              <a:gd name="T40" fmla="*/ 5381 w 5677"/>
              <a:gd name="T41" fmla="*/ 15748 h 16171"/>
              <a:gd name="T42" fmla="*/ 5677 w 5677"/>
              <a:gd name="T43" fmla="*/ 16072 h 16171"/>
              <a:gd name="T44" fmla="*/ 4802 w 5677"/>
              <a:gd name="T45" fmla="*/ 16100 h 16171"/>
              <a:gd name="T46" fmla="*/ 4280 w 5677"/>
              <a:gd name="T47" fmla="*/ 15211 h 16171"/>
              <a:gd name="T48" fmla="*/ 3913 w 5677"/>
              <a:gd name="T49" fmla="*/ 13772 h 16171"/>
              <a:gd name="T50" fmla="*/ 3772 w 5677"/>
              <a:gd name="T51" fmla="*/ 12812 h 16171"/>
              <a:gd name="T52" fmla="*/ 3264 w 5677"/>
              <a:gd name="T53" fmla="*/ 10555 h 16171"/>
              <a:gd name="T54" fmla="*/ 2968 w 5677"/>
              <a:gd name="T55" fmla="*/ 9609 h 16171"/>
              <a:gd name="T56" fmla="*/ 2714 w 5677"/>
              <a:gd name="T57" fmla="*/ 10470 h 16171"/>
              <a:gd name="T58" fmla="*/ 2573 w 5677"/>
              <a:gd name="T59" fmla="*/ 12361 h 16171"/>
              <a:gd name="T60" fmla="*/ 2665 w 5677"/>
              <a:gd name="T61" fmla="*/ 13264 h 16171"/>
              <a:gd name="T62" fmla="*/ 2460 w 5677"/>
              <a:gd name="T63" fmla="*/ 14040 h 16171"/>
              <a:gd name="T64" fmla="*/ 2446 w 5677"/>
              <a:gd name="T65" fmla="*/ 15183 h 16171"/>
              <a:gd name="T66" fmla="*/ 2178 w 5677"/>
              <a:gd name="T67" fmla="*/ 16171 h 16171"/>
              <a:gd name="T68" fmla="*/ 1105 w 5677"/>
              <a:gd name="T69" fmla="*/ 16143 h 16171"/>
              <a:gd name="T70" fmla="*/ 1606 w 5677"/>
              <a:gd name="T71" fmla="*/ 15430 h 16171"/>
              <a:gd name="T72" fmla="*/ 1783 w 5677"/>
              <a:gd name="T73" fmla="*/ 14859 h 16171"/>
              <a:gd name="T74" fmla="*/ 1515 w 5677"/>
              <a:gd name="T75" fmla="*/ 12446 h 16171"/>
              <a:gd name="T76" fmla="*/ 1190 w 5677"/>
              <a:gd name="T77" fmla="*/ 9807 h 16171"/>
              <a:gd name="T78" fmla="*/ 1550 w 5677"/>
              <a:gd name="T79" fmla="*/ 6879 h 16171"/>
              <a:gd name="T80" fmla="*/ 1585 w 5677"/>
              <a:gd name="T81" fmla="*/ 5630 h 16171"/>
              <a:gd name="T82" fmla="*/ 1239 w 5677"/>
              <a:gd name="T83" fmla="*/ 4430 h 16171"/>
              <a:gd name="T84" fmla="*/ 985 w 5677"/>
              <a:gd name="T85" fmla="*/ 5715 h 16171"/>
              <a:gd name="T86" fmla="*/ 922 w 5677"/>
              <a:gd name="T87" fmla="*/ 6505 h 16171"/>
              <a:gd name="T88" fmla="*/ 922 w 5677"/>
              <a:gd name="T89" fmla="*/ 8678 h 16171"/>
              <a:gd name="T90" fmla="*/ 788 w 5677"/>
              <a:gd name="T91" fmla="*/ 9419 h 16171"/>
              <a:gd name="T92" fmla="*/ 654 w 5677"/>
              <a:gd name="T93" fmla="*/ 8988 h 16171"/>
              <a:gd name="T94" fmla="*/ 562 w 5677"/>
              <a:gd name="T95" fmla="*/ 9588 h 16171"/>
              <a:gd name="T96" fmla="*/ 153 w 5677"/>
              <a:gd name="T97" fmla="*/ 9038 h 16171"/>
              <a:gd name="T98" fmla="*/ 19 w 5677"/>
              <a:gd name="T99" fmla="*/ 6787 h 16171"/>
              <a:gd name="T100" fmla="*/ 216 w 5677"/>
              <a:gd name="T101" fmla="*/ 4699 h 16171"/>
              <a:gd name="T102" fmla="*/ 484 w 5677"/>
              <a:gd name="T103" fmla="*/ 3104 h 16171"/>
              <a:gd name="T104" fmla="*/ 1105 w 5677"/>
              <a:gd name="T105" fmla="*/ 2822 h 16171"/>
              <a:gd name="T106" fmla="*/ 2220 w 5677"/>
              <a:gd name="T107" fmla="*/ 2483 h 16171"/>
              <a:gd name="T108" fmla="*/ 2319 w 5677"/>
              <a:gd name="T109" fmla="*/ 1919 h 16171"/>
              <a:gd name="T110" fmla="*/ 1924 w 5677"/>
              <a:gd name="T111" fmla="*/ 1834 h 16171"/>
              <a:gd name="T112" fmla="*/ 1846 w 5677"/>
              <a:gd name="T113" fmla="*/ 1375 h 16171"/>
              <a:gd name="T114" fmla="*/ 1910 w 5677"/>
              <a:gd name="T115" fmla="*/ 395 h 16171"/>
              <a:gd name="T116" fmla="*/ 2721 w 5677"/>
              <a:gd name="T117" fmla="*/ 35 h 16171"/>
              <a:gd name="connsiteX0" fmla="*/ 4777 w 9984"/>
              <a:gd name="connsiteY0" fmla="*/ 22 h 10000"/>
              <a:gd name="connsiteX1" fmla="*/ 5187 w 9984"/>
              <a:gd name="connsiteY1" fmla="*/ 0 h 10000"/>
              <a:gd name="connsiteX2" fmla="*/ 5274 w 9984"/>
              <a:gd name="connsiteY2" fmla="*/ 39 h 10000"/>
              <a:gd name="connsiteX3" fmla="*/ 5573 w 9984"/>
              <a:gd name="connsiteY3" fmla="*/ 135 h 10000"/>
              <a:gd name="connsiteX4" fmla="*/ 5859 w 9984"/>
              <a:gd name="connsiteY4" fmla="*/ 236 h 10000"/>
              <a:gd name="connsiteX5" fmla="*/ 5933 w 9984"/>
              <a:gd name="connsiteY5" fmla="*/ 279 h 10000"/>
              <a:gd name="connsiteX6" fmla="*/ 5957 w 9984"/>
              <a:gd name="connsiteY6" fmla="*/ 314 h 10000"/>
              <a:gd name="connsiteX7" fmla="*/ 5982 w 9984"/>
              <a:gd name="connsiteY7" fmla="*/ 767 h 10000"/>
              <a:gd name="connsiteX8" fmla="*/ 6107 w 9984"/>
              <a:gd name="connsiteY8" fmla="*/ 1344 h 10000"/>
              <a:gd name="connsiteX9" fmla="*/ 6232 w 9984"/>
              <a:gd name="connsiteY9" fmla="*/ 1501 h 10000"/>
              <a:gd name="connsiteX10" fmla="*/ 6468 w 9984"/>
              <a:gd name="connsiteY10" fmla="*/ 1548 h 10000"/>
              <a:gd name="connsiteX11" fmla="*/ 6852 w 9984"/>
              <a:gd name="connsiteY11" fmla="*/ 1605 h 10000"/>
              <a:gd name="connsiteX12" fmla="*/ 7523 w 9984"/>
              <a:gd name="connsiteY12" fmla="*/ 1680 h 10000"/>
              <a:gd name="connsiteX13" fmla="*/ 8096 w 9984"/>
              <a:gd name="connsiteY13" fmla="*/ 1767 h 10000"/>
              <a:gd name="connsiteX14" fmla="*/ 8754 w 9984"/>
              <a:gd name="connsiteY14" fmla="*/ 1924 h 10000"/>
              <a:gd name="connsiteX15" fmla="*/ 9364 w 9984"/>
              <a:gd name="connsiteY15" fmla="*/ 2059 h 10000"/>
              <a:gd name="connsiteX16" fmla="*/ 9463 w 9984"/>
              <a:gd name="connsiteY16" fmla="*/ 2304 h 10000"/>
              <a:gd name="connsiteX17" fmla="*/ 9686 w 9984"/>
              <a:gd name="connsiteY17" fmla="*/ 3185 h 10000"/>
              <a:gd name="connsiteX18" fmla="*/ 9861 w 9984"/>
              <a:gd name="connsiteY18" fmla="*/ 3909 h 10000"/>
              <a:gd name="connsiteX19" fmla="*/ 9910 w 9984"/>
              <a:gd name="connsiteY19" fmla="*/ 4206 h 10000"/>
              <a:gd name="connsiteX20" fmla="*/ 9760 w 9984"/>
              <a:gd name="connsiteY20" fmla="*/ 4712 h 10000"/>
              <a:gd name="connsiteX21" fmla="*/ 9711 w 9984"/>
              <a:gd name="connsiteY21" fmla="*/ 5271 h 10000"/>
              <a:gd name="connsiteX22" fmla="*/ 9711 w 9984"/>
              <a:gd name="connsiteY22" fmla="*/ 5628 h 10000"/>
              <a:gd name="connsiteX23" fmla="*/ 9450 w 9984"/>
              <a:gd name="connsiteY23" fmla="*/ 5781 h 10000"/>
              <a:gd name="connsiteX24" fmla="*/ 9202 w 9984"/>
              <a:gd name="connsiteY24" fmla="*/ 5842 h 10000"/>
              <a:gd name="connsiteX25" fmla="*/ 9015 w 9984"/>
              <a:gd name="connsiteY25" fmla="*/ 5881 h 10000"/>
              <a:gd name="connsiteX26" fmla="*/ 8917 w 9984"/>
              <a:gd name="connsiteY26" fmla="*/ 5916 h 10000"/>
              <a:gd name="connsiteX27" fmla="*/ 8941 w 9984"/>
              <a:gd name="connsiteY27" fmla="*/ 5698 h 10000"/>
              <a:gd name="connsiteX28" fmla="*/ 8966 w 9984"/>
              <a:gd name="connsiteY28" fmla="*/ 5480 h 10000"/>
              <a:gd name="connsiteX29" fmla="*/ 8865 w 9984"/>
              <a:gd name="connsiteY29" fmla="*/ 5445 h 10000"/>
              <a:gd name="connsiteX30" fmla="*/ 8779 w 9984"/>
              <a:gd name="connsiteY30" fmla="*/ 5523 h 10000"/>
              <a:gd name="connsiteX31" fmla="*/ 8791 w 9984"/>
              <a:gd name="connsiteY31" fmla="*/ 5637 h 10000"/>
              <a:gd name="connsiteX32" fmla="*/ 8654 w 9984"/>
              <a:gd name="connsiteY32" fmla="*/ 5602 h 10000"/>
              <a:gd name="connsiteX33" fmla="*/ 8443 w 9984"/>
              <a:gd name="connsiteY33" fmla="*/ 5410 h 10000"/>
              <a:gd name="connsiteX34" fmla="*/ 8494 w 9984"/>
              <a:gd name="connsiteY34" fmla="*/ 5061 h 10000"/>
              <a:gd name="connsiteX35" fmla="*/ 8642 w 9984"/>
              <a:gd name="connsiteY35" fmla="*/ 4721 h 10000"/>
              <a:gd name="connsiteX36" fmla="*/ 8592 w 9984"/>
              <a:gd name="connsiteY36" fmla="*/ 4101 h 10000"/>
              <a:gd name="connsiteX37" fmla="*/ 8443 w 9984"/>
              <a:gd name="connsiteY37" fmla="*/ 3543 h 10000"/>
              <a:gd name="connsiteX38" fmla="*/ 8245 w 9984"/>
              <a:gd name="connsiteY38" fmla="*/ 3063 h 10000"/>
              <a:gd name="connsiteX39" fmla="*/ 8034 w 9984"/>
              <a:gd name="connsiteY39" fmla="*/ 2652 h 10000"/>
              <a:gd name="connsiteX40" fmla="*/ 7946 w 9984"/>
              <a:gd name="connsiteY40" fmla="*/ 2635 h 10000"/>
              <a:gd name="connsiteX41" fmla="*/ 7823 w 9984"/>
              <a:gd name="connsiteY41" fmla="*/ 2827 h 10000"/>
              <a:gd name="connsiteX42" fmla="*/ 7648 w 9984"/>
              <a:gd name="connsiteY42" fmla="*/ 3019 h 10000"/>
              <a:gd name="connsiteX43" fmla="*/ 7599 w 9984"/>
              <a:gd name="connsiteY43" fmla="*/ 3019 h 10000"/>
              <a:gd name="connsiteX44" fmla="*/ 7587 w 9984"/>
              <a:gd name="connsiteY44" fmla="*/ 3089 h 10000"/>
              <a:gd name="connsiteX45" fmla="*/ 7351 w 9984"/>
              <a:gd name="connsiteY45" fmla="*/ 3438 h 10000"/>
              <a:gd name="connsiteX46" fmla="*/ 7139 w 9984"/>
              <a:gd name="connsiteY46" fmla="*/ 3940 h 10000"/>
              <a:gd name="connsiteX47" fmla="*/ 7152 w 9984"/>
              <a:gd name="connsiteY47" fmla="*/ 4162 h 10000"/>
              <a:gd name="connsiteX48" fmla="*/ 7262 w 9984"/>
              <a:gd name="connsiteY48" fmla="*/ 4210 h 10000"/>
              <a:gd name="connsiteX49" fmla="*/ 7425 w 9984"/>
              <a:gd name="connsiteY49" fmla="*/ 4380 h 10000"/>
              <a:gd name="connsiteX50" fmla="*/ 7624 w 9984"/>
              <a:gd name="connsiteY50" fmla="*/ 4878 h 10000"/>
              <a:gd name="connsiteX51" fmla="*/ 7872 w 9984"/>
              <a:gd name="connsiteY51" fmla="*/ 5462 h 10000"/>
              <a:gd name="connsiteX52" fmla="*/ 7983 w 9984"/>
              <a:gd name="connsiteY52" fmla="*/ 5903 h 10000"/>
              <a:gd name="connsiteX53" fmla="*/ 7946 w 9984"/>
              <a:gd name="connsiteY53" fmla="*/ 6130 h 10000"/>
              <a:gd name="connsiteX54" fmla="*/ 7897 w 9984"/>
              <a:gd name="connsiteY54" fmla="*/ 6126 h 10000"/>
              <a:gd name="connsiteX55" fmla="*/ 7971 w 9984"/>
              <a:gd name="connsiteY55" fmla="*/ 6806 h 10000"/>
              <a:gd name="connsiteX56" fmla="*/ 8133 w 9984"/>
              <a:gd name="connsiteY56" fmla="*/ 7858 h 10000"/>
              <a:gd name="connsiteX57" fmla="*/ 8356 w 9984"/>
              <a:gd name="connsiteY57" fmla="*/ 8294 h 10000"/>
              <a:gd name="connsiteX58" fmla="*/ 8369 w 9984"/>
              <a:gd name="connsiteY58" fmla="*/ 8726 h 10000"/>
              <a:gd name="connsiteX59" fmla="*/ 8369 w 9984"/>
              <a:gd name="connsiteY59" fmla="*/ 9145 h 10000"/>
              <a:gd name="connsiteX60" fmla="*/ 8828 w 9984"/>
              <a:gd name="connsiteY60" fmla="*/ 9411 h 10000"/>
              <a:gd name="connsiteX61" fmla="*/ 9463 w 9984"/>
              <a:gd name="connsiteY61" fmla="*/ 9738 h 10000"/>
              <a:gd name="connsiteX62" fmla="*/ 9773 w 9984"/>
              <a:gd name="connsiteY62" fmla="*/ 9847 h 10000"/>
              <a:gd name="connsiteX63" fmla="*/ 9947 w 9984"/>
              <a:gd name="connsiteY63" fmla="*/ 9917 h 10000"/>
              <a:gd name="connsiteX64" fmla="*/ 9984 w 9984"/>
              <a:gd name="connsiteY64" fmla="*/ 9939 h 10000"/>
              <a:gd name="connsiteX65" fmla="*/ 9861 w 9984"/>
              <a:gd name="connsiteY65" fmla="*/ 9947 h 10000"/>
              <a:gd name="connsiteX66" fmla="*/ 9089 w 9984"/>
              <a:gd name="connsiteY66" fmla="*/ 9956 h 10000"/>
              <a:gd name="connsiteX67" fmla="*/ 8443 w 9984"/>
              <a:gd name="connsiteY67" fmla="*/ 9956 h 10000"/>
              <a:gd name="connsiteX68" fmla="*/ 8233 w 9984"/>
              <a:gd name="connsiteY68" fmla="*/ 9847 h 10000"/>
              <a:gd name="connsiteX69" fmla="*/ 7823 w 9984"/>
              <a:gd name="connsiteY69" fmla="*/ 9607 h 10000"/>
              <a:gd name="connsiteX70" fmla="*/ 7523 w 9984"/>
              <a:gd name="connsiteY70" fmla="*/ 9406 h 10000"/>
              <a:gd name="connsiteX71" fmla="*/ 7324 w 9984"/>
              <a:gd name="connsiteY71" fmla="*/ 9101 h 10000"/>
              <a:gd name="connsiteX72" fmla="*/ 7100 w 9984"/>
              <a:gd name="connsiteY72" fmla="*/ 8726 h 10000"/>
              <a:gd name="connsiteX73" fmla="*/ 6877 w 9984"/>
              <a:gd name="connsiteY73" fmla="*/ 8516 h 10000"/>
              <a:gd name="connsiteX74" fmla="*/ 6679 w 9984"/>
              <a:gd name="connsiteY74" fmla="*/ 8272 h 10000"/>
              <a:gd name="connsiteX75" fmla="*/ 6604 w 9984"/>
              <a:gd name="connsiteY75" fmla="*/ 8011 h 10000"/>
              <a:gd name="connsiteX76" fmla="*/ 6628 w 9984"/>
              <a:gd name="connsiteY76" fmla="*/ 7923 h 10000"/>
              <a:gd name="connsiteX77" fmla="*/ 6456 w 9984"/>
              <a:gd name="connsiteY77" fmla="*/ 7757 h 10000"/>
              <a:gd name="connsiteX78" fmla="*/ 6033 w 9984"/>
              <a:gd name="connsiteY78" fmla="*/ 7103 h 10000"/>
              <a:gd name="connsiteX79" fmla="*/ 5734 w 9984"/>
              <a:gd name="connsiteY79" fmla="*/ 6527 h 10000"/>
              <a:gd name="connsiteX80" fmla="*/ 5610 w 9984"/>
              <a:gd name="connsiteY80" fmla="*/ 6300 h 10000"/>
              <a:gd name="connsiteX81" fmla="*/ 5411 w 9984"/>
              <a:gd name="connsiteY81" fmla="*/ 6099 h 10000"/>
              <a:gd name="connsiteX82" fmla="*/ 5212 w 9984"/>
              <a:gd name="connsiteY82" fmla="*/ 5942 h 10000"/>
              <a:gd name="connsiteX83" fmla="*/ 5138 w 9984"/>
              <a:gd name="connsiteY83" fmla="*/ 5846 h 10000"/>
              <a:gd name="connsiteX84" fmla="*/ 5013 w 9984"/>
              <a:gd name="connsiteY84" fmla="*/ 6029 h 10000"/>
              <a:gd name="connsiteX85" fmla="*/ 4765 w 9984"/>
              <a:gd name="connsiteY85" fmla="*/ 6475 h 10000"/>
              <a:gd name="connsiteX86" fmla="*/ 4654 w 9984"/>
              <a:gd name="connsiteY86" fmla="*/ 7107 h 10000"/>
              <a:gd name="connsiteX87" fmla="*/ 4627 w 9984"/>
              <a:gd name="connsiteY87" fmla="*/ 7526 h 10000"/>
              <a:gd name="connsiteX88" fmla="*/ 4516 w 9984"/>
              <a:gd name="connsiteY88" fmla="*/ 7644 h 10000"/>
              <a:gd name="connsiteX89" fmla="*/ 4516 w 9984"/>
              <a:gd name="connsiteY89" fmla="*/ 7923 h 10000"/>
              <a:gd name="connsiteX90" fmla="*/ 4615 w 9984"/>
              <a:gd name="connsiteY90" fmla="*/ 8150 h 10000"/>
              <a:gd name="connsiteX91" fmla="*/ 4678 w 9984"/>
              <a:gd name="connsiteY91" fmla="*/ 8202 h 10000"/>
              <a:gd name="connsiteX92" fmla="*/ 4627 w 9984"/>
              <a:gd name="connsiteY92" fmla="*/ 8394 h 10000"/>
              <a:gd name="connsiteX93" fmla="*/ 4430 w 9984"/>
              <a:gd name="connsiteY93" fmla="*/ 8617 h 10000"/>
              <a:gd name="connsiteX94" fmla="*/ 4317 w 9984"/>
              <a:gd name="connsiteY94" fmla="*/ 8682 h 10000"/>
              <a:gd name="connsiteX95" fmla="*/ 4367 w 9984"/>
              <a:gd name="connsiteY95" fmla="*/ 8687 h 10000"/>
              <a:gd name="connsiteX96" fmla="*/ 4404 w 9984"/>
              <a:gd name="connsiteY96" fmla="*/ 8944 h 10000"/>
              <a:gd name="connsiteX97" fmla="*/ 4293 w 9984"/>
              <a:gd name="connsiteY97" fmla="*/ 9389 h 10000"/>
              <a:gd name="connsiteX98" fmla="*/ 4094 w 9984"/>
              <a:gd name="connsiteY98" fmla="*/ 9642 h 10000"/>
              <a:gd name="connsiteX99" fmla="*/ 3907 w 9984"/>
              <a:gd name="connsiteY99" fmla="*/ 9852 h 10000"/>
              <a:gd name="connsiteX100" fmla="*/ 3821 w 9984"/>
              <a:gd name="connsiteY100" fmla="*/ 10000 h 10000"/>
              <a:gd name="connsiteX101" fmla="*/ 3771 w 9984"/>
              <a:gd name="connsiteY101" fmla="*/ 9996 h 10000"/>
              <a:gd name="connsiteX102" fmla="*/ 2825 w 9984"/>
              <a:gd name="connsiteY102" fmla="*/ 9987 h 10000"/>
              <a:gd name="connsiteX103" fmla="*/ 1930 w 9984"/>
              <a:gd name="connsiteY103" fmla="*/ 9983 h 10000"/>
              <a:gd name="connsiteX104" fmla="*/ 2043 w 9984"/>
              <a:gd name="connsiteY104" fmla="*/ 9904 h 10000"/>
              <a:gd name="connsiteX105" fmla="*/ 2329 w 9984"/>
              <a:gd name="connsiteY105" fmla="*/ 9764 h 10000"/>
              <a:gd name="connsiteX106" fmla="*/ 2813 w 9984"/>
              <a:gd name="connsiteY106" fmla="*/ 9542 h 10000"/>
              <a:gd name="connsiteX107" fmla="*/ 3162 w 9984"/>
              <a:gd name="connsiteY107" fmla="*/ 9350 h 10000"/>
              <a:gd name="connsiteX108" fmla="*/ 3199 w 9984"/>
              <a:gd name="connsiteY108" fmla="*/ 9319 h 10000"/>
              <a:gd name="connsiteX109" fmla="*/ 3125 w 9984"/>
              <a:gd name="connsiteY109" fmla="*/ 9189 h 10000"/>
              <a:gd name="connsiteX110" fmla="*/ 2850 w 9984"/>
              <a:gd name="connsiteY110" fmla="*/ 8787 h 10000"/>
              <a:gd name="connsiteX111" fmla="*/ 2602 w 9984"/>
              <a:gd name="connsiteY111" fmla="*/ 8281 h 10000"/>
              <a:gd name="connsiteX112" fmla="*/ 2653 w 9984"/>
              <a:gd name="connsiteY112" fmla="*/ 7696 h 10000"/>
              <a:gd name="connsiteX113" fmla="*/ 2577 w 9984"/>
              <a:gd name="connsiteY113" fmla="*/ 6980 h 10000"/>
              <a:gd name="connsiteX114" fmla="*/ 2279 w 9984"/>
              <a:gd name="connsiteY114" fmla="*/ 6413 h 10000"/>
              <a:gd name="connsiteX115" fmla="*/ 2080 w 9984"/>
              <a:gd name="connsiteY115" fmla="*/ 6065 h 10000"/>
              <a:gd name="connsiteX116" fmla="*/ 2080 w 9984"/>
              <a:gd name="connsiteY116" fmla="*/ 5445 h 10000"/>
              <a:gd name="connsiteX117" fmla="*/ 2378 w 9984"/>
              <a:gd name="connsiteY117" fmla="*/ 4721 h 10000"/>
              <a:gd name="connsiteX118" fmla="*/ 2714 w 9984"/>
              <a:gd name="connsiteY118" fmla="*/ 4254 h 10000"/>
              <a:gd name="connsiteX119" fmla="*/ 2889 w 9984"/>
              <a:gd name="connsiteY119" fmla="*/ 3992 h 10000"/>
              <a:gd name="connsiteX120" fmla="*/ 2975 w 9984"/>
              <a:gd name="connsiteY120" fmla="*/ 3874 h 10000"/>
              <a:gd name="connsiteX121" fmla="*/ 2776 w 9984"/>
              <a:gd name="connsiteY121" fmla="*/ 3482 h 10000"/>
              <a:gd name="connsiteX122" fmla="*/ 2390 w 9984"/>
              <a:gd name="connsiteY122" fmla="*/ 2940 h 10000"/>
              <a:gd name="connsiteX123" fmla="*/ 2230 w 9984"/>
              <a:gd name="connsiteY123" fmla="*/ 2722 h 10000"/>
              <a:gd name="connsiteX124" fmla="*/ 2166 w 9984"/>
              <a:gd name="connsiteY124" fmla="*/ 2739 h 10000"/>
              <a:gd name="connsiteX125" fmla="*/ 2056 w 9984"/>
              <a:gd name="connsiteY125" fmla="*/ 2818 h 10000"/>
              <a:gd name="connsiteX126" fmla="*/ 1930 w 9984"/>
              <a:gd name="connsiteY126" fmla="*/ 3150 h 10000"/>
              <a:gd name="connsiteX127" fmla="*/ 1719 w 9984"/>
              <a:gd name="connsiteY127" fmla="*/ 3534 h 10000"/>
              <a:gd name="connsiteX128" fmla="*/ 1583 w 9984"/>
              <a:gd name="connsiteY128" fmla="*/ 3647 h 10000"/>
              <a:gd name="connsiteX129" fmla="*/ 1596 w 9984"/>
              <a:gd name="connsiteY129" fmla="*/ 3665 h 10000"/>
              <a:gd name="connsiteX130" fmla="*/ 1608 w 9984"/>
              <a:gd name="connsiteY130" fmla="*/ 4023 h 10000"/>
              <a:gd name="connsiteX131" fmla="*/ 1508 w 9984"/>
              <a:gd name="connsiteY131" fmla="*/ 4485 h 10000"/>
              <a:gd name="connsiteX132" fmla="*/ 1483 w 9984"/>
              <a:gd name="connsiteY132" fmla="*/ 4904 h 10000"/>
              <a:gd name="connsiteX133" fmla="*/ 1608 w 9984"/>
              <a:gd name="connsiteY133" fmla="*/ 5366 h 10000"/>
              <a:gd name="connsiteX134" fmla="*/ 1546 w 9984"/>
              <a:gd name="connsiteY134" fmla="*/ 5694 h 10000"/>
              <a:gd name="connsiteX135" fmla="*/ 1434 w 9984"/>
              <a:gd name="connsiteY135" fmla="*/ 5855 h 10000"/>
              <a:gd name="connsiteX136" fmla="*/ 1372 w 9984"/>
              <a:gd name="connsiteY136" fmla="*/ 5825 h 10000"/>
              <a:gd name="connsiteX137" fmla="*/ 1298 w 9984"/>
              <a:gd name="connsiteY137" fmla="*/ 5672 h 10000"/>
              <a:gd name="connsiteX138" fmla="*/ 1210 w 9984"/>
              <a:gd name="connsiteY138" fmla="*/ 5554 h 10000"/>
              <a:gd name="connsiteX139" fmla="*/ 1136 w 9984"/>
              <a:gd name="connsiteY139" fmla="*/ 5558 h 10000"/>
              <a:gd name="connsiteX140" fmla="*/ 1124 w 9984"/>
              <a:gd name="connsiteY140" fmla="*/ 5562 h 10000"/>
              <a:gd name="connsiteX141" fmla="*/ 1173 w 9984"/>
              <a:gd name="connsiteY141" fmla="*/ 5763 h 10000"/>
              <a:gd name="connsiteX142" fmla="*/ 974 w 9984"/>
              <a:gd name="connsiteY142" fmla="*/ 5929 h 10000"/>
              <a:gd name="connsiteX143" fmla="*/ 551 w 9984"/>
              <a:gd name="connsiteY143" fmla="*/ 5807 h 10000"/>
              <a:gd name="connsiteX144" fmla="*/ 315 w 9984"/>
              <a:gd name="connsiteY144" fmla="*/ 5655 h 10000"/>
              <a:gd name="connsiteX145" fmla="*/ 254 w 9984"/>
              <a:gd name="connsiteY145" fmla="*/ 5589 h 10000"/>
              <a:gd name="connsiteX146" fmla="*/ 290 w 9984"/>
              <a:gd name="connsiteY146" fmla="*/ 5113 h 10000"/>
              <a:gd name="connsiteX147" fmla="*/ 192 w 9984"/>
              <a:gd name="connsiteY147" fmla="*/ 4503 h 10000"/>
              <a:gd name="connsiteX148" fmla="*/ 17 w 9984"/>
              <a:gd name="connsiteY148" fmla="*/ 4197 h 10000"/>
              <a:gd name="connsiteX149" fmla="*/ 67 w 9984"/>
              <a:gd name="connsiteY149" fmla="*/ 3866 h 10000"/>
              <a:gd name="connsiteX150" fmla="*/ 241 w 9984"/>
              <a:gd name="connsiteY150" fmla="*/ 3359 h 10000"/>
              <a:gd name="connsiteX151" fmla="*/ 364 w 9984"/>
              <a:gd name="connsiteY151" fmla="*/ 2906 h 10000"/>
              <a:gd name="connsiteX152" fmla="*/ 490 w 9984"/>
              <a:gd name="connsiteY152" fmla="*/ 2443 h 10000"/>
              <a:gd name="connsiteX153" fmla="*/ 701 w 9984"/>
              <a:gd name="connsiteY153" fmla="*/ 2007 h 10000"/>
              <a:gd name="connsiteX154" fmla="*/ 837 w 9984"/>
              <a:gd name="connsiteY154" fmla="*/ 1919 h 10000"/>
              <a:gd name="connsiteX155" fmla="*/ 937 w 9984"/>
              <a:gd name="connsiteY155" fmla="*/ 1898 h 10000"/>
              <a:gd name="connsiteX156" fmla="*/ 1235 w 9984"/>
              <a:gd name="connsiteY156" fmla="*/ 1841 h 10000"/>
              <a:gd name="connsiteX157" fmla="*/ 1930 w 9984"/>
              <a:gd name="connsiteY157" fmla="*/ 1745 h 10000"/>
              <a:gd name="connsiteX158" fmla="*/ 2975 w 9984"/>
              <a:gd name="connsiteY158" fmla="*/ 1631 h 10000"/>
              <a:gd name="connsiteX159" fmla="*/ 3708 w 9984"/>
              <a:gd name="connsiteY159" fmla="*/ 1557 h 10000"/>
              <a:gd name="connsiteX160" fmla="*/ 3895 w 9984"/>
              <a:gd name="connsiteY160" fmla="*/ 1535 h 10000"/>
              <a:gd name="connsiteX161" fmla="*/ 3919 w 9984"/>
              <a:gd name="connsiteY161" fmla="*/ 1518 h 10000"/>
              <a:gd name="connsiteX162" fmla="*/ 4007 w 9984"/>
              <a:gd name="connsiteY162" fmla="*/ 1344 h 10000"/>
              <a:gd name="connsiteX163" fmla="*/ 4069 w 9984"/>
              <a:gd name="connsiteY163" fmla="*/ 1187 h 10000"/>
              <a:gd name="connsiteX164" fmla="*/ 3745 w 9984"/>
              <a:gd name="connsiteY164" fmla="*/ 1169 h 10000"/>
              <a:gd name="connsiteX165" fmla="*/ 3422 w 9984"/>
              <a:gd name="connsiteY165" fmla="*/ 1151 h 10000"/>
              <a:gd name="connsiteX166" fmla="*/ 3373 w 9984"/>
              <a:gd name="connsiteY166" fmla="*/ 1134 h 10000"/>
              <a:gd name="connsiteX167" fmla="*/ 3348 w 9984"/>
              <a:gd name="connsiteY167" fmla="*/ 999 h 10000"/>
              <a:gd name="connsiteX168" fmla="*/ 3373 w 9984"/>
              <a:gd name="connsiteY168" fmla="*/ 881 h 10000"/>
              <a:gd name="connsiteX169" fmla="*/ 3236 w 9984"/>
              <a:gd name="connsiteY169" fmla="*/ 850 h 10000"/>
              <a:gd name="connsiteX170" fmla="*/ 3125 w 9984"/>
              <a:gd name="connsiteY170" fmla="*/ 785 h 10000"/>
              <a:gd name="connsiteX171" fmla="*/ 3248 w 9984"/>
              <a:gd name="connsiteY171" fmla="*/ 497 h 10000"/>
              <a:gd name="connsiteX172" fmla="*/ 3348 w 9984"/>
              <a:gd name="connsiteY172" fmla="*/ 244 h 10000"/>
              <a:gd name="connsiteX173" fmla="*/ 3658 w 9984"/>
              <a:gd name="connsiteY173" fmla="*/ 161 h 10000"/>
              <a:gd name="connsiteX174" fmla="*/ 4168 w 9984"/>
              <a:gd name="connsiteY174" fmla="*/ 61 h 10000"/>
              <a:gd name="connsiteX175" fmla="*/ 4777 w 9984"/>
              <a:gd name="connsiteY175"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59 w 10000"/>
              <a:gd name="connsiteY53" fmla="*/ 6130 h 10000"/>
              <a:gd name="connsiteX54" fmla="*/ 7984 w 10000"/>
              <a:gd name="connsiteY54" fmla="*/ 6806 h 10000"/>
              <a:gd name="connsiteX55" fmla="*/ 8146 w 10000"/>
              <a:gd name="connsiteY55" fmla="*/ 7858 h 10000"/>
              <a:gd name="connsiteX56" fmla="*/ 8369 w 10000"/>
              <a:gd name="connsiteY56" fmla="*/ 8294 h 10000"/>
              <a:gd name="connsiteX57" fmla="*/ 8382 w 10000"/>
              <a:gd name="connsiteY57" fmla="*/ 8726 h 10000"/>
              <a:gd name="connsiteX58" fmla="*/ 8382 w 10000"/>
              <a:gd name="connsiteY58" fmla="*/ 9145 h 10000"/>
              <a:gd name="connsiteX59" fmla="*/ 8842 w 10000"/>
              <a:gd name="connsiteY59" fmla="*/ 9411 h 10000"/>
              <a:gd name="connsiteX60" fmla="*/ 9478 w 10000"/>
              <a:gd name="connsiteY60" fmla="*/ 9738 h 10000"/>
              <a:gd name="connsiteX61" fmla="*/ 9789 w 10000"/>
              <a:gd name="connsiteY61" fmla="*/ 9847 h 10000"/>
              <a:gd name="connsiteX62" fmla="*/ 9963 w 10000"/>
              <a:gd name="connsiteY62" fmla="*/ 9917 h 10000"/>
              <a:gd name="connsiteX63" fmla="*/ 10000 w 10000"/>
              <a:gd name="connsiteY63" fmla="*/ 9939 h 10000"/>
              <a:gd name="connsiteX64" fmla="*/ 9877 w 10000"/>
              <a:gd name="connsiteY64" fmla="*/ 9947 h 10000"/>
              <a:gd name="connsiteX65" fmla="*/ 9104 w 10000"/>
              <a:gd name="connsiteY65" fmla="*/ 9956 h 10000"/>
              <a:gd name="connsiteX66" fmla="*/ 8457 w 10000"/>
              <a:gd name="connsiteY66" fmla="*/ 9956 h 10000"/>
              <a:gd name="connsiteX67" fmla="*/ 8246 w 10000"/>
              <a:gd name="connsiteY67" fmla="*/ 9847 h 10000"/>
              <a:gd name="connsiteX68" fmla="*/ 7836 w 10000"/>
              <a:gd name="connsiteY68" fmla="*/ 9607 h 10000"/>
              <a:gd name="connsiteX69" fmla="*/ 7535 w 10000"/>
              <a:gd name="connsiteY69" fmla="*/ 9406 h 10000"/>
              <a:gd name="connsiteX70" fmla="*/ 7336 w 10000"/>
              <a:gd name="connsiteY70" fmla="*/ 9101 h 10000"/>
              <a:gd name="connsiteX71" fmla="*/ 7111 w 10000"/>
              <a:gd name="connsiteY71" fmla="*/ 8726 h 10000"/>
              <a:gd name="connsiteX72" fmla="*/ 6888 w 10000"/>
              <a:gd name="connsiteY72" fmla="*/ 8516 h 10000"/>
              <a:gd name="connsiteX73" fmla="*/ 6690 w 10000"/>
              <a:gd name="connsiteY73" fmla="*/ 8272 h 10000"/>
              <a:gd name="connsiteX74" fmla="*/ 6615 w 10000"/>
              <a:gd name="connsiteY74" fmla="*/ 8011 h 10000"/>
              <a:gd name="connsiteX75" fmla="*/ 6639 w 10000"/>
              <a:gd name="connsiteY75" fmla="*/ 7923 h 10000"/>
              <a:gd name="connsiteX76" fmla="*/ 6466 w 10000"/>
              <a:gd name="connsiteY76" fmla="*/ 7757 h 10000"/>
              <a:gd name="connsiteX77" fmla="*/ 6043 w 10000"/>
              <a:gd name="connsiteY77" fmla="*/ 7103 h 10000"/>
              <a:gd name="connsiteX78" fmla="*/ 5743 w 10000"/>
              <a:gd name="connsiteY78" fmla="*/ 6527 h 10000"/>
              <a:gd name="connsiteX79" fmla="*/ 5619 w 10000"/>
              <a:gd name="connsiteY79" fmla="*/ 6300 h 10000"/>
              <a:gd name="connsiteX80" fmla="*/ 5420 w 10000"/>
              <a:gd name="connsiteY80" fmla="*/ 6099 h 10000"/>
              <a:gd name="connsiteX81" fmla="*/ 5220 w 10000"/>
              <a:gd name="connsiteY81" fmla="*/ 5942 h 10000"/>
              <a:gd name="connsiteX82" fmla="*/ 5146 w 10000"/>
              <a:gd name="connsiteY82" fmla="*/ 5846 h 10000"/>
              <a:gd name="connsiteX83" fmla="*/ 5021 w 10000"/>
              <a:gd name="connsiteY83" fmla="*/ 6029 h 10000"/>
              <a:gd name="connsiteX84" fmla="*/ 4773 w 10000"/>
              <a:gd name="connsiteY84" fmla="*/ 6475 h 10000"/>
              <a:gd name="connsiteX85" fmla="*/ 4661 w 10000"/>
              <a:gd name="connsiteY85" fmla="*/ 7107 h 10000"/>
              <a:gd name="connsiteX86" fmla="*/ 4634 w 10000"/>
              <a:gd name="connsiteY86" fmla="*/ 7526 h 10000"/>
              <a:gd name="connsiteX87" fmla="*/ 4523 w 10000"/>
              <a:gd name="connsiteY87" fmla="*/ 7644 h 10000"/>
              <a:gd name="connsiteX88" fmla="*/ 4523 w 10000"/>
              <a:gd name="connsiteY88" fmla="*/ 7923 h 10000"/>
              <a:gd name="connsiteX89" fmla="*/ 4622 w 10000"/>
              <a:gd name="connsiteY89" fmla="*/ 8150 h 10000"/>
              <a:gd name="connsiteX90" fmla="*/ 4685 w 10000"/>
              <a:gd name="connsiteY90" fmla="*/ 8202 h 10000"/>
              <a:gd name="connsiteX91" fmla="*/ 4634 w 10000"/>
              <a:gd name="connsiteY91" fmla="*/ 8394 h 10000"/>
              <a:gd name="connsiteX92" fmla="*/ 4437 w 10000"/>
              <a:gd name="connsiteY92" fmla="*/ 8617 h 10000"/>
              <a:gd name="connsiteX93" fmla="*/ 4324 w 10000"/>
              <a:gd name="connsiteY93" fmla="*/ 8682 h 10000"/>
              <a:gd name="connsiteX94" fmla="*/ 4374 w 10000"/>
              <a:gd name="connsiteY94" fmla="*/ 8687 h 10000"/>
              <a:gd name="connsiteX95" fmla="*/ 4411 w 10000"/>
              <a:gd name="connsiteY95" fmla="*/ 8944 h 10000"/>
              <a:gd name="connsiteX96" fmla="*/ 4300 w 10000"/>
              <a:gd name="connsiteY96" fmla="*/ 9389 h 10000"/>
              <a:gd name="connsiteX97" fmla="*/ 4101 w 10000"/>
              <a:gd name="connsiteY97" fmla="*/ 9642 h 10000"/>
              <a:gd name="connsiteX98" fmla="*/ 3913 w 10000"/>
              <a:gd name="connsiteY98" fmla="*/ 9852 h 10000"/>
              <a:gd name="connsiteX99" fmla="*/ 3827 w 10000"/>
              <a:gd name="connsiteY99" fmla="*/ 10000 h 10000"/>
              <a:gd name="connsiteX100" fmla="*/ 3777 w 10000"/>
              <a:gd name="connsiteY100" fmla="*/ 9996 h 10000"/>
              <a:gd name="connsiteX101" fmla="*/ 2830 w 10000"/>
              <a:gd name="connsiteY101" fmla="*/ 9987 h 10000"/>
              <a:gd name="connsiteX102" fmla="*/ 1933 w 10000"/>
              <a:gd name="connsiteY102" fmla="*/ 9983 h 10000"/>
              <a:gd name="connsiteX103" fmla="*/ 2046 w 10000"/>
              <a:gd name="connsiteY103" fmla="*/ 9904 h 10000"/>
              <a:gd name="connsiteX104" fmla="*/ 2333 w 10000"/>
              <a:gd name="connsiteY104" fmla="*/ 9764 h 10000"/>
              <a:gd name="connsiteX105" fmla="*/ 2818 w 10000"/>
              <a:gd name="connsiteY105" fmla="*/ 9542 h 10000"/>
              <a:gd name="connsiteX106" fmla="*/ 3167 w 10000"/>
              <a:gd name="connsiteY106" fmla="*/ 9350 h 10000"/>
              <a:gd name="connsiteX107" fmla="*/ 3204 w 10000"/>
              <a:gd name="connsiteY107" fmla="*/ 9319 h 10000"/>
              <a:gd name="connsiteX108" fmla="*/ 3130 w 10000"/>
              <a:gd name="connsiteY108" fmla="*/ 9189 h 10000"/>
              <a:gd name="connsiteX109" fmla="*/ 2855 w 10000"/>
              <a:gd name="connsiteY109" fmla="*/ 8787 h 10000"/>
              <a:gd name="connsiteX110" fmla="*/ 2606 w 10000"/>
              <a:gd name="connsiteY110" fmla="*/ 8281 h 10000"/>
              <a:gd name="connsiteX111" fmla="*/ 2657 w 10000"/>
              <a:gd name="connsiteY111" fmla="*/ 7696 h 10000"/>
              <a:gd name="connsiteX112" fmla="*/ 2581 w 10000"/>
              <a:gd name="connsiteY112" fmla="*/ 6980 h 10000"/>
              <a:gd name="connsiteX113" fmla="*/ 2283 w 10000"/>
              <a:gd name="connsiteY113" fmla="*/ 6413 h 10000"/>
              <a:gd name="connsiteX114" fmla="*/ 2083 w 10000"/>
              <a:gd name="connsiteY114" fmla="*/ 6065 h 10000"/>
              <a:gd name="connsiteX115" fmla="*/ 2083 w 10000"/>
              <a:gd name="connsiteY115" fmla="*/ 5445 h 10000"/>
              <a:gd name="connsiteX116" fmla="*/ 2382 w 10000"/>
              <a:gd name="connsiteY116" fmla="*/ 4721 h 10000"/>
              <a:gd name="connsiteX117" fmla="*/ 2718 w 10000"/>
              <a:gd name="connsiteY117" fmla="*/ 4254 h 10000"/>
              <a:gd name="connsiteX118" fmla="*/ 2894 w 10000"/>
              <a:gd name="connsiteY118" fmla="*/ 3992 h 10000"/>
              <a:gd name="connsiteX119" fmla="*/ 2980 w 10000"/>
              <a:gd name="connsiteY119" fmla="*/ 3874 h 10000"/>
              <a:gd name="connsiteX120" fmla="*/ 2780 w 10000"/>
              <a:gd name="connsiteY120" fmla="*/ 3482 h 10000"/>
              <a:gd name="connsiteX121" fmla="*/ 2394 w 10000"/>
              <a:gd name="connsiteY121" fmla="*/ 2940 h 10000"/>
              <a:gd name="connsiteX122" fmla="*/ 2234 w 10000"/>
              <a:gd name="connsiteY122" fmla="*/ 2722 h 10000"/>
              <a:gd name="connsiteX123" fmla="*/ 2169 w 10000"/>
              <a:gd name="connsiteY123" fmla="*/ 2739 h 10000"/>
              <a:gd name="connsiteX124" fmla="*/ 2059 w 10000"/>
              <a:gd name="connsiteY124" fmla="*/ 2818 h 10000"/>
              <a:gd name="connsiteX125" fmla="*/ 1933 w 10000"/>
              <a:gd name="connsiteY125" fmla="*/ 3150 h 10000"/>
              <a:gd name="connsiteX126" fmla="*/ 1722 w 10000"/>
              <a:gd name="connsiteY126" fmla="*/ 3534 h 10000"/>
              <a:gd name="connsiteX127" fmla="*/ 1586 w 10000"/>
              <a:gd name="connsiteY127" fmla="*/ 3647 h 10000"/>
              <a:gd name="connsiteX128" fmla="*/ 1599 w 10000"/>
              <a:gd name="connsiteY128" fmla="*/ 3665 h 10000"/>
              <a:gd name="connsiteX129" fmla="*/ 1611 w 10000"/>
              <a:gd name="connsiteY129" fmla="*/ 4023 h 10000"/>
              <a:gd name="connsiteX130" fmla="*/ 1510 w 10000"/>
              <a:gd name="connsiteY130" fmla="*/ 4485 h 10000"/>
              <a:gd name="connsiteX131" fmla="*/ 1485 w 10000"/>
              <a:gd name="connsiteY131" fmla="*/ 4904 h 10000"/>
              <a:gd name="connsiteX132" fmla="*/ 1611 w 10000"/>
              <a:gd name="connsiteY132" fmla="*/ 5366 h 10000"/>
              <a:gd name="connsiteX133" fmla="*/ 1548 w 10000"/>
              <a:gd name="connsiteY133" fmla="*/ 5694 h 10000"/>
              <a:gd name="connsiteX134" fmla="*/ 1436 w 10000"/>
              <a:gd name="connsiteY134" fmla="*/ 5855 h 10000"/>
              <a:gd name="connsiteX135" fmla="*/ 1374 w 10000"/>
              <a:gd name="connsiteY135" fmla="*/ 5825 h 10000"/>
              <a:gd name="connsiteX136" fmla="*/ 1300 w 10000"/>
              <a:gd name="connsiteY136" fmla="*/ 5672 h 10000"/>
              <a:gd name="connsiteX137" fmla="*/ 1212 w 10000"/>
              <a:gd name="connsiteY137" fmla="*/ 5554 h 10000"/>
              <a:gd name="connsiteX138" fmla="*/ 1138 w 10000"/>
              <a:gd name="connsiteY138" fmla="*/ 5558 h 10000"/>
              <a:gd name="connsiteX139" fmla="*/ 1126 w 10000"/>
              <a:gd name="connsiteY139" fmla="*/ 5562 h 10000"/>
              <a:gd name="connsiteX140" fmla="*/ 1175 w 10000"/>
              <a:gd name="connsiteY140" fmla="*/ 5763 h 10000"/>
              <a:gd name="connsiteX141" fmla="*/ 976 w 10000"/>
              <a:gd name="connsiteY141" fmla="*/ 5929 h 10000"/>
              <a:gd name="connsiteX142" fmla="*/ 552 w 10000"/>
              <a:gd name="connsiteY142" fmla="*/ 5807 h 10000"/>
              <a:gd name="connsiteX143" fmla="*/ 316 w 10000"/>
              <a:gd name="connsiteY143" fmla="*/ 5655 h 10000"/>
              <a:gd name="connsiteX144" fmla="*/ 254 w 10000"/>
              <a:gd name="connsiteY144" fmla="*/ 5589 h 10000"/>
              <a:gd name="connsiteX145" fmla="*/ 290 w 10000"/>
              <a:gd name="connsiteY145" fmla="*/ 5113 h 10000"/>
              <a:gd name="connsiteX146" fmla="*/ 192 w 10000"/>
              <a:gd name="connsiteY146" fmla="*/ 4503 h 10000"/>
              <a:gd name="connsiteX147" fmla="*/ 17 w 10000"/>
              <a:gd name="connsiteY147" fmla="*/ 4197 h 10000"/>
              <a:gd name="connsiteX148" fmla="*/ 67 w 10000"/>
              <a:gd name="connsiteY148" fmla="*/ 3866 h 10000"/>
              <a:gd name="connsiteX149" fmla="*/ 241 w 10000"/>
              <a:gd name="connsiteY149" fmla="*/ 3359 h 10000"/>
              <a:gd name="connsiteX150" fmla="*/ 365 w 10000"/>
              <a:gd name="connsiteY150" fmla="*/ 2906 h 10000"/>
              <a:gd name="connsiteX151" fmla="*/ 491 w 10000"/>
              <a:gd name="connsiteY151" fmla="*/ 2443 h 10000"/>
              <a:gd name="connsiteX152" fmla="*/ 702 w 10000"/>
              <a:gd name="connsiteY152" fmla="*/ 2007 h 10000"/>
              <a:gd name="connsiteX153" fmla="*/ 838 w 10000"/>
              <a:gd name="connsiteY153" fmla="*/ 1919 h 10000"/>
              <a:gd name="connsiteX154" fmla="*/ 939 w 10000"/>
              <a:gd name="connsiteY154" fmla="*/ 1898 h 10000"/>
              <a:gd name="connsiteX155" fmla="*/ 1237 w 10000"/>
              <a:gd name="connsiteY155" fmla="*/ 1841 h 10000"/>
              <a:gd name="connsiteX156" fmla="*/ 1933 w 10000"/>
              <a:gd name="connsiteY156" fmla="*/ 1745 h 10000"/>
              <a:gd name="connsiteX157" fmla="*/ 2980 w 10000"/>
              <a:gd name="connsiteY157" fmla="*/ 1631 h 10000"/>
              <a:gd name="connsiteX158" fmla="*/ 3714 w 10000"/>
              <a:gd name="connsiteY158" fmla="*/ 1557 h 10000"/>
              <a:gd name="connsiteX159" fmla="*/ 3901 w 10000"/>
              <a:gd name="connsiteY159" fmla="*/ 1535 h 10000"/>
              <a:gd name="connsiteX160" fmla="*/ 3925 w 10000"/>
              <a:gd name="connsiteY160" fmla="*/ 1518 h 10000"/>
              <a:gd name="connsiteX161" fmla="*/ 4013 w 10000"/>
              <a:gd name="connsiteY161" fmla="*/ 1344 h 10000"/>
              <a:gd name="connsiteX162" fmla="*/ 4076 w 10000"/>
              <a:gd name="connsiteY162" fmla="*/ 1187 h 10000"/>
              <a:gd name="connsiteX163" fmla="*/ 3751 w 10000"/>
              <a:gd name="connsiteY163" fmla="*/ 1169 h 10000"/>
              <a:gd name="connsiteX164" fmla="*/ 3427 w 10000"/>
              <a:gd name="connsiteY164" fmla="*/ 1151 h 10000"/>
              <a:gd name="connsiteX165" fmla="*/ 3378 w 10000"/>
              <a:gd name="connsiteY165" fmla="*/ 1134 h 10000"/>
              <a:gd name="connsiteX166" fmla="*/ 3353 w 10000"/>
              <a:gd name="connsiteY166" fmla="*/ 999 h 10000"/>
              <a:gd name="connsiteX167" fmla="*/ 3378 w 10000"/>
              <a:gd name="connsiteY167" fmla="*/ 881 h 10000"/>
              <a:gd name="connsiteX168" fmla="*/ 3241 w 10000"/>
              <a:gd name="connsiteY168" fmla="*/ 850 h 10000"/>
              <a:gd name="connsiteX169" fmla="*/ 3130 w 10000"/>
              <a:gd name="connsiteY169" fmla="*/ 785 h 10000"/>
              <a:gd name="connsiteX170" fmla="*/ 3253 w 10000"/>
              <a:gd name="connsiteY170" fmla="*/ 497 h 10000"/>
              <a:gd name="connsiteX171" fmla="*/ 3353 w 10000"/>
              <a:gd name="connsiteY171" fmla="*/ 244 h 10000"/>
              <a:gd name="connsiteX172" fmla="*/ 3664 w 10000"/>
              <a:gd name="connsiteY172" fmla="*/ 161 h 10000"/>
              <a:gd name="connsiteX173" fmla="*/ 4175 w 10000"/>
              <a:gd name="connsiteY173" fmla="*/ 61 h 10000"/>
              <a:gd name="connsiteX174" fmla="*/ 4785 w 10000"/>
              <a:gd name="connsiteY174"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2830 w 10000"/>
              <a:gd name="connsiteY100" fmla="*/ 9987 h 10000"/>
              <a:gd name="connsiteX101" fmla="*/ 1933 w 10000"/>
              <a:gd name="connsiteY101" fmla="*/ 9983 h 10000"/>
              <a:gd name="connsiteX102" fmla="*/ 2046 w 10000"/>
              <a:gd name="connsiteY102" fmla="*/ 9904 h 10000"/>
              <a:gd name="connsiteX103" fmla="*/ 2333 w 10000"/>
              <a:gd name="connsiteY103" fmla="*/ 9764 h 10000"/>
              <a:gd name="connsiteX104" fmla="*/ 2818 w 10000"/>
              <a:gd name="connsiteY104" fmla="*/ 9542 h 10000"/>
              <a:gd name="connsiteX105" fmla="*/ 3167 w 10000"/>
              <a:gd name="connsiteY105" fmla="*/ 9350 h 10000"/>
              <a:gd name="connsiteX106" fmla="*/ 3204 w 10000"/>
              <a:gd name="connsiteY106" fmla="*/ 9319 h 10000"/>
              <a:gd name="connsiteX107" fmla="*/ 3130 w 10000"/>
              <a:gd name="connsiteY107" fmla="*/ 9189 h 10000"/>
              <a:gd name="connsiteX108" fmla="*/ 2855 w 10000"/>
              <a:gd name="connsiteY108" fmla="*/ 8787 h 10000"/>
              <a:gd name="connsiteX109" fmla="*/ 2606 w 10000"/>
              <a:gd name="connsiteY109" fmla="*/ 8281 h 10000"/>
              <a:gd name="connsiteX110" fmla="*/ 2657 w 10000"/>
              <a:gd name="connsiteY110" fmla="*/ 7696 h 10000"/>
              <a:gd name="connsiteX111" fmla="*/ 2581 w 10000"/>
              <a:gd name="connsiteY111" fmla="*/ 6980 h 10000"/>
              <a:gd name="connsiteX112" fmla="*/ 2283 w 10000"/>
              <a:gd name="connsiteY112" fmla="*/ 6413 h 10000"/>
              <a:gd name="connsiteX113" fmla="*/ 2083 w 10000"/>
              <a:gd name="connsiteY113" fmla="*/ 6065 h 10000"/>
              <a:gd name="connsiteX114" fmla="*/ 2083 w 10000"/>
              <a:gd name="connsiteY114" fmla="*/ 5445 h 10000"/>
              <a:gd name="connsiteX115" fmla="*/ 2382 w 10000"/>
              <a:gd name="connsiteY115" fmla="*/ 4721 h 10000"/>
              <a:gd name="connsiteX116" fmla="*/ 2718 w 10000"/>
              <a:gd name="connsiteY116" fmla="*/ 4254 h 10000"/>
              <a:gd name="connsiteX117" fmla="*/ 2894 w 10000"/>
              <a:gd name="connsiteY117" fmla="*/ 3992 h 10000"/>
              <a:gd name="connsiteX118" fmla="*/ 2980 w 10000"/>
              <a:gd name="connsiteY118" fmla="*/ 3874 h 10000"/>
              <a:gd name="connsiteX119" fmla="*/ 2780 w 10000"/>
              <a:gd name="connsiteY119" fmla="*/ 3482 h 10000"/>
              <a:gd name="connsiteX120" fmla="*/ 2394 w 10000"/>
              <a:gd name="connsiteY120" fmla="*/ 2940 h 10000"/>
              <a:gd name="connsiteX121" fmla="*/ 2234 w 10000"/>
              <a:gd name="connsiteY121" fmla="*/ 2722 h 10000"/>
              <a:gd name="connsiteX122" fmla="*/ 2169 w 10000"/>
              <a:gd name="connsiteY122" fmla="*/ 2739 h 10000"/>
              <a:gd name="connsiteX123" fmla="*/ 2059 w 10000"/>
              <a:gd name="connsiteY123" fmla="*/ 2818 h 10000"/>
              <a:gd name="connsiteX124" fmla="*/ 1933 w 10000"/>
              <a:gd name="connsiteY124" fmla="*/ 3150 h 10000"/>
              <a:gd name="connsiteX125" fmla="*/ 1722 w 10000"/>
              <a:gd name="connsiteY125" fmla="*/ 3534 h 10000"/>
              <a:gd name="connsiteX126" fmla="*/ 1586 w 10000"/>
              <a:gd name="connsiteY126" fmla="*/ 3647 h 10000"/>
              <a:gd name="connsiteX127" fmla="*/ 1599 w 10000"/>
              <a:gd name="connsiteY127" fmla="*/ 3665 h 10000"/>
              <a:gd name="connsiteX128" fmla="*/ 1611 w 10000"/>
              <a:gd name="connsiteY128" fmla="*/ 4023 h 10000"/>
              <a:gd name="connsiteX129" fmla="*/ 1510 w 10000"/>
              <a:gd name="connsiteY129" fmla="*/ 4485 h 10000"/>
              <a:gd name="connsiteX130" fmla="*/ 1485 w 10000"/>
              <a:gd name="connsiteY130" fmla="*/ 4904 h 10000"/>
              <a:gd name="connsiteX131" fmla="*/ 1611 w 10000"/>
              <a:gd name="connsiteY131" fmla="*/ 5366 h 10000"/>
              <a:gd name="connsiteX132" fmla="*/ 1548 w 10000"/>
              <a:gd name="connsiteY132" fmla="*/ 5694 h 10000"/>
              <a:gd name="connsiteX133" fmla="*/ 1436 w 10000"/>
              <a:gd name="connsiteY133" fmla="*/ 5855 h 10000"/>
              <a:gd name="connsiteX134" fmla="*/ 1374 w 10000"/>
              <a:gd name="connsiteY134" fmla="*/ 5825 h 10000"/>
              <a:gd name="connsiteX135" fmla="*/ 1300 w 10000"/>
              <a:gd name="connsiteY135" fmla="*/ 5672 h 10000"/>
              <a:gd name="connsiteX136" fmla="*/ 1212 w 10000"/>
              <a:gd name="connsiteY136" fmla="*/ 5554 h 10000"/>
              <a:gd name="connsiteX137" fmla="*/ 1138 w 10000"/>
              <a:gd name="connsiteY137" fmla="*/ 5558 h 10000"/>
              <a:gd name="connsiteX138" fmla="*/ 1126 w 10000"/>
              <a:gd name="connsiteY138" fmla="*/ 5562 h 10000"/>
              <a:gd name="connsiteX139" fmla="*/ 1175 w 10000"/>
              <a:gd name="connsiteY139" fmla="*/ 5763 h 10000"/>
              <a:gd name="connsiteX140" fmla="*/ 976 w 10000"/>
              <a:gd name="connsiteY140" fmla="*/ 5929 h 10000"/>
              <a:gd name="connsiteX141" fmla="*/ 552 w 10000"/>
              <a:gd name="connsiteY141" fmla="*/ 5807 h 10000"/>
              <a:gd name="connsiteX142" fmla="*/ 316 w 10000"/>
              <a:gd name="connsiteY142" fmla="*/ 5655 h 10000"/>
              <a:gd name="connsiteX143" fmla="*/ 254 w 10000"/>
              <a:gd name="connsiteY143" fmla="*/ 5589 h 10000"/>
              <a:gd name="connsiteX144" fmla="*/ 290 w 10000"/>
              <a:gd name="connsiteY144" fmla="*/ 5113 h 10000"/>
              <a:gd name="connsiteX145" fmla="*/ 192 w 10000"/>
              <a:gd name="connsiteY145" fmla="*/ 4503 h 10000"/>
              <a:gd name="connsiteX146" fmla="*/ 17 w 10000"/>
              <a:gd name="connsiteY146" fmla="*/ 4197 h 10000"/>
              <a:gd name="connsiteX147" fmla="*/ 67 w 10000"/>
              <a:gd name="connsiteY147" fmla="*/ 3866 h 10000"/>
              <a:gd name="connsiteX148" fmla="*/ 241 w 10000"/>
              <a:gd name="connsiteY148" fmla="*/ 3359 h 10000"/>
              <a:gd name="connsiteX149" fmla="*/ 365 w 10000"/>
              <a:gd name="connsiteY149" fmla="*/ 2906 h 10000"/>
              <a:gd name="connsiteX150" fmla="*/ 491 w 10000"/>
              <a:gd name="connsiteY150" fmla="*/ 2443 h 10000"/>
              <a:gd name="connsiteX151" fmla="*/ 702 w 10000"/>
              <a:gd name="connsiteY151" fmla="*/ 2007 h 10000"/>
              <a:gd name="connsiteX152" fmla="*/ 838 w 10000"/>
              <a:gd name="connsiteY152" fmla="*/ 1919 h 10000"/>
              <a:gd name="connsiteX153" fmla="*/ 939 w 10000"/>
              <a:gd name="connsiteY153" fmla="*/ 1898 h 10000"/>
              <a:gd name="connsiteX154" fmla="*/ 1237 w 10000"/>
              <a:gd name="connsiteY154" fmla="*/ 1841 h 10000"/>
              <a:gd name="connsiteX155" fmla="*/ 1933 w 10000"/>
              <a:gd name="connsiteY155" fmla="*/ 1745 h 10000"/>
              <a:gd name="connsiteX156" fmla="*/ 2980 w 10000"/>
              <a:gd name="connsiteY156" fmla="*/ 1631 h 10000"/>
              <a:gd name="connsiteX157" fmla="*/ 3714 w 10000"/>
              <a:gd name="connsiteY157" fmla="*/ 1557 h 10000"/>
              <a:gd name="connsiteX158" fmla="*/ 3901 w 10000"/>
              <a:gd name="connsiteY158" fmla="*/ 1535 h 10000"/>
              <a:gd name="connsiteX159" fmla="*/ 3925 w 10000"/>
              <a:gd name="connsiteY159" fmla="*/ 1518 h 10000"/>
              <a:gd name="connsiteX160" fmla="*/ 4013 w 10000"/>
              <a:gd name="connsiteY160" fmla="*/ 1344 h 10000"/>
              <a:gd name="connsiteX161" fmla="*/ 4076 w 10000"/>
              <a:gd name="connsiteY161" fmla="*/ 1187 h 10000"/>
              <a:gd name="connsiteX162" fmla="*/ 3751 w 10000"/>
              <a:gd name="connsiteY162" fmla="*/ 1169 h 10000"/>
              <a:gd name="connsiteX163" fmla="*/ 3427 w 10000"/>
              <a:gd name="connsiteY163" fmla="*/ 1151 h 10000"/>
              <a:gd name="connsiteX164" fmla="*/ 3378 w 10000"/>
              <a:gd name="connsiteY164" fmla="*/ 1134 h 10000"/>
              <a:gd name="connsiteX165" fmla="*/ 3353 w 10000"/>
              <a:gd name="connsiteY165" fmla="*/ 999 h 10000"/>
              <a:gd name="connsiteX166" fmla="*/ 3378 w 10000"/>
              <a:gd name="connsiteY166" fmla="*/ 881 h 10000"/>
              <a:gd name="connsiteX167" fmla="*/ 3241 w 10000"/>
              <a:gd name="connsiteY167" fmla="*/ 850 h 10000"/>
              <a:gd name="connsiteX168" fmla="*/ 3130 w 10000"/>
              <a:gd name="connsiteY168" fmla="*/ 785 h 10000"/>
              <a:gd name="connsiteX169" fmla="*/ 3253 w 10000"/>
              <a:gd name="connsiteY169" fmla="*/ 497 h 10000"/>
              <a:gd name="connsiteX170" fmla="*/ 3353 w 10000"/>
              <a:gd name="connsiteY170" fmla="*/ 244 h 10000"/>
              <a:gd name="connsiteX171" fmla="*/ 3664 w 10000"/>
              <a:gd name="connsiteY171" fmla="*/ 161 h 10000"/>
              <a:gd name="connsiteX172" fmla="*/ 4175 w 10000"/>
              <a:gd name="connsiteY172" fmla="*/ 61 h 10000"/>
              <a:gd name="connsiteX173" fmla="*/ 4785 w 10000"/>
              <a:gd name="connsiteY173" fmla="*/ 22 h 10000"/>
              <a:gd name="connsiteX0" fmla="*/ 4785 w 10000"/>
              <a:gd name="connsiteY0" fmla="*/ 22 h 10121"/>
              <a:gd name="connsiteX1" fmla="*/ 5195 w 10000"/>
              <a:gd name="connsiteY1" fmla="*/ 0 h 10121"/>
              <a:gd name="connsiteX2" fmla="*/ 5282 w 10000"/>
              <a:gd name="connsiteY2" fmla="*/ 39 h 10121"/>
              <a:gd name="connsiteX3" fmla="*/ 5582 w 10000"/>
              <a:gd name="connsiteY3" fmla="*/ 135 h 10121"/>
              <a:gd name="connsiteX4" fmla="*/ 5868 w 10000"/>
              <a:gd name="connsiteY4" fmla="*/ 236 h 10121"/>
              <a:gd name="connsiteX5" fmla="*/ 5943 w 10000"/>
              <a:gd name="connsiteY5" fmla="*/ 279 h 10121"/>
              <a:gd name="connsiteX6" fmla="*/ 5967 w 10000"/>
              <a:gd name="connsiteY6" fmla="*/ 314 h 10121"/>
              <a:gd name="connsiteX7" fmla="*/ 5992 w 10000"/>
              <a:gd name="connsiteY7" fmla="*/ 767 h 10121"/>
              <a:gd name="connsiteX8" fmla="*/ 6117 w 10000"/>
              <a:gd name="connsiteY8" fmla="*/ 1344 h 10121"/>
              <a:gd name="connsiteX9" fmla="*/ 6242 w 10000"/>
              <a:gd name="connsiteY9" fmla="*/ 1501 h 10121"/>
              <a:gd name="connsiteX10" fmla="*/ 6478 w 10000"/>
              <a:gd name="connsiteY10" fmla="*/ 1548 h 10121"/>
              <a:gd name="connsiteX11" fmla="*/ 6863 w 10000"/>
              <a:gd name="connsiteY11" fmla="*/ 1605 h 10121"/>
              <a:gd name="connsiteX12" fmla="*/ 7535 w 10000"/>
              <a:gd name="connsiteY12" fmla="*/ 1680 h 10121"/>
              <a:gd name="connsiteX13" fmla="*/ 8109 w 10000"/>
              <a:gd name="connsiteY13" fmla="*/ 1767 h 10121"/>
              <a:gd name="connsiteX14" fmla="*/ 8768 w 10000"/>
              <a:gd name="connsiteY14" fmla="*/ 1924 h 10121"/>
              <a:gd name="connsiteX15" fmla="*/ 9379 w 10000"/>
              <a:gd name="connsiteY15" fmla="*/ 2059 h 10121"/>
              <a:gd name="connsiteX16" fmla="*/ 9478 w 10000"/>
              <a:gd name="connsiteY16" fmla="*/ 2304 h 10121"/>
              <a:gd name="connsiteX17" fmla="*/ 9702 w 10000"/>
              <a:gd name="connsiteY17" fmla="*/ 3185 h 10121"/>
              <a:gd name="connsiteX18" fmla="*/ 9877 w 10000"/>
              <a:gd name="connsiteY18" fmla="*/ 3909 h 10121"/>
              <a:gd name="connsiteX19" fmla="*/ 9926 w 10000"/>
              <a:gd name="connsiteY19" fmla="*/ 4206 h 10121"/>
              <a:gd name="connsiteX20" fmla="*/ 9776 w 10000"/>
              <a:gd name="connsiteY20" fmla="*/ 4712 h 10121"/>
              <a:gd name="connsiteX21" fmla="*/ 9727 w 10000"/>
              <a:gd name="connsiteY21" fmla="*/ 5271 h 10121"/>
              <a:gd name="connsiteX22" fmla="*/ 9727 w 10000"/>
              <a:gd name="connsiteY22" fmla="*/ 5628 h 10121"/>
              <a:gd name="connsiteX23" fmla="*/ 9465 w 10000"/>
              <a:gd name="connsiteY23" fmla="*/ 5781 h 10121"/>
              <a:gd name="connsiteX24" fmla="*/ 9217 w 10000"/>
              <a:gd name="connsiteY24" fmla="*/ 5842 h 10121"/>
              <a:gd name="connsiteX25" fmla="*/ 9029 w 10000"/>
              <a:gd name="connsiteY25" fmla="*/ 5881 h 10121"/>
              <a:gd name="connsiteX26" fmla="*/ 8931 w 10000"/>
              <a:gd name="connsiteY26" fmla="*/ 5916 h 10121"/>
              <a:gd name="connsiteX27" fmla="*/ 8955 w 10000"/>
              <a:gd name="connsiteY27" fmla="*/ 5698 h 10121"/>
              <a:gd name="connsiteX28" fmla="*/ 8980 w 10000"/>
              <a:gd name="connsiteY28" fmla="*/ 5480 h 10121"/>
              <a:gd name="connsiteX29" fmla="*/ 8879 w 10000"/>
              <a:gd name="connsiteY29" fmla="*/ 5445 h 10121"/>
              <a:gd name="connsiteX30" fmla="*/ 8793 w 10000"/>
              <a:gd name="connsiteY30" fmla="*/ 5523 h 10121"/>
              <a:gd name="connsiteX31" fmla="*/ 8805 w 10000"/>
              <a:gd name="connsiteY31" fmla="*/ 5637 h 10121"/>
              <a:gd name="connsiteX32" fmla="*/ 8668 w 10000"/>
              <a:gd name="connsiteY32" fmla="*/ 5602 h 10121"/>
              <a:gd name="connsiteX33" fmla="*/ 8457 w 10000"/>
              <a:gd name="connsiteY33" fmla="*/ 5410 h 10121"/>
              <a:gd name="connsiteX34" fmla="*/ 8508 w 10000"/>
              <a:gd name="connsiteY34" fmla="*/ 5061 h 10121"/>
              <a:gd name="connsiteX35" fmla="*/ 8656 w 10000"/>
              <a:gd name="connsiteY35" fmla="*/ 4721 h 10121"/>
              <a:gd name="connsiteX36" fmla="*/ 8606 w 10000"/>
              <a:gd name="connsiteY36" fmla="*/ 4101 h 10121"/>
              <a:gd name="connsiteX37" fmla="*/ 8457 w 10000"/>
              <a:gd name="connsiteY37" fmla="*/ 3543 h 10121"/>
              <a:gd name="connsiteX38" fmla="*/ 8258 w 10000"/>
              <a:gd name="connsiteY38" fmla="*/ 3063 h 10121"/>
              <a:gd name="connsiteX39" fmla="*/ 8047 w 10000"/>
              <a:gd name="connsiteY39" fmla="*/ 2652 h 10121"/>
              <a:gd name="connsiteX40" fmla="*/ 7959 w 10000"/>
              <a:gd name="connsiteY40" fmla="*/ 2635 h 10121"/>
              <a:gd name="connsiteX41" fmla="*/ 7836 w 10000"/>
              <a:gd name="connsiteY41" fmla="*/ 2827 h 10121"/>
              <a:gd name="connsiteX42" fmla="*/ 7660 w 10000"/>
              <a:gd name="connsiteY42" fmla="*/ 3019 h 10121"/>
              <a:gd name="connsiteX43" fmla="*/ 7611 w 10000"/>
              <a:gd name="connsiteY43" fmla="*/ 3019 h 10121"/>
              <a:gd name="connsiteX44" fmla="*/ 7599 w 10000"/>
              <a:gd name="connsiteY44" fmla="*/ 3089 h 10121"/>
              <a:gd name="connsiteX45" fmla="*/ 7363 w 10000"/>
              <a:gd name="connsiteY45" fmla="*/ 3438 h 10121"/>
              <a:gd name="connsiteX46" fmla="*/ 7150 w 10000"/>
              <a:gd name="connsiteY46" fmla="*/ 3940 h 10121"/>
              <a:gd name="connsiteX47" fmla="*/ 7163 w 10000"/>
              <a:gd name="connsiteY47" fmla="*/ 4162 h 10121"/>
              <a:gd name="connsiteX48" fmla="*/ 7274 w 10000"/>
              <a:gd name="connsiteY48" fmla="*/ 4210 h 10121"/>
              <a:gd name="connsiteX49" fmla="*/ 7437 w 10000"/>
              <a:gd name="connsiteY49" fmla="*/ 4380 h 10121"/>
              <a:gd name="connsiteX50" fmla="*/ 7636 w 10000"/>
              <a:gd name="connsiteY50" fmla="*/ 4878 h 10121"/>
              <a:gd name="connsiteX51" fmla="*/ 7885 w 10000"/>
              <a:gd name="connsiteY51" fmla="*/ 5462 h 10121"/>
              <a:gd name="connsiteX52" fmla="*/ 7996 w 10000"/>
              <a:gd name="connsiteY52" fmla="*/ 5903 h 10121"/>
              <a:gd name="connsiteX53" fmla="*/ 7984 w 10000"/>
              <a:gd name="connsiteY53" fmla="*/ 6806 h 10121"/>
              <a:gd name="connsiteX54" fmla="*/ 8146 w 10000"/>
              <a:gd name="connsiteY54" fmla="*/ 7858 h 10121"/>
              <a:gd name="connsiteX55" fmla="*/ 8369 w 10000"/>
              <a:gd name="connsiteY55" fmla="*/ 8294 h 10121"/>
              <a:gd name="connsiteX56" fmla="*/ 8382 w 10000"/>
              <a:gd name="connsiteY56" fmla="*/ 8726 h 10121"/>
              <a:gd name="connsiteX57" fmla="*/ 8382 w 10000"/>
              <a:gd name="connsiteY57" fmla="*/ 9145 h 10121"/>
              <a:gd name="connsiteX58" fmla="*/ 8842 w 10000"/>
              <a:gd name="connsiteY58" fmla="*/ 9411 h 10121"/>
              <a:gd name="connsiteX59" fmla="*/ 9478 w 10000"/>
              <a:gd name="connsiteY59" fmla="*/ 9738 h 10121"/>
              <a:gd name="connsiteX60" fmla="*/ 9789 w 10000"/>
              <a:gd name="connsiteY60" fmla="*/ 9847 h 10121"/>
              <a:gd name="connsiteX61" fmla="*/ 9963 w 10000"/>
              <a:gd name="connsiteY61" fmla="*/ 9917 h 10121"/>
              <a:gd name="connsiteX62" fmla="*/ 10000 w 10000"/>
              <a:gd name="connsiteY62" fmla="*/ 9939 h 10121"/>
              <a:gd name="connsiteX63" fmla="*/ 9877 w 10000"/>
              <a:gd name="connsiteY63" fmla="*/ 9947 h 10121"/>
              <a:gd name="connsiteX64" fmla="*/ 9104 w 10000"/>
              <a:gd name="connsiteY64" fmla="*/ 9956 h 10121"/>
              <a:gd name="connsiteX65" fmla="*/ 8457 w 10000"/>
              <a:gd name="connsiteY65" fmla="*/ 9956 h 10121"/>
              <a:gd name="connsiteX66" fmla="*/ 8246 w 10000"/>
              <a:gd name="connsiteY66" fmla="*/ 9847 h 10121"/>
              <a:gd name="connsiteX67" fmla="*/ 7836 w 10000"/>
              <a:gd name="connsiteY67" fmla="*/ 9607 h 10121"/>
              <a:gd name="connsiteX68" fmla="*/ 7535 w 10000"/>
              <a:gd name="connsiteY68" fmla="*/ 9406 h 10121"/>
              <a:gd name="connsiteX69" fmla="*/ 7336 w 10000"/>
              <a:gd name="connsiteY69" fmla="*/ 9101 h 10121"/>
              <a:gd name="connsiteX70" fmla="*/ 7111 w 10000"/>
              <a:gd name="connsiteY70" fmla="*/ 8726 h 10121"/>
              <a:gd name="connsiteX71" fmla="*/ 6888 w 10000"/>
              <a:gd name="connsiteY71" fmla="*/ 8516 h 10121"/>
              <a:gd name="connsiteX72" fmla="*/ 6690 w 10000"/>
              <a:gd name="connsiteY72" fmla="*/ 8272 h 10121"/>
              <a:gd name="connsiteX73" fmla="*/ 6615 w 10000"/>
              <a:gd name="connsiteY73" fmla="*/ 8011 h 10121"/>
              <a:gd name="connsiteX74" fmla="*/ 6639 w 10000"/>
              <a:gd name="connsiteY74" fmla="*/ 7923 h 10121"/>
              <a:gd name="connsiteX75" fmla="*/ 6466 w 10000"/>
              <a:gd name="connsiteY75" fmla="*/ 7757 h 10121"/>
              <a:gd name="connsiteX76" fmla="*/ 6043 w 10000"/>
              <a:gd name="connsiteY76" fmla="*/ 7103 h 10121"/>
              <a:gd name="connsiteX77" fmla="*/ 5743 w 10000"/>
              <a:gd name="connsiteY77" fmla="*/ 6527 h 10121"/>
              <a:gd name="connsiteX78" fmla="*/ 5619 w 10000"/>
              <a:gd name="connsiteY78" fmla="*/ 6300 h 10121"/>
              <a:gd name="connsiteX79" fmla="*/ 5420 w 10000"/>
              <a:gd name="connsiteY79" fmla="*/ 6099 h 10121"/>
              <a:gd name="connsiteX80" fmla="*/ 5220 w 10000"/>
              <a:gd name="connsiteY80" fmla="*/ 5942 h 10121"/>
              <a:gd name="connsiteX81" fmla="*/ 5146 w 10000"/>
              <a:gd name="connsiteY81" fmla="*/ 5846 h 10121"/>
              <a:gd name="connsiteX82" fmla="*/ 5021 w 10000"/>
              <a:gd name="connsiteY82" fmla="*/ 6029 h 10121"/>
              <a:gd name="connsiteX83" fmla="*/ 4773 w 10000"/>
              <a:gd name="connsiteY83" fmla="*/ 6475 h 10121"/>
              <a:gd name="connsiteX84" fmla="*/ 4661 w 10000"/>
              <a:gd name="connsiteY84" fmla="*/ 7107 h 10121"/>
              <a:gd name="connsiteX85" fmla="*/ 4634 w 10000"/>
              <a:gd name="connsiteY85" fmla="*/ 7526 h 10121"/>
              <a:gd name="connsiteX86" fmla="*/ 4523 w 10000"/>
              <a:gd name="connsiteY86" fmla="*/ 7644 h 10121"/>
              <a:gd name="connsiteX87" fmla="*/ 4523 w 10000"/>
              <a:gd name="connsiteY87" fmla="*/ 7923 h 10121"/>
              <a:gd name="connsiteX88" fmla="*/ 4622 w 10000"/>
              <a:gd name="connsiteY88" fmla="*/ 8150 h 10121"/>
              <a:gd name="connsiteX89" fmla="*/ 4685 w 10000"/>
              <a:gd name="connsiteY89" fmla="*/ 8202 h 10121"/>
              <a:gd name="connsiteX90" fmla="*/ 4634 w 10000"/>
              <a:gd name="connsiteY90" fmla="*/ 8394 h 10121"/>
              <a:gd name="connsiteX91" fmla="*/ 4437 w 10000"/>
              <a:gd name="connsiteY91" fmla="*/ 8617 h 10121"/>
              <a:gd name="connsiteX92" fmla="*/ 4324 w 10000"/>
              <a:gd name="connsiteY92" fmla="*/ 8682 h 10121"/>
              <a:gd name="connsiteX93" fmla="*/ 4374 w 10000"/>
              <a:gd name="connsiteY93" fmla="*/ 8687 h 10121"/>
              <a:gd name="connsiteX94" fmla="*/ 4411 w 10000"/>
              <a:gd name="connsiteY94" fmla="*/ 8944 h 10121"/>
              <a:gd name="connsiteX95" fmla="*/ 4300 w 10000"/>
              <a:gd name="connsiteY95" fmla="*/ 9389 h 10121"/>
              <a:gd name="connsiteX96" fmla="*/ 4101 w 10000"/>
              <a:gd name="connsiteY96" fmla="*/ 9642 h 10121"/>
              <a:gd name="connsiteX97" fmla="*/ 3913 w 10000"/>
              <a:gd name="connsiteY97" fmla="*/ 9852 h 10121"/>
              <a:gd name="connsiteX98" fmla="*/ 3827 w 10000"/>
              <a:gd name="connsiteY98" fmla="*/ 10000 h 10121"/>
              <a:gd name="connsiteX99" fmla="*/ 3777 w 10000"/>
              <a:gd name="connsiteY99" fmla="*/ 9996 h 10121"/>
              <a:gd name="connsiteX100" fmla="*/ 2748 w 10000"/>
              <a:gd name="connsiteY100" fmla="*/ 10121 h 10121"/>
              <a:gd name="connsiteX101" fmla="*/ 1933 w 10000"/>
              <a:gd name="connsiteY101" fmla="*/ 9983 h 10121"/>
              <a:gd name="connsiteX102" fmla="*/ 2046 w 10000"/>
              <a:gd name="connsiteY102" fmla="*/ 9904 h 10121"/>
              <a:gd name="connsiteX103" fmla="*/ 2333 w 10000"/>
              <a:gd name="connsiteY103" fmla="*/ 9764 h 10121"/>
              <a:gd name="connsiteX104" fmla="*/ 2818 w 10000"/>
              <a:gd name="connsiteY104" fmla="*/ 9542 h 10121"/>
              <a:gd name="connsiteX105" fmla="*/ 3167 w 10000"/>
              <a:gd name="connsiteY105" fmla="*/ 9350 h 10121"/>
              <a:gd name="connsiteX106" fmla="*/ 3204 w 10000"/>
              <a:gd name="connsiteY106" fmla="*/ 9319 h 10121"/>
              <a:gd name="connsiteX107" fmla="*/ 3130 w 10000"/>
              <a:gd name="connsiteY107" fmla="*/ 9189 h 10121"/>
              <a:gd name="connsiteX108" fmla="*/ 2855 w 10000"/>
              <a:gd name="connsiteY108" fmla="*/ 8787 h 10121"/>
              <a:gd name="connsiteX109" fmla="*/ 2606 w 10000"/>
              <a:gd name="connsiteY109" fmla="*/ 8281 h 10121"/>
              <a:gd name="connsiteX110" fmla="*/ 2657 w 10000"/>
              <a:gd name="connsiteY110" fmla="*/ 7696 h 10121"/>
              <a:gd name="connsiteX111" fmla="*/ 2581 w 10000"/>
              <a:gd name="connsiteY111" fmla="*/ 6980 h 10121"/>
              <a:gd name="connsiteX112" fmla="*/ 2283 w 10000"/>
              <a:gd name="connsiteY112" fmla="*/ 6413 h 10121"/>
              <a:gd name="connsiteX113" fmla="*/ 2083 w 10000"/>
              <a:gd name="connsiteY113" fmla="*/ 6065 h 10121"/>
              <a:gd name="connsiteX114" fmla="*/ 2083 w 10000"/>
              <a:gd name="connsiteY114" fmla="*/ 5445 h 10121"/>
              <a:gd name="connsiteX115" fmla="*/ 2382 w 10000"/>
              <a:gd name="connsiteY115" fmla="*/ 4721 h 10121"/>
              <a:gd name="connsiteX116" fmla="*/ 2718 w 10000"/>
              <a:gd name="connsiteY116" fmla="*/ 4254 h 10121"/>
              <a:gd name="connsiteX117" fmla="*/ 2894 w 10000"/>
              <a:gd name="connsiteY117" fmla="*/ 3992 h 10121"/>
              <a:gd name="connsiteX118" fmla="*/ 2980 w 10000"/>
              <a:gd name="connsiteY118" fmla="*/ 3874 h 10121"/>
              <a:gd name="connsiteX119" fmla="*/ 2780 w 10000"/>
              <a:gd name="connsiteY119" fmla="*/ 3482 h 10121"/>
              <a:gd name="connsiteX120" fmla="*/ 2394 w 10000"/>
              <a:gd name="connsiteY120" fmla="*/ 2940 h 10121"/>
              <a:gd name="connsiteX121" fmla="*/ 2234 w 10000"/>
              <a:gd name="connsiteY121" fmla="*/ 2722 h 10121"/>
              <a:gd name="connsiteX122" fmla="*/ 2169 w 10000"/>
              <a:gd name="connsiteY122" fmla="*/ 2739 h 10121"/>
              <a:gd name="connsiteX123" fmla="*/ 2059 w 10000"/>
              <a:gd name="connsiteY123" fmla="*/ 2818 h 10121"/>
              <a:gd name="connsiteX124" fmla="*/ 1933 w 10000"/>
              <a:gd name="connsiteY124" fmla="*/ 3150 h 10121"/>
              <a:gd name="connsiteX125" fmla="*/ 1722 w 10000"/>
              <a:gd name="connsiteY125" fmla="*/ 3534 h 10121"/>
              <a:gd name="connsiteX126" fmla="*/ 1586 w 10000"/>
              <a:gd name="connsiteY126" fmla="*/ 3647 h 10121"/>
              <a:gd name="connsiteX127" fmla="*/ 1599 w 10000"/>
              <a:gd name="connsiteY127" fmla="*/ 3665 h 10121"/>
              <a:gd name="connsiteX128" fmla="*/ 1611 w 10000"/>
              <a:gd name="connsiteY128" fmla="*/ 4023 h 10121"/>
              <a:gd name="connsiteX129" fmla="*/ 1510 w 10000"/>
              <a:gd name="connsiteY129" fmla="*/ 4485 h 10121"/>
              <a:gd name="connsiteX130" fmla="*/ 1485 w 10000"/>
              <a:gd name="connsiteY130" fmla="*/ 4904 h 10121"/>
              <a:gd name="connsiteX131" fmla="*/ 1611 w 10000"/>
              <a:gd name="connsiteY131" fmla="*/ 5366 h 10121"/>
              <a:gd name="connsiteX132" fmla="*/ 1548 w 10000"/>
              <a:gd name="connsiteY132" fmla="*/ 5694 h 10121"/>
              <a:gd name="connsiteX133" fmla="*/ 1436 w 10000"/>
              <a:gd name="connsiteY133" fmla="*/ 5855 h 10121"/>
              <a:gd name="connsiteX134" fmla="*/ 1374 w 10000"/>
              <a:gd name="connsiteY134" fmla="*/ 5825 h 10121"/>
              <a:gd name="connsiteX135" fmla="*/ 1300 w 10000"/>
              <a:gd name="connsiteY135" fmla="*/ 5672 h 10121"/>
              <a:gd name="connsiteX136" fmla="*/ 1212 w 10000"/>
              <a:gd name="connsiteY136" fmla="*/ 5554 h 10121"/>
              <a:gd name="connsiteX137" fmla="*/ 1138 w 10000"/>
              <a:gd name="connsiteY137" fmla="*/ 5558 h 10121"/>
              <a:gd name="connsiteX138" fmla="*/ 1126 w 10000"/>
              <a:gd name="connsiteY138" fmla="*/ 5562 h 10121"/>
              <a:gd name="connsiteX139" fmla="*/ 1175 w 10000"/>
              <a:gd name="connsiteY139" fmla="*/ 5763 h 10121"/>
              <a:gd name="connsiteX140" fmla="*/ 976 w 10000"/>
              <a:gd name="connsiteY140" fmla="*/ 5929 h 10121"/>
              <a:gd name="connsiteX141" fmla="*/ 552 w 10000"/>
              <a:gd name="connsiteY141" fmla="*/ 5807 h 10121"/>
              <a:gd name="connsiteX142" fmla="*/ 316 w 10000"/>
              <a:gd name="connsiteY142" fmla="*/ 5655 h 10121"/>
              <a:gd name="connsiteX143" fmla="*/ 254 w 10000"/>
              <a:gd name="connsiteY143" fmla="*/ 5589 h 10121"/>
              <a:gd name="connsiteX144" fmla="*/ 290 w 10000"/>
              <a:gd name="connsiteY144" fmla="*/ 5113 h 10121"/>
              <a:gd name="connsiteX145" fmla="*/ 192 w 10000"/>
              <a:gd name="connsiteY145" fmla="*/ 4503 h 10121"/>
              <a:gd name="connsiteX146" fmla="*/ 17 w 10000"/>
              <a:gd name="connsiteY146" fmla="*/ 4197 h 10121"/>
              <a:gd name="connsiteX147" fmla="*/ 67 w 10000"/>
              <a:gd name="connsiteY147" fmla="*/ 3866 h 10121"/>
              <a:gd name="connsiteX148" fmla="*/ 241 w 10000"/>
              <a:gd name="connsiteY148" fmla="*/ 3359 h 10121"/>
              <a:gd name="connsiteX149" fmla="*/ 365 w 10000"/>
              <a:gd name="connsiteY149" fmla="*/ 2906 h 10121"/>
              <a:gd name="connsiteX150" fmla="*/ 491 w 10000"/>
              <a:gd name="connsiteY150" fmla="*/ 2443 h 10121"/>
              <a:gd name="connsiteX151" fmla="*/ 702 w 10000"/>
              <a:gd name="connsiteY151" fmla="*/ 2007 h 10121"/>
              <a:gd name="connsiteX152" fmla="*/ 838 w 10000"/>
              <a:gd name="connsiteY152" fmla="*/ 1919 h 10121"/>
              <a:gd name="connsiteX153" fmla="*/ 939 w 10000"/>
              <a:gd name="connsiteY153" fmla="*/ 1898 h 10121"/>
              <a:gd name="connsiteX154" fmla="*/ 1237 w 10000"/>
              <a:gd name="connsiteY154" fmla="*/ 1841 h 10121"/>
              <a:gd name="connsiteX155" fmla="*/ 1933 w 10000"/>
              <a:gd name="connsiteY155" fmla="*/ 1745 h 10121"/>
              <a:gd name="connsiteX156" fmla="*/ 2980 w 10000"/>
              <a:gd name="connsiteY156" fmla="*/ 1631 h 10121"/>
              <a:gd name="connsiteX157" fmla="*/ 3714 w 10000"/>
              <a:gd name="connsiteY157" fmla="*/ 1557 h 10121"/>
              <a:gd name="connsiteX158" fmla="*/ 3901 w 10000"/>
              <a:gd name="connsiteY158" fmla="*/ 1535 h 10121"/>
              <a:gd name="connsiteX159" fmla="*/ 3925 w 10000"/>
              <a:gd name="connsiteY159" fmla="*/ 1518 h 10121"/>
              <a:gd name="connsiteX160" fmla="*/ 4013 w 10000"/>
              <a:gd name="connsiteY160" fmla="*/ 1344 h 10121"/>
              <a:gd name="connsiteX161" fmla="*/ 4076 w 10000"/>
              <a:gd name="connsiteY161" fmla="*/ 1187 h 10121"/>
              <a:gd name="connsiteX162" fmla="*/ 3751 w 10000"/>
              <a:gd name="connsiteY162" fmla="*/ 1169 h 10121"/>
              <a:gd name="connsiteX163" fmla="*/ 3427 w 10000"/>
              <a:gd name="connsiteY163" fmla="*/ 1151 h 10121"/>
              <a:gd name="connsiteX164" fmla="*/ 3378 w 10000"/>
              <a:gd name="connsiteY164" fmla="*/ 1134 h 10121"/>
              <a:gd name="connsiteX165" fmla="*/ 3353 w 10000"/>
              <a:gd name="connsiteY165" fmla="*/ 999 h 10121"/>
              <a:gd name="connsiteX166" fmla="*/ 3378 w 10000"/>
              <a:gd name="connsiteY166" fmla="*/ 881 h 10121"/>
              <a:gd name="connsiteX167" fmla="*/ 3241 w 10000"/>
              <a:gd name="connsiteY167" fmla="*/ 850 h 10121"/>
              <a:gd name="connsiteX168" fmla="*/ 3130 w 10000"/>
              <a:gd name="connsiteY168" fmla="*/ 785 h 10121"/>
              <a:gd name="connsiteX169" fmla="*/ 3253 w 10000"/>
              <a:gd name="connsiteY169" fmla="*/ 497 h 10121"/>
              <a:gd name="connsiteX170" fmla="*/ 3353 w 10000"/>
              <a:gd name="connsiteY170" fmla="*/ 244 h 10121"/>
              <a:gd name="connsiteX171" fmla="*/ 3664 w 10000"/>
              <a:gd name="connsiteY171" fmla="*/ 161 h 10121"/>
              <a:gd name="connsiteX172" fmla="*/ 4175 w 10000"/>
              <a:gd name="connsiteY172" fmla="*/ 61 h 10121"/>
              <a:gd name="connsiteX173" fmla="*/ 4785 w 10000"/>
              <a:gd name="connsiteY173" fmla="*/ 22 h 10121"/>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1933 w 10000"/>
              <a:gd name="connsiteY100" fmla="*/ 9983 h 10000"/>
              <a:gd name="connsiteX101" fmla="*/ 2046 w 10000"/>
              <a:gd name="connsiteY101" fmla="*/ 9904 h 10000"/>
              <a:gd name="connsiteX102" fmla="*/ 2333 w 10000"/>
              <a:gd name="connsiteY102" fmla="*/ 9764 h 10000"/>
              <a:gd name="connsiteX103" fmla="*/ 2818 w 10000"/>
              <a:gd name="connsiteY103" fmla="*/ 9542 h 10000"/>
              <a:gd name="connsiteX104" fmla="*/ 3167 w 10000"/>
              <a:gd name="connsiteY104" fmla="*/ 9350 h 10000"/>
              <a:gd name="connsiteX105" fmla="*/ 3204 w 10000"/>
              <a:gd name="connsiteY105" fmla="*/ 9319 h 10000"/>
              <a:gd name="connsiteX106" fmla="*/ 3130 w 10000"/>
              <a:gd name="connsiteY106" fmla="*/ 9189 h 10000"/>
              <a:gd name="connsiteX107" fmla="*/ 2855 w 10000"/>
              <a:gd name="connsiteY107" fmla="*/ 8787 h 10000"/>
              <a:gd name="connsiteX108" fmla="*/ 2606 w 10000"/>
              <a:gd name="connsiteY108" fmla="*/ 8281 h 10000"/>
              <a:gd name="connsiteX109" fmla="*/ 2657 w 10000"/>
              <a:gd name="connsiteY109" fmla="*/ 7696 h 10000"/>
              <a:gd name="connsiteX110" fmla="*/ 2581 w 10000"/>
              <a:gd name="connsiteY110" fmla="*/ 6980 h 10000"/>
              <a:gd name="connsiteX111" fmla="*/ 2283 w 10000"/>
              <a:gd name="connsiteY111" fmla="*/ 6413 h 10000"/>
              <a:gd name="connsiteX112" fmla="*/ 2083 w 10000"/>
              <a:gd name="connsiteY112" fmla="*/ 6065 h 10000"/>
              <a:gd name="connsiteX113" fmla="*/ 2083 w 10000"/>
              <a:gd name="connsiteY113" fmla="*/ 5445 h 10000"/>
              <a:gd name="connsiteX114" fmla="*/ 2382 w 10000"/>
              <a:gd name="connsiteY114" fmla="*/ 4721 h 10000"/>
              <a:gd name="connsiteX115" fmla="*/ 2718 w 10000"/>
              <a:gd name="connsiteY115" fmla="*/ 4254 h 10000"/>
              <a:gd name="connsiteX116" fmla="*/ 2894 w 10000"/>
              <a:gd name="connsiteY116" fmla="*/ 3992 h 10000"/>
              <a:gd name="connsiteX117" fmla="*/ 2980 w 10000"/>
              <a:gd name="connsiteY117" fmla="*/ 3874 h 10000"/>
              <a:gd name="connsiteX118" fmla="*/ 2780 w 10000"/>
              <a:gd name="connsiteY118" fmla="*/ 3482 h 10000"/>
              <a:gd name="connsiteX119" fmla="*/ 2394 w 10000"/>
              <a:gd name="connsiteY119" fmla="*/ 2940 h 10000"/>
              <a:gd name="connsiteX120" fmla="*/ 2234 w 10000"/>
              <a:gd name="connsiteY120" fmla="*/ 2722 h 10000"/>
              <a:gd name="connsiteX121" fmla="*/ 2169 w 10000"/>
              <a:gd name="connsiteY121" fmla="*/ 2739 h 10000"/>
              <a:gd name="connsiteX122" fmla="*/ 2059 w 10000"/>
              <a:gd name="connsiteY122" fmla="*/ 2818 h 10000"/>
              <a:gd name="connsiteX123" fmla="*/ 1933 w 10000"/>
              <a:gd name="connsiteY123" fmla="*/ 3150 h 10000"/>
              <a:gd name="connsiteX124" fmla="*/ 1722 w 10000"/>
              <a:gd name="connsiteY124" fmla="*/ 3534 h 10000"/>
              <a:gd name="connsiteX125" fmla="*/ 1586 w 10000"/>
              <a:gd name="connsiteY125" fmla="*/ 3647 h 10000"/>
              <a:gd name="connsiteX126" fmla="*/ 1599 w 10000"/>
              <a:gd name="connsiteY126" fmla="*/ 3665 h 10000"/>
              <a:gd name="connsiteX127" fmla="*/ 1611 w 10000"/>
              <a:gd name="connsiteY127" fmla="*/ 4023 h 10000"/>
              <a:gd name="connsiteX128" fmla="*/ 1510 w 10000"/>
              <a:gd name="connsiteY128" fmla="*/ 4485 h 10000"/>
              <a:gd name="connsiteX129" fmla="*/ 1485 w 10000"/>
              <a:gd name="connsiteY129" fmla="*/ 4904 h 10000"/>
              <a:gd name="connsiteX130" fmla="*/ 1611 w 10000"/>
              <a:gd name="connsiteY130" fmla="*/ 5366 h 10000"/>
              <a:gd name="connsiteX131" fmla="*/ 1548 w 10000"/>
              <a:gd name="connsiteY131" fmla="*/ 5694 h 10000"/>
              <a:gd name="connsiteX132" fmla="*/ 1436 w 10000"/>
              <a:gd name="connsiteY132" fmla="*/ 5855 h 10000"/>
              <a:gd name="connsiteX133" fmla="*/ 1374 w 10000"/>
              <a:gd name="connsiteY133" fmla="*/ 5825 h 10000"/>
              <a:gd name="connsiteX134" fmla="*/ 1300 w 10000"/>
              <a:gd name="connsiteY134" fmla="*/ 5672 h 10000"/>
              <a:gd name="connsiteX135" fmla="*/ 1212 w 10000"/>
              <a:gd name="connsiteY135" fmla="*/ 5554 h 10000"/>
              <a:gd name="connsiteX136" fmla="*/ 1138 w 10000"/>
              <a:gd name="connsiteY136" fmla="*/ 5558 h 10000"/>
              <a:gd name="connsiteX137" fmla="*/ 1126 w 10000"/>
              <a:gd name="connsiteY137" fmla="*/ 5562 h 10000"/>
              <a:gd name="connsiteX138" fmla="*/ 1175 w 10000"/>
              <a:gd name="connsiteY138" fmla="*/ 5763 h 10000"/>
              <a:gd name="connsiteX139" fmla="*/ 976 w 10000"/>
              <a:gd name="connsiteY139" fmla="*/ 5929 h 10000"/>
              <a:gd name="connsiteX140" fmla="*/ 552 w 10000"/>
              <a:gd name="connsiteY140" fmla="*/ 5807 h 10000"/>
              <a:gd name="connsiteX141" fmla="*/ 316 w 10000"/>
              <a:gd name="connsiteY141" fmla="*/ 5655 h 10000"/>
              <a:gd name="connsiteX142" fmla="*/ 254 w 10000"/>
              <a:gd name="connsiteY142" fmla="*/ 5589 h 10000"/>
              <a:gd name="connsiteX143" fmla="*/ 290 w 10000"/>
              <a:gd name="connsiteY143" fmla="*/ 5113 h 10000"/>
              <a:gd name="connsiteX144" fmla="*/ 192 w 10000"/>
              <a:gd name="connsiteY144" fmla="*/ 4503 h 10000"/>
              <a:gd name="connsiteX145" fmla="*/ 17 w 10000"/>
              <a:gd name="connsiteY145" fmla="*/ 4197 h 10000"/>
              <a:gd name="connsiteX146" fmla="*/ 67 w 10000"/>
              <a:gd name="connsiteY146" fmla="*/ 3866 h 10000"/>
              <a:gd name="connsiteX147" fmla="*/ 241 w 10000"/>
              <a:gd name="connsiteY147" fmla="*/ 3359 h 10000"/>
              <a:gd name="connsiteX148" fmla="*/ 365 w 10000"/>
              <a:gd name="connsiteY148" fmla="*/ 2906 h 10000"/>
              <a:gd name="connsiteX149" fmla="*/ 491 w 10000"/>
              <a:gd name="connsiteY149" fmla="*/ 2443 h 10000"/>
              <a:gd name="connsiteX150" fmla="*/ 702 w 10000"/>
              <a:gd name="connsiteY150" fmla="*/ 2007 h 10000"/>
              <a:gd name="connsiteX151" fmla="*/ 838 w 10000"/>
              <a:gd name="connsiteY151" fmla="*/ 1919 h 10000"/>
              <a:gd name="connsiteX152" fmla="*/ 939 w 10000"/>
              <a:gd name="connsiteY152" fmla="*/ 1898 h 10000"/>
              <a:gd name="connsiteX153" fmla="*/ 1237 w 10000"/>
              <a:gd name="connsiteY153" fmla="*/ 1841 h 10000"/>
              <a:gd name="connsiteX154" fmla="*/ 1933 w 10000"/>
              <a:gd name="connsiteY154" fmla="*/ 1745 h 10000"/>
              <a:gd name="connsiteX155" fmla="*/ 2980 w 10000"/>
              <a:gd name="connsiteY155" fmla="*/ 1631 h 10000"/>
              <a:gd name="connsiteX156" fmla="*/ 3714 w 10000"/>
              <a:gd name="connsiteY156" fmla="*/ 1557 h 10000"/>
              <a:gd name="connsiteX157" fmla="*/ 3901 w 10000"/>
              <a:gd name="connsiteY157" fmla="*/ 1535 h 10000"/>
              <a:gd name="connsiteX158" fmla="*/ 3925 w 10000"/>
              <a:gd name="connsiteY158" fmla="*/ 1518 h 10000"/>
              <a:gd name="connsiteX159" fmla="*/ 4013 w 10000"/>
              <a:gd name="connsiteY159" fmla="*/ 1344 h 10000"/>
              <a:gd name="connsiteX160" fmla="*/ 4076 w 10000"/>
              <a:gd name="connsiteY160" fmla="*/ 1187 h 10000"/>
              <a:gd name="connsiteX161" fmla="*/ 3751 w 10000"/>
              <a:gd name="connsiteY161" fmla="*/ 1169 h 10000"/>
              <a:gd name="connsiteX162" fmla="*/ 3427 w 10000"/>
              <a:gd name="connsiteY162" fmla="*/ 1151 h 10000"/>
              <a:gd name="connsiteX163" fmla="*/ 3378 w 10000"/>
              <a:gd name="connsiteY163" fmla="*/ 1134 h 10000"/>
              <a:gd name="connsiteX164" fmla="*/ 3353 w 10000"/>
              <a:gd name="connsiteY164" fmla="*/ 999 h 10000"/>
              <a:gd name="connsiteX165" fmla="*/ 3378 w 10000"/>
              <a:gd name="connsiteY165" fmla="*/ 881 h 10000"/>
              <a:gd name="connsiteX166" fmla="*/ 3241 w 10000"/>
              <a:gd name="connsiteY166" fmla="*/ 850 h 10000"/>
              <a:gd name="connsiteX167" fmla="*/ 3130 w 10000"/>
              <a:gd name="connsiteY167" fmla="*/ 785 h 10000"/>
              <a:gd name="connsiteX168" fmla="*/ 3253 w 10000"/>
              <a:gd name="connsiteY168" fmla="*/ 497 h 10000"/>
              <a:gd name="connsiteX169" fmla="*/ 3353 w 10000"/>
              <a:gd name="connsiteY169" fmla="*/ 244 h 10000"/>
              <a:gd name="connsiteX170" fmla="*/ 3664 w 10000"/>
              <a:gd name="connsiteY170" fmla="*/ 161 h 10000"/>
              <a:gd name="connsiteX171" fmla="*/ 4175 w 10000"/>
              <a:gd name="connsiteY171" fmla="*/ 61 h 10000"/>
              <a:gd name="connsiteX172" fmla="*/ 4785 w 10000"/>
              <a:gd name="connsiteY172" fmla="*/ 22 h 10000"/>
              <a:gd name="connsiteX0" fmla="*/ 4785 w 10000"/>
              <a:gd name="connsiteY0" fmla="*/ 22 h 10076"/>
              <a:gd name="connsiteX1" fmla="*/ 5195 w 10000"/>
              <a:gd name="connsiteY1" fmla="*/ 0 h 10076"/>
              <a:gd name="connsiteX2" fmla="*/ 5282 w 10000"/>
              <a:gd name="connsiteY2" fmla="*/ 39 h 10076"/>
              <a:gd name="connsiteX3" fmla="*/ 5582 w 10000"/>
              <a:gd name="connsiteY3" fmla="*/ 135 h 10076"/>
              <a:gd name="connsiteX4" fmla="*/ 5868 w 10000"/>
              <a:gd name="connsiteY4" fmla="*/ 236 h 10076"/>
              <a:gd name="connsiteX5" fmla="*/ 5943 w 10000"/>
              <a:gd name="connsiteY5" fmla="*/ 279 h 10076"/>
              <a:gd name="connsiteX6" fmla="*/ 5967 w 10000"/>
              <a:gd name="connsiteY6" fmla="*/ 314 h 10076"/>
              <a:gd name="connsiteX7" fmla="*/ 5992 w 10000"/>
              <a:gd name="connsiteY7" fmla="*/ 767 h 10076"/>
              <a:gd name="connsiteX8" fmla="*/ 6117 w 10000"/>
              <a:gd name="connsiteY8" fmla="*/ 1344 h 10076"/>
              <a:gd name="connsiteX9" fmla="*/ 6242 w 10000"/>
              <a:gd name="connsiteY9" fmla="*/ 1501 h 10076"/>
              <a:gd name="connsiteX10" fmla="*/ 6478 w 10000"/>
              <a:gd name="connsiteY10" fmla="*/ 1548 h 10076"/>
              <a:gd name="connsiteX11" fmla="*/ 6863 w 10000"/>
              <a:gd name="connsiteY11" fmla="*/ 1605 h 10076"/>
              <a:gd name="connsiteX12" fmla="*/ 7535 w 10000"/>
              <a:gd name="connsiteY12" fmla="*/ 1680 h 10076"/>
              <a:gd name="connsiteX13" fmla="*/ 8109 w 10000"/>
              <a:gd name="connsiteY13" fmla="*/ 1767 h 10076"/>
              <a:gd name="connsiteX14" fmla="*/ 8768 w 10000"/>
              <a:gd name="connsiteY14" fmla="*/ 1924 h 10076"/>
              <a:gd name="connsiteX15" fmla="*/ 9379 w 10000"/>
              <a:gd name="connsiteY15" fmla="*/ 2059 h 10076"/>
              <a:gd name="connsiteX16" fmla="*/ 9478 w 10000"/>
              <a:gd name="connsiteY16" fmla="*/ 2304 h 10076"/>
              <a:gd name="connsiteX17" fmla="*/ 9702 w 10000"/>
              <a:gd name="connsiteY17" fmla="*/ 3185 h 10076"/>
              <a:gd name="connsiteX18" fmla="*/ 9877 w 10000"/>
              <a:gd name="connsiteY18" fmla="*/ 3909 h 10076"/>
              <a:gd name="connsiteX19" fmla="*/ 9926 w 10000"/>
              <a:gd name="connsiteY19" fmla="*/ 4206 h 10076"/>
              <a:gd name="connsiteX20" fmla="*/ 9776 w 10000"/>
              <a:gd name="connsiteY20" fmla="*/ 4712 h 10076"/>
              <a:gd name="connsiteX21" fmla="*/ 9727 w 10000"/>
              <a:gd name="connsiteY21" fmla="*/ 5271 h 10076"/>
              <a:gd name="connsiteX22" fmla="*/ 9727 w 10000"/>
              <a:gd name="connsiteY22" fmla="*/ 5628 h 10076"/>
              <a:gd name="connsiteX23" fmla="*/ 9465 w 10000"/>
              <a:gd name="connsiteY23" fmla="*/ 5781 h 10076"/>
              <a:gd name="connsiteX24" fmla="*/ 9217 w 10000"/>
              <a:gd name="connsiteY24" fmla="*/ 5842 h 10076"/>
              <a:gd name="connsiteX25" fmla="*/ 9029 w 10000"/>
              <a:gd name="connsiteY25" fmla="*/ 5881 h 10076"/>
              <a:gd name="connsiteX26" fmla="*/ 8931 w 10000"/>
              <a:gd name="connsiteY26" fmla="*/ 5916 h 10076"/>
              <a:gd name="connsiteX27" fmla="*/ 8955 w 10000"/>
              <a:gd name="connsiteY27" fmla="*/ 5698 h 10076"/>
              <a:gd name="connsiteX28" fmla="*/ 8980 w 10000"/>
              <a:gd name="connsiteY28" fmla="*/ 5480 h 10076"/>
              <a:gd name="connsiteX29" fmla="*/ 8879 w 10000"/>
              <a:gd name="connsiteY29" fmla="*/ 5445 h 10076"/>
              <a:gd name="connsiteX30" fmla="*/ 8793 w 10000"/>
              <a:gd name="connsiteY30" fmla="*/ 5523 h 10076"/>
              <a:gd name="connsiteX31" fmla="*/ 8805 w 10000"/>
              <a:gd name="connsiteY31" fmla="*/ 5637 h 10076"/>
              <a:gd name="connsiteX32" fmla="*/ 8668 w 10000"/>
              <a:gd name="connsiteY32" fmla="*/ 5602 h 10076"/>
              <a:gd name="connsiteX33" fmla="*/ 8457 w 10000"/>
              <a:gd name="connsiteY33" fmla="*/ 5410 h 10076"/>
              <a:gd name="connsiteX34" fmla="*/ 8508 w 10000"/>
              <a:gd name="connsiteY34" fmla="*/ 5061 h 10076"/>
              <a:gd name="connsiteX35" fmla="*/ 8656 w 10000"/>
              <a:gd name="connsiteY35" fmla="*/ 4721 h 10076"/>
              <a:gd name="connsiteX36" fmla="*/ 8606 w 10000"/>
              <a:gd name="connsiteY36" fmla="*/ 4101 h 10076"/>
              <a:gd name="connsiteX37" fmla="*/ 8457 w 10000"/>
              <a:gd name="connsiteY37" fmla="*/ 3543 h 10076"/>
              <a:gd name="connsiteX38" fmla="*/ 8258 w 10000"/>
              <a:gd name="connsiteY38" fmla="*/ 3063 h 10076"/>
              <a:gd name="connsiteX39" fmla="*/ 8047 w 10000"/>
              <a:gd name="connsiteY39" fmla="*/ 2652 h 10076"/>
              <a:gd name="connsiteX40" fmla="*/ 7959 w 10000"/>
              <a:gd name="connsiteY40" fmla="*/ 2635 h 10076"/>
              <a:gd name="connsiteX41" fmla="*/ 7836 w 10000"/>
              <a:gd name="connsiteY41" fmla="*/ 2827 h 10076"/>
              <a:gd name="connsiteX42" fmla="*/ 7660 w 10000"/>
              <a:gd name="connsiteY42" fmla="*/ 3019 h 10076"/>
              <a:gd name="connsiteX43" fmla="*/ 7611 w 10000"/>
              <a:gd name="connsiteY43" fmla="*/ 3019 h 10076"/>
              <a:gd name="connsiteX44" fmla="*/ 7599 w 10000"/>
              <a:gd name="connsiteY44" fmla="*/ 3089 h 10076"/>
              <a:gd name="connsiteX45" fmla="*/ 7363 w 10000"/>
              <a:gd name="connsiteY45" fmla="*/ 3438 h 10076"/>
              <a:gd name="connsiteX46" fmla="*/ 7150 w 10000"/>
              <a:gd name="connsiteY46" fmla="*/ 3940 h 10076"/>
              <a:gd name="connsiteX47" fmla="*/ 7163 w 10000"/>
              <a:gd name="connsiteY47" fmla="*/ 4162 h 10076"/>
              <a:gd name="connsiteX48" fmla="*/ 7274 w 10000"/>
              <a:gd name="connsiteY48" fmla="*/ 4210 h 10076"/>
              <a:gd name="connsiteX49" fmla="*/ 7437 w 10000"/>
              <a:gd name="connsiteY49" fmla="*/ 4380 h 10076"/>
              <a:gd name="connsiteX50" fmla="*/ 7636 w 10000"/>
              <a:gd name="connsiteY50" fmla="*/ 4878 h 10076"/>
              <a:gd name="connsiteX51" fmla="*/ 7885 w 10000"/>
              <a:gd name="connsiteY51" fmla="*/ 5462 h 10076"/>
              <a:gd name="connsiteX52" fmla="*/ 7996 w 10000"/>
              <a:gd name="connsiteY52" fmla="*/ 5903 h 10076"/>
              <a:gd name="connsiteX53" fmla="*/ 7984 w 10000"/>
              <a:gd name="connsiteY53" fmla="*/ 6806 h 10076"/>
              <a:gd name="connsiteX54" fmla="*/ 8146 w 10000"/>
              <a:gd name="connsiteY54" fmla="*/ 7858 h 10076"/>
              <a:gd name="connsiteX55" fmla="*/ 8369 w 10000"/>
              <a:gd name="connsiteY55" fmla="*/ 8294 h 10076"/>
              <a:gd name="connsiteX56" fmla="*/ 8382 w 10000"/>
              <a:gd name="connsiteY56" fmla="*/ 8726 h 10076"/>
              <a:gd name="connsiteX57" fmla="*/ 8382 w 10000"/>
              <a:gd name="connsiteY57" fmla="*/ 9145 h 10076"/>
              <a:gd name="connsiteX58" fmla="*/ 8842 w 10000"/>
              <a:gd name="connsiteY58" fmla="*/ 9411 h 10076"/>
              <a:gd name="connsiteX59" fmla="*/ 9478 w 10000"/>
              <a:gd name="connsiteY59" fmla="*/ 9738 h 10076"/>
              <a:gd name="connsiteX60" fmla="*/ 9789 w 10000"/>
              <a:gd name="connsiteY60" fmla="*/ 9847 h 10076"/>
              <a:gd name="connsiteX61" fmla="*/ 9963 w 10000"/>
              <a:gd name="connsiteY61" fmla="*/ 9917 h 10076"/>
              <a:gd name="connsiteX62" fmla="*/ 10000 w 10000"/>
              <a:gd name="connsiteY62" fmla="*/ 9939 h 10076"/>
              <a:gd name="connsiteX63" fmla="*/ 9877 w 10000"/>
              <a:gd name="connsiteY63" fmla="*/ 9947 h 10076"/>
              <a:gd name="connsiteX64" fmla="*/ 9104 w 10000"/>
              <a:gd name="connsiteY64" fmla="*/ 9956 h 10076"/>
              <a:gd name="connsiteX65" fmla="*/ 8457 w 10000"/>
              <a:gd name="connsiteY65" fmla="*/ 9956 h 10076"/>
              <a:gd name="connsiteX66" fmla="*/ 8246 w 10000"/>
              <a:gd name="connsiteY66" fmla="*/ 9847 h 10076"/>
              <a:gd name="connsiteX67" fmla="*/ 7836 w 10000"/>
              <a:gd name="connsiteY67" fmla="*/ 9607 h 10076"/>
              <a:gd name="connsiteX68" fmla="*/ 7535 w 10000"/>
              <a:gd name="connsiteY68" fmla="*/ 9406 h 10076"/>
              <a:gd name="connsiteX69" fmla="*/ 7336 w 10000"/>
              <a:gd name="connsiteY69" fmla="*/ 9101 h 10076"/>
              <a:gd name="connsiteX70" fmla="*/ 7111 w 10000"/>
              <a:gd name="connsiteY70" fmla="*/ 8726 h 10076"/>
              <a:gd name="connsiteX71" fmla="*/ 6888 w 10000"/>
              <a:gd name="connsiteY71" fmla="*/ 8516 h 10076"/>
              <a:gd name="connsiteX72" fmla="*/ 6690 w 10000"/>
              <a:gd name="connsiteY72" fmla="*/ 8272 h 10076"/>
              <a:gd name="connsiteX73" fmla="*/ 6615 w 10000"/>
              <a:gd name="connsiteY73" fmla="*/ 8011 h 10076"/>
              <a:gd name="connsiteX74" fmla="*/ 6639 w 10000"/>
              <a:gd name="connsiteY74" fmla="*/ 7923 h 10076"/>
              <a:gd name="connsiteX75" fmla="*/ 6466 w 10000"/>
              <a:gd name="connsiteY75" fmla="*/ 7757 h 10076"/>
              <a:gd name="connsiteX76" fmla="*/ 6043 w 10000"/>
              <a:gd name="connsiteY76" fmla="*/ 7103 h 10076"/>
              <a:gd name="connsiteX77" fmla="*/ 5743 w 10000"/>
              <a:gd name="connsiteY77" fmla="*/ 6527 h 10076"/>
              <a:gd name="connsiteX78" fmla="*/ 5619 w 10000"/>
              <a:gd name="connsiteY78" fmla="*/ 6300 h 10076"/>
              <a:gd name="connsiteX79" fmla="*/ 5420 w 10000"/>
              <a:gd name="connsiteY79" fmla="*/ 6099 h 10076"/>
              <a:gd name="connsiteX80" fmla="*/ 5220 w 10000"/>
              <a:gd name="connsiteY80" fmla="*/ 5942 h 10076"/>
              <a:gd name="connsiteX81" fmla="*/ 5146 w 10000"/>
              <a:gd name="connsiteY81" fmla="*/ 5846 h 10076"/>
              <a:gd name="connsiteX82" fmla="*/ 5021 w 10000"/>
              <a:gd name="connsiteY82" fmla="*/ 6029 h 10076"/>
              <a:gd name="connsiteX83" fmla="*/ 4773 w 10000"/>
              <a:gd name="connsiteY83" fmla="*/ 6475 h 10076"/>
              <a:gd name="connsiteX84" fmla="*/ 4661 w 10000"/>
              <a:gd name="connsiteY84" fmla="*/ 7107 h 10076"/>
              <a:gd name="connsiteX85" fmla="*/ 4634 w 10000"/>
              <a:gd name="connsiteY85" fmla="*/ 7526 h 10076"/>
              <a:gd name="connsiteX86" fmla="*/ 4523 w 10000"/>
              <a:gd name="connsiteY86" fmla="*/ 7644 h 10076"/>
              <a:gd name="connsiteX87" fmla="*/ 4523 w 10000"/>
              <a:gd name="connsiteY87" fmla="*/ 7923 h 10076"/>
              <a:gd name="connsiteX88" fmla="*/ 4622 w 10000"/>
              <a:gd name="connsiteY88" fmla="*/ 8150 h 10076"/>
              <a:gd name="connsiteX89" fmla="*/ 4685 w 10000"/>
              <a:gd name="connsiteY89" fmla="*/ 8202 h 10076"/>
              <a:gd name="connsiteX90" fmla="*/ 4634 w 10000"/>
              <a:gd name="connsiteY90" fmla="*/ 8394 h 10076"/>
              <a:gd name="connsiteX91" fmla="*/ 4437 w 10000"/>
              <a:gd name="connsiteY91" fmla="*/ 8617 h 10076"/>
              <a:gd name="connsiteX92" fmla="*/ 4324 w 10000"/>
              <a:gd name="connsiteY92" fmla="*/ 8682 h 10076"/>
              <a:gd name="connsiteX93" fmla="*/ 4374 w 10000"/>
              <a:gd name="connsiteY93" fmla="*/ 8687 h 10076"/>
              <a:gd name="connsiteX94" fmla="*/ 4411 w 10000"/>
              <a:gd name="connsiteY94" fmla="*/ 8944 h 10076"/>
              <a:gd name="connsiteX95" fmla="*/ 4300 w 10000"/>
              <a:gd name="connsiteY95" fmla="*/ 9389 h 10076"/>
              <a:gd name="connsiteX96" fmla="*/ 4101 w 10000"/>
              <a:gd name="connsiteY96" fmla="*/ 9642 h 10076"/>
              <a:gd name="connsiteX97" fmla="*/ 3913 w 10000"/>
              <a:gd name="connsiteY97" fmla="*/ 9852 h 10076"/>
              <a:gd name="connsiteX98" fmla="*/ 3827 w 10000"/>
              <a:gd name="connsiteY98" fmla="*/ 10000 h 10076"/>
              <a:gd name="connsiteX99" fmla="*/ 3777 w 10000"/>
              <a:gd name="connsiteY99" fmla="*/ 9996 h 10076"/>
              <a:gd name="connsiteX100" fmla="*/ 1933 w 10000"/>
              <a:gd name="connsiteY100" fmla="*/ 9983 h 10076"/>
              <a:gd name="connsiteX101" fmla="*/ 2046 w 10000"/>
              <a:gd name="connsiteY101" fmla="*/ 9904 h 10076"/>
              <a:gd name="connsiteX102" fmla="*/ 2333 w 10000"/>
              <a:gd name="connsiteY102" fmla="*/ 9764 h 10076"/>
              <a:gd name="connsiteX103" fmla="*/ 2818 w 10000"/>
              <a:gd name="connsiteY103" fmla="*/ 9542 h 10076"/>
              <a:gd name="connsiteX104" fmla="*/ 3167 w 10000"/>
              <a:gd name="connsiteY104" fmla="*/ 9350 h 10076"/>
              <a:gd name="connsiteX105" fmla="*/ 3204 w 10000"/>
              <a:gd name="connsiteY105" fmla="*/ 9319 h 10076"/>
              <a:gd name="connsiteX106" fmla="*/ 3130 w 10000"/>
              <a:gd name="connsiteY106" fmla="*/ 9189 h 10076"/>
              <a:gd name="connsiteX107" fmla="*/ 2855 w 10000"/>
              <a:gd name="connsiteY107" fmla="*/ 8787 h 10076"/>
              <a:gd name="connsiteX108" fmla="*/ 2606 w 10000"/>
              <a:gd name="connsiteY108" fmla="*/ 8281 h 10076"/>
              <a:gd name="connsiteX109" fmla="*/ 2657 w 10000"/>
              <a:gd name="connsiteY109" fmla="*/ 7696 h 10076"/>
              <a:gd name="connsiteX110" fmla="*/ 2581 w 10000"/>
              <a:gd name="connsiteY110" fmla="*/ 6980 h 10076"/>
              <a:gd name="connsiteX111" fmla="*/ 2283 w 10000"/>
              <a:gd name="connsiteY111" fmla="*/ 6413 h 10076"/>
              <a:gd name="connsiteX112" fmla="*/ 2083 w 10000"/>
              <a:gd name="connsiteY112" fmla="*/ 6065 h 10076"/>
              <a:gd name="connsiteX113" fmla="*/ 2083 w 10000"/>
              <a:gd name="connsiteY113" fmla="*/ 5445 h 10076"/>
              <a:gd name="connsiteX114" fmla="*/ 2382 w 10000"/>
              <a:gd name="connsiteY114" fmla="*/ 4721 h 10076"/>
              <a:gd name="connsiteX115" fmla="*/ 2718 w 10000"/>
              <a:gd name="connsiteY115" fmla="*/ 4254 h 10076"/>
              <a:gd name="connsiteX116" fmla="*/ 2894 w 10000"/>
              <a:gd name="connsiteY116" fmla="*/ 3992 h 10076"/>
              <a:gd name="connsiteX117" fmla="*/ 2980 w 10000"/>
              <a:gd name="connsiteY117" fmla="*/ 3874 h 10076"/>
              <a:gd name="connsiteX118" fmla="*/ 2780 w 10000"/>
              <a:gd name="connsiteY118" fmla="*/ 3482 h 10076"/>
              <a:gd name="connsiteX119" fmla="*/ 2394 w 10000"/>
              <a:gd name="connsiteY119" fmla="*/ 2940 h 10076"/>
              <a:gd name="connsiteX120" fmla="*/ 2234 w 10000"/>
              <a:gd name="connsiteY120" fmla="*/ 2722 h 10076"/>
              <a:gd name="connsiteX121" fmla="*/ 2169 w 10000"/>
              <a:gd name="connsiteY121" fmla="*/ 2739 h 10076"/>
              <a:gd name="connsiteX122" fmla="*/ 2059 w 10000"/>
              <a:gd name="connsiteY122" fmla="*/ 2818 h 10076"/>
              <a:gd name="connsiteX123" fmla="*/ 1933 w 10000"/>
              <a:gd name="connsiteY123" fmla="*/ 3150 h 10076"/>
              <a:gd name="connsiteX124" fmla="*/ 1722 w 10000"/>
              <a:gd name="connsiteY124" fmla="*/ 3534 h 10076"/>
              <a:gd name="connsiteX125" fmla="*/ 1586 w 10000"/>
              <a:gd name="connsiteY125" fmla="*/ 3647 h 10076"/>
              <a:gd name="connsiteX126" fmla="*/ 1599 w 10000"/>
              <a:gd name="connsiteY126" fmla="*/ 3665 h 10076"/>
              <a:gd name="connsiteX127" fmla="*/ 1611 w 10000"/>
              <a:gd name="connsiteY127" fmla="*/ 4023 h 10076"/>
              <a:gd name="connsiteX128" fmla="*/ 1510 w 10000"/>
              <a:gd name="connsiteY128" fmla="*/ 4485 h 10076"/>
              <a:gd name="connsiteX129" fmla="*/ 1485 w 10000"/>
              <a:gd name="connsiteY129" fmla="*/ 4904 h 10076"/>
              <a:gd name="connsiteX130" fmla="*/ 1611 w 10000"/>
              <a:gd name="connsiteY130" fmla="*/ 5366 h 10076"/>
              <a:gd name="connsiteX131" fmla="*/ 1548 w 10000"/>
              <a:gd name="connsiteY131" fmla="*/ 5694 h 10076"/>
              <a:gd name="connsiteX132" fmla="*/ 1436 w 10000"/>
              <a:gd name="connsiteY132" fmla="*/ 5855 h 10076"/>
              <a:gd name="connsiteX133" fmla="*/ 1374 w 10000"/>
              <a:gd name="connsiteY133" fmla="*/ 5825 h 10076"/>
              <a:gd name="connsiteX134" fmla="*/ 1300 w 10000"/>
              <a:gd name="connsiteY134" fmla="*/ 5672 h 10076"/>
              <a:gd name="connsiteX135" fmla="*/ 1212 w 10000"/>
              <a:gd name="connsiteY135" fmla="*/ 5554 h 10076"/>
              <a:gd name="connsiteX136" fmla="*/ 1138 w 10000"/>
              <a:gd name="connsiteY136" fmla="*/ 5558 h 10076"/>
              <a:gd name="connsiteX137" fmla="*/ 1126 w 10000"/>
              <a:gd name="connsiteY137" fmla="*/ 5562 h 10076"/>
              <a:gd name="connsiteX138" fmla="*/ 1175 w 10000"/>
              <a:gd name="connsiteY138" fmla="*/ 5763 h 10076"/>
              <a:gd name="connsiteX139" fmla="*/ 976 w 10000"/>
              <a:gd name="connsiteY139" fmla="*/ 5929 h 10076"/>
              <a:gd name="connsiteX140" fmla="*/ 552 w 10000"/>
              <a:gd name="connsiteY140" fmla="*/ 5807 h 10076"/>
              <a:gd name="connsiteX141" fmla="*/ 316 w 10000"/>
              <a:gd name="connsiteY141" fmla="*/ 5655 h 10076"/>
              <a:gd name="connsiteX142" fmla="*/ 254 w 10000"/>
              <a:gd name="connsiteY142" fmla="*/ 5589 h 10076"/>
              <a:gd name="connsiteX143" fmla="*/ 290 w 10000"/>
              <a:gd name="connsiteY143" fmla="*/ 5113 h 10076"/>
              <a:gd name="connsiteX144" fmla="*/ 192 w 10000"/>
              <a:gd name="connsiteY144" fmla="*/ 4503 h 10076"/>
              <a:gd name="connsiteX145" fmla="*/ 17 w 10000"/>
              <a:gd name="connsiteY145" fmla="*/ 4197 h 10076"/>
              <a:gd name="connsiteX146" fmla="*/ 67 w 10000"/>
              <a:gd name="connsiteY146" fmla="*/ 3866 h 10076"/>
              <a:gd name="connsiteX147" fmla="*/ 241 w 10000"/>
              <a:gd name="connsiteY147" fmla="*/ 3359 h 10076"/>
              <a:gd name="connsiteX148" fmla="*/ 365 w 10000"/>
              <a:gd name="connsiteY148" fmla="*/ 2906 h 10076"/>
              <a:gd name="connsiteX149" fmla="*/ 491 w 10000"/>
              <a:gd name="connsiteY149" fmla="*/ 2443 h 10076"/>
              <a:gd name="connsiteX150" fmla="*/ 702 w 10000"/>
              <a:gd name="connsiteY150" fmla="*/ 2007 h 10076"/>
              <a:gd name="connsiteX151" fmla="*/ 838 w 10000"/>
              <a:gd name="connsiteY151" fmla="*/ 1919 h 10076"/>
              <a:gd name="connsiteX152" fmla="*/ 939 w 10000"/>
              <a:gd name="connsiteY152" fmla="*/ 1898 h 10076"/>
              <a:gd name="connsiteX153" fmla="*/ 1237 w 10000"/>
              <a:gd name="connsiteY153" fmla="*/ 1841 h 10076"/>
              <a:gd name="connsiteX154" fmla="*/ 1933 w 10000"/>
              <a:gd name="connsiteY154" fmla="*/ 1745 h 10076"/>
              <a:gd name="connsiteX155" fmla="*/ 2980 w 10000"/>
              <a:gd name="connsiteY155" fmla="*/ 1631 h 10076"/>
              <a:gd name="connsiteX156" fmla="*/ 3714 w 10000"/>
              <a:gd name="connsiteY156" fmla="*/ 1557 h 10076"/>
              <a:gd name="connsiteX157" fmla="*/ 3901 w 10000"/>
              <a:gd name="connsiteY157" fmla="*/ 1535 h 10076"/>
              <a:gd name="connsiteX158" fmla="*/ 3925 w 10000"/>
              <a:gd name="connsiteY158" fmla="*/ 1518 h 10076"/>
              <a:gd name="connsiteX159" fmla="*/ 4013 w 10000"/>
              <a:gd name="connsiteY159" fmla="*/ 1344 h 10076"/>
              <a:gd name="connsiteX160" fmla="*/ 4076 w 10000"/>
              <a:gd name="connsiteY160" fmla="*/ 1187 h 10076"/>
              <a:gd name="connsiteX161" fmla="*/ 3751 w 10000"/>
              <a:gd name="connsiteY161" fmla="*/ 1169 h 10076"/>
              <a:gd name="connsiteX162" fmla="*/ 3427 w 10000"/>
              <a:gd name="connsiteY162" fmla="*/ 1151 h 10076"/>
              <a:gd name="connsiteX163" fmla="*/ 3378 w 10000"/>
              <a:gd name="connsiteY163" fmla="*/ 1134 h 10076"/>
              <a:gd name="connsiteX164" fmla="*/ 3353 w 10000"/>
              <a:gd name="connsiteY164" fmla="*/ 999 h 10076"/>
              <a:gd name="connsiteX165" fmla="*/ 3378 w 10000"/>
              <a:gd name="connsiteY165" fmla="*/ 881 h 10076"/>
              <a:gd name="connsiteX166" fmla="*/ 3241 w 10000"/>
              <a:gd name="connsiteY166" fmla="*/ 850 h 10076"/>
              <a:gd name="connsiteX167" fmla="*/ 3130 w 10000"/>
              <a:gd name="connsiteY167" fmla="*/ 785 h 10076"/>
              <a:gd name="connsiteX168" fmla="*/ 3253 w 10000"/>
              <a:gd name="connsiteY168" fmla="*/ 497 h 10076"/>
              <a:gd name="connsiteX169" fmla="*/ 3353 w 10000"/>
              <a:gd name="connsiteY169" fmla="*/ 244 h 10076"/>
              <a:gd name="connsiteX170" fmla="*/ 3664 w 10000"/>
              <a:gd name="connsiteY170" fmla="*/ 161 h 10076"/>
              <a:gd name="connsiteX171" fmla="*/ 4175 w 10000"/>
              <a:gd name="connsiteY171" fmla="*/ 61 h 10076"/>
              <a:gd name="connsiteX172" fmla="*/ 4785 w 10000"/>
              <a:gd name="connsiteY172" fmla="*/ 22 h 10076"/>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9104 w 10000"/>
              <a:gd name="connsiteY64" fmla="*/ 9956 h 10170"/>
              <a:gd name="connsiteX65" fmla="*/ 8457 w 10000"/>
              <a:gd name="connsiteY65" fmla="*/ 9956 h 10170"/>
              <a:gd name="connsiteX66" fmla="*/ 8246 w 10000"/>
              <a:gd name="connsiteY66" fmla="*/ 9847 h 10170"/>
              <a:gd name="connsiteX67" fmla="*/ 7836 w 10000"/>
              <a:gd name="connsiteY67" fmla="*/ 9607 h 10170"/>
              <a:gd name="connsiteX68" fmla="*/ 7535 w 10000"/>
              <a:gd name="connsiteY68" fmla="*/ 9406 h 10170"/>
              <a:gd name="connsiteX69" fmla="*/ 7336 w 10000"/>
              <a:gd name="connsiteY69" fmla="*/ 9101 h 10170"/>
              <a:gd name="connsiteX70" fmla="*/ 7111 w 10000"/>
              <a:gd name="connsiteY70" fmla="*/ 8726 h 10170"/>
              <a:gd name="connsiteX71" fmla="*/ 6888 w 10000"/>
              <a:gd name="connsiteY71" fmla="*/ 8516 h 10170"/>
              <a:gd name="connsiteX72" fmla="*/ 6690 w 10000"/>
              <a:gd name="connsiteY72" fmla="*/ 8272 h 10170"/>
              <a:gd name="connsiteX73" fmla="*/ 6615 w 10000"/>
              <a:gd name="connsiteY73" fmla="*/ 8011 h 10170"/>
              <a:gd name="connsiteX74" fmla="*/ 6639 w 10000"/>
              <a:gd name="connsiteY74" fmla="*/ 7923 h 10170"/>
              <a:gd name="connsiteX75" fmla="*/ 6466 w 10000"/>
              <a:gd name="connsiteY75" fmla="*/ 7757 h 10170"/>
              <a:gd name="connsiteX76" fmla="*/ 6043 w 10000"/>
              <a:gd name="connsiteY76" fmla="*/ 7103 h 10170"/>
              <a:gd name="connsiteX77" fmla="*/ 5743 w 10000"/>
              <a:gd name="connsiteY77" fmla="*/ 6527 h 10170"/>
              <a:gd name="connsiteX78" fmla="*/ 5619 w 10000"/>
              <a:gd name="connsiteY78" fmla="*/ 6300 h 10170"/>
              <a:gd name="connsiteX79" fmla="*/ 5420 w 10000"/>
              <a:gd name="connsiteY79" fmla="*/ 6099 h 10170"/>
              <a:gd name="connsiteX80" fmla="*/ 5220 w 10000"/>
              <a:gd name="connsiteY80" fmla="*/ 5942 h 10170"/>
              <a:gd name="connsiteX81" fmla="*/ 5146 w 10000"/>
              <a:gd name="connsiteY81" fmla="*/ 5846 h 10170"/>
              <a:gd name="connsiteX82" fmla="*/ 5021 w 10000"/>
              <a:gd name="connsiteY82" fmla="*/ 6029 h 10170"/>
              <a:gd name="connsiteX83" fmla="*/ 4773 w 10000"/>
              <a:gd name="connsiteY83" fmla="*/ 6475 h 10170"/>
              <a:gd name="connsiteX84" fmla="*/ 4661 w 10000"/>
              <a:gd name="connsiteY84" fmla="*/ 7107 h 10170"/>
              <a:gd name="connsiteX85" fmla="*/ 4634 w 10000"/>
              <a:gd name="connsiteY85" fmla="*/ 7526 h 10170"/>
              <a:gd name="connsiteX86" fmla="*/ 4523 w 10000"/>
              <a:gd name="connsiteY86" fmla="*/ 7644 h 10170"/>
              <a:gd name="connsiteX87" fmla="*/ 4523 w 10000"/>
              <a:gd name="connsiteY87" fmla="*/ 7923 h 10170"/>
              <a:gd name="connsiteX88" fmla="*/ 4622 w 10000"/>
              <a:gd name="connsiteY88" fmla="*/ 8150 h 10170"/>
              <a:gd name="connsiteX89" fmla="*/ 4685 w 10000"/>
              <a:gd name="connsiteY89" fmla="*/ 8202 h 10170"/>
              <a:gd name="connsiteX90" fmla="*/ 4634 w 10000"/>
              <a:gd name="connsiteY90" fmla="*/ 8394 h 10170"/>
              <a:gd name="connsiteX91" fmla="*/ 4437 w 10000"/>
              <a:gd name="connsiteY91" fmla="*/ 8617 h 10170"/>
              <a:gd name="connsiteX92" fmla="*/ 4324 w 10000"/>
              <a:gd name="connsiteY92" fmla="*/ 8682 h 10170"/>
              <a:gd name="connsiteX93" fmla="*/ 4374 w 10000"/>
              <a:gd name="connsiteY93" fmla="*/ 8687 h 10170"/>
              <a:gd name="connsiteX94" fmla="*/ 4411 w 10000"/>
              <a:gd name="connsiteY94" fmla="*/ 8944 h 10170"/>
              <a:gd name="connsiteX95" fmla="*/ 4300 w 10000"/>
              <a:gd name="connsiteY95" fmla="*/ 9389 h 10170"/>
              <a:gd name="connsiteX96" fmla="*/ 4101 w 10000"/>
              <a:gd name="connsiteY96" fmla="*/ 9642 h 10170"/>
              <a:gd name="connsiteX97" fmla="*/ 3913 w 10000"/>
              <a:gd name="connsiteY97" fmla="*/ 9852 h 10170"/>
              <a:gd name="connsiteX98" fmla="*/ 3827 w 10000"/>
              <a:gd name="connsiteY98" fmla="*/ 10000 h 10170"/>
              <a:gd name="connsiteX99" fmla="*/ 3777 w 10000"/>
              <a:gd name="connsiteY99" fmla="*/ 9996 h 10170"/>
              <a:gd name="connsiteX100" fmla="*/ 1933 w 10000"/>
              <a:gd name="connsiteY100" fmla="*/ 9983 h 10170"/>
              <a:gd name="connsiteX101" fmla="*/ 2046 w 10000"/>
              <a:gd name="connsiteY101" fmla="*/ 9904 h 10170"/>
              <a:gd name="connsiteX102" fmla="*/ 2333 w 10000"/>
              <a:gd name="connsiteY102" fmla="*/ 9764 h 10170"/>
              <a:gd name="connsiteX103" fmla="*/ 2818 w 10000"/>
              <a:gd name="connsiteY103" fmla="*/ 9542 h 10170"/>
              <a:gd name="connsiteX104" fmla="*/ 3167 w 10000"/>
              <a:gd name="connsiteY104" fmla="*/ 9350 h 10170"/>
              <a:gd name="connsiteX105" fmla="*/ 3204 w 10000"/>
              <a:gd name="connsiteY105" fmla="*/ 9319 h 10170"/>
              <a:gd name="connsiteX106" fmla="*/ 3130 w 10000"/>
              <a:gd name="connsiteY106" fmla="*/ 9189 h 10170"/>
              <a:gd name="connsiteX107" fmla="*/ 2855 w 10000"/>
              <a:gd name="connsiteY107" fmla="*/ 8787 h 10170"/>
              <a:gd name="connsiteX108" fmla="*/ 2606 w 10000"/>
              <a:gd name="connsiteY108" fmla="*/ 8281 h 10170"/>
              <a:gd name="connsiteX109" fmla="*/ 2657 w 10000"/>
              <a:gd name="connsiteY109" fmla="*/ 7696 h 10170"/>
              <a:gd name="connsiteX110" fmla="*/ 2581 w 10000"/>
              <a:gd name="connsiteY110" fmla="*/ 6980 h 10170"/>
              <a:gd name="connsiteX111" fmla="*/ 2283 w 10000"/>
              <a:gd name="connsiteY111" fmla="*/ 6413 h 10170"/>
              <a:gd name="connsiteX112" fmla="*/ 2083 w 10000"/>
              <a:gd name="connsiteY112" fmla="*/ 6065 h 10170"/>
              <a:gd name="connsiteX113" fmla="*/ 2083 w 10000"/>
              <a:gd name="connsiteY113" fmla="*/ 5445 h 10170"/>
              <a:gd name="connsiteX114" fmla="*/ 2382 w 10000"/>
              <a:gd name="connsiteY114" fmla="*/ 4721 h 10170"/>
              <a:gd name="connsiteX115" fmla="*/ 2718 w 10000"/>
              <a:gd name="connsiteY115" fmla="*/ 4254 h 10170"/>
              <a:gd name="connsiteX116" fmla="*/ 2894 w 10000"/>
              <a:gd name="connsiteY116" fmla="*/ 3992 h 10170"/>
              <a:gd name="connsiteX117" fmla="*/ 2980 w 10000"/>
              <a:gd name="connsiteY117" fmla="*/ 3874 h 10170"/>
              <a:gd name="connsiteX118" fmla="*/ 2780 w 10000"/>
              <a:gd name="connsiteY118" fmla="*/ 3482 h 10170"/>
              <a:gd name="connsiteX119" fmla="*/ 2394 w 10000"/>
              <a:gd name="connsiteY119" fmla="*/ 2940 h 10170"/>
              <a:gd name="connsiteX120" fmla="*/ 2234 w 10000"/>
              <a:gd name="connsiteY120" fmla="*/ 2722 h 10170"/>
              <a:gd name="connsiteX121" fmla="*/ 2169 w 10000"/>
              <a:gd name="connsiteY121" fmla="*/ 2739 h 10170"/>
              <a:gd name="connsiteX122" fmla="*/ 2059 w 10000"/>
              <a:gd name="connsiteY122" fmla="*/ 2818 h 10170"/>
              <a:gd name="connsiteX123" fmla="*/ 1933 w 10000"/>
              <a:gd name="connsiteY123" fmla="*/ 3150 h 10170"/>
              <a:gd name="connsiteX124" fmla="*/ 1722 w 10000"/>
              <a:gd name="connsiteY124" fmla="*/ 3534 h 10170"/>
              <a:gd name="connsiteX125" fmla="*/ 1586 w 10000"/>
              <a:gd name="connsiteY125" fmla="*/ 3647 h 10170"/>
              <a:gd name="connsiteX126" fmla="*/ 1599 w 10000"/>
              <a:gd name="connsiteY126" fmla="*/ 3665 h 10170"/>
              <a:gd name="connsiteX127" fmla="*/ 1611 w 10000"/>
              <a:gd name="connsiteY127" fmla="*/ 4023 h 10170"/>
              <a:gd name="connsiteX128" fmla="*/ 1510 w 10000"/>
              <a:gd name="connsiteY128" fmla="*/ 4485 h 10170"/>
              <a:gd name="connsiteX129" fmla="*/ 1485 w 10000"/>
              <a:gd name="connsiteY129" fmla="*/ 4904 h 10170"/>
              <a:gd name="connsiteX130" fmla="*/ 1611 w 10000"/>
              <a:gd name="connsiteY130" fmla="*/ 5366 h 10170"/>
              <a:gd name="connsiteX131" fmla="*/ 1548 w 10000"/>
              <a:gd name="connsiteY131" fmla="*/ 5694 h 10170"/>
              <a:gd name="connsiteX132" fmla="*/ 1436 w 10000"/>
              <a:gd name="connsiteY132" fmla="*/ 5855 h 10170"/>
              <a:gd name="connsiteX133" fmla="*/ 1374 w 10000"/>
              <a:gd name="connsiteY133" fmla="*/ 5825 h 10170"/>
              <a:gd name="connsiteX134" fmla="*/ 1300 w 10000"/>
              <a:gd name="connsiteY134" fmla="*/ 5672 h 10170"/>
              <a:gd name="connsiteX135" fmla="*/ 1212 w 10000"/>
              <a:gd name="connsiteY135" fmla="*/ 5554 h 10170"/>
              <a:gd name="connsiteX136" fmla="*/ 1138 w 10000"/>
              <a:gd name="connsiteY136" fmla="*/ 5558 h 10170"/>
              <a:gd name="connsiteX137" fmla="*/ 1126 w 10000"/>
              <a:gd name="connsiteY137" fmla="*/ 5562 h 10170"/>
              <a:gd name="connsiteX138" fmla="*/ 1175 w 10000"/>
              <a:gd name="connsiteY138" fmla="*/ 5763 h 10170"/>
              <a:gd name="connsiteX139" fmla="*/ 976 w 10000"/>
              <a:gd name="connsiteY139" fmla="*/ 5929 h 10170"/>
              <a:gd name="connsiteX140" fmla="*/ 552 w 10000"/>
              <a:gd name="connsiteY140" fmla="*/ 5807 h 10170"/>
              <a:gd name="connsiteX141" fmla="*/ 316 w 10000"/>
              <a:gd name="connsiteY141" fmla="*/ 5655 h 10170"/>
              <a:gd name="connsiteX142" fmla="*/ 254 w 10000"/>
              <a:gd name="connsiteY142" fmla="*/ 5589 h 10170"/>
              <a:gd name="connsiteX143" fmla="*/ 290 w 10000"/>
              <a:gd name="connsiteY143" fmla="*/ 5113 h 10170"/>
              <a:gd name="connsiteX144" fmla="*/ 192 w 10000"/>
              <a:gd name="connsiteY144" fmla="*/ 4503 h 10170"/>
              <a:gd name="connsiteX145" fmla="*/ 17 w 10000"/>
              <a:gd name="connsiteY145" fmla="*/ 4197 h 10170"/>
              <a:gd name="connsiteX146" fmla="*/ 67 w 10000"/>
              <a:gd name="connsiteY146" fmla="*/ 3866 h 10170"/>
              <a:gd name="connsiteX147" fmla="*/ 241 w 10000"/>
              <a:gd name="connsiteY147" fmla="*/ 3359 h 10170"/>
              <a:gd name="connsiteX148" fmla="*/ 365 w 10000"/>
              <a:gd name="connsiteY148" fmla="*/ 2906 h 10170"/>
              <a:gd name="connsiteX149" fmla="*/ 491 w 10000"/>
              <a:gd name="connsiteY149" fmla="*/ 2443 h 10170"/>
              <a:gd name="connsiteX150" fmla="*/ 702 w 10000"/>
              <a:gd name="connsiteY150" fmla="*/ 2007 h 10170"/>
              <a:gd name="connsiteX151" fmla="*/ 838 w 10000"/>
              <a:gd name="connsiteY151" fmla="*/ 1919 h 10170"/>
              <a:gd name="connsiteX152" fmla="*/ 939 w 10000"/>
              <a:gd name="connsiteY152" fmla="*/ 1898 h 10170"/>
              <a:gd name="connsiteX153" fmla="*/ 1237 w 10000"/>
              <a:gd name="connsiteY153" fmla="*/ 1841 h 10170"/>
              <a:gd name="connsiteX154" fmla="*/ 1933 w 10000"/>
              <a:gd name="connsiteY154" fmla="*/ 1745 h 10170"/>
              <a:gd name="connsiteX155" fmla="*/ 2980 w 10000"/>
              <a:gd name="connsiteY155" fmla="*/ 1631 h 10170"/>
              <a:gd name="connsiteX156" fmla="*/ 3714 w 10000"/>
              <a:gd name="connsiteY156" fmla="*/ 1557 h 10170"/>
              <a:gd name="connsiteX157" fmla="*/ 3901 w 10000"/>
              <a:gd name="connsiteY157" fmla="*/ 1535 h 10170"/>
              <a:gd name="connsiteX158" fmla="*/ 3925 w 10000"/>
              <a:gd name="connsiteY158" fmla="*/ 1518 h 10170"/>
              <a:gd name="connsiteX159" fmla="*/ 4013 w 10000"/>
              <a:gd name="connsiteY159" fmla="*/ 1344 h 10170"/>
              <a:gd name="connsiteX160" fmla="*/ 4076 w 10000"/>
              <a:gd name="connsiteY160" fmla="*/ 1187 h 10170"/>
              <a:gd name="connsiteX161" fmla="*/ 3751 w 10000"/>
              <a:gd name="connsiteY161" fmla="*/ 1169 h 10170"/>
              <a:gd name="connsiteX162" fmla="*/ 3427 w 10000"/>
              <a:gd name="connsiteY162" fmla="*/ 1151 h 10170"/>
              <a:gd name="connsiteX163" fmla="*/ 3378 w 10000"/>
              <a:gd name="connsiteY163" fmla="*/ 1134 h 10170"/>
              <a:gd name="connsiteX164" fmla="*/ 3353 w 10000"/>
              <a:gd name="connsiteY164" fmla="*/ 999 h 10170"/>
              <a:gd name="connsiteX165" fmla="*/ 3378 w 10000"/>
              <a:gd name="connsiteY165" fmla="*/ 881 h 10170"/>
              <a:gd name="connsiteX166" fmla="*/ 3241 w 10000"/>
              <a:gd name="connsiteY166" fmla="*/ 850 h 10170"/>
              <a:gd name="connsiteX167" fmla="*/ 3130 w 10000"/>
              <a:gd name="connsiteY167" fmla="*/ 785 h 10170"/>
              <a:gd name="connsiteX168" fmla="*/ 3253 w 10000"/>
              <a:gd name="connsiteY168" fmla="*/ 497 h 10170"/>
              <a:gd name="connsiteX169" fmla="*/ 3353 w 10000"/>
              <a:gd name="connsiteY169" fmla="*/ 244 h 10170"/>
              <a:gd name="connsiteX170" fmla="*/ 3664 w 10000"/>
              <a:gd name="connsiteY170" fmla="*/ 161 h 10170"/>
              <a:gd name="connsiteX171" fmla="*/ 4175 w 10000"/>
              <a:gd name="connsiteY171" fmla="*/ 61 h 10170"/>
              <a:gd name="connsiteX172" fmla="*/ 4785 w 10000"/>
              <a:gd name="connsiteY172"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0000" h="10170">
                <a:moveTo>
                  <a:pt x="4785" y="22"/>
                </a:moveTo>
                <a:lnTo>
                  <a:pt x="5195" y="0"/>
                </a:lnTo>
                <a:lnTo>
                  <a:pt x="5282" y="39"/>
                </a:lnTo>
                <a:cubicBezTo>
                  <a:pt x="5341" y="65"/>
                  <a:pt x="5441" y="97"/>
                  <a:pt x="5582" y="135"/>
                </a:cubicBezTo>
                <a:cubicBezTo>
                  <a:pt x="5723" y="173"/>
                  <a:pt x="5818" y="207"/>
                  <a:pt x="5868" y="236"/>
                </a:cubicBezTo>
                <a:cubicBezTo>
                  <a:pt x="5893" y="250"/>
                  <a:pt x="5917" y="265"/>
                  <a:pt x="5943" y="279"/>
                </a:cubicBezTo>
                <a:cubicBezTo>
                  <a:pt x="5951" y="291"/>
                  <a:pt x="5959" y="302"/>
                  <a:pt x="5967" y="314"/>
                </a:cubicBezTo>
                <a:cubicBezTo>
                  <a:pt x="5985" y="337"/>
                  <a:pt x="5992" y="489"/>
                  <a:pt x="5992" y="767"/>
                </a:cubicBezTo>
                <a:cubicBezTo>
                  <a:pt x="5992" y="1047"/>
                  <a:pt x="6034" y="1239"/>
                  <a:pt x="6117" y="1344"/>
                </a:cubicBezTo>
                <a:cubicBezTo>
                  <a:pt x="6159" y="1396"/>
                  <a:pt x="6200" y="1449"/>
                  <a:pt x="6242" y="1501"/>
                </a:cubicBezTo>
                <a:lnTo>
                  <a:pt x="6478" y="1548"/>
                </a:lnTo>
                <a:cubicBezTo>
                  <a:pt x="6636" y="1581"/>
                  <a:pt x="6764" y="1600"/>
                  <a:pt x="6863" y="1605"/>
                </a:cubicBezTo>
                <a:cubicBezTo>
                  <a:pt x="6963" y="1611"/>
                  <a:pt x="7188" y="1636"/>
                  <a:pt x="7535" y="1680"/>
                </a:cubicBezTo>
                <a:cubicBezTo>
                  <a:pt x="7885" y="1723"/>
                  <a:pt x="8075" y="1753"/>
                  <a:pt x="8109" y="1767"/>
                </a:cubicBezTo>
                <a:cubicBezTo>
                  <a:pt x="8142" y="1782"/>
                  <a:pt x="8361" y="1834"/>
                  <a:pt x="8768" y="1924"/>
                </a:cubicBezTo>
                <a:lnTo>
                  <a:pt x="9379" y="2059"/>
                </a:lnTo>
                <a:cubicBezTo>
                  <a:pt x="9412" y="2141"/>
                  <a:pt x="9445" y="2222"/>
                  <a:pt x="9478" y="2304"/>
                </a:cubicBezTo>
                <a:cubicBezTo>
                  <a:pt x="9545" y="2466"/>
                  <a:pt x="9619" y="2760"/>
                  <a:pt x="9702" y="3185"/>
                </a:cubicBezTo>
                <a:cubicBezTo>
                  <a:pt x="9785" y="3610"/>
                  <a:pt x="9843" y="3851"/>
                  <a:pt x="9877" y="3909"/>
                </a:cubicBezTo>
                <a:cubicBezTo>
                  <a:pt x="9910" y="3967"/>
                  <a:pt x="9926" y="4066"/>
                  <a:pt x="9926" y="4206"/>
                </a:cubicBezTo>
                <a:cubicBezTo>
                  <a:pt x="9926" y="4345"/>
                  <a:pt x="9877" y="4514"/>
                  <a:pt x="9776" y="4712"/>
                </a:cubicBezTo>
                <a:cubicBezTo>
                  <a:pt x="9677" y="4909"/>
                  <a:pt x="9659" y="5096"/>
                  <a:pt x="9727" y="5271"/>
                </a:cubicBezTo>
                <a:cubicBezTo>
                  <a:pt x="9794" y="5445"/>
                  <a:pt x="9794" y="5564"/>
                  <a:pt x="9727" y="5628"/>
                </a:cubicBezTo>
                <a:cubicBezTo>
                  <a:pt x="9659" y="5692"/>
                  <a:pt x="9573" y="5743"/>
                  <a:pt x="9465" y="5781"/>
                </a:cubicBezTo>
                <a:cubicBezTo>
                  <a:pt x="9358" y="5818"/>
                  <a:pt x="9275" y="5839"/>
                  <a:pt x="9217" y="5842"/>
                </a:cubicBezTo>
                <a:cubicBezTo>
                  <a:pt x="9159" y="5845"/>
                  <a:pt x="9097" y="5858"/>
                  <a:pt x="9029" y="5881"/>
                </a:cubicBezTo>
                <a:lnTo>
                  <a:pt x="8931" y="5916"/>
                </a:lnTo>
                <a:cubicBezTo>
                  <a:pt x="8939" y="5843"/>
                  <a:pt x="8947" y="5771"/>
                  <a:pt x="8955" y="5698"/>
                </a:cubicBezTo>
                <a:cubicBezTo>
                  <a:pt x="8963" y="5625"/>
                  <a:pt x="8972" y="5553"/>
                  <a:pt x="8980" y="5480"/>
                </a:cubicBezTo>
                <a:lnTo>
                  <a:pt x="8879" y="5445"/>
                </a:lnTo>
                <a:cubicBezTo>
                  <a:pt x="8814" y="5421"/>
                  <a:pt x="8784" y="5448"/>
                  <a:pt x="8793" y="5523"/>
                </a:cubicBezTo>
                <a:lnTo>
                  <a:pt x="8805" y="5637"/>
                </a:lnTo>
                <a:lnTo>
                  <a:pt x="8668" y="5602"/>
                </a:lnTo>
                <a:cubicBezTo>
                  <a:pt x="8578" y="5579"/>
                  <a:pt x="8508" y="5515"/>
                  <a:pt x="8457" y="5410"/>
                </a:cubicBezTo>
                <a:cubicBezTo>
                  <a:pt x="8406" y="5305"/>
                  <a:pt x="8424" y="5189"/>
                  <a:pt x="8508" y="5061"/>
                </a:cubicBezTo>
                <a:cubicBezTo>
                  <a:pt x="8591" y="4933"/>
                  <a:pt x="8640" y="4820"/>
                  <a:pt x="8656" y="4721"/>
                </a:cubicBezTo>
                <a:cubicBezTo>
                  <a:pt x="8673" y="4622"/>
                  <a:pt x="8656" y="4415"/>
                  <a:pt x="8606" y="4101"/>
                </a:cubicBezTo>
                <a:cubicBezTo>
                  <a:pt x="8557" y="3787"/>
                  <a:pt x="8508" y="3601"/>
                  <a:pt x="8457" y="3543"/>
                </a:cubicBezTo>
                <a:cubicBezTo>
                  <a:pt x="8406" y="3485"/>
                  <a:pt x="8341" y="3324"/>
                  <a:pt x="8258" y="3063"/>
                </a:cubicBezTo>
                <a:cubicBezTo>
                  <a:pt x="8176" y="2801"/>
                  <a:pt x="8105" y="2664"/>
                  <a:pt x="8047" y="2652"/>
                </a:cubicBezTo>
                <a:cubicBezTo>
                  <a:pt x="8018" y="2646"/>
                  <a:pt x="7988" y="2641"/>
                  <a:pt x="7959" y="2635"/>
                </a:cubicBezTo>
                <a:lnTo>
                  <a:pt x="7836" y="2827"/>
                </a:lnTo>
                <a:cubicBezTo>
                  <a:pt x="7752" y="2955"/>
                  <a:pt x="7694" y="3019"/>
                  <a:pt x="7660" y="3019"/>
                </a:cubicBezTo>
                <a:lnTo>
                  <a:pt x="7611" y="3019"/>
                </a:lnTo>
                <a:cubicBezTo>
                  <a:pt x="7607" y="3042"/>
                  <a:pt x="7603" y="3066"/>
                  <a:pt x="7599" y="3089"/>
                </a:cubicBezTo>
                <a:cubicBezTo>
                  <a:pt x="7590" y="3135"/>
                  <a:pt x="7511" y="3251"/>
                  <a:pt x="7363" y="3438"/>
                </a:cubicBezTo>
                <a:cubicBezTo>
                  <a:pt x="7213" y="3624"/>
                  <a:pt x="7141" y="3791"/>
                  <a:pt x="7150" y="3940"/>
                </a:cubicBezTo>
                <a:cubicBezTo>
                  <a:pt x="7154" y="4014"/>
                  <a:pt x="7159" y="4088"/>
                  <a:pt x="7163" y="4162"/>
                </a:cubicBezTo>
                <a:lnTo>
                  <a:pt x="7274" y="4210"/>
                </a:lnTo>
                <a:cubicBezTo>
                  <a:pt x="7350" y="4242"/>
                  <a:pt x="7403" y="4299"/>
                  <a:pt x="7437" y="4380"/>
                </a:cubicBezTo>
                <a:cubicBezTo>
                  <a:pt x="7470" y="4462"/>
                  <a:pt x="7535" y="4627"/>
                  <a:pt x="7636" y="4878"/>
                </a:cubicBezTo>
                <a:cubicBezTo>
                  <a:pt x="7734" y="5128"/>
                  <a:pt x="7818" y="5322"/>
                  <a:pt x="7885" y="5462"/>
                </a:cubicBezTo>
                <a:cubicBezTo>
                  <a:pt x="7952" y="5602"/>
                  <a:pt x="7989" y="5749"/>
                  <a:pt x="7996" y="5903"/>
                </a:cubicBezTo>
                <a:cubicBezTo>
                  <a:pt x="8012" y="6127"/>
                  <a:pt x="7959" y="6480"/>
                  <a:pt x="7984" y="6806"/>
                </a:cubicBezTo>
                <a:cubicBezTo>
                  <a:pt x="8009" y="7132"/>
                  <a:pt x="8005" y="7575"/>
                  <a:pt x="8146" y="7858"/>
                </a:cubicBezTo>
                <a:cubicBezTo>
                  <a:pt x="8287" y="8140"/>
                  <a:pt x="8361" y="8285"/>
                  <a:pt x="8369" y="8294"/>
                </a:cubicBezTo>
                <a:cubicBezTo>
                  <a:pt x="8378" y="8303"/>
                  <a:pt x="8382" y="8447"/>
                  <a:pt x="8382" y="8726"/>
                </a:cubicBezTo>
                <a:lnTo>
                  <a:pt x="8382" y="9145"/>
                </a:lnTo>
                <a:lnTo>
                  <a:pt x="8842" y="9411"/>
                </a:lnTo>
                <a:cubicBezTo>
                  <a:pt x="9150" y="9588"/>
                  <a:pt x="9361" y="9698"/>
                  <a:pt x="9478" y="9738"/>
                </a:cubicBezTo>
                <a:lnTo>
                  <a:pt x="9789" y="9847"/>
                </a:lnTo>
                <a:cubicBezTo>
                  <a:pt x="9880" y="9879"/>
                  <a:pt x="9938" y="9902"/>
                  <a:pt x="9963" y="9917"/>
                </a:cubicBezTo>
                <a:cubicBezTo>
                  <a:pt x="9975" y="9924"/>
                  <a:pt x="9988" y="9932"/>
                  <a:pt x="10000" y="9939"/>
                </a:cubicBezTo>
                <a:lnTo>
                  <a:pt x="9877" y="9947"/>
                </a:lnTo>
                <a:cubicBezTo>
                  <a:pt x="10082" y="10131"/>
                  <a:pt x="8783" y="10202"/>
                  <a:pt x="8457" y="9956"/>
                </a:cubicBezTo>
                <a:lnTo>
                  <a:pt x="8246" y="9847"/>
                </a:lnTo>
                <a:cubicBezTo>
                  <a:pt x="8105" y="9774"/>
                  <a:pt x="7968" y="9695"/>
                  <a:pt x="7836" y="9607"/>
                </a:cubicBezTo>
                <a:cubicBezTo>
                  <a:pt x="7701" y="9520"/>
                  <a:pt x="7602" y="9453"/>
                  <a:pt x="7535" y="9406"/>
                </a:cubicBezTo>
                <a:cubicBezTo>
                  <a:pt x="7470" y="9360"/>
                  <a:pt x="7403" y="9258"/>
                  <a:pt x="7336" y="9101"/>
                </a:cubicBezTo>
                <a:cubicBezTo>
                  <a:pt x="7271" y="8944"/>
                  <a:pt x="7195" y="8819"/>
                  <a:pt x="7111" y="8726"/>
                </a:cubicBezTo>
                <a:cubicBezTo>
                  <a:pt x="7029" y="8633"/>
                  <a:pt x="6955" y="8563"/>
                  <a:pt x="6888" y="8516"/>
                </a:cubicBezTo>
                <a:cubicBezTo>
                  <a:pt x="6823" y="8470"/>
                  <a:pt x="6756" y="8388"/>
                  <a:pt x="6690" y="8272"/>
                </a:cubicBezTo>
                <a:cubicBezTo>
                  <a:pt x="6624" y="8156"/>
                  <a:pt x="6599" y="8069"/>
                  <a:pt x="6615" y="8011"/>
                </a:cubicBezTo>
                <a:cubicBezTo>
                  <a:pt x="6623" y="7982"/>
                  <a:pt x="6631" y="7952"/>
                  <a:pt x="6639" y="7923"/>
                </a:cubicBezTo>
                <a:cubicBezTo>
                  <a:pt x="6581" y="7868"/>
                  <a:pt x="6524" y="7812"/>
                  <a:pt x="6466" y="7757"/>
                </a:cubicBezTo>
                <a:cubicBezTo>
                  <a:pt x="6349" y="7647"/>
                  <a:pt x="6209" y="7429"/>
                  <a:pt x="6043" y="7103"/>
                </a:cubicBezTo>
                <a:cubicBezTo>
                  <a:pt x="5876" y="6777"/>
                  <a:pt x="5776" y="6585"/>
                  <a:pt x="5743" y="6527"/>
                </a:cubicBezTo>
                <a:cubicBezTo>
                  <a:pt x="5711" y="6469"/>
                  <a:pt x="5669" y="6393"/>
                  <a:pt x="5619" y="6300"/>
                </a:cubicBezTo>
                <a:cubicBezTo>
                  <a:pt x="5570" y="6207"/>
                  <a:pt x="5503" y="6140"/>
                  <a:pt x="5420" y="6099"/>
                </a:cubicBezTo>
                <a:cubicBezTo>
                  <a:pt x="5337" y="6058"/>
                  <a:pt x="5269" y="6006"/>
                  <a:pt x="5220" y="5942"/>
                </a:cubicBezTo>
                <a:cubicBezTo>
                  <a:pt x="5195" y="5910"/>
                  <a:pt x="5171" y="5878"/>
                  <a:pt x="5146" y="5846"/>
                </a:cubicBezTo>
                <a:cubicBezTo>
                  <a:pt x="5104" y="5907"/>
                  <a:pt x="5063" y="5968"/>
                  <a:pt x="5021" y="6029"/>
                </a:cubicBezTo>
                <a:cubicBezTo>
                  <a:pt x="4938" y="6152"/>
                  <a:pt x="4855" y="6300"/>
                  <a:pt x="4773" y="6475"/>
                </a:cubicBezTo>
                <a:cubicBezTo>
                  <a:pt x="4690" y="6649"/>
                  <a:pt x="4652" y="6860"/>
                  <a:pt x="4661" y="7107"/>
                </a:cubicBezTo>
                <a:cubicBezTo>
                  <a:pt x="4668" y="7355"/>
                  <a:pt x="4661" y="7494"/>
                  <a:pt x="4634" y="7526"/>
                </a:cubicBezTo>
                <a:cubicBezTo>
                  <a:pt x="4610" y="7558"/>
                  <a:pt x="4573" y="7598"/>
                  <a:pt x="4523" y="7644"/>
                </a:cubicBezTo>
                <a:cubicBezTo>
                  <a:pt x="4474" y="7690"/>
                  <a:pt x="4474" y="7784"/>
                  <a:pt x="4523" y="7923"/>
                </a:cubicBezTo>
                <a:cubicBezTo>
                  <a:pt x="4573" y="8063"/>
                  <a:pt x="4606" y="8139"/>
                  <a:pt x="4622" y="8150"/>
                </a:cubicBezTo>
                <a:cubicBezTo>
                  <a:pt x="4640" y="8162"/>
                  <a:pt x="4661" y="8179"/>
                  <a:pt x="4685" y="8202"/>
                </a:cubicBezTo>
                <a:cubicBezTo>
                  <a:pt x="4711" y="8226"/>
                  <a:pt x="4693" y="8290"/>
                  <a:pt x="4634" y="8394"/>
                </a:cubicBezTo>
                <a:cubicBezTo>
                  <a:pt x="4576" y="8499"/>
                  <a:pt x="4511" y="8573"/>
                  <a:pt x="4437" y="8617"/>
                </a:cubicBezTo>
                <a:lnTo>
                  <a:pt x="4324" y="8682"/>
                </a:lnTo>
                <a:cubicBezTo>
                  <a:pt x="4341" y="8684"/>
                  <a:pt x="4357" y="8685"/>
                  <a:pt x="4374" y="8687"/>
                </a:cubicBezTo>
                <a:cubicBezTo>
                  <a:pt x="4407" y="8690"/>
                  <a:pt x="4419" y="8776"/>
                  <a:pt x="4411" y="8944"/>
                </a:cubicBezTo>
                <a:cubicBezTo>
                  <a:pt x="4404" y="9113"/>
                  <a:pt x="4367" y="9261"/>
                  <a:pt x="4300" y="9389"/>
                </a:cubicBezTo>
                <a:cubicBezTo>
                  <a:pt x="4233" y="9517"/>
                  <a:pt x="4168" y="9601"/>
                  <a:pt x="4101" y="9642"/>
                </a:cubicBezTo>
                <a:cubicBezTo>
                  <a:pt x="4033" y="9683"/>
                  <a:pt x="3971" y="9753"/>
                  <a:pt x="3913" y="9852"/>
                </a:cubicBezTo>
                <a:cubicBezTo>
                  <a:pt x="3884" y="9901"/>
                  <a:pt x="3856" y="9951"/>
                  <a:pt x="3827" y="10000"/>
                </a:cubicBezTo>
                <a:cubicBezTo>
                  <a:pt x="3810" y="9999"/>
                  <a:pt x="3794" y="9997"/>
                  <a:pt x="3777" y="9996"/>
                </a:cubicBezTo>
                <a:cubicBezTo>
                  <a:pt x="3298" y="10269"/>
                  <a:pt x="1732" y="10187"/>
                  <a:pt x="1933" y="9983"/>
                </a:cubicBezTo>
                <a:cubicBezTo>
                  <a:pt x="1971" y="9957"/>
                  <a:pt x="2008" y="9930"/>
                  <a:pt x="2046" y="9904"/>
                </a:cubicBezTo>
                <a:cubicBezTo>
                  <a:pt x="2120" y="9852"/>
                  <a:pt x="2216" y="9805"/>
                  <a:pt x="2333" y="9764"/>
                </a:cubicBezTo>
                <a:cubicBezTo>
                  <a:pt x="2449" y="9724"/>
                  <a:pt x="2611" y="9649"/>
                  <a:pt x="2818" y="9542"/>
                </a:cubicBezTo>
                <a:cubicBezTo>
                  <a:pt x="3026" y="9434"/>
                  <a:pt x="3142" y="9370"/>
                  <a:pt x="3167" y="9350"/>
                </a:cubicBezTo>
                <a:lnTo>
                  <a:pt x="3204" y="9319"/>
                </a:lnTo>
                <a:cubicBezTo>
                  <a:pt x="3179" y="9276"/>
                  <a:pt x="3155" y="9232"/>
                  <a:pt x="3130" y="9189"/>
                </a:cubicBezTo>
                <a:cubicBezTo>
                  <a:pt x="3079" y="9101"/>
                  <a:pt x="2989" y="8967"/>
                  <a:pt x="2855" y="8787"/>
                </a:cubicBezTo>
                <a:cubicBezTo>
                  <a:pt x="2722" y="8607"/>
                  <a:pt x="2639" y="8438"/>
                  <a:pt x="2606" y="8281"/>
                </a:cubicBezTo>
                <a:cubicBezTo>
                  <a:pt x="2574" y="8124"/>
                  <a:pt x="2590" y="7929"/>
                  <a:pt x="2657" y="7696"/>
                </a:cubicBezTo>
                <a:cubicBezTo>
                  <a:pt x="2722" y="7463"/>
                  <a:pt x="2697" y="7225"/>
                  <a:pt x="2581" y="6980"/>
                </a:cubicBezTo>
                <a:cubicBezTo>
                  <a:pt x="2465" y="6736"/>
                  <a:pt x="2366" y="6548"/>
                  <a:pt x="2283" y="6413"/>
                </a:cubicBezTo>
                <a:cubicBezTo>
                  <a:pt x="2200" y="6280"/>
                  <a:pt x="2132" y="6164"/>
                  <a:pt x="2083" y="6065"/>
                </a:cubicBezTo>
                <a:cubicBezTo>
                  <a:pt x="2034" y="5966"/>
                  <a:pt x="2034" y="5759"/>
                  <a:pt x="2083" y="5445"/>
                </a:cubicBezTo>
                <a:cubicBezTo>
                  <a:pt x="2132" y="5131"/>
                  <a:pt x="2234" y="4889"/>
                  <a:pt x="2382" y="4721"/>
                </a:cubicBezTo>
                <a:cubicBezTo>
                  <a:pt x="2532" y="4552"/>
                  <a:pt x="2644" y="4396"/>
                  <a:pt x="2718" y="4254"/>
                </a:cubicBezTo>
                <a:cubicBezTo>
                  <a:pt x="2792" y="4111"/>
                  <a:pt x="2851" y="4024"/>
                  <a:pt x="2894" y="3992"/>
                </a:cubicBezTo>
                <a:cubicBezTo>
                  <a:pt x="2934" y="3960"/>
                  <a:pt x="2964" y="3921"/>
                  <a:pt x="2980" y="3874"/>
                </a:cubicBezTo>
                <a:cubicBezTo>
                  <a:pt x="2996" y="3828"/>
                  <a:pt x="2931" y="3697"/>
                  <a:pt x="2780" y="3482"/>
                </a:cubicBezTo>
                <a:cubicBezTo>
                  <a:pt x="2630" y="3266"/>
                  <a:pt x="2503" y="3086"/>
                  <a:pt x="2394" y="2940"/>
                </a:cubicBezTo>
                <a:cubicBezTo>
                  <a:pt x="2341" y="2867"/>
                  <a:pt x="2287" y="2795"/>
                  <a:pt x="2234" y="2722"/>
                </a:cubicBezTo>
                <a:cubicBezTo>
                  <a:pt x="2213" y="2728"/>
                  <a:pt x="2191" y="2733"/>
                  <a:pt x="2169" y="2739"/>
                </a:cubicBezTo>
                <a:cubicBezTo>
                  <a:pt x="2129" y="2751"/>
                  <a:pt x="2092" y="2778"/>
                  <a:pt x="2059" y="2818"/>
                </a:cubicBezTo>
                <a:cubicBezTo>
                  <a:pt x="2025" y="2859"/>
                  <a:pt x="1985" y="2970"/>
                  <a:pt x="1933" y="3150"/>
                </a:cubicBezTo>
                <a:cubicBezTo>
                  <a:pt x="1884" y="3330"/>
                  <a:pt x="1814" y="3458"/>
                  <a:pt x="1722" y="3534"/>
                </a:cubicBezTo>
                <a:cubicBezTo>
                  <a:pt x="1677" y="3572"/>
                  <a:pt x="1631" y="3609"/>
                  <a:pt x="1586" y="3647"/>
                </a:cubicBezTo>
                <a:cubicBezTo>
                  <a:pt x="1590" y="3653"/>
                  <a:pt x="1595" y="3659"/>
                  <a:pt x="1599" y="3665"/>
                </a:cubicBezTo>
                <a:cubicBezTo>
                  <a:pt x="1608" y="3676"/>
                  <a:pt x="1611" y="3796"/>
                  <a:pt x="1611" y="4023"/>
                </a:cubicBezTo>
                <a:cubicBezTo>
                  <a:pt x="1611" y="4250"/>
                  <a:pt x="1578" y="4404"/>
                  <a:pt x="1510" y="4485"/>
                </a:cubicBezTo>
                <a:cubicBezTo>
                  <a:pt x="1445" y="4566"/>
                  <a:pt x="1436" y="4706"/>
                  <a:pt x="1485" y="4904"/>
                </a:cubicBezTo>
                <a:cubicBezTo>
                  <a:pt x="1536" y="5102"/>
                  <a:pt x="1578" y="5256"/>
                  <a:pt x="1611" y="5366"/>
                </a:cubicBezTo>
                <a:cubicBezTo>
                  <a:pt x="1645" y="5477"/>
                  <a:pt x="1623" y="5586"/>
                  <a:pt x="1548" y="5694"/>
                </a:cubicBezTo>
                <a:cubicBezTo>
                  <a:pt x="1511" y="5748"/>
                  <a:pt x="1473" y="5801"/>
                  <a:pt x="1436" y="5855"/>
                </a:cubicBezTo>
                <a:lnTo>
                  <a:pt x="1374" y="5825"/>
                </a:lnTo>
                <a:cubicBezTo>
                  <a:pt x="1332" y="5804"/>
                  <a:pt x="1307" y="5753"/>
                  <a:pt x="1300" y="5672"/>
                </a:cubicBezTo>
                <a:cubicBezTo>
                  <a:pt x="1291" y="5590"/>
                  <a:pt x="1261" y="5551"/>
                  <a:pt x="1212" y="5554"/>
                </a:cubicBezTo>
                <a:cubicBezTo>
                  <a:pt x="1187" y="5555"/>
                  <a:pt x="1163" y="5557"/>
                  <a:pt x="1138" y="5558"/>
                </a:cubicBezTo>
                <a:cubicBezTo>
                  <a:pt x="1134" y="5559"/>
                  <a:pt x="1130" y="5561"/>
                  <a:pt x="1126" y="5562"/>
                </a:cubicBezTo>
                <a:cubicBezTo>
                  <a:pt x="1117" y="5566"/>
                  <a:pt x="1133" y="5632"/>
                  <a:pt x="1175" y="5763"/>
                </a:cubicBezTo>
                <a:cubicBezTo>
                  <a:pt x="1216" y="5895"/>
                  <a:pt x="1150" y="5950"/>
                  <a:pt x="976" y="5929"/>
                </a:cubicBezTo>
                <a:cubicBezTo>
                  <a:pt x="801" y="5909"/>
                  <a:pt x="660" y="5868"/>
                  <a:pt x="552" y="5807"/>
                </a:cubicBezTo>
                <a:cubicBezTo>
                  <a:pt x="445" y="5746"/>
                  <a:pt x="365" y="5695"/>
                  <a:pt x="316" y="5655"/>
                </a:cubicBezTo>
                <a:cubicBezTo>
                  <a:pt x="266" y="5614"/>
                  <a:pt x="245" y="5591"/>
                  <a:pt x="254" y="5589"/>
                </a:cubicBezTo>
                <a:cubicBezTo>
                  <a:pt x="262" y="5586"/>
                  <a:pt x="275" y="5428"/>
                  <a:pt x="290" y="5113"/>
                </a:cubicBezTo>
                <a:cubicBezTo>
                  <a:pt x="306" y="4799"/>
                  <a:pt x="275" y="4595"/>
                  <a:pt x="192" y="4503"/>
                </a:cubicBezTo>
                <a:cubicBezTo>
                  <a:pt x="109" y="4409"/>
                  <a:pt x="51" y="4308"/>
                  <a:pt x="17" y="4197"/>
                </a:cubicBezTo>
                <a:cubicBezTo>
                  <a:pt x="-16" y="4086"/>
                  <a:pt x="0" y="3976"/>
                  <a:pt x="67" y="3866"/>
                </a:cubicBezTo>
                <a:cubicBezTo>
                  <a:pt x="134" y="3755"/>
                  <a:pt x="192" y="3586"/>
                  <a:pt x="241" y="3359"/>
                </a:cubicBezTo>
                <a:cubicBezTo>
                  <a:pt x="290" y="3132"/>
                  <a:pt x="334" y="2981"/>
                  <a:pt x="365" y="2906"/>
                </a:cubicBezTo>
                <a:cubicBezTo>
                  <a:pt x="399" y="2830"/>
                  <a:pt x="441" y="2676"/>
                  <a:pt x="491" y="2443"/>
                </a:cubicBezTo>
                <a:cubicBezTo>
                  <a:pt x="540" y="2210"/>
                  <a:pt x="610" y="2065"/>
                  <a:pt x="702" y="2007"/>
                </a:cubicBezTo>
                <a:lnTo>
                  <a:pt x="838" y="1919"/>
                </a:lnTo>
                <a:lnTo>
                  <a:pt x="939" y="1898"/>
                </a:lnTo>
                <a:cubicBezTo>
                  <a:pt x="1006" y="1883"/>
                  <a:pt x="1105" y="1864"/>
                  <a:pt x="1237" y="1841"/>
                </a:cubicBezTo>
                <a:cubicBezTo>
                  <a:pt x="1369" y="1817"/>
                  <a:pt x="1602" y="1786"/>
                  <a:pt x="1933" y="1745"/>
                </a:cubicBezTo>
                <a:cubicBezTo>
                  <a:pt x="2266" y="1704"/>
                  <a:pt x="2614" y="1667"/>
                  <a:pt x="2980" y="1631"/>
                </a:cubicBezTo>
                <a:lnTo>
                  <a:pt x="3714" y="1557"/>
                </a:lnTo>
                <a:lnTo>
                  <a:pt x="3901" y="1535"/>
                </a:lnTo>
                <a:cubicBezTo>
                  <a:pt x="3909" y="1529"/>
                  <a:pt x="3917" y="1524"/>
                  <a:pt x="3925" y="1518"/>
                </a:cubicBezTo>
                <a:cubicBezTo>
                  <a:pt x="3943" y="1506"/>
                  <a:pt x="3971" y="1448"/>
                  <a:pt x="4013" y="1344"/>
                </a:cubicBezTo>
                <a:cubicBezTo>
                  <a:pt x="4034" y="1292"/>
                  <a:pt x="4054" y="1239"/>
                  <a:pt x="4076" y="1187"/>
                </a:cubicBezTo>
                <a:lnTo>
                  <a:pt x="3751" y="1169"/>
                </a:lnTo>
                <a:lnTo>
                  <a:pt x="3427" y="1151"/>
                </a:lnTo>
                <a:cubicBezTo>
                  <a:pt x="3411" y="1145"/>
                  <a:pt x="3394" y="1140"/>
                  <a:pt x="3378" y="1134"/>
                </a:cubicBezTo>
                <a:cubicBezTo>
                  <a:pt x="3345" y="1122"/>
                  <a:pt x="3336" y="1077"/>
                  <a:pt x="3353" y="999"/>
                </a:cubicBezTo>
                <a:cubicBezTo>
                  <a:pt x="3361" y="960"/>
                  <a:pt x="3370" y="920"/>
                  <a:pt x="3378" y="881"/>
                </a:cubicBezTo>
                <a:lnTo>
                  <a:pt x="3241" y="850"/>
                </a:lnTo>
                <a:cubicBezTo>
                  <a:pt x="3149" y="830"/>
                  <a:pt x="3112" y="808"/>
                  <a:pt x="3130" y="785"/>
                </a:cubicBezTo>
                <a:cubicBezTo>
                  <a:pt x="3146" y="762"/>
                  <a:pt x="3188" y="666"/>
                  <a:pt x="3253" y="497"/>
                </a:cubicBezTo>
                <a:cubicBezTo>
                  <a:pt x="3286" y="413"/>
                  <a:pt x="3320" y="328"/>
                  <a:pt x="3353" y="244"/>
                </a:cubicBezTo>
                <a:lnTo>
                  <a:pt x="3664" y="161"/>
                </a:lnTo>
                <a:cubicBezTo>
                  <a:pt x="3872" y="106"/>
                  <a:pt x="4041" y="72"/>
                  <a:pt x="4175" y="61"/>
                </a:cubicBezTo>
                <a:cubicBezTo>
                  <a:pt x="4308" y="49"/>
                  <a:pt x="4511" y="36"/>
                  <a:pt x="4785" y="22"/>
                </a:cubicBezTo>
                <a:close/>
              </a:path>
            </a:pathLst>
          </a:custGeom>
          <a:solidFill>
            <a:srgbClr val="FFFFFF"/>
          </a:solid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7" name="Tagg"/>
          <p:cNvGrpSpPr/>
          <p:nvPr/>
        </p:nvGrpSpPr>
        <p:grpSpPr>
          <a:xfrm>
            <a:off x="463269" y="3789045"/>
            <a:ext cx="5280306" cy="2451369"/>
            <a:chOff x="463269" y="3789045"/>
            <a:chExt cx="5280306" cy="2451369"/>
          </a:xfrm>
        </p:grpSpPr>
        <p:grpSp>
          <p:nvGrpSpPr>
            <p:cNvPr id="134" name="Dog and Leash"/>
            <p:cNvGrpSpPr/>
            <p:nvPr/>
          </p:nvGrpSpPr>
          <p:grpSpPr>
            <a:xfrm>
              <a:off x="3536006" y="3789045"/>
              <a:ext cx="2207569" cy="2451369"/>
              <a:chOff x="3536006" y="3789045"/>
              <a:chExt cx="2207569" cy="2451369"/>
            </a:xfrm>
          </p:grpSpPr>
          <p:sp>
            <p:nvSpPr>
              <p:cNvPr id="126" name="Dog"/>
              <p:cNvSpPr>
                <a:spLocks noEditPoints="1"/>
              </p:cNvSpPr>
              <p:nvPr/>
            </p:nvSpPr>
            <p:spPr bwMode="auto">
              <a:xfrm flipH="1">
                <a:off x="3536006" y="4829942"/>
                <a:ext cx="1987107" cy="1410472"/>
              </a:xfrm>
              <a:custGeom>
                <a:avLst/>
                <a:gdLst>
                  <a:gd name="T0" fmla="*/ 5729 w 6336"/>
                  <a:gd name="T1" fmla="*/ 120 h 4485"/>
                  <a:gd name="T2" fmla="*/ 6025 w 6336"/>
                  <a:gd name="T3" fmla="*/ 325 h 4485"/>
                  <a:gd name="T4" fmla="*/ 6336 w 6336"/>
                  <a:gd name="T5" fmla="*/ 494 h 4485"/>
                  <a:gd name="T6" fmla="*/ 6110 w 6336"/>
                  <a:gd name="T7" fmla="*/ 861 h 4485"/>
                  <a:gd name="T8" fmla="*/ 5588 w 6336"/>
                  <a:gd name="T9" fmla="*/ 946 h 4485"/>
                  <a:gd name="T10" fmla="*/ 5376 w 6336"/>
                  <a:gd name="T11" fmla="*/ 1736 h 4485"/>
                  <a:gd name="T12" fmla="*/ 5066 w 6336"/>
                  <a:gd name="T13" fmla="*/ 2470 h 4485"/>
                  <a:gd name="T14" fmla="*/ 4995 w 6336"/>
                  <a:gd name="T15" fmla="*/ 3683 h 4485"/>
                  <a:gd name="T16" fmla="*/ 5066 w 6336"/>
                  <a:gd name="T17" fmla="*/ 4043 h 4485"/>
                  <a:gd name="T18" fmla="*/ 5348 w 6336"/>
                  <a:gd name="T19" fmla="*/ 4163 h 4485"/>
                  <a:gd name="T20" fmla="*/ 5165 w 6336"/>
                  <a:gd name="T21" fmla="*/ 4417 h 4485"/>
                  <a:gd name="T22" fmla="*/ 4741 w 6336"/>
                  <a:gd name="T23" fmla="*/ 4290 h 4485"/>
                  <a:gd name="T24" fmla="*/ 4480 w 6336"/>
                  <a:gd name="T25" fmla="*/ 4156 h 4485"/>
                  <a:gd name="T26" fmla="*/ 4332 w 6336"/>
                  <a:gd name="T27" fmla="*/ 4022 h 4485"/>
                  <a:gd name="T28" fmla="*/ 4381 w 6336"/>
                  <a:gd name="T29" fmla="*/ 2837 h 4485"/>
                  <a:gd name="T30" fmla="*/ 4106 w 6336"/>
                  <a:gd name="T31" fmla="*/ 2653 h 4485"/>
                  <a:gd name="T32" fmla="*/ 3514 w 6336"/>
                  <a:gd name="T33" fmla="*/ 2512 h 4485"/>
                  <a:gd name="T34" fmla="*/ 3076 w 6336"/>
                  <a:gd name="T35" fmla="*/ 2392 h 4485"/>
                  <a:gd name="T36" fmla="*/ 3048 w 6336"/>
                  <a:gd name="T37" fmla="*/ 2837 h 4485"/>
                  <a:gd name="T38" fmla="*/ 3020 w 6336"/>
                  <a:gd name="T39" fmla="*/ 3316 h 4485"/>
                  <a:gd name="T40" fmla="*/ 2857 w 6336"/>
                  <a:gd name="T41" fmla="*/ 3465 h 4485"/>
                  <a:gd name="T42" fmla="*/ 2787 w 6336"/>
                  <a:gd name="T43" fmla="*/ 3627 h 4485"/>
                  <a:gd name="T44" fmla="*/ 2886 w 6336"/>
                  <a:gd name="T45" fmla="*/ 4029 h 4485"/>
                  <a:gd name="T46" fmla="*/ 3224 w 6336"/>
                  <a:gd name="T47" fmla="*/ 4184 h 4485"/>
                  <a:gd name="T48" fmla="*/ 3048 w 6336"/>
                  <a:gd name="T49" fmla="*/ 4332 h 4485"/>
                  <a:gd name="T50" fmla="*/ 2554 w 6336"/>
                  <a:gd name="T51" fmla="*/ 3853 h 4485"/>
                  <a:gd name="T52" fmla="*/ 2561 w 6336"/>
                  <a:gd name="T53" fmla="*/ 3246 h 4485"/>
                  <a:gd name="T54" fmla="*/ 2279 w 6336"/>
                  <a:gd name="T55" fmla="*/ 3352 h 4485"/>
                  <a:gd name="T56" fmla="*/ 2060 w 6336"/>
                  <a:gd name="T57" fmla="*/ 4064 h 4485"/>
                  <a:gd name="T58" fmla="*/ 2229 w 6336"/>
                  <a:gd name="T59" fmla="*/ 4149 h 4485"/>
                  <a:gd name="T60" fmla="*/ 2413 w 6336"/>
                  <a:gd name="T61" fmla="*/ 4276 h 4485"/>
                  <a:gd name="T62" fmla="*/ 2300 w 6336"/>
                  <a:gd name="T63" fmla="*/ 4474 h 4485"/>
                  <a:gd name="T64" fmla="*/ 1954 w 6336"/>
                  <a:gd name="T65" fmla="*/ 4431 h 4485"/>
                  <a:gd name="T66" fmla="*/ 1750 w 6336"/>
                  <a:gd name="T67" fmla="*/ 3768 h 4485"/>
                  <a:gd name="T68" fmla="*/ 1714 w 6336"/>
                  <a:gd name="T69" fmla="*/ 3458 h 4485"/>
                  <a:gd name="T70" fmla="*/ 1919 w 6336"/>
                  <a:gd name="T71" fmla="*/ 3189 h 4485"/>
                  <a:gd name="T72" fmla="*/ 1785 w 6336"/>
                  <a:gd name="T73" fmla="*/ 2477 h 4485"/>
                  <a:gd name="T74" fmla="*/ 1665 w 6336"/>
                  <a:gd name="T75" fmla="*/ 1482 h 4485"/>
                  <a:gd name="T76" fmla="*/ 1616 w 6336"/>
                  <a:gd name="T77" fmla="*/ 1320 h 4485"/>
                  <a:gd name="T78" fmla="*/ 988 w 6336"/>
                  <a:gd name="T79" fmla="*/ 988 h 4485"/>
                  <a:gd name="T80" fmla="*/ 480 w 6336"/>
                  <a:gd name="T81" fmla="*/ 720 h 4485"/>
                  <a:gd name="T82" fmla="*/ 0 w 6336"/>
                  <a:gd name="T83" fmla="*/ 466 h 4485"/>
                  <a:gd name="T84" fmla="*/ 790 w 6336"/>
                  <a:gd name="T85" fmla="*/ 593 h 4485"/>
                  <a:gd name="T86" fmla="*/ 1496 w 6336"/>
                  <a:gd name="T87" fmla="*/ 918 h 4485"/>
                  <a:gd name="T88" fmla="*/ 4120 w 6336"/>
                  <a:gd name="T89" fmla="*/ 1002 h 4485"/>
                  <a:gd name="T90" fmla="*/ 4593 w 6336"/>
                  <a:gd name="T91" fmla="*/ 784 h 4485"/>
                  <a:gd name="T92" fmla="*/ 4882 w 6336"/>
                  <a:gd name="T93" fmla="*/ 325 h 4485"/>
                  <a:gd name="T94" fmla="*/ 5108 w 6336"/>
                  <a:gd name="T95" fmla="*/ 22 h 4485"/>
                  <a:gd name="T96" fmla="*/ 4685 w 6336"/>
                  <a:gd name="T97" fmla="*/ 3528 h 4485"/>
                  <a:gd name="T98" fmla="*/ 4600 w 6336"/>
                  <a:gd name="T99" fmla="*/ 3937 h 4485"/>
                  <a:gd name="T100" fmla="*/ 4628 w 6336"/>
                  <a:gd name="T101" fmla="*/ 3599 h 4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36" h="4485">
                    <a:moveTo>
                      <a:pt x="5277" y="0"/>
                    </a:moveTo>
                    <a:cubicBezTo>
                      <a:pt x="5353" y="0"/>
                      <a:pt x="5433" y="14"/>
                      <a:pt x="5517" y="43"/>
                    </a:cubicBezTo>
                    <a:cubicBezTo>
                      <a:pt x="5602" y="71"/>
                      <a:pt x="5673" y="97"/>
                      <a:pt x="5729" y="120"/>
                    </a:cubicBezTo>
                    <a:cubicBezTo>
                      <a:pt x="5785" y="144"/>
                      <a:pt x="5814" y="165"/>
                      <a:pt x="5814" y="184"/>
                    </a:cubicBezTo>
                    <a:cubicBezTo>
                      <a:pt x="5814" y="203"/>
                      <a:pt x="5828" y="219"/>
                      <a:pt x="5856" y="233"/>
                    </a:cubicBezTo>
                    <a:cubicBezTo>
                      <a:pt x="5884" y="247"/>
                      <a:pt x="5941" y="278"/>
                      <a:pt x="6025" y="325"/>
                    </a:cubicBezTo>
                    <a:cubicBezTo>
                      <a:pt x="6110" y="372"/>
                      <a:pt x="6181" y="410"/>
                      <a:pt x="6237" y="438"/>
                    </a:cubicBezTo>
                    <a:cubicBezTo>
                      <a:pt x="6293" y="466"/>
                      <a:pt x="6324" y="482"/>
                      <a:pt x="6329" y="487"/>
                    </a:cubicBezTo>
                    <a:lnTo>
                      <a:pt x="6336" y="494"/>
                    </a:lnTo>
                    <a:lnTo>
                      <a:pt x="6322" y="607"/>
                    </a:lnTo>
                    <a:cubicBezTo>
                      <a:pt x="6312" y="682"/>
                      <a:pt x="6301" y="732"/>
                      <a:pt x="6286" y="755"/>
                    </a:cubicBezTo>
                    <a:cubicBezTo>
                      <a:pt x="6272" y="779"/>
                      <a:pt x="6213" y="814"/>
                      <a:pt x="6110" y="861"/>
                    </a:cubicBezTo>
                    <a:cubicBezTo>
                      <a:pt x="6007" y="908"/>
                      <a:pt x="5931" y="932"/>
                      <a:pt x="5884" y="932"/>
                    </a:cubicBezTo>
                    <a:cubicBezTo>
                      <a:pt x="5837" y="932"/>
                      <a:pt x="5776" y="934"/>
                      <a:pt x="5701" y="939"/>
                    </a:cubicBezTo>
                    <a:lnTo>
                      <a:pt x="5588" y="946"/>
                    </a:lnTo>
                    <a:lnTo>
                      <a:pt x="5567" y="1059"/>
                    </a:lnTo>
                    <a:cubicBezTo>
                      <a:pt x="5553" y="1134"/>
                      <a:pt x="5522" y="1228"/>
                      <a:pt x="5475" y="1341"/>
                    </a:cubicBezTo>
                    <a:cubicBezTo>
                      <a:pt x="5428" y="1454"/>
                      <a:pt x="5395" y="1585"/>
                      <a:pt x="5376" y="1736"/>
                    </a:cubicBezTo>
                    <a:cubicBezTo>
                      <a:pt x="5357" y="1887"/>
                      <a:pt x="5324" y="2018"/>
                      <a:pt x="5277" y="2131"/>
                    </a:cubicBezTo>
                    <a:cubicBezTo>
                      <a:pt x="5230" y="2244"/>
                      <a:pt x="5183" y="2329"/>
                      <a:pt x="5136" y="2385"/>
                    </a:cubicBezTo>
                    <a:lnTo>
                      <a:pt x="5066" y="2470"/>
                    </a:lnTo>
                    <a:lnTo>
                      <a:pt x="5052" y="2583"/>
                    </a:lnTo>
                    <a:cubicBezTo>
                      <a:pt x="5042" y="2658"/>
                      <a:pt x="5028" y="2813"/>
                      <a:pt x="5009" y="3048"/>
                    </a:cubicBezTo>
                    <a:cubicBezTo>
                      <a:pt x="4991" y="3284"/>
                      <a:pt x="4986" y="3495"/>
                      <a:pt x="4995" y="3683"/>
                    </a:cubicBezTo>
                    <a:cubicBezTo>
                      <a:pt x="5005" y="3871"/>
                      <a:pt x="5012" y="3975"/>
                      <a:pt x="5016" y="3994"/>
                    </a:cubicBezTo>
                    <a:lnTo>
                      <a:pt x="5023" y="4022"/>
                    </a:lnTo>
                    <a:lnTo>
                      <a:pt x="5066" y="4043"/>
                    </a:lnTo>
                    <a:cubicBezTo>
                      <a:pt x="5094" y="4057"/>
                      <a:pt x="5143" y="4071"/>
                      <a:pt x="5214" y="4086"/>
                    </a:cubicBezTo>
                    <a:cubicBezTo>
                      <a:pt x="5285" y="4100"/>
                      <a:pt x="5324" y="4116"/>
                      <a:pt x="5334" y="4135"/>
                    </a:cubicBezTo>
                    <a:lnTo>
                      <a:pt x="5348" y="4163"/>
                    </a:lnTo>
                    <a:lnTo>
                      <a:pt x="5334" y="4262"/>
                    </a:lnTo>
                    <a:cubicBezTo>
                      <a:pt x="5324" y="4328"/>
                      <a:pt x="5313" y="4368"/>
                      <a:pt x="5299" y="4382"/>
                    </a:cubicBezTo>
                    <a:cubicBezTo>
                      <a:pt x="5285" y="4396"/>
                      <a:pt x="5240" y="4408"/>
                      <a:pt x="5165" y="4417"/>
                    </a:cubicBezTo>
                    <a:cubicBezTo>
                      <a:pt x="5089" y="4427"/>
                      <a:pt x="5040" y="4424"/>
                      <a:pt x="5016" y="4410"/>
                    </a:cubicBezTo>
                    <a:cubicBezTo>
                      <a:pt x="4993" y="4396"/>
                      <a:pt x="4969" y="4372"/>
                      <a:pt x="4946" y="4340"/>
                    </a:cubicBezTo>
                    <a:cubicBezTo>
                      <a:pt x="4922" y="4307"/>
                      <a:pt x="4854" y="4290"/>
                      <a:pt x="4741" y="4290"/>
                    </a:cubicBezTo>
                    <a:lnTo>
                      <a:pt x="4572" y="4290"/>
                    </a:lnTo>
                    <a:lnTo>
                      <a:pt x="4537" y="4241"/>
                    </a:lnTo>
                    <a:cubicBezTo>
                      <a:pt x="4513" y="4208"/>
                      <a:pt x="4494" y="4180"/>
                      <a:pt x="4480" y="4156"/>
                    </a:cubicBezTo>
                    <a:cubicBezTo>
                      <a:pt x="4466" y="4133"/>
                      <a:pt x="4440" y="4114"/>
                      <a:pt x="4403" y="4100"/>
                    </a:cubicBezTo>
                    <a:cubicBezTo>
                      <a:pt x="4365" y="4086"/>
                      <a:pt x="4344" y="4069"/>
                      <a:pt x="4339" y="4050"/>
                    </a:cubicBezTo>
                    <a:lnTo>
                      <a:pt x="4332" y="4022"/>
                    </a:lnTo>
                    <a:lnTo>
                      <a:pt x="4346" y="3585"/>
                    </a:lnTo>
                    <a:cubicBezTo>
                      <a:pt x="4356" y="3293"/>
                      <a:pt x="4365" y="3119"/>
                      <a:pt x="4374" y="3062"/>
                    </a:cubicBezTo>
                    <a:cubicBezTo>
                      <a:pt x="4384" y="3006"/>
                      <a:pt x="4386" y="2931"/>
                      <a:pt x="4381" y="2837"/>
                    </a:cubicBezTo>
                    <a:lnTo>
                      <a:pt x="4374" y="2696"/>
                    </a:lnTo>
                    <a:lnTo>
                      <a:pt x="4247" y="2674"/>
                    </a:lnTo>
                    <a:cubicBezTo>
                      <a:pt x="4163" y="2660"/>
                      <a:pt x="4116" y="2653"/>
                      <a:pt x="4106" y="2653"/>
                    </a:cubicBezTo>
                    <a:cubicBezTo>
                      <a:pt x="4097" y="2653"/>
                      <a:pt x="4054" y="2644"/>
                      <a:pt x="3979" y="2625"/>
                    </a:cubicBezTo>
                    <a:cubicBezTo>
                      <a:pt x="3904" y="2606"/>
                      <a:pt x="3824" y="2592"/>
                      <a:pt x="3739" y="2583"/>
                    </a:cubicBezTo>
                    <a:cubicBezTo>
                      <a:pt x="3655" y="2573"/>
                      <a:pt x="3579" y="2550"/>
                      <a:pt x="3514" y="2512"/>
                    </a:cubicBezTo>
                    <a:cubicBezTo>
                      <a:pt x="3448" y="2474"/>
                      <a:pt x="3377" y="2451"/>
                      <a:pt x="3302" y="2442"/>
                    </a:cubicBezTo>
                    <a:cubicBezTo>
                      <a:pt x="3227" y="2432"/>
                      <a:pt x="3184" y="2423"/>
                      <a:pt x="3175" y="2413"/>
                    </a:cubicBezTo>
                    <a:cubicBezTo>
                      <a:pt x="3165" y="2404"/>
                      <a:pt x="3133" y="2397"/>
                      <a:pt x="3076" y="2392"/>
                    </a:cubicBezTo>
                    <a:lnTo>
                      <a:pt x="2991" y="2385"/>
                    </a:lnTo>
                    <a:lnTo>
                      <a:pt x="3013" y="2583"/>
                    </a:lnTo>
                    <a:cubicBezTo>
                      <a:pt x="3027" y="2714"/>
                      <a:pt x="3038" y="2799"/>
                      <a:pt x="3048" y="2837"/>
                    </a:cubicBezTo>
                    <a:cubicBezTo>
                      <a:pt x="3057" y="2874"/>
                      <a:pt x="3057" y="2954"/>
                      <a:pt x="3048" y="3077"/>
                    </a:cubicBezTo>
                    <a:cubicBezTo>
                      <a:pt x="3038" y="3199"/>
                      <a:pt x="3031" y="3269"/>
                      <a:pt x="3027" y="3288"/>
                    </a:cubicBezTo>
                    <a:lnTo>
                      <a:pt x="3020" y="3316"/>
                    </a:lnTo>
                    <a:lnTo>
                      <a:pt x="2984" y="3331"/>
                    </a:lnTo>
                    <a:cubicBezTo>
                      <a:pt x="2961" y="3340"/>
                      <a:pt x="2935" y="3363"/>
                      <a:pt x="2907" y="3401"/>
                    </a:cubicBezTo>
                    <a:cubicBezTo>
                      <a:pt x="2879" y="3439"/>
                      <a:pt x="2862" y="3460"/>
                      <a:pt x="2857" y="3465"/>
                    </a:cubicBezTo>
                    <a:cubicBezTo>
                      <a:pt x="2853" y="3469"/>
                      <a:pt x="2841" y="3474"/>
                      <a:pt x="2822" y="3479"/>
                    </a:cubicBezTo>
                    <a:lnTo>
                      <a:pt x="2794" y="3486"/>
                    </a:lnTo>
                    <a:lnTo>
                      <a:pt x="2787" y="3627"/>
                    </a:lnTo>
                    <a:cubicBezTo>
                      <a:pt x="2782" y="3721"/>
                      <a:pt x="2789" y="3806"/>
                      <a:pt x="2808" y="3881"/>
                    </a:cubicBezTo>
                    <a:lnTo>
                      <a:pt x="2836" y="3994"/>
                    </a:lnTo>
                    <a:lnTo>
                      <a:pt x="2886" y="4029"/>
                    </a:lnTo>
                    <a:cubicBezTo>
                      <a:pt x="2919" y="4053"/>
                      <a:pt x="2977" y="4074"/>
                      <a:pt x="3062" y="4093"/>
                    </a:cubicBezTo>
                    <a:cubicBezTo>
                      <a:pt x="3147" y="4111"/>
                      <a:pt x="3191" y="4123"/>
                      <a:pt x="3196" y="4128"/>
                    </a:cubicBezTo>
                    <a:cubicBezTo>
                      <a:pt x="3201" y="4133"/>
                      <a:pt x="3210" y="4151"/>
                      <a:pt x="3224" y="4184"/>
                    </a:cubicBezTo>
                    <a:lnTo>
                      <a:pt x="3245" y="4234"/>
                    </a:lnTo>
                    <a:lnTo>
                      <a:pt x="3217" y="4276"/>
                    </a:lnTo>
                    <a:cubicBezTo>
                      <a:pt x="3198" y="4304"/>
                      <a:pt x="3142" y="4323"/>
                      <a:pt x="3048" y="4332"/>
                    </a:cubicBezTo>
                    <a:cubicBezTo>
                      <a:pt x="2954" y="4342"/>
                      <a:pt x="2888" y="4332"/>
                      <a:pt x="2850" y="4304"/>
                    </a:cubicBezTo>
                    <a:cubicBezTo>
                      <a:pt x="2813" y="4276"/>
                      <a:pt x="2763" y="4236"/>
                      <a:pt x="2702" y="4184"/>
                    </a:cubicBezTo>
                    <a:cubicBezTo>
                      <a:pt x="2641" y="4133"/>
                      <a:pt x="2592" y="4022"/>
                      <a:pt x="2554" y="3853"/>
                    </a:cubicBezTo>
                    <a:cubicBezTo>
                      <a:pt x="2516" y="3683"/>
                      <a:pt x="2493" y="3575"/>
                      <a:pt x="2483" y="3528"/>
                    </a:cubicBezTo>
                    <a:cubicBezTo>
                      <a:pt x="2474" y="3481"/>
                      <a:pt x="2483" y="3439"/>
                      <a:pt x="2512" y="3401"/>
                    </a:cubicBezTo>
                    <a:cubicBezTo>
                      <a:pt x="2540" y="3363"/>
                      <a:pt x="2556" y="3312"/>
                      <a:pt x="2561" y="3246"/>
                    </a:cubicBezTo>
                    <a:lnTo>
                      <a:pt x="2568" y="3147"/>
                    </a:lnTo>
                    <a:lnTo>
                      <a:pt x="2498" y="3168"/>
                    </a:lnTo>
                    <a:cubicBezTo>
                      <a:pt x="2451" y="3182"/>
                      <a:pt x="2378" y="3244"/>
                      <a:pt x="2279" y="3352"/>
                    </a:cubicBezTo>
                    <a:cubicBezTo>
                      <a:pt x="2180" y="3460"/>
                      <a:pt x="2121" y="3542"/>
                      <a:pt x="2102" y="3599"/>
                    </a:cubicBezTo>
                    <a:cubicBezTo>
                      <a:pt x="2084" y="3655"/>
                      <a:pt x="2070" y="3740"/>
                      <a:pt x="2060" y="3853"/>
                    </a:cubicBezTo>
                    <a:cubicBezTo>
                      <a:pt x="2051" y="3966"/>
                      <a:pt x="2051" y="4036"/>
                      <a:pt x="2060" y="4064"/>
                    </a:cubicBezTo>
                    <a:lnTo>
                      <a:pt x="2074" y="4107"/>
                    </a:lnTo>
                    <a:lnTo>
                      <a:pt x="2081" y="4114"/>
                    </a:lnTo>
                    <a:cubicBezTo>
                      <a:pt x="2086" y="4118"/>
                      <a:pt x="2135" y="4130"/>
                      <a:pt x="2229" y="4149"/>
                    </a:cubicBezTo>
                    <a:cubicBezTo>
                      <a:pt x="2324" y="4168"/>
                      <a:pt x="2373" y="4180"/>
                      <a:pt x="2378" y="4184"/>
                    </a:cubicBezTo>
                    <a:cubicBezTo>
                      <a:pt x="2382" y="4189"/>
                      <a:pt x="2389" y="4205"/>
                      <a:pt x="2399" y="4234"/>
                    </a:cubicBezTo>
                    <a:lnTo>
                      <a:pt x="2413" y="4276"/>
                    </a:lnTo>
                    <a:lnTo>
                      <a:pt x="2399" y="4361"/>
                    </a:lnTo>
                    <a:cubicBezTo>
                      <a:pt x="2389" y="4417"/>
                      <a:pt x="2382" y="4448"/>
                      <a:pt x="2378" y="4452"/>
                    </a:cubicBezTo>
                    <a:cubicBezTo>
                      <a:pt x="2373" y="4457"/>
                      <a:pt x="2347" y="4464"/>
                      <a:pt x="2300" y="4474"/>
                    </a:cubicBezTo>
                    <a:cubicBezTo>
                      <a:pt x="2253" y="4483"/>
                      <a:pt x="2187" y="4485"/>
                      <a:pt x="2102" y="4481"/>
                    </a:cubicBezTo>
                    <a:lnTo>
                      <a:pt x="1975" y="4474"/>
                    </a:lnTo>
                    <a:lnTo>
                      <a:pt x="1954" y="4431"/>
                    </a:lnTo>
                    <a:cubicBezTo>
                      <a:pt x="1940" y="4403"/>
                      <a:pt x="1919" y="4370"/>
                      <a:pt x="1891" y="4332"/>
                    </a:cubicBezTo>
                    <a:cubicBezTo>
                      <a:pt x="1863" y="4295"/>
                      <a:pt x="1839" y="4210"/>
                      <a:pt x="1820" y="4078"/>
                    </a:cubicBezTo>
                    <a:cubicBezTo>
                      <a:pt x="1801" y="3947"/>
                      <a:pt x="1778" y="3843"/>
                      <a:pt x="1750" y="3768"/>
                    </a:cubicBezTo>
                    <a:cubicBezTo>
                      <a:pt x="1721" y="3693"/>
                      <a:pt x="1707" y="3627"/>
                      <a:pt x="1707" y="3570"/>
                    </a:cubicBezTo>
                    <a:lnTo>
                      <a:pt x="1707" y="3486"/>
                    </a:lnTo>
                    <a:lnTo>
                      <a:pt x="1714" y="3458"/>
                    </a:lnTo>
                    <a:cubicBezTo>
                      <a:pt x="1719" y="3439"/>
                      <a:pt x="1736" y="3422"/>
                      <a:pt x="1764" y="3408"/>
                    </a:cubicBezTo>
                    <a:cubicBezTo>
                      <a:pt x="1792" y="3394"/>
                      <a:pt x="1818" y="3371"/>
                      <a:pt x="1841" y="3338"/>
                    </a:cubicBezTo>
                    <a:cubicBezTo>
                      <a:pt x="1865" y="3305"/>
                      <a:pt x="1891" y="3255"/>
                      <a:pt x="1919" y="3189"/>
                    </a:cubicBezTo>
                    <a:cubicBezTo>
                      <a:pt x="1947" y="3124"/>
                      <a:pt x="1957" y="3034"/>
                      <a:pt x="1947" y="2921"/>
                    </a:cubicBezTo>
                    <a:cubicBezTo>
                      <a:pt x="1938" y="2808"/>
                      <a:pt x="1912" y="2712"/>
                      <a:pt x="1870" y="2632"/>
                    </a:cubicBezTo>
                    <a:cubicBezTo>
                      <a:pt x="1827" y="2552"/>
                      <a:pt x="1799" y="2500"/>
                      <a:pt x="1785" y="2477"/>
                    </a:cubicBezTo>
                    <a:cubicBezTo>
                      <a:pt x="1771" y="2453"/>
                      <a:pt x="1740" y="2366"/>
                      <a:pt x="1693" y="2216"/>
                    </a:cubicBezTo>
                    <a:cubicBezTo>
                      <a:pt x="1646" y="2065"/>
                      <a:pt x="1627" y="1910"/>
                      <a:pt x="1637" y="1750"/>
                    </a:cubicBezTo>
                    <a:cubicBezTo>
                      <a:pt x="1646" y="1590"/>
                      <a:pt x="1656" y="1501"/>
                      <a:pt x="1665" y="1482"/>
                    </a:cubicBezTo>
                    <a:cubicBezTo>
                      <a:pt x="1674" y="1463"/>
                      <a:pt x="1679" y="1440"/>
                      <a:pt x="1679" y="1411"/>
                    </a:cubicBezTo>
                    <a:lnTo>
                      <a:pt x="1679" y="1369"/>
                    </a:lnTo>
                    <a:lnTo>
                      <a:pt x="1616" y="1320"/>
                    </a:lnTo>
                    <a:cubicBezTo>
                      <a:pt x="1573" y="1287"/>
                      <a:pt x="1529" y="1256"/>
                      <a:pt x="1482" y="1228"/>
                    </a:cubicBezTo>
                    <a:cubicBezTo>
                      <a:pt x="1435" y="1200"/>
                      <a:pt x="1355" y="1162"/>
                      <a:pt x="1242" y="1115"/>
                    </a:cubicBezTo>
                    <a:cubicBezTo>
                      <a:pt x="1129" y="1068"/>
                      <a:pt x="1044" y="1026"/>
                      <a:pt x="988" y="988"/>
                    </a:cubicBezTo>
                    <a:cubicBezTo>
                      <a:pt x="931" y="950"/>
                      <a:pt x="898" y="927"/>
                      <a:pt x="889" y="918"/>
                    </a:cubicBezTo>
                    <a:cubicBezTo>
                      <a:pt x="879" y="908"/>
                      <a:pt x="832" y="885"/>
                      <a:pt x="748" y="847"/>
                    </a:cubicBezTo>
                    <a:cubicBezTo>
                      <a:pt x="663" y="809"/>
                      <a:pt x="574" y="767"/>
                      <a:pt x="480" y="720"/>
                    </a:cubicBezTo>
                    <a:cubicBezTo>
                      <a:pt x="386" y="673"/>
                      <a:pt x="282" y="633"/>
                      <a:pt x="169" y="600"/>
                    </a:cubicBezTo>
                    <a:cubicBezTo>
                      <a:pt x="56" y="567"/>
                      <a:pt x="0" y="537"/>
                      <a:pt x="0" y="508"/>
                    </a:cubicBezTo>
                    <a:lnTo>
                      <a:pt x="0" y="466"/>
                    </a:lnTo>
                    <a:lnTo>
                      <a:pt x="155" y="459"/>
                    </a:lnTo>
                    <a:cubicBezTo>
                      <a:pt x="259" y="454"/>
                      <a:pt x="367" y="466"/>
                      <a:pt x="480" y="494"/>
                    </a:cubicBezTo>
                    <a:cubicBezTo>
                      <a:pt x="593" y="522"/>
                      <a:pt x="696" y="555"/>
                      <a:pt x="790" y="593"/>
                    </a:cubicBezTo>
                    <a:cubicBezTo>
                      <a:pt x="884" y="631"/>
                      <a:pt x="974" y="668"/>
                      <a:pt x="1058" y="706"/>
                    </a:cubicBezTo>
                    <a:cubicBezTo>
                      <a:pt x="1143" y="744"/>
                      <a:pt x="1209" y="776"/>
                      <a:pt x="1256" y="805"/>
                    </a:cubicBezTo>
                    <a:cubicBezTo>
                      <a:pt x="1303" y="833"/>
                      <a:pt x="1383" y="871"/>
                      <a:pt x="1496" y="918"/>
                    </a:cubicBezTo>
                    <a:cubicBezTo>
                      <a:pt x="1609" y="965"/>
                      <a:pt x="1740" y="993"/>
                      <a:pt x="1891" y="1002"/>
                    </a:cubicBezTo>
                    <a:cubicBezTo>
                      <a:pt x="2041" y="1012"/>
                      <a:pt x="2422" y="1021"/>
                      <a:pt x="3034" y="1030"/>
                    </a:cubicBezTo>
                    <a:cubicBezTo>
                      <a:pt x="3645" y="1040"/>
                      <a:pt x="4007" y="1030"/>
                      <a:pt x="4120" y="1002"/>
                    </a:cubicBezTo>
                    <a:cubicBezTo>
                      <a:pt x="4233" y="974"/>
                      <a:pt x="4332" y="941"/>
                      <a:pt x="4417" y="903"/>
                    </a:cubicBezTo>
                    <a:lnTo>
                      <a:pt x="4544" y="847"/>
                    </a:lnTo>
                    <a:lnTo>
                      <a:pt x="4593" y="784"/>
                    </a:lnTo>
                    <a:cubicBezTo>
                      <a:pt x="4626" y="741"/>
                      <a:pt x="4657" y="692"/>
                      <a:pt x="4685" y="635"/>
                    </a:cubicBezTo>
                    <a:cubicBezTo>
                      <a:pt x="4713" y="579"/>
                      <a:pt x="4741" y="532"/>
                      <a:pt x="4769" y="494"/>
                    </a:cubicBezTo>
                    <a:cubicBezTo>
                      <a:pt x="4798" y="457"/>
                      <a:pt x="4835" y="400"/>
                      <a:pt x="4882" y="325"/>
                    </a:cubicBezTo>
                    <a:cubicBezTo>
                      <a:pt x="4929" y="250"/>
                      <a:pt x="4969" y="184"/>
                      <a:pt x="5002" y="127"/>
                    </a:cubicBezTo>
                    <a:lnTo>
                      <a:pt x="5052" y="43"/>
                    </a:lnTo>
                    <a:lnTo>
                      <a:pt x="5108" y="22"/>
                    </a:lnTo>
                    <a:cubicBezTo>
                      <a:pt x="5146" y="7"/>
                      <a:pt x="5202" y="0"/>
                      <a:pt x="5277" y="0"/>
                    </a:cubicBezTo>
                    <a:close/>
                    <a:moveTo>
                      <a:pt x="4628" y="3599"/>
                    </a:moveTo>
                    <a:cubicBezTo>
                      <a:pt x="4657" y="3542"/>
                      <a:pt x="4675" y="3519"/>
                      <a:pt x="4685" y="3528"/>
                    </a:cubicBezTo>
                    <a:cubicBezTo>
                      <a:pt x="4694" y="3538"/>
                      <a:pt x="4697" y="3615"/>
                      <a:pt x="4692" y="3761"/>
                    </a:cubicBezTo>
                    <a:cubicBezTo>
                      <a:pt x="4687" y="3907"/>
                      <a:pt x="4673" y="3977"/>
                      <a:pt x="4650" y="3973"/>
                    </a:cubicBezTo>
                    <a:cubicBezTo>
                      <a:pt x="4626" y="3968"/>
                      <a:pt x="4610" y="3956"/>
                      <a:pt x="4600" y="3937"/>
                    </a:cubicBezTo>
                    <a:cubicBezTo>
                      <a:pt x="4591" y="3919"/>
                      <a:pt x="4586" y="3871"/>
                      <a:pt x="4586" y="3796"/>
                    </a:cubicBezTo>
                    <a:lnTo>
                      <a:pt x="4586" y="3683"/>
                    </a:lnTo>
                    <a:lnTo>
                      <a:pt x="4628" y="3599"/>
                    </a:lnTo>
                    <a:close/>
                  </a:path>
                </a:pathLst>
              </a:custGeom>
              <a:no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26"/>
              <p:cNvSpPr/>
              <p:nvPr/>
            </p:nvSpPr>
            <p:spPr>
              <a:xfrm>
                <a:off x="3798449" y="5023486"/>
                <a:ext cx="270632" cy="235392"/>
              </a:xfrm>
              <a:custGeom>
                <a:avLst/>
                <a:gdLst>
                  <a:gd name="connsiteX0" fmla="*/ 0 w 276225"/>
                  <a:gd name="connsiteY0" fmla="*/ 177165 h 226695"/>
                  <a:gd name="connsiteX1" fmla="*/ 251460 w 276225"/>
                  <a:gd name="connsiteY1" fmla="*/ 0 h 226695"/>
                  <a:gd name="connsiteX2" fmla="*/ 276225 w 276225"/>
                  <a:gd name="connsiteY2" fmla="*/ 49530 h 226695"/>
                  <a:gd name="connsiteX3" fmla="*/ 20955 w 276225"/>
                  <a:gd name="connsiteY3" fmla="*/ 226695 h 226695"/>
                  <a:gd name="connsiteX4" fmla="*/ 0 w 276225"/>
                  <a:gd name="connsiteY4" fmla="*/ 177165 h 22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26695">
                    <a:moveTo>
                      <a:pt x="0" y="177165"/>
                    </a:moveTo>
                    <a:lnTo>
                      <a:pt x="251460" y="0"/>
                    </a:lnTo>
                    <a:lnTo>
                      <a:pt x="276225" y="49530"/>
                    </a:lnTo>
                    <a:lnTo>
                      <a:pt x="20955" y="226695"/>
                    </a:lnTo>
                    <a:lnTo>
                      <a:pt x="0" y="177165"/>
                    </a:ln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p:cNvGrpSpPr/>
              <p:nvPr/>
            </p:nvGrpSpPr>
            <p:grpSpPr>
              <a:xfrm>
                <a:off x="4057650" y="3789045"/>
                <a:ext cx="1685925" cy="1257300"/>
                <a:chOff x="4057650" y="3789045"/>
                <a:chExt cx="1685925" cy="1257300"/>
              </a:xfrm>
            </p:grpSpPr>
            <p:cxnSp>
              <p:nvCxnSpPr>
                <p:cNvPr id="129" name="Straight Connector 128"/>
                <p:cNvCxnSpPr/>
                <p:nvPr/>
              </p:nvCxnSpPr>
              <p:spPr>
                <a:xfrm flipV="1">
                  <a:off x="4057650" y="3827146"/>
                  <a:ext cx="1506855" cy="1219199"/>
                </a:xfrm>
                <a:prstGeom prst="line">
                  <a:avLst/>
                </a:prstGeom>
                <a:ln w="28575">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sp>
              <p:nvSpPr>
                <p:cNvPr id="131" name="Freeform 130"/>
                <p:cNvSpPr/>
                <p:nvPr/>
              </p:nvSpPr>
              <p:spPr>
                <a:xfrm>
                  <a:off x="5560695" y="3789045"/>
                  <a:ext cx="182880" cy="44463"/>
                </a:xfrm>
                <a:custGeom>
                  <a:avLst/>
                  <a:gdLst>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44463"/>
                    <a:gd name="connsiteX1" fmla="*/ 182880 w 182880"/>
                    <a:gd name="connsiteY1" fmla="*/ 0 h 44463"/>
                    <a:gd name="connsiteX2" fmla="*/ 182880 w 182880"/>
                    <a:gd name="connsiteY2" fmla="*/ 0 h 44463"/>
                  </a:gdLst>
                  <a:ahLst/>
                  <a:cxnLst>
                    <a:cxn ang="0">
                      <a:pos x="connsiteX0" y="connsiteY0"/>
                    </a:cxn>
                    <a:cxn ang="0">
                      <a:pos x="connsiteX1" y="connsiteY1"/>
                    </a:cxn>
                    <a:cxn ang="0">
                      <a:pos x="connsiteX2" y="connsiteY2"/>
                    </a:cxn>
                  </a:cxnLst>
                  <a:rect l="l" t="t" r="r" b="b"/>
                  <a:pathLst>
                    <a:path w="182880" h="44463">
                      <a:moveTo>
                        <a:pt x="0" y="38100"/>
                      </a:moveTo>
                      <a:cubicBezTo>
                        <a:pt x="60960" y="48260"/>
                        <a:pt x="121920" y="52705"/>
                        <a:pt x="182880" y="0"/>
                      </a:cubicBezTo>
                      <a:lnTo>
                        <a:pt x="182880" y="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2" name="Tagg"/>
            <p:cNvGrpSpPr/>
            <p:nvPr/>
          </p:nvGrpSpPr>
          <p:grpSpPr>
            <a:xfrm>
              <a:off x="463269" y="5549581"/>
              <a:ext cx="2391018" cy="522766"/>
              <a:chOff x="463269" y="5549581"/>
              <a:chExt cx="2391018" cy="522766"/>
            </a:xfrm>
          </p:grpSpPr>
          <p:pic>
            <p:nvPicPr>
              <p:cNvPr id="120" name="Picture 119">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26937" y="5549581"/>
                <a:ext cx="1027350" cy="522766"/>
              </a:xfrm>
              <a:prstGeom prst="rect">
                <a:avLst/>
              </a:prstGeom>
            </p:spPr>
          </p:pic>
          <p:pic>
            <p:nvPicPr>
              <p:cNvPr id="121" name="Picture 120">
                <a:hlinkClick r:id="rId8"/>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269" y="5615961"/>
                <a:ext cx="1265925" cy="390007"/>
              </a:xfrm>
              <a:prstGeom prst="rect">
                <a:avLst/>
              </a:prstGeom>
            </p:spPr>
          </p:pic>
        </p:grpSp>
        <p:cxnSp>
          <p:nvCxnSpPr>
            <p:cNvPr id="135" name="Straight Connector 134"/>
            <p:cNvCxnSpPr/>
            <p:nvPr/>
          </p:nvCxnSpPr>
          <p:spPr>
            <a:xfrm flipH="1">
              <a:off x="2984500" y="5280660"/>
              <a:ext cx="734060" cy="500089"/>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3" name="Memoto"/>
          <p:cNvGrpSpPr/>
          <p:nvPr/>
        </p:nvGrpSpPr>
        <p:grpSpPr>
          <a:xfrm>
            <a:off x="590020" y="1500601"/>
            <a:ext cx="5302780" cy="814462"/>
            <a:chOff x="590020" y="1500601"/>
            <a:chExt cx="5302780" cy="814462"/>
          </a:xfrm>
        </p:grpSpPr>
        <p:cxnSp>
          <p:nvCxnSpPr>
            <p:cNvPr id="41" name="Straight Connector 40"/>
            <p:cNvCxnSpPr/>
            <p:nvPr/>
          </p:nvCxnSpPr>
          <p:spPr>
            <a:xfrm flipH="1">
              <a:off x="2984500" y="1883727"/>
              <a:ext cx="29083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Memoto"/>
            <p:cNvGrpSpPr/>
            <p:nvPr/>
          </p:nvGrpSpPr>
          <p:grpSpPr>
            <a:xfrm>
              <a:off x="590020" y="1500601"/>
              <a:ext cx="2264267" cy="814462"/>
              <a:chOff x="161434" y="1589649"/>
              <a:chExt cx="2264267" cy="814462"/>
            </a:xfrm>
          </p:grpSpPr>
          <p:pic>
            <p:nvPicPr>
              <p:cNvPr id="38" name="Picture 37">
                <a:hlinkClick r:id="rId11"/>
              </p:cNvPr>
              <p:cNvPicPr>
                <a:picLocks noChangeAspect="1"/>
              </p:cNvPicPr>
              <p:nvPr/>
            </p:nvPicPr>
            <p:blipFill rotWithShape="1">
              <a:blip r:embed="rId12">
                <a:extLst>
                  <a:ext uri="{28A0092B-C50C-407E-A947-70E740481C1C}">
                    <a14:useLocalDpi xmlns:a14="http://schemas.microsoft.com/office/drawing/2010/main" val="0"/>
                  </a:ext>
                </a:extLst>
              </a:blip>
              <a:srcRect l="19928" t="2987" r="22636" b="41629"/>
              <a:stretch/>
            </p:blipFill>
            <p:spPr>
              <a:xfrm>
                <a:off x="1581073" y="1589649"/>
                <a:ext cx="844628" cy="814462"/>
              </a:xfrm>
              <a:prstGeom prst="rect">
                <a:avLst/>
              </a:prstGeom>
            </p:spPr>
          </p:pic>
          <p:pic>
            <p:nvPicPr>
              <p:cNvPr id="43" name="Picture 42">
                <a:hlinkClick r:id="rId11"/>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1434" y="1891181"/>
                <a:ext cx="1378683" cy="211398"/>
              </a:xfrm>
              <a:prstGeom prst="rect">
                <a:avLst/>
              </a:prstGeom>
            </p:spPr>
          </p:pic>
        </p:grpSp>
      </p:grpSp>
      <p:grpSp>
        <p:nvGrpSpPr>
          <p:cNvPr id="112" name="Fitbit"/>
          <p:cNvGrpSpPr/>
          <p:nvPr/>
        </p:nvGrpSpPr>
        <p:grpSpPr>
          <a:xfrm>
            <a:off x="6284504" y="2067323"/>
            <a:ext cx="4990050" cy="1239470"/>
            <a:chOff x="6284504" y="2067323"/>
            <a:chExt cx="4990050" cy="1239470"/>
          </a:xfrm>
        </p:grpSpPr>
        <p:grpSp>
          <p:nvGrpSpPr>
            <p:cNvPr id="37" name="Fitbit"/>
            <p:cNvGrpSpPr/>
            <p:nvPr/>
          </p:nvGrpSpPr>
          <p:grpSpPr>
            <a:xfrm>
              <a:off x="9503983" y="2067323"/>
              <a:ext cx="1770571" cy="1239470"/>
              <a:chOff x="9857536" y="2506280"/>
              <a:chExt cx="1770571" cy="1239470"/>
            </a:xfrm>
          </p:grpSpPr>
          <p:pic>
            <p:nvPicPr>
              <p:cNvPr id="18" name="Picture 17">
                <a:hlinkClick r:id="rId14"/>
              </p:cNvPr>
              <p:cNvPicPr>
                <a:picLocks noChangeAspect="1"/>
              </p:cNvPicPr>
              <p:nvPr/>
            </p:nvPicPr>
            <p:blipFill rotWithShape="1">
              <a:blip r:embed="rId15" cstate="print">
                <a:extLst>
                  <a:ext uri="{28A0092B-C50C-407E-A947-70E740481C1C}">
                    <a14:useLocalDpi xmlns:a14="http://schemas.microsoft.com/office/drawing/2010/main" val="0"/>
                  </a:ext>
                </a:extLst>
              </a:blip>
              <a:srcRect l="30620" t="15665" r="29544" b="5447"/>
              <a:stretch/>
            </p:blipFill>
            <p:spPr>
              <a:xfrm>
                <a:off x="9857536" y="2506280"/>
                <a:ext cx="418976" cy="1239470"/>
              </a:xfrm>
              <a:prstGeom prst="rect">
                <a:avLst/>
              </a:prstGeom>
            </p:spPr>
          </p:pic>
          <p:pic>
            <p:nvPicPr>
              <p:cNvPr id="21" name="Picture 20">
                <a:hlinkClick r:id="rId14"/>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405253" y="2751040"/>
                <a:ext cx="1222854" cy="402443"/>
              </a:xfrm>
              <a:prstGeom prst="rect">
                <a:avLst/>
              </a:prstGeom>
            </p:spPr>
          </p:pic>
        </p:grpSp>
        <p:cxnSp>
          <p:nvCxnSpPr>
            <p:cNvPr id="62" name="Straight Connector 61"/>
            <p:cNvCxnSpPr/>
            <p:nvPr/>
          </p:nvCxnSpPr>
          <p:spPr>
            <a:xfrm flipH="1">
              <a:off x="6284504" y="2579723"/>
              <a:ext cx="30607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1" name="Garmin"/>
          <p:cNvGrpSpPr/>
          <p:nvPr/>
        </p:nvGrpSpPr>
        <p:grpSpPr>
          <a:xfrm>
            <a:off x="6784158" y="3267828"/>
            <a:ext cx="4458068" cy="891927"/>
            <a:chOff x="6784158" y="3267828"/>
            <a:chExt cx="4458068" cy="891927"/>
          </a:xfrm>
        </p:grpSpPr>
        <p:cxnSp>
          <p:nvCxnSpPr>
            <p:cNvPr id="63" name="Straight Connector 62"/>
            <p:cNvCxnSpPr/>
            <p:nvPr/>
          </p:nvCxnSpPr>
          <p:spPr>
            <a:xfrm flipH="1">
              <a:off x="6784158" y="3672523"/>
              <a:ext cx="2473523"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7" name="Garmin Forerunner"/>
            <p:cNvGrpSpPr/>
            <p:nvPr/>
          </p:nvGrpSpPr>
          <p:grpSpPr>
            <a:xfrm>
              <a:off x="9401129" y="3267828"/>
              <a:ext cx="1841097" cy="891927"/>
              <a:chOff x="9368575" y="4596631"/>
              <a:chExt cx="1841097" cy="891927"/>
            </a:xfrm>
          </p:grpSpPr>
          <p:pic>
            <p:nvPicPr>
              <p:cNvPr id="65" name="Picture 64">
                <a:hlinkClick r:id="rId17"/>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368575" y="4596631"/>
                <a:ext cx="706496" cy="891927"/>
              </a:xfrm>
              <a:prstGeom prst="rect">
                <a:avLst/>
              </a:prstGeom>
            </p:spPr>
          </p:pic>
          <p:pic>
            <p:nvPicPr>
              <p:cNvPr id="66" name="Picture 65">
                <a:hlinkClick r:id="rId17"/>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116581" y="4894108"/>
                <a:ext cx="1093091" cy="296972"/>
              </a:xfrm>
              <a:prstGeom prst="rect">
                <a:avLst/>
              </a:prstGeom>
            </p:spPr>
          </p:pic>
        </p:grpSp>
      </p:grpSp>
      <p:grpSp>
        <p:nvGrpSpPr>
          <p:cNvPr id="114" name="HAPIFork"/>
          <p:cNvGrpSpPr/>
          <p:nvPr/>
        </p:nvGrpSpPr>
        <p:grpSpPr>
          <a:xfrm>
            <a:off x="415887" y="2992801"/>
            <a:ext cx="5868617" cy="813389"/>
            <a:chOff x="415887" y="2992801"/>
            <a:chExt cx="5868617" cy="813389"/>
          </a:xfrm>
        </p:grpSpPr>
        <p:grpSp>
          <p:nvGrpSpPr>
            <p:cNvPr id="71" name="HAPIfork"/>
            <p:cNvGrpSpPr/>
            <p:nvPr/>
          </p:nvGrpSpPr>
          <p:grpSpPr>
            <a:xfrm>
              <a:off x="415887" y="2992801"/>
              <a:ext cx="2438400" cy="813389"/>
              <a:chOff x="415887" y="2992801"/>
              <a:chExt cx="2438400" cy="813389"/>
            </a:xfrm>
          </p:grpSpPr>
          <p:pic>
            <p:nvPicPr>
              <p:cNvPr id="69" name="Picture 68">
                <a:hlinkClick r:id="rId20"/>
              </p:cNvPr>
              <p:cNvPicPr>
                <a:picLocks noChangeAspect="1"/>
              </p:cNvPicPr>
              <p:nvPr/>
            </p:nvPicPr>
            <p:blipFill rotWithShape="1">
              <a:blip r:embed="rId21" cstate="print">
                <a:extLst>
                  <a:ext uri="{28A0092B-C50C-407E-A947-70E740481C1C}">
                    <a14:useLocalDpi xmlns:a14="http://schemas.microsoft.com/office/drawing/2010/main" val="0"/>
                  </a:ext>
                </a:extLst>
              </a:blip>
              <a:srcRect l="44584" r="44583"/>
              <a:stretch/>
            </p:blipFill>
            <p:spPr>
              <a:xfrm rot="16200000" flipH="1">
                <a:off x="1458980" y="1949708"/>
                <a:ext cx="352213" cy="2438400"/>
              </a:xfrm>
              <a:prstGeom prst="rect">
                <a:avLst/>
              </a:prstGeom>
            </p:spPr>
          </p:pic>
          <p:pic>
            <p:nvPicPr>
              <p:cNvPr id="70" name="Picture 69">
                <a:hlinkClick r:id="rId20"/>
              </p:cNvPr>
              <p:cNvPicPr>
                <a:picLocks noChangeAspect="1"/>
              </p:cNvPicPr>
              <p:nvPr/>
            </p:nvPicPr>
            <p:blipFill rotWithShape="1">
              <a:blip r:embed="rId22" cstate="print">
                <a:extLst>
                  <a:ext uri="{28A0092B-C50C-407E-A947-70E740481C1C}">
                    <a14:useLocalDpi xmlns:a14="http://schemas.microsoft.com/office/drawing/2010/main" val="0"/>
                  </a:ext>
                </a:extLst>
              </a:blip>
              <a:srcRect t="34093" b="32647"/>
              <a:stretch/>
            </p:blipFill>
            <p:spPr>
              <a:xfrm>
                <a:off x="445239" y="3356606"/>
                <a:ext cx="2345653" cy="449584"/>
              </a:xfrm>
              <a:prstGeom prst="rect">
                <a:avLst/>
              </a:prstGeom>
            </p:spPr>
          </p:pic>
        </p:grpSp>
        <p:cxnSp>
          <p:nvCxnSpPr>
            <p:cNvPr id="72" name="Straight Connector 71"/>
            <p:cNvCxnSpPr/>
            <p:nvPr/>
          </p:nvCxnSpPr>
          <p:spPr>
            <a:xfrm flipH="1">
              <a:off x="2984500" y="3145367"/>
              <a:ext cx="3300004"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0" name="Tile"/>
          <p:cNvGrpSpPr/>
          <p:nvPr/>
        </p:nvGrpSpPr>
        <p:grpSpPr>
          <a:xfrm>
            <a:off x="6714739" y="4130340"/>
            <a:ext cx="4196038" cy="974938"/>
            <a:chOff x="6714739" y="4130340"/>
            <a:chExt cx="4196038" cy="974938"/>
          </a:xfrm>
        </p:grpSpPr>
        <p:grpSp>
          <p:nvGrpSpPr>
            <p:cNvPr id="102" name="Tile"/>
            <p:cNvGrpSpPr/>
            <p:nvPr/>
          </p:nvGrpSpPr>
          <p:grpSpPr>
            <a:xfrm>
              <a:off x="9398354" y="4320835"/>
              <a:ext cx="1512423" cy="784443"/>
              <a:chOff x="9398354" y="4320835"/>
              <a:chExt cx="1512423" cy="784443"/>
            </a:xfrm>
          </p:grpSpPr>
          <p:pic>
            <p:nvPicPr>
              <p:cNvPr id="100" name="Picture 99">
                <a:hlinkClick r:id="rId23"/>
              </p:cNvPr>
              <p:cNvPicPr>
                <a:picLocks noChangeAspect="1"/>
              </p:cNvPicPr>
              <p:nvPr/>
            </p:nvPicPr>
            <p:blipFill>
              <a:blip r:embed="rId24"/>
              <a:stretch>
                <a:fillRect/>
              </a:stretch>
            </p:blipFill>
            <p:spPr>
              <a:xfrm>
                <a:off x="9398354" y="4320835"/>
                <a:ext cx="708852" cy="784443"/>
              </a:xfrm>
              <a:prstGeom prst="rect">
                <a:avLst/>
              </a:prstGeom>
            </p:spPr>
          </p:pic>
          <p:pic>
            <p:nvPicPr>
              <p:cNvPr id="101" name="Picture 100">
                <a:hlinkClick r:id="rId23"/>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415477" y="4465406"/>
                <a:ext cx="495300" cy="495300"/>
              </a:xfrm>
              <a:prstGeom prst="rect">
                <a:avLst/>
              </a:prstGeom>
            </p:spPr>
          </p:pic>
        </p:grpSp>
        <p:grpSp>
          <p:nvGrpSpPr>
            <p:cNvPr id="107" name="Group 106"/>
            <p:cNvGrpSpPr/>
            <p:nvPr/>
          </p:nvGrpSpPr>
          <p:grpSpPr>
            <a:xfrm>
              <a:off x="6875225" y="4211472"/>
              <a:ext cx="2382457" cy="549334"/>
              <a:chOff x="6875225" y="4211472"/>
              <a:chExt cx="2382457" cy="549334"/>
            </a:xfrm>
          </p:grpSpPr>
          <p:cxnSp>
            <p:nvCxnSpPr>
              <p:cNvPr id="103" name="Straight Connector 102"/>
              <p:cNvCxnSpPr/>
              <p:nvPr/>
            </p:nvCxnSpPr>
            <p:spPr>
              <a:xfrm flipH="1">
                <a:off x="7814854" y="4760806"/>
                <a:ext cx="144282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endCxn id="108" idx="6"/>
              </p:cNvCxnSpPr>
              <p:nvPr/>
            </p:nvCxnSpPr>
            <p:spPr>
              <a:xfrm flipH="1" flipV="1">
                <a:off x="6875225" y="4211472"/>
                <a:ext cx="980616" cy="54933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8" name="Freeform 107"/>
            <p:cNvSpPr/>
            <p:nvPr/>
          </p:nvSpPr>
          <p:spPr>
            <a:xfrm rot="73710">
              <a:off x="6714739" y="4130340"/>
              <a:ext cx="158823" cy="315677"/>
            </a:xfrm>
            <a:custGeom>
              <a:avLst/>
              <a:gdLst>
                <a:gd name="connsiteX0" fmla="*/ 635876 w 1271752"/>
                <a:gd name="connsiteY0" fmla="*/ 115615 h 2527740"/>
                <a:gd name="connsiteX1" fmla="*/ 462456 w 1271752"/>
                <a:gd name="connsiteY1" fmla="*/ 289035 h 2527740"/>
                <a:gd name="connsiteX2" fmla="*/ 635876 w 1271752"/>
                <a:gd name="connsiteY2" fmla="*/ 462455 h 2527740"/>
                <a:gd name="connsiteX3" fmla="*/ 809296 w 1271752"/>
                <a:gd name="connsiteY3" fmla="*/ 289035 h 2527740"/>
                <a:gd name="connsiteX4" fmla="*/ 635876 w 1271752"/>
                <a:gd name="connsiteY4" fmla="*/ 115615 h 2527740"/>
                <a:gd name="connsiteX5" fmla="*/ 635876 w 1271752"/>
                <a:gd name="connsiteY5" fmla="*/ 0 h 2527740"/>
                <a:gd name="connsiteX6" fmla="*/ 1271752 w 1271752"/>
                <a:gd name="connsiteY6" fmla="*/ 635876 h 2527740"/>
                <a:gd name="connsiteX7" fmla="*/ 991401 w 1271752"/>
                <a:gd name="connsiteY7" fmla="*/ 1163155 h 2527740"/>
                <a:gd name="connsiteX8" fmla="*/ 949876 w 1271752"/>
                <a:gd name="connsiteY8" fmla="*/ 1185693 h 2527740"/>
                <a:gd name="connsiteX9" fmla="*/ 949876 w 1271752"/>
                <a:gd name="connsiteY9" fmla="*/ 2394313 h 2527740"/>
                <a:gd name="connsiteX10" fmla="*/ 503177 w 1271752"/>
                <a:gd name="connsiteY10" fmla="*/ 2527740 h 2527740"/>
                <a:gd name="connsiteX11" fmla="*/ 321877 w 1271752"/>
                <a:gd name="connsiteY11" fmla="*/ 2346440 h 2527740"/>
                <a:gd name="connsiteX12" fmla="*/ 321877 w 1271752"/>
                <a:gd name="connsiteY12" fmla="*/ 2104918 h 2527740"/>
                <a:gd name="connsiteX13" fmla="*/ 546117 w 1271752"/>
                <a:gd name="connsiteY13" fmla="*/ 1974859 h 2527740"/>
                <a:gd name="connsiteX14" fmla="*/ 321877 w 1271752"/>
                <a:gd name="connsiteY14" fmla="*/ 1844800 h 2527740"/>
                <a:gd name="connsiteX15" fmla="*/ 321877 w 1271752"/>
                <a:gd name="connsiteY15" fmla="*/ 1545808 h 2527740"/>
                <a:gd name="connsiteX16" fmla="*/ 546117 w 1271752"/>
                <a:gd name="connsiteY16" fmla="*/ 1415749 h 2527740"/>
                <a:gd name="connsiteX17" fmla="*/ 321877 w 1271752"/>
                <a:gd name="connsiteY17" fmla="*/ 1285690 h 2527740"/>
                <a:gd name="connsiteX18" fmla="*/ 321877 w 1271752"/>
                <a:gd name="connsiteY18" fmla="*/ 1185694 h 2527740"/>
                <a:gd name="connsiteX19" fmla="*/ 280352 w 1271752"/>
                <a:gd name="connsiteY19" fmla="*/ 1163155 h 2527740"/>
                <a:gd name="connsiteX20" fmla="*/ 0 w 1271752"/>
                <a:gd name="connsiteY20" fmla="*/ 635876 h 2527740"/>
                <a:gd name="connsiteX21" fmla="*/ 635876 w 1271752"/>
                <a:gd name="connsiteY21" fmla="*/ 0 h 252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1752" h="2527740">
                  <a:moveTo>
                    <a:pt x="635876" y="115615"/>
                  </a:moveTo>
                  <a:cubicBezTo>
                    <a:pt x="540099" y="115615"/>
                    <a:pt x="462456" y="193258"/>
                    <a:pt x="462456" y="289035"/>
                  </a:cubicBezTo>
                  <a:cubicBezTo>
                    <a:pt x="462456" y="384812"/>
                    <a:pt x="540099" y="462455"/>
                    <a:pt x="635876" y="462455"/>
                  </a:cubicBezTo>
                  <a:cubicBezTo>
                    <a:pt x="731653" y="462455"/>
                    <a:pt x="809296" y="384812"/>
                    <a:pt x="809296" y="289035"/>
                  </a:cubicBezTo>
                  <a:cubicBezTo>
                    <a:pt x="809296" y="193258"/>
                    <a:pt x="731653" y="115615"/>
                    <a:pt x="635876" y="115615"/>
                  </a:cubicBezTo>
                  <a:close/>
                  <a:moveTo>
                    <a:pt x="635876" y="0"/>
                  </a:moveTo>
                  <a:cubicBezTo>
                    <a:pt x="987061" y="0"/>
                    <a:pt x="1271752" y="284691"/>
                    <a:pt x="1271752" y="635876"/>
                  </a:cubicBezTo>
                  <a:cubicBezTo>
                    <a:pt x="1271752" y="855367"/>
                    <a:pt x="1160545" y="1048883"/>
                    <a:pt x="991401" y="1163155"/>
                  </a:cubicBezTo>
                  <a:lnTo>
                    <a:pt x="949876" y="1185693"/>
                  </a:lnTo>
                  <a:lnTo>
                    <a:pt x="949876" y="2394313"/>
                  </a:lnTo>
                  <a:lnTo>
                    <a:pt x="503177" y="2527740"/>
                  </a:lnTo>
                  <a:lnTo>
                    <a:pt x="321877" y="2346440"/>
                  </a:lnTo>
                  <a:lnTo>
                    <a:pt x="321877" y="2104918"/>
                  </a:lnTo>
                  <a:lnTo>
                    <a:pt x="546117" y="1974859"/>
                  </a:lnTo>
                  <a:lnTo>
                    <a:pt x="321877" y="1844800"/>
                  </a:lnTo>
                  <a:lnTo>
                    <a:pt x="321877" y="1545808"/>
                  </a:lnTo>
                  <a:lnTo>
                    <a:pt x="546117" y="1415749"/>
                  </a:lnTo>
                  <a:lnTo>
                    <a:pt x="321877" y="1285690"/>
                  </a:lnTo>
                  <a:lnTo>
                    <a:pt x="321877" y="1185694"/>
                  </a:lnTo>
                  <a:lnTo>
                    <a:pt x="280352" y="1163155"/>
                  </a:lnTo>
                  <a:cubicBezTo>
                    <a:pt x="111208" y="1048883"/>
                    <a:pt x="0" y="855367"/>
                    <a:pt x="0" y="635876"/>
                  </a:cubicBezTo>
                  <a:cubicBezTo>
                    <a:pt x="0" y="284691"/>
                    <a:pt x="284691" y="0"/>
                    <a:pt x="635876" y="0"/>
                  </a:cubicBez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4194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ineken’s “Smart bottle”</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5050" y="1675448"/>
            <a:ext cx="7062110" cy="3786996"/>
          </a:xfrm>
          <a:prstGeom prst="rect">
            <a:avLst/>
          </a:prstGeom>
        </p:spPr>
      </p:pic>
      <p:sp>
        <p:nvSpPr>
          <p:cNvPr id="9" name="Freeform 8">
            <a:hlinkClick r:id="rId4"/>
          </p:cNvPr>
          <p:cNvSpPr/>
          <p:nvPr/>
        </p:nvSpPr>
        <p:spPr>
          <a:xfrm rot="16200000">
            <a:off x="5897801" y="5675649"/>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3663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lacemeter</a:t>
            </a:r>
            <a:endParaRPr lang="en-US" dirty="0"/>
          </a:p>
        </p:txBody>
      </p:sp>
      <p:pic>
        <p:nvPicPr>
          <p:cNvPr id="3" name="Picture 2"/>
          <p:cNvPicPr>
            <a:picLocks noChangeAspect="1"/>
          </p:cNvPicPr>
          <p:nvPr/>
        </p:nvPicPr>
        <p:blipFill rotWithShape="1">
          <a:blip r:embed="rId2"/>
          <a:srcRect t="12856" b="3751"/>
          <a:stretch/>
        </p:blipFill>
        <p:spPr>
          <a:xfrm>
            <a:off x="2606041" y="1675448"/>
            <a:ext cx="6892008" cy="4329108"/>
          </a:xfrm>
          <a:prstGeom prst="rect">
            <a:avLst/>
          </a:prstGeom>
        </p:spPr>
      </p:pic>
      <p:sp>
        <p:nvSpPr>
          <p:cNvPr id="4" name="Freeform 3">
            <a:hlinkClick r:id="rId3"/>
          </p:cNvPr>
          <p:cNvSpPr/>
          <p:nvPr/>
        </p:nvSpPr>
        <p:spPr>
          <a:xfrm rot="16200000">
            <a:off x="5897801" y="6222290"/>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779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BStateha\AppData\Local\Temp\SNAGHTMLa8d5a37.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0"/>
            <a:ext cx="7620000" cy="6927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176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a better mousetrap</a:t>
            </a:r>
            <a:endParaRPr lang="en-US" dirty="0"/>
          </a:p>
        </p:txBody>
      </p:sp>
      <p:pic>
        <p:nvPicPr>
          <p:cNvPr id="4" name="Content Placeholder 3"/>
          <p:cNvPicPr>
            <a:picLocks noGrp="1" noChangeAspect="1"/>
          </p:cNvPicPr>
          <p:nvPr>
            <p:ph idx="1"/>
          </p:nvPr>
        </p:nvPicPr>
        <p:blipFill>
          <a:blip r:embed="rId2"/>
          <a:stretch>
            <a:fillRect/>
          </a:stretch>
        </p:blipFill>
        <p:spPr>
          <a:xfrm>
            <a:off x="838200" y="1599885"/>
            <a:ext cx="10515600" cy="3390714"/>
          </a:xfrm>
          <a:prstGeom prst="rect">
            <a:avLst/>
          </a:prstGeom>
        </p:spPr>
      </p:pic>
      <p:grpSp>
        <p:nvGrpSpPr>
          <p:cNvPr id="6" name="Trap"/>
          <p:cNvGrpSpPr/>
          <p:nvPr/>
        </p:nvGrpSpPr>
        <p:grpSpPr>
          <a:xfrm>
            <a:off x="3434828" y="5513970"/>
            <a:ext cx="2042729" cy="726629"/>
            <a:chOff x="5301913" y="4815840"/>
            <a:chExt cx="3522049" cy="1252844"/>
          </a:xfrm>
        </p:grpSpPr>
        <p:grpSp>
          <p:nvGrpSpPr>
            <p:cNvPr id="27" name="Group 26"/>
            <p:cNvGrpSpPr/>
            <p:nvPr/>
          </p:nvGrpSpPr>
          <p:grpSpPr>
            <a:xfrm>
              <a:off x="5301913" y="4815840"/>
              <a:ext cx="2090038" cy="1179631"/>
              <a:chOff x="5301913" y="4815840"/>
              <a:chExt cx="2090038" cy="1179631"/>
            </a:xfrm>
          </p:grpSpPr>
          <p:grpSp>
            <p:nvGrpSpPr>
              <p:cNvPr id="31" name="Group 30"/>
              <p:cNvGrpSpPr/>
              <p:nvPr/>
            </p:nvGrpSpPr>
            <p:grpSpPr>
              <a:xfrm>
                <a:off x="5301913" y="4815840"/>
                <a:ext cx="2090038" cy="1179631"/>
                <a:chOff x="4517856" y="3931262"/>
                <a:chExt cx="5994400" cy="3383279"/>
              </a:xfrm>
            </p:grpSpPr>
            <p:sp>
              <p:nvSpPr>
                <p:cNvPr id="34" name="Freeform 33"/>
                <p:cNvSpPr/>
                <p:nvPr/>
              </p:nvSpPr>
              <p:spPr>
                <a:xfrm>
                  <a:off x="4517856" y="3931262"/>
                  <a:ext cx="5994400" cy="3149600"/>
                </a:xfrm>
                <a:custGeom>
                  <a:avLst/>
                  <a:gdLst>
                    <a:gd name="connsiteX0" fmla="*/ 1026160 w 5994400"/>
                    <a:gd name="connsiteY0" fmla="*/ 3149600 h 3149600"/>
                    <a:gd name="connsiteX1" fmla="*/ 5994400 w 5994400"/>
                    <a:gd name="connsiteY1" fmla="*/ 1727200 h 3149600"/>
                    <a:gd name="connsiteX2" fmla="*/ 5994400 w 5994400"/>
                    <a:gd name="connsiteY2" fmla="*/ 1727200 h 3149600"/>
                    <a:gd name="connsiteX3" fmla="*/ 4744720 w 5994400"/>
                    <a:gd name="connsiteY3" fmla="*/ 0 h 3149600"/>
                    <a:gd name="connsiteX4" fmla="*/ 4744720 w 5994400"/>
                    <a:gd name="connsiteY4" fmla="*/ 0 h 3149600"/>
                    <a:gd name="connsiteX5" fmla="*/ 0 w 5994400"/>
                    <a:gd name="connsiteY5" fmla="*/ 1076960 h 3149600"/>
                    <a:gd name="connsiteX6" fmla="*/ 0 w 5994400"/>
                    <a:gd name="connsiteY6" fmla="*/ 1076960 h 3149600"/>
                    <a:gd name="connsiteX7" fmla="*/ 1026160 w 5994400"/>
                    <a:gd name="connsiteY7" fmla="*/ 3149600 h 31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4400" h="3149600">
                      <a:moveTo>
                        <a:pt x="1026160" y="3149600"/>
                      </a:moveTo>
                      <a:lnTo>
                        <a:pt x="5994400" y="1727200"/>
                      </a:lnTo>
                      <a:lnTo>
                        <a:pt x="5994400" y="1727200"/>
                      </a:lnTo>
                      <a:lnTo>
                        <a:pt x="4744720" y="0"/>
                      </a:lnTo>
                      <a:lnTo>
                        <a:pt x="4744720" y="0"/>
                      </a:lnTo>
                      <a:lnTo>
                        <a:pt x="0" y="1076960"/>
                      </a:lnTo>
                      <a:lnTo>
                        <a:pt x="0" y="1076960"/>
                      </a:lnTo>
                      <a:lnTo>
                        <a:pt x="1026160" y="3149600"/>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519761" y="5010126"/>
                  <a:ext cx="5992495" cy="2304415"/>
                </a:xfrm>
                <a:custGeom>
                  <a:avLst/>
                  <a:gdLst>
                    <a:gd name="connsiteX0" fmla="*/ 0 w 6441440"/>
                    <a:gd name="connsiteY0" fmla="*/ 0 h 2275840"/>
                    <a:gd name="connsiteX1" fmla="*/ 10160 w 6441440"/>
                    <a:gd name="connsiteY1" fmla="*/ 254000 h 2275840"/>
                    <a:gd name="connsiteX2" fmla="*/ 1036320 w 6441440"/>
                    <a:gd name="connsiteY2" fmla="*/ 2275840 h 2275840"/>
                    <a:gd name="connsiteX3" fmla="*/ 5994400 w 6441440"/>
                    <a:gd name="connsiteY3" fmla="*/ 802640 h 2275840"/>
                    <a:gd name="connsiteX4" fmla="*/ 5994400 w 6441440"/>
                    <a:gd name="connsiteY4" fmla="*/ 599440 h 2275840"/>
                    <a:gd name="connsiteX5" fmla="*/ 5994400 w 6441440"/>
                    <a:gd name="connsiteY5" fmla="*/ 599440 h 2275840"/>
                    <a:gd name="connsiteX6" fmla="*/ 6441440 w 6441440"/>
                    <a:gd name="connsiteY6" fmla="*/ 304800 h 2275840"/>
                    <a:gd name="connsiteX0" fmla="*/ 0 w 5994400"/>
                    <a:gd name="connsiteY0" fmla="*/ 0 h 2275840"/>
                    <a:gd name="connsiteX1" fmla="*/ 10160 w 5994400"/>
                    <a:gd name="connsiteY1" fmla="*/ 254000 h 2275840"/>
                    <a:gd name="connsiteX2" fmla="*/ 1036320 w 5994400"/>
                    <a:gd name="connsiteY2" fmla="*/ 2275840 h 2275840"/>
                    <a:gd name="connsiteX3" fmla="*/ 5994400 w 5994400"/>
                    <a:gd name="connsiteY3" fmla="*/ 802640 h 2275840"/>
                    <a:gd name="connsiteX4" fmla="*/ 5994400 w 5994400"/>
                    <a:gd name="connsiteY4" fmla="*/ 599440 h 2275840"/>
                    <a:gd name="connsiteX5" fmla="*/ 5994400 w 5994400"/>
                    <a:gd name="connsiteY5" fmla="*/ 599440 h 2275840"/>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5" fmla="*/ 5992495 w 5992495"/>
                    <a:gd name="connsiteY5"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58495 h 230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2495" h="2304415">
                      <a:moveTo>
                        <a:pt x="0" y="0"/>
                      </a:moveTo>
                      <a:lnTo>
                        <a:pt x="8255" y="282575"/>
                      </a:lnTo>
                      <a:lnTo>
                        <a:pt x="1034415" y="2304415"/>
                      </a:lnTo>
                      <a:lnTo>
                        <a:pt x="5992495" y="831215"/>
                      </a:lnTo>
                      <a:lnTo>
                        <a:pt x="5992495" y="658495"/>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5549096" y="7079592"/>
                  <a:ext cx="5715" cy="232410"/>
                </a:xfrm>
                <a:custGeom>
                  <a:avLst/>
                  <a:gdLst>
                    <a:gd name="connsiteX0" fmla="*/ 40640 w 40640"/>
                    <a:gd name="connsiteY0" fmla="*/ 0 h 243840"/>
                    <a:gd name="connsiteX1" fmla="*/ 0 w 40640"/>
                    <a:gd name="connsiteY1" fmla="*/ 3048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0" fmla="*/ 27305 w 27305"/>
                    <a:gd name="connsiteY0" fmla="*/ 0 h 251460"/>
                    <a:gd name="connsiteX1" fmla="*/ 0 w 27305"/>
                    <a:gd name="connsiteY1" fmla="*/ 26670 h 251460"/>
                    <a:gd name="connsiteX2" fmla="*/ 7620 w 27305"/>
                    <a:gd name="connsiteY2" fmla="*/ 251460 h 251460"/>
                    <a:gd name="connsiteX0" fmla="*/ 25400 w 25400"/>
                    <a:gd name="connsiteY0" fmla="*/ 0 h 251460"/>
                    <a:gd name="connsiteX1" fmla="*/ 0 w 25400"/>
                    <a:gd name="connsiteY1" fmla="*/ 19050 h 251460"/>
                    <a:gd name="connsiteX2" fmla="*/ 5715 w 25400"/>
                    <a:gd name="connsiteY2" fmla="*/ 251460 h 251460"/>
                    <a:gd name="connsiteX0" fmla="*/ 0 w 5715"/>
                    <a:gd name="connsiteY0" fmla="*/ 0 h 232410"/>
                    <a:gd name="connsiteX1" fmla="*/ 5715 w 5715"/>
                    <a:gd name="connsiteY1" fmla="*/ 232410 h 232410"/>
                  </a:gdLst>
                  <a:ahLst/>
                  <a:cxnLst>
                    <a:cxn ang="0">
                      <a:pos x="connsiteX0" y="connsiteY0"/>
                    </a:cxn>
                    <a:cxn ang="0">
                      <a:pos x="connsiteX1" y="connsiteY1"/>
                    </a:cxn>
                  </a:cxnLst>
                  <a:rect l="l" t="t" r="r" b="b"/>
                  <a:pathLst>
                    <a:path w="5715" h="232410">
                      <a:moveTo>
                        <a:pt x="0" y="0"/>
                      </a:moveTo>
                      <a:lnTo>
                        <a:pt x="5715" y="232410"/>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4905954" y="4286862"/>
                  <a:ext cx="3388350" cy="2164148"/>
                </a:xfrm>
                <a:custGeom>
                  <a:avLst/>
                  <a:gdLst>
                    <a:gd name="connsiteX0" fmla="*/ 2244200 w 3388350"/>
                    <a:gd name="connsiteY0" fmla="*/ 106594 h 2164148"/>
                    <a:gd name="connsiteX1" fmla="*/ 274984 w 3388350"/>
                    <a:gd name="connsiteY1" fmla="*/ 372210 h 2164148"/>
                    <a:gd name="connsiteX2" fmla="*/ 174233 w 3388350"/>
                    <a:gd name="connsiteY2" fmla="*/ 509597 h 2164148"/>
                    <a:gd name="connsiteX3" fmla="*/ 980238 w 3388350"/>
                    <a:gd name="connsiteY3" fmla="*/ 1947583 h 2164148"/>
                    <a:gd name="connsiteX4" fmla="*/ 1117625 w 3388350"/>
                    <a:gd name="connsiteY4" fmla="*/ 2057493 h 2164148"/>
                    <a:gd name="connsiteX5" fmla="*/ 3150955 w 3388350"/>
                    <a:gd name="connsiteY5" fmla="*/ 1782718 h 2164148"/>
                    <a:gd name="connsiteX6" fmla="*/ 3205910 w 3388350"/>
                    <a:gd name="connsiteY6" fmla="*/ 1645331 h 2164148"/>
                    <a:gd name="connsiteX7" fmla="*/ 2304303 w 3388350"/>
                    <a:gd name="connsiteY7" fmla="*/ 0 h 2164148"/>
                    <a:gd name="connsiteX8" fmla="*/ 3371103 w 3388350"/>
                    <a:gd name="connsiteY8" fmla="*/ 1706880 h 2164148"/>
                    <a:gd name="connsiteX9" fmla="*/ 3310143 w 3388350"/>
                    <a:gd name="connsiteY9" fmla="*/ 1859280 h 2164148"/>
                    <a:gd name="connsiteX10" fmla="*/ 1054623 w 3388350"/>
                    <a:gd name="connsiteY10" fmla="*/ 2164080 h 2164148"/>
                    <a:gd name="connsiteX11" fmla="*/ 902223 w 3388350"/>
                    <a:gd name="connsiteY11" fmla="*/ 2042160 h 2164148"/>
                    <a:gd name="connsiteX12" fmla="*/ 8143 w 3388350"/>
                    <a:gd name="connsiteY12" fmla="*/ 447040 h 2164148"/>
                    <a:gd name="connsiteX13" fmla="*/ 119903 w 3388350"/>
                    <a:gd name="connsiteY13" fmla="*/ 294640 h 216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350" h="2164148">
                      <a:moveTo>
                        <a:pt x="2244200" y="106594"/>
                      </a:moveTo>
                      <a:lnTo>
                        <a:pt x="274984" y="372210"/>
                      </a:lnTo>
                      <a:cubicBezTo>
                        <a:pt x="193315" y="384422"/>
                        <a:pt x="148282" y="455405"/>
                        <a:pt x="174233" y="509597"/>
                      </a:cubicBezTo>
                      <a:lnTo>
                        <a:pt x="980238" y="1947583"/>
                      </a:lnTo>
                      <a:cubicBezTo>
                        <a:pt x="998556" y="1997958"/>
                        <a:pt x="1076409" y="2059783"/>
                        <a:pt x="1117625" y="2057493"/>
                      </a:cubicBezTo>
                      <a:lnTo>
                        <a:pt x="3150955" y="1782718"/>
                      </a:lnTo>
                      <a:cubicBezTo>
                        <a:pt x="3210490" y="1775849"/>
                        <a:pt x="3242547" y="1688837"/>
                        <a:pt x="3205910" y="1645331"/>
                      </a:cubicBezTo>
                      <a:close/>
                      <a:moveTo>
                        <a:pt x="2304303" y="0"/>
                      </a:moveTo>
                      <a:lnTo>
                        <a:pt x="3371103" y="1706880"/>
                      </a:lnTo>
                      <a:cubicBezTo>
                        <a:pt x="3411743" y="1755140"/>
                        <a:pt x="3376183" y="1851660"/>
                        <a:pt x="3310143" y="1859280"/>
                      </a:cubicBezTo>
                      <a:lnTo>
                        <a:pt x="1054623" y="2164080"/>
                      </a:lnTo>
                      <a:cubicBezTo>
                        <a:pt x="1008903" y="2166620"/>
                        <a:pt x="922543" y="2098040"/>
                        <a:pt x="902223" y="2042160"/>
                      </a:cubicBezTo>
                      <a:lnTo>
                        <a:pt x="8143" y="447040"/>
                      </a:lnTo>
                      <a:cubicBezTo>
                        <a:pt x="-20644" y="386927"/>
                        <a:pt x="29310" y="308187"/>
                        <a:pt x="119903" y="29464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7755086" y="5345337"/>
                  <a:ext cx="527552" cy="675536"/>
                </a:xfrm>
                <a:custGeom>
                  <a:avLst/>
                  <a:gdLst>
                    <a:gd name="connsiteX0" fmla="*/ 272415 w 520065"/>
                    <a:gd name="connsiteY0" fmla="*/ 613410 h 613410"/>
                    <a:gd name="connsiteX1" fmla="*/ 0 w 520065"/>
                    <a:gd name="connsiteY1" fmla="*/ 129540 h 613410"/>
                    <a:gd name="connsiteX2" fmla="*/ 253365 w 520065"/>
                    <a:gd name="connsiteY2" fmla="*/ 0 h 613410"/>
                    <a:gd name="connsiteX3" fmla="*/ 520065 w 520065"/>
                    <a:gd name="connsiteY3" fmla="*/ 476250 h 613410"/>
                    <a:gd name="connsiteX4" fmla="*/ 272415 w 520065"/>
                    <a:gd name="connsiteY4" fmla="*/ 613410 h 613410"/>
                    <a:gd name="connsiteX0" fmla="*/ 278584 w 526234"/>
                    <a:gd name="connsiteY0" fmla="*/ 613410 h 613410"/>
                    <a:gd name="connsiteX1" fmla="*/ 6169 w 526234"/>
                    <a:gd name="connsiteY1" fmla="*/ 129540 h 613410"/>
                    <a:gd name="connsiteX2" fmla="*/ 259534 w 526234"/>
                    <a:gd name="connsiteY2" fmla="*/ 0 h 613410"/>
                    <a:gd name="connsiteX3" fmla="*/ 526234 w 526234"/>
                    <a:gd name="connsiteY3" fmla="*/ 476250 h 613410"/>
                    <a:gd name="connsiteX4" fmla="*/ 278584 w 526234"/>
                    <a:gd name="connsiteY4" fmla="*/ 613410 h 613410"/>
                    <a:gd name="connsiteX0" fmla="*/ 277556 w 525206"/>
                    <a:gd name="connsiteY0" fmla="*/ 627268 h 627268"/>
                    <a:gd name="connsiteX1" fmla="*/ 5141 w 525206"/>
                    <a:gd name="connsiteY1" fmla="*/ 143398 h 627268"/>
                    <a:gd name="connsiteX2" fmla="*/ 258506 w 525206"/>
                    <a:gd name="connsiteY2" fmla="*/ 13858 h 627268"/>
                    <a:gd name="connsiteX3" fmla="*/ 525206 w 525206"/>
                    <a:gd name="connsiteY3" fmla="*/ 490108 h 627268"/>
                    <a:gd name="connsiteX4" fmla="*/ 277556 w 525206"/>
                    <a:gd name="connsiteY4" fmla="*/ 627268 h 627268"/>
                    <a:gd name="connsiteX0" fmla="*/ 272415 w 520065"/>
                    <a:gd name="connsiteY0" fmla="*/ 632728 h 632728"/>
                    <a:gd name="connsiteX1" fmla="*/ 0 w 520065"/>
                    <a:gd name="connsiteY1" fmla="*/ 148858 h 632728"/>
                    <a:gd name="connsiteX2" fmla="*/ 253365 w 520065"/>
                    <a:gd name="connsiteY2" fmla="*/ 19318 h 632728"/>
                    <a:gd name="connsiteX3" fmla="*/ 520065 w 520065"/>
                    <a:gd name="connsiteY3" fmla="*/ 495568 h 632728"/>
                    <a:gd name="connsiteX4" fmla="*/ 272415 w 520065"/>
                    <a:gd name="connsiteY4" fmla="*/ 632728 h 632728"/>
                    <a:gd name="connsiteX0" fmla="*/ 272415 w 520065"/>
                    <a:gd name="connsiteY0" fmla="*/ 621735 h 621735"/>
                    <a:gd name="connsiteX1" fmla="*/ 0 w 520065"/>
                    <a:gd name="connsiteY1" fmla="*/ 137865 h 621735"/>
                    <a:gd name="connsiteX2" fmla="*/ 253365 w 520065"/>
                    <a:gd name="connsiteY2" fmla="*/ 8325 h 621735"/>
                    <a:gd name="connsiteX3" fmla="*/ 520065 w 520065"/>
                    <a:gd name="connsiteY3" fmla="*/ 484575 h 621735"/>
                    <a:gd name="connsiteX4" fmla="*/ 272415 w 520065"/>
                    <a:gd name="connsiteY4" fmla="*/ 621735 h 621735"/>
                    <a:gd name="connsiteX0" fmla="*/ 272415 w 520065"/>
                    <a:gd name="connsiteY0" fmla="*/ 621735 h 639937"/>
                    <a:gd name="connsiteX1" fmla="*/ 0 w 520065"/>
                    <a:gd name="connsiteY1" fmla="*/ 137865 h 639937"/>
                    <a:gd name="connsiteX2" fmla="*/ 253365 w 520065"/>
                    <a:gd name="connsiteY2" fmla="*/ 8325 h 639937"/>
                    <a:gd name="connsiteX3" fmla="*/ 520065 w 520065"/>
                    <a:gd name="connsiteY3" fmla="*/ 484575 h 639937"/>
                    <a:gd name="connsiteX4" fmla="*/ 272415 w 520065"/>
                    <a:gd name="connsiteY4" fmla="*/ 621735 h 639937"/>
                    <a:gd name="connsiteX0" fmla="*/ 272415 w 539286"/>
                    <a:gd name="connsiteY0" fmla="*/ 621735 h 669505"/>
                    <a:gd name="connsiteX1" fmla="*/ 0 w 539286"/>
                    <a:gd name="connsiteY1" fmla="*/ 137865 h 669505"/>
                    <a:gd name="connsiteX2" fmla="*/ 253365 w 539286"/>
                    <a:gd name="connsiteY2" fmla="*/ 8325 h 669505"/>
                    <a:gd name="connsiteX3" fmla="*/ 520065 w 539286"/>
                    <a:gd name="connsiteY3" fmla="*/ 484575 h 669505"/>
                    <a:gd name="connsiteX4" fmla="*/ 272415 w 539286"/>
                    <a:gd name="connsiteY4" fmla="*/ 621735 h 669505"/>
                    <a:gd name="connsiteX0" fmla="*/ 272415 w 539381"/>
                    <a:gd name="connsiteY0" fmla="*/ 621735 h 696212"/>
                    <a:gd name="connsiteX1" fmla="*/ 0 w 539381"/>
                    <a:gd name="connsiteY1" fmla="*/ 137865 h 696212"/>
                    <a:gd name="connsiteX2" fmla="*/ 253365 w 539381"/>
                    <a:gd name="connsiteY2" fmla="*/ 8325 h 696212"/>
                    <a:gd name="connsiteX3" fmla="*/ 520065 w 539381"/>
                    <a:gd name="connsiteY3" fmla="*/ 484575 h 696212"/>
                    <a:gd name="connsiteX4" fmla="*/ 272415 w 539381"/>
                    <a:gd name="connsiteY4" fmla="*/ 621735 h 696212"/>
                    <a:gd name="connsiteX0" fmla="*/ 272415 w 538468"/>
                    <a:gd name="connsiteY0" fmla="*/ 621735 h 671995"/>
                    <a:gd name="connsiteX1" fmla="*/ 0 w 538468"/>
                    <a:gd name="connsiteY1" fmla="*/ 137865 h 671995"/>
                    <a:gd name="connsiteX2" fmla="*/ 253365 w 538468"/>
                    <a:gd name="connsiteY2" fmla="*/ 8325 h 671995"/>
                    <a:gd name="connsiteX3" fmla="*/ 520065 w 538468"/>
                    <a:gd name="connsiteY3" fmla="*/ 484575 h 671995"/>
                    <a:gd name="connsiteX4" fmla="*/ 272415 w 538468"/>
                    <a:gd name="connsiteY4" fmla="*/ 621735 h 671995"/>
                    <a:gd name="connsiteX0" fmla="*/ 272415 w 523493"/>
                    <a:gd name="connsiteY0" fmla="*/ 621735 h 660280"/>
                    <a:gd name="connsiteX1" fmla="*/ 0 w 523493"/>
                    <a:gd name="connsiteY1" fmla="*/ 137865 h 660280"/>
                    <a:gd name="connsiteX2" fmla="*/ 253365 w 523493"/>
                    <a:gd name="connsiteY2" fmla="*/ 8325 h 660280"/>
                    <a:gd name="connsiteX3" fmla="*/ 520065 w 523493"/>
                    <a:gd name="connsiteY3" fmla="*/ 484575 h 660280"/>
                    <a:gd name="connsiteX4" fmla="*/ 272415 w 523493"/>
                    <a:gd name="connsiteY4" fmla="*/ 621735 h 660280"/>
                    <a:gd name="connsiteX0" fmla="*/ 272415 w 521876"/>
                    <a:gd name="connsiteY0" fmla="*/ 621735 h 678767"/>
                    <a:gd name="connsiteX1" fmla="*/ 0 w 521876"/>
                    <a:gd name="connsiteY1" fmla="*/ 137865 h 678767"/>
                    <a:gd name="connsiteX2" fmla="*/ 253365 w 521876"/>
                    <a:gd name="connsiteY2" fmla="*/ 8325 h 678767"/>
                    <a:gd name="connsiteX3" fmla="*/ 520065 w 521876"/>
                    <a:gd name="connsiteY3" fmla="*/ 484575 h 678767"/>
                    <a:gd name="connsiteX4" fmla="*/ 365760 w 521876"/>
                    <a:gd name="connsiteY4" fmla="*/ 654120 h 678767"/>
                    <a:gd name="connsiteX5" fmla="*/ 272415 w 521876"/>
                    <a:gd name="connsiteY5" fmla="*/ 621735 h 678767"/>
                    <a:gd name="connsiteX0" fmla="*/ 272415 w 521876"/>
                    <a:gd name="connsiteY0" fmla="*/ 621735 h 690965"/>
                    <a:gd name="connsiteX1" fmla="*/ 0 w 521876"/>
                    <a:gd name="connsiteY1" fmla="*/ 137865 h 690965"/>
                    <a:gd name="connsiteX2" fmla="*/ 253365 w 521876"/>
                    <a:gd name="connsiteY2" fmla="*/ 8325 h 690965"/>
                    <a:gd name="connsiteX3" fmla="*/ 520065 w 521876"/>
                    <a:gd name="connsiteY3" fmla="*/ 484575 h 690965"/>
                    <a:gd name="connsiteX4" fmla="*/ 365760 w 521876"/>
                    <a:gd name="connsiteY4" fmla="*/ 675075 h 690965"/>
                    <a:gd name="connsiteX5" fmla="*/ 272415 w 521876"/>
                    <a:gd name="connsiteY5" fmla="*/ 621735 h 690965"/>
                    <a:gd name="connsiteX0" fmla="*/ 272415 w 521876"/>
                    <a:gd name="connsiteY0" fmla="*/ 621735 h 679590"/>
                    <a:gd name="connsiteX1" fmla="*/ 0 w 521876"/>
                    <a:gd name="connsiteY1" fmla="*/ 137865 h 679590"/>
                    <a:gd name="connsiteX2" fmla="*/ 253365 w 521876"/>
                    <a:gd name="connsiteY2" fmla="*/ 8325 h 679590"/>
                    <a:gd name="connsiteX3" fmla="*/ 520065 w 521876"/>
                    <a:gd name="connsiteY3" fmla="*/ 484575 h 679590"/>
                    <a:gd name="connsiteX4" fmla="*/ 365760 w 521876"/>
                    <a:gd name="connsiteY4" fmla="*/ 675075 h 679590"/>
                    <a:gd name="connsiteX5" fmla="*/ 272415 w 521876"/>
                    <a:gd name="connsiteY5" fmla="*/ 621735 h 679590"/>
                    <a:gd name="connsiteX0" fmla="*/ 272415 w 521876"/>
                    <a:gd name="connsiteY0" fmla="*/ 621735 h 681973"/>
                    <a:gd name="connsiteX1" fmla="*/ 0 w 521876"/>
                    <a:gd name="connsiteY1" fmla="*/ 137865 h 681973"/>
                    <a:gd name="connsiteX2" fmla="*/ 253365 w 521876"/>
                    <a:gd name="connsiteY2" fmla="*/ 8325 h 681973"/>
                    <a:gd name="connsiteX3" fmla="*/ 520065 w 521876"/>
                    <a:gd name="connsiteY3" fmla="*/ 484575 h 681973"/>
                    <a:gd name="connsiteX4" fmla="*/ 365760 w 521876"/>
                    <a:gd name="connsiteY4" fmla="*/ 675075 h 681973"/>
                    <a:gd name="connsiteX5" fmla="*/ 272415 w 521876"/>
                    <a:gd name="connsiteY5" fmla="*/ 621735 h 681973"/>
                    <a:gd name="connsiteX0" fmla="*/ 272415 w 521876"/>
                    <a:gd name="connsiteY0" fmla="*/ 621735 h 675536"/>
                    <a:gd name="connsiteX1" fmla="*/ 0 w 521876"/>
                    <a:gd name="connsiteY1" fmla="*/ 137865 h 675536"/>
                    <a:gd name="connsiteX2" fmla="*/ 253365 w 521876"/>
                    <a:gd name="connsiteY2" fmla="*/ 8325 h 675536"/>
                    <a:gd name="connsiteX3" fmla="*/ 520065 w 521876"/>
                    <a:gd name="connsiteY3" fmla="*/ 484575 h 675536"/>
                    <a:gd name="connsiteX4" fmla="*/ 365760 w 521876"/>
                    <a:gd name="connsiteY4" fmla="*/ 675075 h 675536"/>
                    <a:gd name="connsiteX5" fmla="*/ 272415 w 521876"/>
                    <a:gd name="connsiteY5" fmla="*/ 621735 h 675536"/>
                    <a:gd name="connsiteX0" fmla="*/ 272415 w 534741"/>
                    <a:gd name="connsiteY0" fmla="*/ 621735 h 675536"/>
                    <a:gd name="connsiteX1" fmla="*/ 0 w 534741"/>
                    <a:gd name="connsiteY1" fmla="*/ 137865 h 675536"/>
                    <a:gd name="connsiteX2" fmla="*/ 253365 w 534741"/>
                    <a:gd name="connsiteY2" fmla="*/ 8325 h 675536"/>
                    <a:gd name="connsiteX3" fmla="*/ 520065 w 534741"/>
                    <a:gd name="connsiteY3" fmla="*/ 484575 h 675536"/>
                    <a:gd name="connsiteX4" fmla="*/ 485775 w 534741"/>
                    <a:gd name="connsiteY4" fmla="*/ 591255 h 675536"/>
                    <a:gd name="connsiteX5" fmla="*/ 365760 w 534741"/>
                    <a:gd name="connsiteY5" fmla="*/ 675075 h 675536"/>
                    <a:gd name="connsiteX6" fmla="*/ 272415 w 534741"/>
                    <a:gd name="connsiteY6" fmla="*/ 621735 h 675536"/>
                    <a:gd name="connsiteX0" fmla="*/ 272415 w 536246"/>
                    <a:gd name="connsiteY0" fmla="*/ 621735 h 675536"/>
                    <a:gd name="connsiteX1" fmla="*/ 0 w 536246"/>
                    <a:gd name="connsiteY1" fmla="*/ 137865 h 675536"/>
                    <a:gd name="connsiteX2" fmla="*/ 253365 w 536246"/>
                    <a:gd name="connsiteY2" fmla="*/ 8325 h 675536"/>
                    <a:gd name="connsiteX3" fmla="*/ 520065 w 536246"/>
                    <a:gd name="connsiteY3" fmla="*/ 484575 h 675536"/>
                    <a:gd name="connsiteX4" fmla="*/ 493395 w 536246"/>
                    <a:gd name="connsiteY4" fmla="*/ 616020 h 675536"/>
                    <a:gd name="connsiteX5" fmla="*/ 365760 w 536246"/>
                    <a:gd name="connsiteY5" fmla="*/ 675075 h 675536"/>
                    <a:gd name="connsiteX6" fmla="*/ 272415 w 536246"/>
                    <a:gd name="connsiteY6" fmla="*/ 621735 h 675536"/>
                    <a:gd name="connsiteX0" fmla="*/ 272415 w 534897"/>
                    <a:gd name="connsiteY0" fmla="*/ 621735 h 675536"/>
                    <a:gd name="connsiteX1" fmla="*/ 0 w 534897"/>
                    <a:gd name="connsiteY1" fmla="*/ 137865 h 675536"/>
                    <a:gd name="connsiteX2" fmla="*/ 253365 w 534897"/>
                    <a:gd name="connsiteY2" fmla="*/ 8325 h 675536"/>
                    <a:gd name="connsiteX3" fmla="*/ 520065 w 534897"/>
                    <a:gd name="connsiteY3" fmla="*/ 484575 h 675536"/>
                    <a:gd name="connsiteX4" fmla="*/ 493395 w 534897"/>
                    <a:gd name="connsiteY4" fmla="*/ 616020 h 675536"/>
                    <a:gd name="connsiteX5" fmla="*/ 365760 w 534897"/>
                    <a:gd name="connsiteY5" fmla="*/ 675075 h 675536"/>
                    <a:gd name="connsiteX6" fmla="*/ 272415 w 534897"/>
                    <a:gd name="connsiteY6" fmla="*/ 621735 h 675536"/>
                    <a:gd name="connsiteX0" fmla="*/ 272415 w 527552"/>
                    <a:gd name="connsiteY0" fmla="*/ 621735 h 675536"/>
                    <a:gd name="connsiteX1" fmla="*/ 0 w 527552"/>
                    <a:gd name="connsiteY1" fmla="*/ 137865 h 675536"/>
                    <a:gd name="connsiteX2" fmla="*/ 253365 w 527552"/>
                    <a:gd name="connsiteY2" fmla="*/ 8325 h 675536"/>
                    <a:gd name="connsiteX3" fmla="*/ 520065 w 527552"/>
                    <a:gd name="connsiteY3" fmla="*/ 484575 h 675536"/>
                    <a:gd name="connsiteX4" fmla="*/ 493395 w 527552"/>
                    <a:gd name="connsiteY4" fmla="*/ 616020 h 675536"/>
                    <a:gd name="connsiteX5" fmla="*/ 365760 w 527552"/>
                    <a:gd name="connsiteY5" fmla="*/ 675075 h 675536"/>
                    <a:gd name="connsiteX6" fmla="*/ 272415 w 527552"/>
                    <a:gd name="connsiteY6" fmla="*/ 621735 h 67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552" h="675536">
                      <a:moveTo>
                        <a:pt x="272415" y="621735"/>
                      </a:moveTo>
                      <a:lnTo>
                        <a:pt x="0" y="137865"/>
                      </a:lnTo>
                      <a:cubicBezTo>
                        <a:pt x="55880" y="12770"/>
                        <a:pt x="174625" y="-17075"/>
                        <a:pt x="253365" y="8325"/>
                      </a:cubicBezTo>
                      <a:lnTo>
                        <a:pt x="520065" y="484575"/>
                      </a:lnTo>
                      <a:cubicBezTo>
                        <a:pt x="541655" y="551250"/>
                        <a:pt x="511492" y="593795"/>
                        <a:pt x="493395" y="616020"/>
                      </a:cubicBezTo>
                      <a:cubicBezTo>
                        <a:pt x="467678" y="647770"/>
                        <a:pt x="401320" y="669995"/>
                        <a:pt x="365760" y="675075"/>
                      </a:cubicBezTo>
                      <a:cubicBezTo>
                        <a:pt x="347345" y="676980"/>
                        <a:pt x="306705" y="675392"/>
                        <a:pt x="272415" y="621735"/>
                      </a:cubicBezTo>
                      <a:close/>
                    </a:path>
                  </a:pathLst>
                </a:custGeom>
                <a:solidFill>
                  <a:schemeClr val="bg1"/>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8024923" y="581794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8013390" y="579742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p:cNvSpPr/>
                <p:nvPr/>
              </p:nvSpPr>
              <p:spPr>
                <a:xfrm>
                  <a:off x="8001857" y="577689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7990324" y="575637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7978791" y="573584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p:cNvSpPr/>
                <p:nvPr/>
              </p:nvSpPr>
              <p:spPr>
                <a:xfrm>
                  <a:off x="7967258" y="571531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7955725" y="569479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7944192" y="567426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7932659" y="565374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47"/>
                <p:cNvSpPr/>
                <p:nvPr/>
              </p:nvSpPr>
              <p:spPr>
                <a:xfrm>
                  <a:off x="7921126" y="563321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p:cNvSpPr/>
                <p:nvPr/>
              </p:nvSpPr>
              <p:spPr>
                <a:xfrm>
                  <a:off x="7909593" y="561268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p:cNvSpPr/>
                <p:nvPr/>
              </p:nvSpPr>
              <p:spPr>
                <a:xfrm>
                  <a:off x="7898060" y="559216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50"/>
                <p:cNvSpPr/>
                <p:nvPr/>
              </p:nvSpPr>
              <p:spPr>
                <a:xfrm>
                  <a:off x="7886527" y="557163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p:cNvSpPr/>
                <p:nvPr/>
              </p:nvSpPr>
              <p:spPr>
                <a:xfrm>
                  <a:off x="7874994" y="555111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52"/>
                <p:cNvSpPr/>
                <p:nvPr/>
              </p:nvSpPr>
              <p:spPr>
                <a:xfrm>
                  <a:off x="7863461" y="553058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p:cNvSpPr/>
                <p:nvPr/>
              </p:nvSpPr>
              <p:spPr>
                <a:xfrm>
                  <a:off x="7851928" y="551005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840395" y="548953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7828862" y="546900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p:cNvSpPr/>
                <p:nvPr/>
              </p:nvSpPr>
              <p:spPr>
                <a:xfrm>
                  <a:off x="7817329" y="544848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p:cNvSpPr/>
                <p:nvPr/>
              </p:nvSpPr>
              <p:spPr>
                <a:xfrm>
                  <a:off x="7805796" y="542795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a:off x="7794263" y="540742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p:cNvSpPr/>
                <p:nvPr/>
              </p:nvSpPr>
              <p:spPr>
                <a:xfrm>
                  <a:off x="7782730" y="538690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0"/>
                <p:cNvSpPr/>
                <p:nvPr/>
              </p:nvSpPr>
              <p:spPr>
                <a:xfrm>
                  <a:off x="7771197" y="536637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p:cNvSpPr/>
                <p:nvPr/>
              </p:nvSpPr>
              <p:spPr>
                <a:xfrm>
                  <a:off x="7574552" y="4442284"/>
                  <a:ext cx="1143932" cy="887328"/>
                </a:xfrm>
                <a:custGeom>
                  <a:avLst/>
                  <a:gdLst>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439838 w 1192192"/>
                    <a:gd name="connsiteY7" fmla="*/ 31251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320458 w 1192192"/>
                    <a:gd name="connsiteY7" fmla="*/ 41919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15234 w 1192192"/>
                    <a:gd name="connsiteY6" fmla="*/ 191368 h 983848"/>
                    <a:gd name="connsiteX7" fmla="*/ 320458 w 1192192"/>
                    <a:gd name="connsiteY7" fmla="*/ 419197 h 983848"/>
                    <a:gd name="connsiteX8" fmla="*/ 0 w 1192192"/>
                    <a:gd name="connsiteY8" fmla="*/ 520861 h 983848"/>
                    <a:gd name="connsiteX0" fmla="*/ 0 w 1192192"/>
                    <a:gd name="connsiteY0" fmla="*/ 424341 h 887328"/>
                    <a:gd name="connsiteX1" fmla="*/ 277792 w 1192192"/>
                    <a:gd name="connsiteY1" fmla="*/ 887328 h 887328"/>
                    <a:gd name="connsiteX2" fmla="*/ 578734 w 1192192"/>
                    <a:gd name="connsiteY2" fmla="*/ 794731 h 887328"/>
                    <a:gd name="connsiteX3" fmla="*/ 787078 w 1192192"/>
                    <a:gd name="connsiteY3" fmla="*/ 551663 h 887328"/>
                    <a:gd name="connsiteX4" fmla="*/ 1192192 w 1192192"/>
                    <a:gd name="connsiteY4" fmla="*/ 424341 h 887328"/>
                    <a:gd name="connsiteX5" fmla="*/ 833956 w 1192192"/>
                    <a:gd name="connsiteY5" fmla="*/ 0 h 887328"/>
                    <a:gd name="connsiteX6" fmla="*/ 515234 w 1192192"/>
                    <a:gd name="connsiteY6" fmla="*/ 94848 h 887328"/>
                    <a:gd name="connsiteX7" fmla="*/ 320458 w 1192192"/>
                    <a:gd name="connsiteY7" fmla="*/ 322677 h 887328"/>
                    <a:gd name="connsiteX8" fmla="*/ 0 w 1192192"/>
                    <a:gd name="connsiteY8" fmla="*/ 424341 h 887328"/>
                    <a:gd name="connsiteX0" fmla="*/ 0 w 1126152"/>
                    <a:gd name="connsiteY0" fmla="*/ 424341 h 887328"/>
                    <a:gd name="connsiteX1" fmla="*/ 277792 w 1126152"/>
                    <a:gd name="connsiteY1" fmla="*/ 887328 h 887328"/>
                    <a:gd name="connsiteX2" fmla="*/ 578734 w 1126152"/>
                    <a:gd name="connsiteY2" fmla="*/ 794731 h 887328"/>
                    <a:gd name="connsiteX3" fmla="*/ 787078 w 1126152"/>
                    <a:gd name="connsiteY3" fmla="*/ 551663 h 887328"/>
                    <a:gd name="connsiteX4" fmla="*/ 1126152 w 1126152"/>
                    <a:gd name="connsiteY4" fmla="*/ 447201 h 887328"/>
                    <a:gd name="connsiteX5" fmla="*/ 833956 w 1126152"/>
                    <a:gd name="connsiteY5" fmla="*/ 0 h 887328"/>
                    <a:gd name="connsiteX6" fmla="*/ 515234 w 1126152"/>
                    <a:gd name="connsiteY6" fmla="*/ 94848 h 887328"/>
                    <a:gd name="connsiteX7" fmla="*/ 320458 w 1126152"/>
                    <a:gd name="connsiteY7" fmla="*/ 322677 h 887328"/>
                    <a:gd name="connsiteX8" fmla="*/ 0 w 1126152"/>
                    <a:gd name="connsiteY8" fmla="*/ 424341 h 887328"/>
                    <a:gd name="connsiteX0" fmla="*/ 0 w 1143932"/>
                    <a:gd name="connsiteY0" fmla="*/ 426881 h 887328"/>
                    <a:gd name="connsiteX1" fmla="*/ 29557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 name="connsiteX0" fmla="*/ 0 w 1143932"/>
                    <a:gd name="connsiteY0" fmla="*/ 426881 h 887328"/>
                    <a:gd name="connsiteX1" fmla="*/ 28795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932" h="887328">
                      <a:moveTo>
                        <a:pt x="0" y="426881"/>
                      </a:moveTo>
                      <a:lnTo>
                        <a:pt x="287952" y="887328"/>
                      </a:lnTo>
                      <a:lnTo>
                        <a:pt x="596514" y="794731"/>
                      </a:lnTo>
                      <a:lnTo>
                        <a:pt x="804858" y="551663"/>
                      </a:lnTo>
                      <a:lnTo>
                        <a:pt x="1143932" y="447201"/>
                      </a:lnTo>
                      <a:lnTo>
                        <a:pt x="851736" y="0"/>
                      </a:lnTo>
                      <a:lnTo>
                        <a:pt x="533014" y="94848"/>
                      </a:lnTo>
                      <a:lnTo>
                        <a:pt x="338238" y="322677"/>
                      </a:lnTo>
                      <a:lnTo>
                        <a:pt x="0" y="426881"/>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p:cNvSpPr/>
                <p:nvPr/>
              </p:nvSpPr>
              <p:spPr>
                <a:xfrm>
                  <a:off x="5134356" y="5032293"/>
                  <a:ext cx="2640076" cy="586497"/>
                </a:xfrm>
                <a:custGeom>
                  <a:avLst/>
                  <a:gdLst>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219456 w 2529840"/>
                    <a:gd name="connsiteY6" fmla="*/ 304800 h 536448"/>
                    <a:gd name="connsiteX7" fmla="*/ 2340864 w 2529840"/>
                    <a:gd name="connsiteY7" fmla="*/ 0 h 536448"/>
                    <a:gd name="connsiteX8" fmla="*/ 2487168 w 2529840"/>
                    <a:gd name="connsiteY8" fmla="*/ 12192 h 536448"/>
                    <a:gd name="connsiteX9" fmla="*/ 2529840 w 2529840"/>
                    <a:gd name="connsiteY9"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73152 w 2529840"/>
                    <a:gd name="connsiteY6" fmla="*/ 347472 h 536448"/>
                    <a:gd name="connsiteX7" fmla="*/ 219456 w 2529840"/>
                    <a:gd name="connsiteY7" fmla="*/ 304800 h 536448"/>
                    <a:gd name="connsiteX8" fmla="*/ 2340864 w 2529840"/>
                    <a:gd name="connsiteY8" fmla="*/ 0 h 536448"/>
                    <a:gd name="connsiteX9" fmla="*/ 2487168 w 2529840"/>
                    <a:gd name="connsiteY9" fmla="*/ 12192 h 536448"/>
                    <a:gd name="connsiteX10" fmla="*/ 2529840 w 2529840"/>
                    <a:gd name="connsiteY10"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121920 w 2529840"/>
                    <a:gd name="connsiteY3" fmla="*/ 420624 h 536448"/>
                    <a:gd name="connsiteX4" fmla="*/ 42672 w 2529840"/>
                    <a:gd name="connsiteY4" fmla="*/ 536448 h 536448"/>
                    <a:gd name="connsiteX5" fmla="*/ 42672 w 2529840"/>
                    <a:gd name="connsiteY5" fmla="*/ 536448 h 536448"/>
                    <a:gd name="connsiteX6" fmla="*/ 0 w 2529840"/>
                    <a:gd name="connsiteY6" fmla="*/ 445008 h 536448"/>
                    <a:gd name="connsiteX7" fmla="*/ 73152 w 2529840"/>
                    <a:gd name="connsiteY7" fmla="*/ 347472 h 536448"/>
                    <a:gd name="connsiteX8" fmla="*/ 219456 w 2529840"/>
                    <a:gd name="connsiteY8" fmla="*/ 304800 h 536448"/>
                    <a:gd name="connsiteX9" fmla="*/ 2340864 w 2529840"/>
                    <a:gd name="connsiteY9" fmla="*/ 0 h 536448"/>
                    <a:gd name="connsiteX10" fmla="*/ 2487168 w 2529840"/>
                    <a:gd name="connsiteY10" fmla="*/ 12192 h 536448"/>
                    <a:gd name="connsiteX11" fmla="*/ 2529840 w 2529840"/>
                    <a:gd name="connsiteY11" fmla="*/ 109728 h 536448"/>
                    <a:gd name="connsiteX0" fmla="*/ 2609088 w 2609088"/>
                    <a:gd name="connsiteY0" fmla="*/ 109728 h 546788"/>
                    <a:gd name="connsiteX1" fmla="*/ 2444496 w 2609088"/>
                    <a:gd name="connsiteY1" fmla="*/ 91440 h 546788"/>
                    <a:gd name="connsiteX2" fmla="*/ 310896 w 2609088"/>
                    <a:gd name="connsiteY2" fmla="*/ 414528 h 546788"/>
                    <a:gd name="connsiteX3" fmla="*/ 201168 w 2609088"/>
                    <a:gd name="connsiteY3" fmla="*/ 420624 h 546788"/>
                    <a:gd name="connsiteX4" fmla="*/ 121920 w 2609088"/>
                    <a:gd name="connsiteY4" fmla="*/ 536448 h 546788"/>
                    <a:gd name="connsiteX5" fmla="*/ 0 w 2609088"/>
                    <a:gd name="connsiteY5" fmla="*/ 542544 h 546788"/>
                    <a:gd name="connsiteX6" fmla="*/ 79248 w 2609088"/>
                    <a:gd name="connsiteY6" fmla="*/ 445008 h 546788"/>
                    <a:gd name="connsiteX7" fmla="*/ 152400 w 2609088"/>
                    <a:gd name="connsiteY7" fmla="*/ 347472 h 546788"/>
                    <a:gd name="connsiteX8" fmla="*/ 298704 w 2609088"/>
                    <a:gd name="connsiteY8" fmla="*/ 304800 h 546788"/>
                    <a:gd name="connsiteX9" fmla="*/ 2420112 w 2609088"/>
                    <a:gd name="connsiteY9" fmla="*/ 0 h 546788"/>
                    <a:gd name="connsiteX10" fmla="*/ 2566416 w 2609088"/>
                    <a:gd name="connsiteY10" fmla="*/ 12192 h 546788"/>
                    <a:gd name="connsiteX11" fmla="*/ 2609088 w 2609088"/>
                    <a:gd name="connsiteY11" fmla="*/ 109728 h 546788"/>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50236 w 2650236"/>
                    <a:gd name="connsiteY0" fmla="*/ 109728 h 552757"/>
                    <a:gd name="connsiteX1" fmla="*/ 2485644 w 2650236"/>
                    <a:gd name="connsiteY1" fmla="*/ 91440 h 552757"/>
                    <a:gd name="connsiteX2" fmla="*/ 352044 w 2650236"/>
                    <a:gd name="connsiteY2" fmla="*/ 414528 h 552757"/>
                    <a:gd name="connsiteX3" fmla="*/ 242316 w 2650236"/>
                    <a:gd name="connsiteY3" fmla="*/ 420624 h 552757"/>
                    <a:gd name="connsiteX4" fmla="*/ 163068 w 2650236"/>
                    <a:gd name="connsiteY4" fmla="*/ 536448 h 552757"/>
                    <a:gd name="connsiteX5" fmla="*/ 41148 w 2650236"/>
                    <a:gd name="connsiteY5" fmla="*/ 542544 h 552757"/>
                    <a:gd name="connsiteX6" fmla="*/ 0 w 2650236"/>
                    <a:gd name="connsiteY6" fmla="*/ 448056 h 552757"/>
                    <a:gd name="connsiteX7" fmla="*/ 155448 w 2650236"/>
                    <a:gd name="connsiteY7" fmla="*/ 364617 h 552757"/>
                    <a:gd name="connsiteX8" fmla="*/ 339852 w 2650236"/>
                    <a:gd name="connsiteY8" fmla="*/ 304800 h 552757"/>
                    <a:gd name="connsiteX9" fmla="*/ 2461260 w 2650236"/>
                    <a:gd name="connsiteY9" fmla="*/ 0 h 552757"/>
                    <a:gd name="connsiteX10" fmla="*/ 2607564 w 2650236"/>
                    <a:gd name="connsiteY10" fmla="*/ 12192 h 552757"/>
                    <a:gd name="connsiteX11" fmla="*/ 2650236 w 2650236"/>
                    <a:gd name="connsiteY11" fmla="*/ 109728 h 552757"/>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6735"/>
                    <a:gd name="connsiteX1" fmla="*/ 2485644 w 2650236"/>
                    <a:gd name="connsiteY1" fmla="*/ 91440 h 566735"/>
                    <a:gd name="connsiteX2" fmla="*/ 352044 w 2650236"/>
                    <a:gd name="connsiteY2" fmla="*/ 414528 h 566735"/>
                    <a:gd name="connsiteX3" fmla="*/ 242316 w 2650236"/>
                    <a:gd name="connsiteY3" fmla="*/ 420624 h 566735"/>
                    <a:gd name="connsiteX4" fmla="*/ 163068 w 2650236"/>
                    <a:gd name="connsiteY4" fmla="*/ 536448 h 566735"/>
                    <a:gd name="connsiteX5" fmla="*/ 48768 w 2650236"/>
                    <a:gd name="connsiteY5" fmla="*/ 555244 h 566735"/>
                    <a:gd name="connsiteX6" fmla="*/ 0 w 2650236"/>
                    <a:gd name="connsiteY6" fmla="*/ 468376 h 566735"/>
                    <a:gd name="connsiteX7" fmla="*/ 155448 w 2650236"/>
                    <a:gd name="connsiteY7" fmla="*/ 364617 h 566735"/>
                    <a:gd name="connsiteX8" fmla="*/ 339852 w 2650236"/>
                    <a:gd name="connsiteY8" fmla="*/ 304800 h 566735"/>
                    <a:gd name="connsiteX9" fmla="*/ 2461260 w 2650236"/>
                    <a:gd name="connsiteY9" fmla="*/ 0 h 566735"/>
                    <a:gd name="connsiteX10" fmla="*/ 2607564 w 2650236"/>
                    <a:gd name="connsiteY10" fmla="*/ 12192 h 566735"/>
                    <a:gd name="connsiteX11" fmla="*/ 2650236 w 2650236"/>
                    <a:gd name="connsiteY11" fmla="*/ 109728 h 566735"/>
                    <a:gd name="connsiteX0" fmla="*/ 2650236 w 2650236"/>
                    <a:gd name="connsiteY0" fmla="*/ 109728 h 568771"/>
                    <a:gd name="connsiteX1" fmla="*/ 2485644 w 2650236"/>
                    <a:gd name="connsiteY1" fmla="*/ 91440 h 568771"/>
                    <a:gd name="connsiteX2" fmla="*/ 352044 w 2650236"/>
                    <a:gd name="connsiteY2" fmla="*/ 414528 h 568771"/>
                    <a:gd name="connsiteX3" fmla="*/ 242316 w 2650236"/>
                    <a:gd name="connsiteY3" fmla="*/ 420624 h 568771"/>
                    <a:gd name="connsiteX4" fmla="*/ 163068 w 2650236"/>
                    <a:gd name="connsiteY4" fmla="*/ 536448 h 568771"/>
                    <a:gd name="connsiteX5" fmla="*/ 25908 w 2650236"/>
                    <a:gd name="connsiteY5" fmla="*/ 557784 h 568771"/>
                    <a:gd name="connsiteX6" fmla="*/ 0 w 2650236"/>
                    <a:gd name="connsiteY6" fmla="*/ 468376 h 568771"/>
                    <a:gd name="connsiteX7" fmla="*/ 155448 w 2650236"/>
                    <a:gd name="connsiteY7" fmla="*/ 364617 h 568771"/>
                    <a:gd name="connsiteX8" fmla="*/ 339852 w 2650236"/>
                    <a:gd name="connsiteY8" fmla="*/ 304800 h 568771"/>
                    <a:gd name="connsiteX9" fmla="*/ 2461260 w 2650236"/>
                    <a:gd name="connsiteY9" fmla="*/ 0 h 568771"/>
                    <a:gd name="connsiteX10" fmla="*/ 2607564 w 2650236"/>
                    <a:gd name="connsiteY10" fmla="*/ 12192 h 568771"/>
                    <a:gd name="connsiteX11" fmla="*/ 2650236 w 2650236"/>
                    <a:gd name="connsiteY11" fmla="*/ 109728 h 568771"/>
                    <a:gd name="connsiteX0" fmla="*/ 2650236 w 2650236"/>
                    <a:gd name="connsiteY0" fmla="*/ 109728 h 567224"/>
                    <a:gd name="connsiteX1" fmla="*/ 2485644 w 2650236"/>
                    <a:gd name="connsiteY1" fmla="*/ 91440 h 567224"/>
                    <a:gd name="connsiteX2" fmla="*/ 352044 w 2650236"/>
                    <a:gd name="connsiteY2" fmla="*/ 414528 h 567224"/>
                    <a:gd name="connsiteX3" fmla="*/ 204216 w 2650236"/>
                    <a:gd name="connsiteY3" fmla="*/ 473964 h 567224"/>
                    <a:gd name="connsiteX4" fmla="*/ 163068 w 2650236"/>
                    <a:gd name="connsiteY4" fmla="*/ 536448 h 567224"/>
                    <a:gd name="connsiteX5" fmla="*/ 25908 w 2650236"/>
                    <a:gd name="connsiteY5" fmla="*/ 557784 h 567224"/>
                    <a:gd name="connsiteX6" fmla="*/ 0 w 2650236"/>
                    <a:gd name="connsiteY6" fmla="*/ 468376 h 567224"/>
                    <a:gd name="connsiteX7" fmla="*/ 155448 w 2650236"/>
                    <a:gd name="connsiteY7" fmla="*/ 364617 h 567224"/>
                    <a:gd name="connsiteX8" fmla="*/ 339852 w 2650236"/>
                    <a:gd name="connsiteY8" fmla="*/ 304800 h 567224"/>
                    <a:gd name="connsiteX9" fmla="*/ 2461260 w 2650236"/>
                    <a:gd name="connsiteY9" fmla="*/ 0 h 567224"/>
                    <a:gd name="connsiteX10" fmla="*/ 2607564 w 2650236"/>
                    <a:gd name="connsiteY10" fmla="*/ 12192 h 567224"/>
                    <a:gd name="connsiteX11" fmla="*/ 2650236 w 2650236"/>
                    <a:gd name="connsiteY11" fmla="*/ 109728 h 567224"/>
                    <a:gd name="connsiteX0" fmla="*/ 2650236 w 2650236"/>
                    <a:gd name="connsiteY0" fmla="*/ 109728 h 557794"/>
                    <a:gd name="connsiteX1" fmla="*/ 2485644 w 2650236"/>
                    <a:gd name="connsiteY1" fmla="*/ 91440 h 557794"/>
                    <a:gd name="connsiteX2" fmla="*/ 352044 w 2650236"/>
                    <a:gd name="connsiteY2" fmla="*/ 414528 h 557794"/>
                    <a:gd name="connsiteX3" fmla="*/ 204216 w 2650236"/>
                    <a:gd name="connsiteY3" fmla="*/ 473964 h 557794"/>
                    <a:gd name="connsiteX4" fmla="*/ 25908 w 2650236"/>
                    <a:gd name="connsiteY4" fmla="*/ 557784 h 557794"/>
                    <a:gd name="connsiteX5" fmla="*/ 0 w 2650236"/>
                    <a:gd name="connsiteY5" fmla="*/ 468376 h 557794"/>
                    <a:gd name="connsiteX6" fmla="*/ 155448 w 2650236"/>
                    <a:gd name="connsiteY6" fmla="*/ 364617 h 557794"/>
                    <a:gd name="connsiteX7" fmla="*/ 339852 w 2650236"/>
                    <a:gd name="connsiteY7" fmla="*/ 304800 h 557794"/>
                    <a:gd name="connsiteX8" fmla="*/ 2461260 w 2650236"/>
                    <a:gd name="connsiteY8" fmla="*/ 0 h 557794"/>
                    <a:gd name="connsiteX9" fmla="*/ 2607564 w 2650236"/>
                    <a:gd name="connsiteY9" fmla="*/ 12192 h 557794"/>
                    <a:gd name="connsiteX10" fmla="*/ 2650236 w 2650236"/>
                    <a:gd name="connsiteY10" fmla="*/ 109728 h 557794"/>
                    <a:gd name="connsiteX0" fmla="*/ 2650236 w 2650236"/>
                    <a:gd name="connsiteY0" fmla="*/ 109728 h 563417"/>
                    <a:gd name="connsiteX1" fmla="*/ 2485644 w 2650236"/>
                    <a:gd name="connsiteY1" fmla="*/ 91440 h 563417"/>
                    <a:gd name="connsiteX2" fmla="*/ 352044 w 2650236"/>
                    <a:gd name="connsiteY2" fmla="*/ 414528 h 563417"/>
                    <a:gd name="connsiteX3" fmla="*/ 204216 w 2650236"/>
                    <a:gd name="connsiteY3" fmla="*/ 473964 h 563417"/>
                    <a:gd name="connsiteX4" fmla="*/ 25908 w 2650236"/>
                    <a:gd name="connsiteY4" fmla="*/ 557784 h 563417"/>
                    <a:gd name="connsiteX5" fmla="*/ 0 w 2650236"/>
                    <a:gd name="connsiteY5" fmla="*/ 468376 h 563417"/>
                    <a:gd name="connsiteX6" fmla="*/ 155448 w 2650236"/>
                    <a:gd name="connsiteY6" fmla="*/ 364617 h 563417"/>
                    <a:gd name="connsiteX7" fmla="*/ 339852 w 2650236"/>
                    <a:gd name="connsiteY7" fmla="*/ 304800 h 563417"/>
                    <a:gd name="connsiteX8" fmla="*/ 2461260 w 2650236"/>
                    <a:gd name="connsiteY8" fmla="*/ 0 h 563417"/>
                    <a:gd name="connsiteX9" fmla="*/ 2607564 w 2650236"/>
                    <a:gd name="connsiteY9" fmla="*/ 12192 h 563417"/>
                    <a:gd name="connsiteX10" fmla="*/ 2650236 w 2650236"/>
                    <a:gd name="connsiteY10" fmla="*/ 109728 h 563417"/>
                    <a:gd name="connsiteX0" fmla="*/ 2650236 w 2650236"/>
                    <a:gd name="connsiteY0" fmla="*/ 109728 h 558544"/>
                    <a:gd name="connsiteX1" fmla="*/ 2485644 w 2650236"/>
                    <a:gd name="connsiteY1" fmla="*/ 91440 h 558544"/>
                    <a:gd name="connsiteX2" fmla="*/ 352044 w 2650236"/>
                    <a:gd name="connsiteY2" fmla="*/ 414528 h 558544"/>
                    <a:gd name="connsiteX3" fmla="*/ 204216 w 2650236"/>
                    <a:gd name="connsiteY3" fmla="*/ 473964 h 558544"/>
                    <a:gd name="connsiteX4" fmla="*/ 25908 w 2650236"/>
                    <a:gd name="connsiteY4" fmla="*/ 557784 h 558544"/>
                    <a:gd name="connsiteX5" fmla="*/ 0 w 2650236"/>
                    <a:gd name="connsiteY5" fmla="*/ 468376 h 558544"/>
                    <a:gd name="connsiteX6" fmla="*/ 155448 w 2650236"/>
                    <a:gd name="connsiteY6" fmla="*/ 364617 h 558544"/>
                    <a:gd name="connsiteX7" fmla="*/ 339852 w 2650236"/>
                    <a:gd name="connsiteY7" fmla="*/ 304800 h 558544"/>
                    <a:gd name="connsiteX8" fmla="*/ 2461260 w 2650236"/>
                    <a:gd name="connsiteY8" fmla="*/ 0 h 558544"/>
                    <a:gd name="connsiteX9" fmla="*/ 2607564 w 2650236"/>
                    <a:gd name="connsiteY9" fmla="*/ 12192 h 558544"/>
                    <a:gd name="connsiteX10" fmla="*/ 2650236 w 2650236"/>
                    <a:gd name="connsiteY10" fmla="*/ 109728 h 558544"/>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42519 w 2650236"/>
                    <a:gd name="connsiteY2" fmla="*/ 416433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4648 h 566223"/>
                    <a:gd name="connsiteX1" fmla="*/ 2485644 w 2650236"/>
                    <a:gd name="connsiteY1" fmla="*/ 8636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584704 w 2650236"/>
                    <a:gd name="connsiteY9" fmla="*/ 7112 h 566223"/>
                    <a:gd name="connsiteX10" fmla="*/ 2650236 w 2650236"/>
                    <a:gd name="connsiteY10" fmla="*/ 104648 h 566223"/>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13490 h 575065"/>
                    <a:gd name="connsiteX1" fmla="*/ 2457704 w 2650236"/>
                    <a:gd name="connsiteY1" fmla="*/ 100282 h 575065"/>
                    <a:gd name="connsiteX2" fmla="*/ 342519 w 2650236"/>
                    <a:gd name="connsiteY2" fmla="*/ 420195 h 575065"/>
                    <a:gd name="connsiteX3" fmla="*/ 204216 w 2650236"/>
                    <a:gd name="connsiteY3" fmla="*/ 477726 h 575065"/>
                    <a:gd name="connsiteX4" fmla="*/ 25908 w 2650236"/>
                    <a:gd name="connsiteY4" fmla="*/ 561546 h 575065"/>
                    <a:gd name="connsiteX5" fmla="*/ 0 w 2650236"/>
                    <a:gd name="connsiteY5" fmla="*/ 472138 h 575065"/>
                    <a:gd name="connsiteX6" fmla="*/ 155448 w 2650236"/>
                    <a:gd name="connsiteY6" fmla="*/ 368379 h 575065"/>
                    <a:gd name="connsiteX7" fmla="*/ 315087 w 2650236"/>
                    <a:gd name="connsiteY7" fmla="*/ 308562 h 575065"/>
                    <a:gd name="connsiteX8" fmla="*/ 2410460 w 2650236"/>
                    <a:gd name="connsiteY8" fmla="*/ 8842 h 575065"/>
                    <a:gd name="connsiteX9" fmla="*/ 2572004 w 2650236"/>
                    <a:gd name="connsiteY9" fmla="*/ 8334 h 575065"/>
                    <a:gd name="connsiteX10" fmla="*/ 2650236 w 2650236"/>
                    <a:gd name="connsiteY10" fmla="*/ 113490 h 575065"/>
                    <a:gd name="connsiteX0" fmla="*/ 2640076 w 2640076"/>
                    <a:gd name="connsiteY0" fmla="*/ 116030 h 575065"/>
                    <a:gd name="connsiteX1" fmla="*/ 2457704 w 2640076"/>
                    <a:gd name="connsiteY1" fmla="*/ 100282 h 575065"/>
                    <a:gd name="connsiteX2" fmla="*/ 342519 w 2640076"/>
                    <a:gd name="connsiteY2" fmla="*/ 420195 h 575065"/>
                    <a:gd name="connsiteX3" fmla="*/ 204216 w 2640076"/>
                    <a:gd name="connsiteY3" fmla="*/ 477726 h 575065"/>
                    <a:gd name="connsiteX4" fmla="*/ 25908 w 2640076"/>
                    <a:gd name="connsiteY4" fmla="*/ 561546 h 575065"/>
                    <a:gd name="connsiteX5" fmla="*/ 0 w 2640076"/>
                    <a:gd name="connsiteY5" fmla="*/ 472138 h 575065"/>
                    <a:gd name="connsiteX6" fmla="*/ 155448 w 2640076"/>
                    <a:gd name="connsiteY6" fmla="*/ 368379 h 575065"/>
                    <a:gd name="connsiteX7" fmla="*/ 315087 w 2640076"/>
                    <a:gd name="connsiteY7" fmla="*/ 308562 h 575065"/>
                    <a:gd name="connsiteX8" fmla="*/ 2410460 w 2640076"/>
                    <a:gd name="connsiteY8" fmla="*/ 8842 h 575065"/>
                    <a:gd name="connsiteX9" fmla="*/ 2572004 w 2640076"/>
                    <a:gd name="connsiteY9" fmla="*/ 8334 h 575065"/>
                    <a:gd name="connsiteX10" fmla="*/ 2640076 w 2640076"/>
                    <a:gd name="connsiteY10" fmla="*/ 116030 h 575065"/>
                    <a:gd name="connsiteX0" fmla="*/ 2640076 w 2640076"/>
                    <a:gd name="connsiteY0" fmla="*/ 124626 h 583661"/>
                    <a:gd name="connsiteX1" fmla="*/ 2457704 w 2640076"/>
                    <a:gd name="connsiteY1" fmla="*/ 108878 h 583661"/>
                    <a:gd name="connsiteX2" fmla="*/ 342519 w 2640076"/>
                    <a:gd name="connsiteY2" fmla="*/ 428791 h 583661"/>
                    <a:gd name="connsiteX3" fmla="*/ 204216 w 2640076"/>
                    <a:gd name="connsiteY3" fmla="*/ 486322 h 583661"/>
                    <a:gd name="connsiteX4" fmla="*/ 25908 w 2640076"/>
                    <a:gd name="connsiteY4" fmla="*/ 570142 h 583661"/>
                    <a:gd name="connsiteX5" fmla="*/ 0 w 2640076"/>
                    <a:gd name="connsiteY5" fmla="*/ 480734 h 583661"/>
                    <a:gd name="connsiteX6" fmla="*/ 155448 w 2640076"/>
                    <a:gd name="connsiteY6" fmla="*/ 376975 h 583661"/>
                    <a:gd name="connsiteX7" fmla="*/ 315087 w 2640076"/>
                    <a:gd name="connsiteY7" fmla="*/ 317158 h 583661"/>
                    <a:gd name="connsiteX8" fmla="*/ 2410460 w 2640076"/>
                    <a:gd name="connsiteY8" fmla="*/ 17438 h 583661"/>
                    <a:gd name="connsiteX9" fmla="*/ 2572004 w 2640076"/>
                    <a:gd name="connsiteY9" fmla="*/ 16930 h 583661"/>
                    <a:gd name="connsiteX10" fmla="*/ 2640076 w 2640076"/>
                    <a:gd name="connsiteY10" fmla="*/ 124626 h 583661"/>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40076" h="586497">
                      <a:moveTo>
                        <a:pt x="2640076" y="127462"/>
                      </a:moveTo>
                      <a:cubicBezTo>
                        <a:pt x="2555579" y="87499"/>
                        <a:pt x="2524421" y="83097"/>
                        <a:pt x="2457704" y="111714"/>
                      </a:cubicBezTo>
                      <a:lnTo>
                        <a:pt x="342519" y="431627"/>
                      </a:lnTo>
                      <a:cubicBezTo>
                        <a:pt x="275971" y="407624"/>
                        <a:pt x="219329" y="429341"/>
                        <a:pt x="204216" y="489158"/>
                      </a:cubicBezTo>
                      <a:cubicBezTo>
                        <a:pt x="185420" y="584154"/>
                        <a:pt x="40177" y="603893"/>
                        <a:pt x="25908" y="572978"/>
                      </a:cubicBezTo>
                      <a:cubicBezTo>
                        <a:pt x="17272" y="554267"/>
                        <a:pt x="6096" y="520146"/>
                        <a:pt x="0" y="483570"/>
                      </a:cubicBezTo>
                      <a:cubicBezTo>
                        <a:pt x="148336" y="512526"/>
                        <a:pt x="131064" y="402163"/>
                        <a:pt x="155448" y="379811"/>
                      </a:cubicBezTo>
                      <a:cubicBezTo>
                        <a:pt x="188341" y="298912"/>
                        <a:pt x="242189" y="317073"/>
                        <a:pt x="315087" y="319994"/>
                      </a:cubicBezTo>
                      <a:lnTo>
                        <a:pt x="2410460" y="20274"/>
                      </a:lnTo>
                      <a:cubicBezTo>
                        <a:pt x="2473621" y="-5295"/>
                        <a:pt x="2513923" y="-8005"/>
                        <a:pt x="2572004" y="19766"/>
                      </a:cubicBezTo>
                      <a:lnTo>
                        <a:pt x="2640076" y="12746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p:cNvSpPr/>
                <p:nvPr/>
              </p:nvSpPr>
              <p:spPr>
                <a:xfrm>
                  <a:off x="8268464" y="4242434"/>
                  <a:ext cx="755117" cy="714069"/>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132950 w 983225"/>
                    <a:gd name="connsiteY4" fmla="*/ 103677 h 855407"/>
                    <a:gd name="connsiteX5" fmla="*/ 0 w 983225"/>
                    <a:gd name="connsiteY5"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854767 w 983225"/>
                    <a:gd name="connsiteY3" fmla="*/ 481032 h 855407"/>
                    <a:gd name="connsiteX4" fmla="*/ 540774 w 983225"/>
                    <a:gd name="connsiteY4" fmla="*/ 0 h 855407"/>
                    <a:gd name="connsiteX5" fmla="*/ 132950 w 983225"/>
                    <a:gd name="connsiteY5" fmla="*/ 103677 h 855407"/>
                    <a:gd name="connsiteX6" fmla="*/ 0 w 983225"/>
                    <a:gd name="connsiteY6" fmla="*/ 137652 h 855407"/>
                    <a:gd name="connsiteX0" fmla="*/ 0 w 983225"/>
                    <a:gd name="connsiteY0" fmla="*/ 244472 h 962227"/>
                    <a:gd name="connsiteX1" fmla="*/ 452283 w 983225"/>
                    <a:gd name="connsiteY1" fmla="*/ 962227 h 962227"/>
                    <a:gd name="connsiteX2" fmla="*/ 983225 w 983225"/>
                    <a:gd name="connsiteY2" fmla="*/ 795078 h 962227"/>
                    <a:gd name="connsiteX3" fmla="*/ 854767 w 983225"/>
                    <a:gd name="connsiteY3" fmla="*/ 587852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22909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17775 h 962227"/>
                    <a:gd name="connsiteX5" fmla="*/ 1486 w 983225"/>
                    <a:gd name="connsiteY5" fmla="*/ 0 h 962227"/>
                    <a:gd name="connsiteX6" fmla="*/ 0 w 983225"/>
                    <a:gd name="connsiteY6" fmla="*/ 244472 h 962227"/>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6517 w 983225"/>
                    <a:gd name="connsiteY4" fmla="*/ 710074 h 954526"/>
                    <a:gd name="connsiteX5" fmla="*/ 1486 w 983225"/>
                    <a:gd name="connsiteY5" fmla="*/ 0 h 954526"/>
                    <a:gd name="connsiteX6" fmla="*/ 0 w 983225"/>
                    <a:gd name="connsiteY6" fmla="*/ 236771 h 954526"/>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8997 w 983225"/>
                    <a:gd name="connsiteY4" fmla="*/ 707507 h 954526"/>
                    <a:gd name="connsiteX5" fmla="*/ 1486 w 983225"/>
                    <a:gd name="connsiteY5" fmla="*/ 0 h 954526"/>
                    <a:gd name="connsiteX6" fmla="*/ 0 w 983225"/>
                    <a:gd name="connsiteY6" fmla="*/ 236771 h 954526"/>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8997 w 983225"/>
                    <a:gd name="connsiteY4" fmla="*/ 715208 h 962227"/>
                    <a:gd name="connsiteX5" fmla="*/ 3966 w 983225"/>
                    <a:gd name="connsiteY5" fmla="*/ 0 h 962227"/>
                    <a:gd name="connsiteX6" fmla="*/ 0 w 983225"/>
                    <a:gd name="connsiteY6" fmla="*/ 244472 h 96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225" h="962227">
                      <a:moveTo>
                        <a:pt x="0" y="244472"/>
                      </a:moveTo>
                      <a:lnTo>
                        <a:pt x="452283" y="962227"/>
                      </a:lnTo>
                      <a:lnTo>
                        <a:pt x="983225" y="795078"/>
                      </a:lnTo>
                      <a:cubicBezTo>
                        <a:pt x="982574" y="714879"/>
                        <a:pt x="981922" y="634679"/>
                        <a:pt x="981271" y="554480"/>
                      </a:cubicBezTo>
                      <a:lnTo>
                        <a:pt x="448997" y="715208"/>
                      </a:lnTo>
                      <a:lnTo>
                        <a:pt x="3966" y="0"/>
                      </a:lnTo>
                      <a:cubicBezTo>
                        <a:pt x="3471" y="81491"/>
                        <a:pt x="495" y="162981"/>
                        <a:pt x="0" y="244472"/>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64"/>
                <p:cNvSpPr/>
                <p:nvPr/>
              </p:nvSpPr>
              <p:spPr>
                <a:xfrm>
                  <a:off x="8268464" y="4140731"/>
                  <a:ext cx="755117" cy="634798"/>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225" h="855407">
                      <a:moveTo>
                        <a:pt x="0" y="137652"/>
                      </a:moveTo>
                      <a:lnTo>
                        <a:pt x="452283" y="855407"/>
                      </a:lnTo>
                      <a:lnTo>
                        <a:pt x="983225" y="688258"/>
                      </a:lnTo>
                      <a:lnTo>
                        <a:pt x="540774" y="0"/>
                      </a:lnTo>
                      <a:lnTo>
                        <a:pt x="0" y="13765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rot="21057554">
                  <a:off x="8287729" y="4368503"/>
                  <a:ext cx="45719" cy="68404"/>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116"/>
                <p:cNvSpPr/>
                <p:nvPr/>
              </p:nvSpPr>
              <p:spPr>
                <a:xfrm rot="21057554">
                  <a:off x="8432748" y="4503740"/>
                  <a:ext cx="163842" cy="184720"/>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845 w 132437"/>
                    <a:gd name="connsiteY0" fmla="*/ 97925 h 188480"/>
                    <a:gd name="connsiteX1" fmla="*/ 31724 w 132437"/>
                    <a:gd name="connsiteY1" fmla="*/ 15689 h 188480"/>
                    <a:gd name="connsiteX2" fmla="*/ 66641 w 132437"/>
                    <a:gd name="connsiteY2" fmla="*/ 7370 h 188480"/>
                    <a:gd name="connsiteX3" fmla="*/ 132437 w 132437"/>
                    <a:gd name="connsiteY3" fmla="*/ 97925 h 188480"/>
                    <a:gd name="connsiteX4" fmla="*/ 66641 w 132437"/>
                    <a:gd name="connsiteY4" fmla="*/ 188480 h 188480"/>
                    <a:gd name="connsiteX5" fmla="*/ 845 w 132437"/>
                    <a:gd name="connsiteY5" fmla="*/ 97925 h 188480"/>
                    <a:gd name="connsiteX0" fmla="*/ 845 w 133298"/>
                    <a:gd name="connsiteY0" fmla="*/ 97925 h 193642"/>
                    <a:gd name="connsiteX1" fmla="*/ 31724 w 133298"/>
                    <a:gd name="connsiteY1" fmla="*/ 15689 h 193642"/>
                    <a:gd name="connsiteX2" fmla="*/ 66641 w 133298"/>
                    <a:gd name="connsiteY2" fmla="*/ 7370 h 193642"/>
                    <a:gd name="connsiteX3" fmla="*/ 132437 w 133298"/>
                    <a:gd name="connsiteY3" fmla="*/ 97925 h 193642"/>
                    <a:gd name="connsiteX4" fmla="*/ 101786 w 133298"/>
                    <a:gd name="connsiteY4" fmla="*/ 173438 h 193642"/>
                    <a:gd name="connsiteX5" fmla="*/ 66641 w 133298"/>
                    <a:gd name="connsiteY5" fmla="*/ 188480 h 193642"/>
                    <a:gd name="connsiteX6" fmla="*/ 845 w 133298"/>
                    <a:gd name="connsiteY6" fmla="*/ 97925 h 193642"/>
                    <a:gd name="connsiteX0" fmla="*/ 845 w 133298"/>
                    <a:gd name="connsiteY0" fmla="*/ 95203 h 190920"/>
                    <a:gd name="connsiteX1" fmla="*/ 31724 w 133298"/>
                    <a:gd name="connsiteY1" fmla="*/ 12967 h 190920"/>
                    <a:gd name="connsiteX2" fmla="*/ 109683 w 133298"/>
                    <a:gd name="connsiteY2" fmla="*/ 8924 h 190920"/>
                    <a:gd name="connsiteX3" fmla="*/ 132437 w 133298"/>
                    <a:gd name="connsiteY3" fmla="*/ 95203 h 190920"/>
                    <a:gd name="connsiteX4" fmla="*/ 101786 w 133298"/>
                    <a:gd name="connsiteY4" fmla="*/ 170716 h 190920"/>
                    <a:gd name="connsiteX5" fmla="*/ 66641 w 133298"/>
                    <a:gd name="connsiteY5" fmla="*/ 185758 h 190920"/>
                    <a:gd name="connsiteX6" fmla="*/ 845 w 133298"/>
                    <a:gd name="connsiteY6" fmla="*/ 95203 h 190920"/>
                    <a:gd name="connsiteX0" fmla="*/ 845 w 163647"/>
                    <a:gd name="connsiteY0" fmla="*/ 94137 h 189854"/>
                    <a:gd name="connsiteX1" fmla="*/ 31724 w 163647"/>
                    <a:gd name="connsiteY1" fmla="*/ 11901 h 189854"/>
                    <a:gd name="connsiteX2" fmla="*/ 109683 w 163647"/>
                    <a:gd name="connsiteY2" fmla="*/ 7858 h 189854"/>
                    <a:gd name="connsiteX3" fmla="*/ 163222 w 163647"/>
                    <a:gd name="connsiteY3" fmla="*/ 78460 h 189854"/>
                    <a:gd name="connsiteX4" fmla="*/ 101786 w 163647"/>
                    <a:gd name="connsiteY4" fmla="*/ 169650 h 189854"/>
                    <a:gd name="connsiteX5" fmla="*/ 66641 w 163647"/>
                    <a:gd name="connsiteY5" fmla="*/ 184692 h 189854"/>
                    <a:gd name="connsiteX6" fmla="*/ 845 w 163647"/>
                    <a:gd name="connsiteY6" fmla="*/ 94137 h 189854"/>
                    <a:gd name="connsiteX0" fmla="*/ 845 w 163457"/>
                    <a:gd name="connsiteY0" fmla="*/ 94137 h 189854"/>
                    <a:gd name="connsiteX1" fmla="*/ 31724 w 163457"/>
                    <a:gd name="connsiteY1" fmla="*/ 11901 h 189854"/>
                    <a:gd name="connsiteX2" fmla="*/ 109683 w 163457"/>
                    <a:gd name="connsiteY2" fmla="*/ 7858 h 189854"/>
                    <a:gd name="connsiteX3" fmla="*/ 163222 w 163457"/>
                    <a:gd name="connsiteY3" fmla="*/ 78460 h 189854"/>
                    <a:gd name="connsiteX4" fmla="*/ 101786 w 163457"/>
                    <a:gd name="connsiteY4" fmla="*/ 169650 h 189854"/>
                    <a:gd name="connsiteX5" fmla="*/ 66641 w 163457"/>
                    <a:gd name="connsiteY5" fmla="*/ 184692 h 189854"/>
                    <a:gd name="connsiteX6" fmla="*/ 845 w 163457"/>
                    <a:gd name="connsiteY6" fmla="*/ 94137 h 189854"/>
                    <a:gd name="connsiteX0" fmla="*/ 845 w 163222"/>
                    <a:gd name="connsiteY0" fmla="*/ 94137 h 189854"/>
                    <a:gd name="connsiteX1" fmla="*/ 31724 w 163222"/>
                    <a:gd name="connsiteY1" fmla="*/ 11901 h 189854"/>
                    <a:gd name="connsiteX2" fmla="*/ 109683 w 163222"/>
                    <a:gd name="connsiteY2" fmla="*/ 7858 h 189854"/>
                    <a:gd name="connsiteX3" fmla="*/ 163222 w 163222"/>
                    <a:gd name="connsiteY3" fmla="*/ 78460 h 189854"/>
                    <a:gd name="connsiteX4" fmla="*/ 101786 w 163222"/>
                    <a:gd name="connsiteY4" fmla="*/ 169650 h 189854"/>
                    <a:gd name="connsiteX5" fmla="*/ 66641 w 163222"/>
                    <a:gd name="connsiteY5" fmla="*/ 184692 h 189854"/>
                    <a:gd name="connsiteX6" fmla="*/ 845 w 163222"/>
                    <a:gd name="connsiteY6" fmla="*/ 94137 h 189854"/>
                    <a:gd name="connsiteX0" fmla="*/ 1630 w 164007"/>
                    <a:gd name="connsiteY0" fmla="*/ 82351 h 178068"/>
                    <a:gd name="connsiteX1" fmla="*/ 32509 w 164007"/>
                    <a:gd name="connsiteY1" fmla="*/ 115 h 178068"/>
                    <a:gd name="connsiteX2" fmla="*/ 164007 w 164007"/>
                    <a:gd name="connsiteY2" fmla="*/ 66674 h 178068"/>
                    <a:gd name="connsiteX3" fmla="*/ 102571 w 164007"/>
                    <a:gd name="connsiteY3" fmla="*/ 157864 h 178068"/>
                    <a:gd name="connsiteX4" fmla="*/ 67426 w 164007"/>
                    <a:gd name="connsiteY4" fmla="*/ 172906 h 178068"/>
                    <a:gd name="connsiteX5" fmla="*/ 1630 w 164007"/>
                    <a:gd name="connsiteY5" fmla="*/ 82351 h 178068"/>
                    <a:gd name="connsiteX0" fmla="*/ 1630 w 164007"/>
                    <a:gd name="connsiteY0" fmla="*/ 89499 h 185216"/>
                    <a:gd name="connsiteX1" fmla="*/ 32509 w 164007"/>
                    <a:gd name="connsiteY1" fmla="*/ 7263 h 185216"/>
                    <a:gd name="connsiteX2" fmla="*/ 164007 w 164007"/>
                    <a:gd name="connsiteY2" fmla="*/ 73822 h 185216"/>
                    <a:gd name="connsiteX3" fmla="*/ 102571 w 164007"/>
                    <a:gd name="connsiteY3" fmla="*/ 165012 h 185216"/>
                    <a:gd name="connsiteX4" fmla="*/ 67426 w 164007"/>
                    <a:gd name="connsiteY4" fmla="*/ 180054 h 185216"/>
                    <a:gd name="connsiteX5" fmla="*/ 1630 w 164007"/>
                    <a:gd name="connsiteY5" fmla="*/ 89499 h 185216"/>
                    <a:gd name="connsiteX0" fmla="*/ 1630 w 164007"/>
                    <a:gd name="connsiteY0" fmla="*/ 89499 h 180756"/>
                    <a:gd name="connsiteX1" fmla="*/ 32509 w 164007"/>
                    <a:gd name="connsiteY1" fmla="*/ 7263 h 180756"/>
                    <a:gd name="connsiteX2" fmla="*/ 164007 w 164007"/>
                    <a:gd name="connsiteY2" fmla="*/ 73822 h 180756"/>
                    <a:gd name="connsiteX3" fmla="*/ 102571 w 164007"/>
                    <a:gd name="connsiteY3" fmla="*/ 165012 h 180756"/>
                    <a:gd name="connsiteX4" fmla="*/ 67426 w 164007"/>
                    <a:gd name="connsiteY4" fmla="*/ 180054 h 180756"/>
                    <a:gd name="connsiteX5" fmla="*/ 1630 w 164007"/>
                    <a:gd name="connsiteY5" fmla="*/ 89499 h 180756"/>
                    <a:gd name="connsiteX0" fmla="*/ 1630 w 167200"/>
                    <a:gd name="connsiteY0" fmla="*/ 98498 h 189755"/>
                    <a:gd name="connsiteX1" fmla="*/ 32509 w 167200"/>
                    <a:gd name="connsiteY1" fmla="*/ 16262 h 189755"/>
                    <a:gd name="connsiteX2" fmla="*/ 167200 w 167200"/>
                    <a:gd name="connsiteY2" fmla="*/ 62754 h 189755"/>
                    <a:gd name="connsiteX3" fmla="*/ 102571 w 167200"/>
                    <a:gd name="connsiteY3" fmla="*/ 174011 h 189755"/>
                    <a:gd name="connsiteX4" fmla="*/ 67426 w 167200"/>
                    <a:gd name="connsiteY4" fmla="*/ 189053 h 189755"/>
                    <a:gd name="connsiteX5" fmla="*/ 1630 w 167200"/>
                    <a:gd name="connsiteY5" fmla="*/ 98498 h 189755"/>
                    <a:gd name="connsiteX0" fmla="*/ 1630 w 167200"/>
                    <a:gd name="connsiteY0" fmla="*/ 95293 h 186550"/>
                    <a:gd name="connsiteX1" fmla="*/ 32509 w 167200"/>
                    <a:gd name="connsiteY1" fmla="*/ 13057 h 186550"/>
                    <a:gd name="connsiteX2" fmla="*/ 167200 w 167200"/>
                    <a:gd name="connsiteY2" fmla="*/ 59549 h 186550"/>
                    <a:gd name="connsiteX3" fmla="*/ 102571 w 167200"/>
                    <a:gd name="connsiteY3" fmla="*/ 170806 h 186550"/>
                    <a:gd name="connsiteX4" fmla="*/ 67426 w 167200"/>
                    <a:gd name="connsiteY4" fmla="*/ 185848 h 186550"/>
                    <a:gd name="connsiteX5" fmla="*/ 1630 w 167200"/>
                    <a:gd name="connsiteY5" fmla="*/ 95293 h 186550"/>
                    <a:gd name="connsiteX0" fmla="*/ 1630 w 171552"/>
                    <a:gd name="connsiteY0" fmla="*/ 95293 h 186550"/>
                    <a:gd name="connsiteX1" fmla="*/ 32509 w 171552"/>
                    <a:gd name="connsiteY1" fmla="*/ 13057 h 186550"/>
                    <a:gd name="connsiteX2" fmla="*/ 167200 w 171552"/>
                    <a:gd name="connsiteY2" fmla="*/ 59549 h 186550"/>
                    <a:gd name="connsiteX3" fmla="*/ 102571 w 171552"/>
                    <a:gd name="connsiteY3" fmla="*/ 170806 h 186550"/>
                    <a:gd name="connsiteX4" fmla="*/ 67426 w 171552"/>
                    <a:gd name="connsiteY4" fmla="*/ 185848 h 186550"/>
                    <a:gd name="connsiteX5" fmla="*/ 1630 w 171552"/>
                    <a:gd name="connsiteY5" fmla="*/ 95293 h 186550"/>
                    <a:gd name="connsiteX0" fmla="*/ 1630 w 163652"/>
                    <a:gd name="connsiteY0" fmla="*/ 93463 h 184720"/>
                    <a:gd name="connsiteX1" fmla="*/ 32509 w 163652"/>
                    <a:gd name="connsiteY1" fmla="*/ 11227 h 184720"/>
                    <a:gd name="connsiteX2" fmla="*/ 158877 w 163652"/>
                    <a:gd name="connsiteY2" fmla="*/ 61538 h 184720"/>
                    <a:gd name="connsiteX3" fmla="*/ 102571 w 163652"/>
                    <a:gd name="connsiteY3" fmla="*/ 168976 h 184720"/>
                    <a:gd name="connsiteX4" fmla="*/ 67426 w 163652"/>
                    <a:gd name="connsiteY4" fmla="*/ 184018 h 184720"/>
                    <a:gd name="connsiteX5" fmla="*/ 1630 w 163652"/>
                    <a:gd name="connsiteY5" fmla="*/ 93463 h 184720"/>
                    <a:gd name="connsiteX0" fmla="*/ 1630 w 163842"/>
                    <a:gd name="connsiteY0" fmla="*/ 93463 h 184720"/>
                    <a:gd name="connsiteX1" fmla="*/ 32509 w 163842"/>
                    <a:gd name="connsiteY1" fmla="*/ 11227 h 184720"/>
                    <a:gd name="connsiteX2" fmla="*/ 158877 w 163842"/>
                    <a:gd name="connsiteY2" fmla="*/ 61538 h 184720"/>
                    <a:gd name="connsiteX3" fmla="*/ 102571 w 163842"/>
                    <a:gd name="connsiteY3" fmla="*/ 168976 h 184720"/>
                    <a:gd name="connsiteX4" fmla="*/ 67426 w 163842"/>
                    <a:gd name="connsiteY4" fmla="*/ 184018 h 184720"/>
                    <a:gd name="connsiteX5" fmla="*/ 1630 w 163842"/>
                    <a:gd name="connsiteY5" fmla="*/ 93463 h 18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42" h="184720">
                      <a:moveTo>
                        <a:pt x="1630" y="93463"/>
                      </a:moveTo>
                      <a:cubicBezTo>
                        <a:pt x="-4190" y="64665"/>
                        <a:pt x="5446" y="13840"/>
                        <a:pt x="32509" y="11227"/>
                      </a:cubicBezTo>
                      <a:cubicBezTo>
                        <a:pt x="59572" y="8614"/>
                        <a:pt x="124569" y="-32651"/>
                        <a:pt x="158877" y="61538"/>
                      </a:cubicBezTo>
                      <a:cubicBezTo>
                        <a:pt x="182122" y="125419"/>
                        <a:pt x="117015" y="115858"/>
                        <a:pt x="102571" y="168976"/>
                      </a:cubicBezTo>
                      <a:cubicBezTo>
                        <a:pt x="91605" y="184068"/>
                        <a:pt x="89951" y="176936"/>
                        <a:pt x="67426" y="184018"/>
                      </a:cubicBezTo>
                      <a:cubicBezTo>
                        <a:pt x="44901" y="191100"/>
                        <a:pt x="1630" y="143475"/>
                        <a:pt x="1630" y="93463"/>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118"/>
                <p:cNvSpPr/>
                <p:nvPr/>
              </p:nvSpPr>
              <p:spPr>
                <a:xfrm rot="21057554">
                  <a:off x="8808951" y="4596453"/>
                  <a:ext cx="139522" cy="196947"/>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0 w 134785"/>
                    <a:gd name="connsiteY0" fmla="*/ 90863 h 181597"/>
                    <a:gd name="connsiteX1" fmla="*/ 65796 w 134785"/>
                    <a:gd name="connsiteY1" fmla="*/ 308 h 181597"/>
                    <a:gd name="connsiteX2" fmla="*/ 134785 w 134785"/>
                    <a:gd name="connsiteY2" fmla="*/ 70796 h 181597"/>
                    <a:gd name="connsiteX3" fmla="*/ 65796 w 134785"/>
                    <a:gd name="connsiteY3" fmla="*/ 181418 h 181597"/>
                    <a:gd name="connsiteX4" fmla="*/ 0 w 134785"/>
                    <a:gd name="connsiteY4" fmla="*/ 90863 h 181597"/>
                    <a:gd name="connsiteX0" fmla="*/ 0 w 135265"/>
                    <a:gd name="connsiteY0" fmla="*/ 90863 h 181597"/>
                    <a:gd name="connsiteX1" fmla="*/ 65796 w 135265"/>
                    <a:gd name="connsiteY1" fmla="*/ 308 h 181597"/>
                    <a:gd name="connsiteX2" fmla="*/ 134785 w 135265"/>
                    <a:gd name="connsiteY2" fmla="*/ 70796 h 181597"/>
                    <a:gd name="connsiteX3" fmla="*/ 65796 w 135265"/>
                    <a:gd name="connsiteY3" fmla="*/ 181418 h 181597"/>
                    <a:gd name="connsiteX4" fmla="*/ 0 w 135265"/>
                    <a:gd name="connsiteY4" fmla="*/ 90863 h 181597"/>
                    <a:gd name="connsiteX0" fmla="*/ 4257 w 139522"/>
                    <a:gd name="connsiteY0" fmla="*/ 106261 h 196947"/>
                    <a:gd name="connsiteX1" fmla="*/ 21081 w 139522"/>
                    <a:gd name="connsiteY1" fmla="*/ 198 h 196947"/>
                    <a:gd name="connsiteX2" fmla="*/ 139042 w 139522"/>
                    <a:gd name="connsiteY2" fmla="*/ 86194 h 196947"/>
                    <a:gd name="connsiteX3" fmla="*/ 70053 w 139522"/>
                    <a:gd name="connsiteY3" fmla="*/ 196816 h 196947"/>
                    <a:gd name="connsiteX4" fmla="*/ 4257 w 139522"/>
                    <a:gd name="connsiteY4" fmla="*/ 106261 h 19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2" h="196947">
                      <a:moveTo>
                        <a:pt x="4257" y="106261"/>
                      </a:moveTo>
                      <a:cubicBezTo>
                        <a:pt x="-3905" y="73491"/>
                        <a:pt x="-1383" y="3542"/>
                        <a:pt x="21081" y="198"/>
                      </a:cubicBezTo>
                      <a:cubicBezTo>
                        <a:pt x="43545" y="-3146"/>
                        <a:pt x="139042" y="36182"/>
                        <a:pt x="139042" y="86194"/>
                      </a:cubicBezTo>
                      <a:cubicBezTo>
                        <a:pt x="145084" y="162887"/>
                        <a:pt x="92517" y="193472"/>
                        <a:pt x="70053" y="196816"/>
                      </a:cubicBezTo>
                      <a:cubicBezTo>
                        <a:pt x="47589" y="200160"/>
                        <a:pt x="12419" y="139031"/>
                        <a:pt x="4257" y="106261"/>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rot="21057554">
                  <a:off x="8628560" y="4816506"/>
                  <a:ext cx="188103" cy="9226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rot="1453249">
                  <a:off x="8603556" y="4398857"/>
                  <a:ext cx="121731" cy="6205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rot="1453249">
                  <a:off x="8614462" y="4595015"/>
                  <a:ext cx="85748" cy="107490"/>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rot="1453249">
                  <a:off x="8399166" y="4143254"/>
                  <a:ext cx="206364" cy="171784"/>
                </a:xfrm>
                <a:custGeom>
                  <a:avLst/>
                  <a:gdLst>
                    <a:gd name="connsiteX0" fmla="*/ 142584 w 206364"/>
                    <a:gd name="connsiteY0" fmla="*/ 0 h 171784"/>
                    <a:gd name="connsiteX1" fmla="*/ 175034 w 206364"/>
                    <a:gd name="connsiteY1" fmla="*/ 18380 h 171784"/>
                    <a:gd name="connsiteX2" fmla="*/ 206364 w 206364"/>
                    <a:gd name="connsiteY2" fmla="*/ 81922 h 171784"/>
                    <a:gd name="connsiteX3" fmla="*/ 99396 w 206364"/>
                    <a:gd name="connsiteY3" fmla="*/ 171784 h 171784"/>
                    <a:gd name="connsiteX4" fmla="*/ 836 w 206364"/>
                    <a:gd name="connsiteY4" fmla="*/ 116900 h 171784"/>
                    <a:gd name="connsiteX5" fmla="*/ 0 w 206364"/>
                    <a:gd name="connsiteY5" fmla="*/ 113424 h 1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364" h="171784">
                      <a:moveTo>
                        <a:pt x="142584" y="0"/>
                      </a:moveTo>
                      <a:lnTo>
                        <a:pt x="175034" y="18380"/>
                      </a:lnTo>
                      <a:cubicBezTo>
                        <a:pt x="194392" y="34642"/>
                        <a:pt x="206364" y="57107"/>
                        <a:pt x="206364" y="81922"/>
                      </a:cubicBezTo>
                      <a:cubicBezTo>
                        <a:pt x="206364" y="131551"/>
                        <a:pt x="158473" y="171784"/>
                        <a:pt x="99396" y="171784"/>
                      </a:cubicBezTo>
                      <a:cubicBezTo>
                        <a:pt x="55090" y="171784"/>
                        <a:pt x="17074" y="149153"/>
                        <a:pt x="836" y="116900"/>
                      </a:cubicBezTo>
                      <a:lnTo>
                        <a:pt x="0" y="113424"/>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Freeform 31"/>
              <p:cNvSpPr/>
              <p:nvPr/>
            </p:nvSpPr>
            <p:spPr>
              <a:xfrm>
                <a:off x="5513070" y="5338797"/>
                <a:ext cx="81952" cy="263807"/>
              </a:xfrm>
              <a:custGeom>
                <a:avLst/>
                <a:gdLst>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55245 w 83820"/>
                  <a:gd name="connsiteY5" fmla="*/ 186690 h 186690"/>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76200 w 83820"/>
                  <a:gd name="connsiteY5" fmla="*/ 112395 h 186690"/>
                  <a:gd name="connsiteX6" fmla="*/ 55245 w 83820"/>
                  <a:gd name="connsiteY6" fmla="*/ 186690 h 186690"/>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83820 w 87630"/>
                  <a:gd name="connsiteY4" fmla="*/ 68580 h 253365"/>
                  <a:gd name="connsiteX5" fmla="*/ 87630 w 87630"/>
                  <a:gd name="connsiteY5" fmla="*/ 253365 h 253365"/>
                  <a:gd name="connsiteX6" fmla="*/ 55245 w 87630"/>
                  <a:gd name="connsiteY6" fmla="*/ 186690 h 253365"/>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60960 w 87630"/>
                  <a:gd name="connsiteY4" fmla="*/ 17145 h 253365"/>
                  <a:gd name="connsiteX5" fmla="*/ 83820 w 87630"/>
                  <a:gd name="connsiteY5" fmla="*/ 68580 h 253365"/>
                  <a:gd name="connsiteX6" fmla="*/ 87630 w 87630"/>
                  <a:gd name="connsiteY6" fmla="*/ 253365 h 253365"/>
                  <a:gd name="connsiteX7" fmla="*/ 55245 w 87630"/>
                  <a:gd name="connsiteY7" fmla="*/ 186690 h 253365"/>
                  <a:gd name="connsiteX0" fmla="*/ 55245 w 87630"/>
                  <a:gd name="connsiteY0" fmla="*/ 186690 h 253365"/>
                  <a:gd name="connsiteX1" fmla="*/ 53340 w 87630"/>
                  <a:gd name="connsiteY1" fmla="*/ 74295 h 253365"/>
                  <a:gd name="connsiteX2" fmla="*/ 43815 w 87630"/>
                  <a:gd name="connsiteY2" fmla="*/ 30480 h 253365"/>
                  <a:gd name="connsiteX3" fmla="*/ 0 w 87630"/>
                  <a:gd name="connsiteY3" fmla="*/ 20955 h 253365"/>
                  <a:gd name="connsiteX4" fmla="*/ 26670 w 87630"/>
                  <a:gd name="connsiteY4" fmla="*/ 0 h 253365"/>
                  <a:gd name="connsiteX5" fmla="*/ 60960 w 87630"/>
                  <a:gd name="connsiteY5" fmla="*/ 17145 h 253365"/>
                  <a:gd name="connsiteX6" fmla="*/ 83820 w 87630"/>
                  <a:gd name="connsiteY6" fmla="*/ 68580 h 253365"/>
                  <a:gd name="connsiteX7" fmla="*/ 87630 w 87630"/>
                  <a:gd name="connsiteY7" fmla="*/ 253365 h 253365"/>
                  <a:gd name="connsiteX8" fmla="*/ 55245 w 87630"/>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59055 w 85725"/>
                  <a:gd name="connsiteY5" fmla="*/ 1714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64770 w 85725"/>
                  <a:gd name="connsiteY5" fmla="*/ 952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64770 w 85725"/>
                  <a:gd name="connsiteY4" fmla="*/ 9525 h 253365"/>
                  <a:gd name="connsiteX5" fmla="*/ 81915 w 85725"/>
                  <a:gd name="connsiteY5" fmla="*/ 68580 h 253365"/>
                  <a:gd name="connsiteX6" fmla="*/ 85725 w 85725"/>
                  <a:gd name="connsiteY6" fmla="*/ 253365 h 253365"/>
                  <a:gd name="connsiteX7" fmla="*/ 53340 w 85725"/>
                  <a:gd name="connsiteY7"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1952"/>
                  <a:gd name="connsiteY0" fmla="*/ 187607 h 252377"/>
                  <a:gd name="connsiteX1" fmla="*/ 51435 w 81952"/>
                  <a:gd name="connsiteY1" fmla="*/ 75212 h 252377"/>
                  <a:gd name="connsiteX2" fmla="*/ 0 w 81952"/>
                  <a:gd name="connsiteY2" fmla="*/ 25682 h 252377"/>
                  <a:gd name="connsiteX3" fmla="*/ 24765 w 81952"/>
                  <a:gd name="connsiteY3" fmla="*/ 917 h 252377"/>
                  <a:gd name="connsiteX4" fmla="*/ 81915 w 81952"/>
                  <a:gd name="connsiteY4" fmla="*/ 69497 h 252377"/>
                  <a:gd name="connsiteX5" fmla="*/ 81915 w 81952"/>
                  <a:gd name="connsiteY5" fmla="*/ 252377 h 252377"/>
                  <a:gd name="connsiteX6" fmla="*/ 53340 w 81952"/>
                  <a:gd name="connsiteY6" fmla="*/ 187607 h 252377"/>
                  <a:gd name="connsiteX0" fmla="*/ 53340 w 81952"/>
                  <a:gd name="connsiteY0" fmla="*/ 187607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53340 w 81952"/>
                  <a:gd name="connsiteY6" fmla="*/ 187607 h 242852"/>
                  <a:gd name="connsiteX0" fmla="*/ 34290 w 81952"/>
                  <a:gd name="connsiteY0" fmla="*/ 200942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34290 w 81952"/>
                  <a:gd name="connsiteY6" fmla="*/ 200942 h 242852"/>
                  <a:gd name="connsiteX0" fmla="*/ 34290 w 81952"/>
                  <a:gd name="connsiteY0" fmla="*/ 200942 h 244757"/>
                  <a:gd name="connsiteX1" fmla="*/ 51435 w 81952"/>
                  <a:gd name="connsiteY1" fmla="*/ 75212 h 244757"/>
                  <a:gd name="connsiteX2" fmla="*/ 0 w 81952"/>
                  <a:gd name="connsiteY2" fmla="*/ 25682 h 244757"/>
                  <a:gd name="connsiteX3" fmla="*/ 24765 w 81952"/>
                  <a:gd name="connsiteY3" fmla="*/ 917 h 244757"/>
                  <a:gd name="connsiteX4" fmla="*/ 81915 w 81952"/>
                  <a:gd name="connsiteY4" fmla="*/ 69497 h 244757"/>
                  <a:gd name="connsiteX5" fmla="*/ 51435 w 81952"/>
                  <a:gd name="connsiteY5" fmla="*/ 244757 h 244757"/>
                  <a:gd name="connsiteX6" fmla="*/ 34290 w 81952"/>
                  <a:gd name="connsiteY6" fmla="*/ 200942 h 244757"/>
                  <a:gd name="connsiteX0" fmla="*/ 34290 w 81952"/>
                  <a:gd name="connsiteY0" fmla="*/ 200942 h 263807"/>
                  <a:gd name="connsiteX1" fmla="*/ 51435 w 81952"/>
                  <a:gd name="connsiteY1" fmla="*/ 75212 h 263807"/>
                  <a:gd name="connsiteX2" fmla="*/ 0 w 81952"/>
                  <a:gd name="connsiteY2" fmla="*/ 25682 h 263807"/>
                  <a:gd name="connsiteX3" fmla="*/ 24765 w 81952"/>
                  <a:gd name="connsiteY3" fmla="*/ 917 h 263807"/>
                  <a:gd name="connsiteX4" fmla="*/ 81915 w 81952"/>
                  <a:gd name="connsiteY4" fmla="*/ 69497 h 263807"/>
                  <a:gd name="connsiteX5" fmla="*/ 59055 w 81952"/>
                  <a:gd name="connsiteY5" fmla="*/ 263807 h 263807"/>
                  <a:gd name="connsiteX6" fmla="*/ 34290 w 81952"/>
                  <a:gd name="connsiteY6" fmla="*/ 200942 h 26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52" h="263807">
                    <a:moveTo>
                      <a:pt x="34290" y="200942"/>
                    </a:moveTo>
                    <a:lnTo>
                      <a:pt x="51435" y="75212"/>
                    </a:lnTo>
                    <a:cubicBezTo>
                      <a:pt x="53975" y="36795"/>
                      <a:pt x="27305" y="22824"/>
                      <a:pt x="0" y="25682"/>
                    </a:cubicBezTo>
                    <a:lnTo>
                      <a:pt x="24765" y="917"/>
                    </a:lnTo>
                    <a:cubicBezTo>
                      <a:pt x="51752" y="-3211"/>
                      <a:pt x="83185" y="4410"/>
                      <a:pt x="81915" y="69497"/>
                    </a:cubicBezTo>
                    <a:lnTo>
                      <a:pt x="59055" y="263807"/>
                    </a:lnTo>
                    <a:lnTo>
                      <a:pt x="34290" y="20094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499000" y="5530408"/>
                <a:ext cx="73162" cy="112491"/>
              </a:xfrm>
              <a:custGeom>
                <a:avLst/>
                <a:gdLst>
                  <a:gd name="connsiteX0" fmla="*/ 27348 w 69258"/>
                  <a:gd name="connsiteY0" fmla="*/ 0 h 105334"/>
                  <a:gd name="connsiteX1" fmla="*/ 69258 w 69258"/>
                  <a:gd name="connsiteY1" fmla="*/ 54750 h 105334"/>
                  <a:gd name="connsiteX2" fmla="*/ 43661 w 69258"/>
                  <a:gd name="connsiteY2" fmla="*/ 105198 h 105334"/>
                  <a:gd name="connsiteX3" fmla="*/ 43147 w 69258"/>
                  <a:gd name="connsiteY3" fmla="*/ 105334 h 105334"/>
                  <a:gd name="connsiteX4" fmla="*/ 34024 w 69258"/>
                  <a:gd name="connsiteY4" fmla="*/ 86027 h 105334"/>
                  <a:gd name="connsiteX5" fmla="*/ 46233 w 69258"/>
                  <a:gd name="connsiteY5" fmla="*/ 79421 h 105334"/>
                  <a:gd name="connsiteX6" fmla="*/ 54055 w 69258"/>
                  <a:gd name="connsiteY6" fmla="*/ 54750 h 105334"/>
                  <a:gd name="connsiteX7" fmla="*/ 27348 w 69258"/>
                  <a:gd name="connsiteY7" fmla="*/ 19861 h 105334"/>
                  <a:gd name="connsiteX8" fmla="*/ 8463 w 69258"/>
                  <a:gd name="connsiteY8" fmla="*/ 30080 h 105334"/>
                  <a:gd name="connsiteX9" fmla="*/ 8112 w 69258"/>
                  <a:gd name="connsiteY9" fmla="*/ 31190 h 105334"/>
                  <a:gd name="connsiteX10" fmla="*/ 0 w 69258"/>
                  <a:gd name="connsiteY10" fmla="*/ 14023 h 105334"/>
                  <a:gd name="connsiteX11" fmla="*/ 11035 w 69258"/>
                  <a:gd name="connsiteY11" fmla="*/ 4303 h 105334"/>
                  <a:gd name="connsiteX12" fmla="*/ 27348 w 69258"/>
                  <a:gd name="connsiteY12" fmla="*/ 0 h 10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258" h="105334">
                    <a:moveTo>
                      <a:pt x="27348" y="0"/>
                    </a:moveTo>
                    <a:cubicBezTo>
                      <a:pt x="50494" y="0"/>
                      <a:pt x="69258" y="24512"/>
                      <a:pt x="69258" y="54750"/>
                    </a:cubicBezTo>
                    <a:cubicBezTo>
                      <a:pt x="69258" y="77429"/>
                      <a:pt x="58704" y="96886"/>
                      <a:pt x="43661" y="105198"/>
                    </a:cubicBezTo>
                    <a:lnTo>
                      <a:pt x="43147" y="105334"/>
                    </a:lnTo>
                    <a:lnTo>
                      <a:pt x="34024" y="86027"/>
                    </a:lnTo>
                    <a:lnTo>
                      <a:pt x="46233" y="79421"/>
                    </a:lnTo>
                    <a:cubicBezTo>
                      <a:pt x="51066" y="73107"/>
                      <a:pt x="54055" y="64385"/>
                      <a:pt x="54055" y="54750"/>
                    </a:cubicBezTo>
                    <a:cubicBezTo>
                      <a:pt x="54055" y="35481"/>
                      <a:pt x="42098" y="19861"/>
                      <a:pt x="27348" y="19861"/>
                    </a:cubicBezTo>
                    <a:cubicBezTo>
                      <a:pt x="19973" y="19861"/>
                      <a:pt x="13297" y="23766"/>
                      <a:pt x="8463" y="30080"/>
                    </a:cubicBezTo>
                    <a:lnTo>
                      <a:pt x="8112" y="31190"/>
                    </a:lnTo>
                    <a:lnTo>
                      <a:pt x="0" y="14023"/>
                    </a:lnTo>
                    <a:lnTo>
                      <a:pt x="11035" y="4303"/>
                    </a:lnTo>
                    <a:cubicBezTo>
                      <a:pt x="16049" y="1532"/>
                      <a:pt x="21562" y="0"/>
                      <a:pt x="27348" y="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Freeform 27"/>
            <p:cNvSpPr/>
            <p:nvPr/>
          </p:nvSpPr>
          <p:spPr>
            <a:xfrm>
              <a:off x="5523304" y="4998271"/>
              <a:ext cx="3300658" cy="1070413"/>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3369194 w 3369194"/>
                <a:gd name="connsiteY0" fmla="*/ 274769 h 922295"/>
                <a:gd name="connsiteX1" fmla="*/ 2043314 w 3369194"/>
                <a:gd name="connsiteY1" fmla="*/ 8069 h 922295"/>
                <a:gd name="connsiteX2" fmla="*/ 2302394 w 3369194"/>
                <a:gd name="connsiteY2" fmla="*/ 808169 h 922295"/>
                <a:gd name="connsiteX3" fmla="*/ 1311794 w 3369194"/>
                <a:gd name="connsiteY3" fmla="*/ 846269 h 922295"/>
                <a:gd name="connsiteX4" fmla="*/ 86880 w 3369194"/>
                <a:gd name="connsiteY4" fmla="*/ 562425 h 922295"/>
                <a:gd name="connsiteX5" fmla="*/ 100214 w 3369194"/>
                <a:gd name="connsiteY5" fmla="*/ 541469 h 922295"/>
                <a:gd name="connsiteX0" fmla="*/ 3369194 w 3369194"/>
                <a:gd name="connsiteY0" fmla="*/ 274769 h 965006"/>
                <a:gd name="connsiteX1" fmla="*/ 2043314 w 3369194"/>
                <a:gd name="connsiteY1" fmla="*/ 8069 h 965006"/>
                <a:gd name="connsiteX2" fmla="*/ 2302394 w 3369194"/>
                <a:gd name="connsiteY2" fmla="*/ 808169 h 965006"/>
                <a:gd name="connsiteX3" fmla="*/ 1311794 w 3369194"/>
                <a:gd name="connsiteY3" fmla="*/ 846269 h 965006"/>
                <a:gd name="connsiteX4" fmla="*/ 86880 w 3369194"/>
                <a:gd name="connsiteY4" fmla="*/ 562425 h 965006"/>
                <a:gd name="connsiteX5" fmla="*/ 100214 w 3369194"/>
                <a:gd name="connsiteY5" fmla="*/ 541469 h 965006"/>
                <a:gd name="connsiteX0" fmla="*/ 3312351 w 3312351"/>
                <a:gd name="connsiteY0" fmla="*/ 274769 h 965006"/>
                <a:gd name="connsiteX1" fmla="*/ 1986471 w 3312351"/>
                <a:gd name="connsiteY1" fmla="*/ 8069 h 965006"/>
                <a:gd name="connsiteX2" fmla="*/ 2245551 w 3312351"/>
                <a:gd name="connsiteY2" fmla="*/ 808169 h 965006"/>
                <a:gd name="connsiteX3" fmla="*/ 1254951 w 3312351"/>
                <a:gd name="connsiteY3" fmla="*/ 846269 h 965006"/>
                <a:gd name="connsiteX4" fmla="*/ 30037 w 3312351"/>
                <a:gd name="connsiteY4" fmla="*/ 562425 h 965006"/>
                <a:gd name="connsiteX5" fmla="*/ 43371 w 3312351"/>
                <a:gd name="connsiteY5" fmla="*/ 541469 h 965006"/>
                <a:gd name="connsiteX0" fmla="*/ 3304914 w 3304914"/>
                <a:gd name="connsiteY0" fmla="*/ 274769 h 968407"/>
                <a:gd name="connsiteX1" fmla="*/ 1979034 w 3304914"/>
                <a:gd name="connsiteY1" fmla="*/ 8069 h 968407"/>
                <a:gd name="connsiteX2" fmla="*/ 2238114 w 3304914"/>
                <a:gd name="connsiteY2" fmla="*/ 808169 h 968407"/>
                <a:gd name="connsiteX3" fmla="*/ 1247514 w 3304914"/>
                <a:gd name="connsiteY3" fmla="*/ 846269 h 968407"/>
                <a:gd name="connsiteX4" fmla="*/ 30220 w 3304914"/>
                <a:gd name="connsiteY4" fmla="*/ 568140 h 968407"/>
                <a:gd name="connsiteX5" fmla="*/ 35934 w 3304914"/>
                <a:gd name="connsiteY5" fmla="*/ 541469 h 968407"/>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31678 w 3300658"/>
                <a:gd name="connsiteY5" fmla="*/ 54146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81208 w 3300658"/>
                <a:gd name="connsiteY5" fmla="*/ 47669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64063 w 3300658"/>
                <a:gd name="connsiteY5" fmla="*/ 417644 h 1070413"/>
                <a:gd name="connsiteX0" fmla="*/ 3357720 w 3357720"/>
                <a:gd name="connsiteY0" fmla="*/ 274769 h 1070413"/>
                <a:gd name="connsiteX1" fmla="*/ 2031840 w 3357720"/>
                <a:gd name="connsiteY1" fmla="*/ 8069 h 1070413"/>
                <a:gd name="connsiteX2" fmla="*/ 2290920 w 3357720"/>
                <a:gd name="connsiteY2" fmla="*/ 808169 h 1070413"/>
                <a:gd name="connsiteX3" fmla="*/ 1300320 w 3357720"/>
                <a:gd name="connsiteY3" fmla="*/ 846269 h 1070413"/>
                <a:gd name="connsiteX4" fmla="*/ 83026 w 3357720"/>
                <a:gd name="connsiteY4" fmla="*/ 568140 h 1070413"/>
                <a:gd name="connsiteX5" fmla="*/ 109694 w 3357720"/>
                <a:gd name="connsiteY5" fmla="*/ 446219 h 1070413"/>
                <a:gd name="connsiteX6" fmla="*/ 121125 w 3357720"/>
                <a:gd name="connsiteY6" fmla="*/ 417644 h 1070413"/>
                <a:gd name="connsiteX0" fmla="*/ 3380676 w 3380676"/>
                <a:gd name="connsiteY0" fmla="*/ 274769 h 1070413"/>
                <a:gd name="connsiteX1" fmla="*/ 2054796 w 3380676"/>
                <a:gd name="connsiteY1" fmla="*/ 8069 h 1070413"/>
                <a:gd name="connsiteX2" fmla="*/ 2313876 w 3380676"/>
                <a:gd name="connsiteY2" fmla="*/ 808169 h 1070413"/>
                <a:gd name="connsiteX3" fmla="*/ 1323276 w 3380676"/>
                <a:gd name="connsiteY3" fmla="*/ 846269 h 1070413"/>
                <a:gd name="connsiteX4" fmla="*/ 105982 w 3380676"/>
                <a:gd name="connsiteY4" fmla="*/ 568140 h 1070413"/>
                <a:gd name="connsiteX5" fmla="*/ 65975 w 3380676"/>
                <a:gd name="connsiteY5" fmla="*/ 480509 h 1070413"/>
                <a:gd name="connsiteX6" fmla="*/ 132650 w 3380676"/>
                <a:gd name="connsiteY6" fmla="*/ 446219 h 1070413"/>
                <a:gd name="connsiteX7" fmla="*/ 144081 w 3380676"/>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110875 w 3358901"/>
                <a:gd name="connsiteY6" fmla="*/ 446219 h 1070413"/>
                <a:gd name="connsiteX7" fmla="*/ 122306 w 3358901"/>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84205 w 3358901"/>
                <a:gd name="connsiteY6" fmla="*/ 465269 h 1070413"/>
                <a:gd name="connsiteX7" fmla="*/ 122306 w 3358901"/>
                <a:gd name="connsiteY7" fmla="*/ 417644 h 1070413"/>
                <a:gd name="connsiteX0" fmla="*/ 3393863 w 3393863"/>
                <a:gd name="connsiteY0" fmla="*/ 274769 h 1070413"/>
                <a:gd name="connsiteX1" fmla="*/ 2067983 w 3393863"/>
                <a:gd name="connsiteY1" fmla="*/ 8069 h 1070413"/>
                <a:gd name="connsiteX2" fmla="*/ 2327063 w 3393863"/>
                <a:gd name="connsiteY2" fmla="*/ 808169 h 1070413"/>
                <a:gd name="connsiteX3" fmla="*/ 1336463 w 3393863"/>
                <a:gd name="connsiteY3" fmla="*/ 846269 h 1070413"/>
                <a:gd name="connsiteX4" fmla="*/ 119169 w 3393863"/>
                <a:gd name="connsiteY4" fmla="*/ 568140 h 1070413"/>
                <a:gd name="connsiteX5" fmla="*/ 50587 w 3393863"/>
                <a:gd name="connsiteY5" fmla="*/ 520514 h 1070413"/>
                <a:gd name="connsiteX6" fmla="*/ 161077 w 3393863"/>
                <a:gd name="connsiteY6" fmla="*/ 499559 h 1070413"/>
                <a:gd name="connsiteX7" fmla="*/ 119167 w 3393863"/>
                <a:gd name="connsiteY7" fmla="*/ 465269 h 1070413"/>
                <a:gd name="connsiteX8" fmla="*/ 157268 w 3393863"/>
                <a:gd name="connsiteY8" fmla="*/ 417644 h 1070413"/>
                <a:gd name="connsiteX0" fmla="*/ 3373064 w 3373064"/>
                <a:gd name="connsiteY0" fmla="*/ 274769 h 1070413"/>
                <a:gd name="connsiteX1" fmla="*/ 2047184 w 3373064"/>
                <a:gd name="connsiteY1" fmla="*/ 8069 h 1070413"/>
                <a:gd name="connsiteX2" fmla="*/ 2306264 w 3373064"/>
                <a:gd name="connsiteY2" fmla="*/ 808169 h 1070413"/>
                <a:gd name="connsiteX3" fmla="*/ 1315664 w 3373064"/>
                <a:gd name="connsiteY3" fmla="*/ 846269 h 1070413"/>
                <a:gd name="connsiteX4" fmla="*/ 98370 w 3373064"/>
                <a:gd name="connsiteY4" fmla="*/ 568140 h 1070413"/>
                <a:gd name="connsiteX5" fmla="*/ 92653 w 3373064"/>
                <a:gd name="connsiteY5" fmla="*/ 510989 h 1070413"/>
                <a:gd name="connsiteX6" fmla="*/ 140278 w 3373064"/>
                <a:gd name="connsiteY6" fmla="*/ 499559 h 1070413"/>
                <a:gd name="connsiteX7" fmla="*/ 98368 w 3373064"/>
                <a:gd name="connsiteY7" fmla="*/ 465269 h 1070413"/>
                <a:gd name="connsiteX8" fmla="*/ 136469 w 3373064"/>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0247 w 3300658"/>
                <a:gd name="connsiteY5" fmla="*/ 51098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0658" h="1070413">
                  <a:moveTo>
                    <a:pt x="3300658" y="274769"/>
                  </a:moveTo>
                  <a:cubicBezTo>
                    <a:pt x="2848538" y="601159"/>
                    <a:pt x="2152578" y="-80831"/>
                    <a:pt x="1974778" y="8069"/>
                  </a:cubicBezTo>
                  <a:cubicBezTo>
                    <a:pt x="1817298" y="99509"/>
                    <a:pt x="2254178" y="564329"/>
                    <a:pt x="2233858" y="808169"/>
                  </a:cubicBezTo>
                  <a:cubicBezTo>
                    <a:pt x="2203378" y="1034229"/>
                    <a:pt x="1609018" y="856429"/>
                    <a:pt x="1243258" y="846269"/>
                  </a:cubicBezTo>
                  <a:cubicBezTo>
                    <a:pt x="874006" y="805312"/>
                    <a:pt x="-177871" y="1531435"/>
                    <a:pt x="25964" y="568140"/>
                  </a:cubicBezTo>
                  <a:cubicBezTo>
                    <a:pt x="25011" y="542423"/>
                    <a:pt x="17072" y="526229"/>
                    <a:pt x="24057" y="514799"/>
                  </a:cubicBezTo>
                  <a:cubicBezTo>
                    <a:pt x="31042" y="503369"/>
                    <a:pt x="52632" y="518291"/>
                    <a:pt x="64062" y="509084"/>
                  </a:cubicBezTo>
                  <a:cubicBezTo>
                    <a:pt x="75492" y="478922"/>
                    <a:pt x="12944" y="475746"/>
                    <a:pt x="25962" y="465269"/>
                  </a:cubicBezTo>
                  <a:cubicBezTo>
                    <a:pt x="32312" y="440186"/>
                    <a:pt x="62158" y="422406"/>
                    <a:pt x="64063" y="417644"/>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6483224" y="4951530"/>
              <a:ext cx="2340735" cy="916379"/>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2473447 w 2473447"/>
                <a:gd name="connsiteY0" fmla="*/ 274769 h 922295"/>
                <a:gd name="connsiteX1" fmla="*/ 1147567 w 2473447"/>
                <a:gd name="connsiteY1" fmla="*/ 8069 h 922295"/>
                <a:gd name="connsiteX2" fmla="*/ 1406647 w 2473447"/>
                <a:gd name="connsiteY2" fmla="*/ 808169 h 922295"/>
                <a:gd name="connsiteX3" fmla="*/ 416047 w 2473447"/>
                <a:gd name="connsiteY3" fmla="*/ 846269 h 922295"/>
                <a:gd name="connsiteX4" fmla="*/ 296734 w 2473447"/>
                <a:gd name="connsiteY4" fmla="*/ 310375 h 922295"/>
                <a:gd name="connsiteX0" fmla="*/ 2176713 w 2176713"/>
                <a:gd name="connsiteY0" fmla="*/ 274769 h 922295"/>
                <a:gd name="connsiteX1" fmla="*/ 850833 w 2176713"/>
                <a:gd name="connsiteY1" fmla="*/ 8069 h 922295"/>
                <a:gd name="connsiteX2" fmla="*/ 1109913 w 2176713"/>
                <a:gd name="connsiteY2" fmla="*/ 808169 h 922295"/>
                <a:gd name="connsiteX3" fmla="*/ 119313 w 2176713"/>
                <a:gd name="connsiteY3" fmla="*/ 846269 h 922295"/>
                <a:gd name="connsiteX4" fmla="*/ 0 w 2176713"/>
                <a:gd name="connsiteY4" fmla="*/ 310375 h 922295"/>
                <a:gd name="connsiteX0" fmla="*/ 2176713 w 2176713"/>
                <a:gd name="connsiteY0" fmla="*/ 274769 h 949340"/>
                <a:gd name="connsiteX1" fmla="*/ 850833 w 2176713"/>
                <a:gd name="connsiteY1" fmla="*/ 8069 h 949340"/>
                <a:gd name="connsiteX2" fmla="*/ 1073259 w 2176713"/>
                <a:gd name="connsiteY2" fmla="*/ 846685 h 949340"/>
                <a:gd name="connsiteX3" fmla="*/ 119313 w 2176713"/>
                <a:gd name="connsiteY3" fmla="*/ 846269 h 949340"/>
                <a:gd name="connsiteX4" fmla="*/ 0 w 2176713"/>
                <a:gd name="connsiteY4" fmla="*/ 310375 h 949340"/>
                <a:gd name="connsiteX0" fmla="*/ 2176713 w 2176713"/>
                <a:gd name="connsiteY0" fmla="*/ 274769 h 917187"/>
                <a:gd name="connsiteX1" fmla="*/ 850833 w 2176713"/>
                <a:gd name="connsiteY1" fmla="*/ 8069 h 917187"/>
                <a:gd name="connsiteX2" fmla="*/ 1087921 w 2176713"/>
                <a:gd name="connsiteY2" fmla="*/ 800466 h 917187"/>
                <a:gd name="connsiteX3" fmla="*/ 119313 w 2176713"/>
                <a:gd name="connsiteY3" fmla="*/ 846269 h 917187"/>
                <a:gd name="connsiteX4" fmla="*/ 0 w 2176713"/>
                <a:gd name="connsiteY4" fmla="*/ 310375 h 917187"/>
                <a:gd name="connsiteX0" fmla="*/ 2176713 w 2176713"/>
                <a:gd name="connsiteY0" fmla="*/ 274769 h 917187"/>
                <a:gd name="connsiteX1" fmla="*/ 850833 w 2176713"/>
                <a:gd name="connsiteY1" fmla="*/ 8069 h 917187"/>
                <a:gd name="connsiteX2" fmla="*/ 1087921 w 2176713"/>
                <a:gd name="connsiteY2" fmla="*/ 800466 h 917187"/>
                <a:gd name="connsiteX3" fmla="*/ 163297 w 2176713"/>
                <a:gd name="connsiteY3" fmla="*/ 846269 h 917187"/>
                <a:gd name="connsiteX4" fmla="*/ 0 w 2176713"/>
                <a:gd name="connsiteY4" fmla="*/ 310375 h 917187"/>
                <a:gd name="connsiteX0" fmla="*/ 2176713 w 2176713"/>
                <a:gd name="connsiteY0" fmla="*/ 259538 h 917362"/>
                <a:gd name="connsiteX1" fmla="*/ 850833 w 2176713"/>
                <a:gd name="connsiteY1" fmla="*/ 8244 h 917362"/>
                <a:gd name="connsiteX2" fmla="*/ 1087921 w 2176713"/>
                <a:gd name="connsiteY2" fmla="*/ 800641 h 917362"/>
                <a:gd name="connsiteX3" fmla="*/ 163297 w 2176713"/>
                <a:gd name="connsiteY3" fmla="*/ 846444 h 917362"/>
                <a:gd name="connsiteX4" fmla="*/ 0 w 2176713"/>
                <a:gd name="connsiteY4" fmla="*/ 310550 h 917362"/>
                <a:gd name="connsiteX0" fmla="*/ 2176713 w 2176713"/>
                <a:gd name="connsiteY0" fmla="*/ 268552 h 926376"/>
                <a:gd name="connsiteX1" fmla="*/ 850833 w 2176713"/>
                <a:gd name="connsiteY1" fmla="*/ 17258 h 926376"/>
                <a:gd name="connsiteX2" fmla="*/ 1087921 w 2176713"/>
                <a:gd name="connsiteY2" fmla="*/ 809655 h 926376"/>
                <a:gd name="connsiteX3" fmla="*/ 163297 w 2176713"/>
                <a:gd name="connsiteY3" fmla="*/ 855458 h 926376"/>
                <a:gd name="connsiteX4" fmla="*/ 0 w 2176713"/>
                <a:gd name="connsiteY4" fmla="*/ 319564 h 926376"/>
                <a:gd name="connsiteX0" fmla="*/ 2251852 w 2251852"/>
                <a:gd name="connsiteY0" fmla="*/ 268552 h 926376"/>
                <a:gd name="connsiteX1" fmla="*/ 925972 w 2251852"/>
                <a:gd name="connsiteY1" fmla="*/ 17258 h 926376"/>
                <a:gd name="connsiteX2" fmla="*/ 1163060 w 2251852"/>
                <a:gd name="connsiteY2" fmla="*/ 809655 h 926376"/>
                <a:gd name="connsiteX3" fmla="*/ 238436 w 2251852"/>
                <a:gd name="connsiteY3" fmla="*/ 855458 h 926376"/>
                <a:gd name="connsiteX4" fmla="*/ 0 w 2251852"/>
                <a:gd name="connsiteY4" fmla="*/ 261790 h 92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852" h="926376">
                  <a:moveTo>
                    <a:pt x="2251852" y="268552"/>
                  </a:moveTo>
                  <a:cubicBezTo>
                    <a:pt x="1799732" y="594942"/>
                    <a:pt x="1169748" y="-117861"/>
                    <a:pt x="925972" y="17258"/>
                  </a:cubicBezTo>
                  <a:cubicBezTo>
                    <a:pt x="768492" y="108698"/>
                    <a:pt x="1183380" y="565815"/>
                    <a:pt x="1163060" y="809655"/>
                  </a:cubicBezTo>
                  <a:cubicBezTo>
                    <a:pt x="1132580" y="1035715"/>
                    <a:pt x="604196" y="865618"/>
                    <a:pt x="238436" y="855458"/>
                  </a:cubicBezTo>
                  <a:cubicBezTo>
                    <a:pt x="-152724" y="814818"/>
                    <a:pt x="715641" y="454719"/>
                    <a:pt x="0" y="261790"/>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6442984" y="5173306"/>
              <a:ext cx="73679" cy="6163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Equals"/>
          <p:cNvSpPr/>
          <p:nvPr/>
        </p:nvSpPr>
        <p:spPr>
          <a:xfrm>
            <a:off x="9559303" y="5675493"/>
            <a:ext cx="590767" cy="403582"/>
          </a:xfrm>
          <a:custGeom>
            <a:avLst/>
            <a:gdLst>
              <a:gd name="connsiteX0" fmla="*/ 0 w 1018594"/>
              <a:gd name="connsiteY0" fmla="*/ 441973 h 695851"/>
              <a:gd name="connsiteX1" fmla="*/ 1018594 w 1018594"/>
              <a:gd name="connsiteY1" fmla="*/ 441973 h 695851"/>
              <a:gd name="connsiteX2" fmla="*/ 1018594 w 1018594"/>
              <a:gd name="connsiteY2" fmla="*/ 695851 h 695851"/>
              <a:gd name="connsiteX3" fmla="*/ 0 w 1018594"/>
              <a:gd name="connsiteY3" fmla="*/ 695851 h 695851"/>
              <a:gd name="connsiteX4" fmla="*/ 0 w 1018594"/>
              <a:gd name="connsiteY4" fmla="*/ 0 h 695851"/>
              <a:gd name="connsiteX5" fmla="*/ 1018594 w 1018594"/>
              <a:gd name="connsiteY5" fmla="*/ 0 h 695851"/>
              <a:gd name="connsiteX6" fmla="*/ 1018594 w 1018594"/>
              <a:gd name="connsiteY6" fmla="*/ 253878 h 695851"/>
              <a:gd name="connsiteX7" fmla="*/ 0 w 1018594"/>
              <a:gd name="connsiteY7" fmla="*/ 253878 h 69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8594" h="695851">
                <a:moveTo>
                  <a:pt x="0" y="441973"/>
                </a:moveTo>
                <a:lnTo>
                  <a:pt x="1018594" y="441973"/>
                </a:lnTo>
                <a:lnTo>
                  <a:pt x="1018594" y="695851"/>
                </a:lnTo>
                <a:lnTo>
                  <a:pt x="0" y="695851"/>
                </a:lnTo>
                <a:close/>
                <a:moveTo>
                  <a:pt x="0" y="0"/>
                </a:moveTo>
                <a:lnTo>
                  <a:pt x="1018594" y="0"/>
                </a:lnTo>
                <a:lnTo>
                  <a:pt x="1018594" y="253878"/>
                </a:lnTo>
                <a:lnTo>
                  <a:pt x="0" y="253878"/>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us Trap"/>
          <p:cNvSpPr/>
          <p:nvPr/>
        </p:nvSpPr>
        <p:spPr>
          <a:xfrm>
            <a:off x="2553767"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ouse"/>
          <p:cNvSpPr/>
          <p:nvPr/>
        </p:nvSpPr>
        <p:spPr>
          <a:xfrm>
            <a:off x="815231" y="5684323"/>
            <a:ext cx="1448241" cy="385923"/>
          </a:xfrm>
          <a:custGeom>
            <a:avLst/>
            <a:gdLst>
              <a:gd name="connsiteX0" fmla="*/ 1602118 w 2497040"/>
              <a:gd name="connsiteY0" fmla="*/ 0 h 665403"/>
              <a:gd name="connsiteX1" fmla="*/ 1628415 w 2497040"/>
              <a:gd name="connsiteY1" fmla="*/ 894 h 665403"/>
              <a:gd name="connsiteX2" fmla="*/ 1656472 w 2497040"/>
              <a:gd name="connsiteY2" fmla="*/ 3319 h 665403"/>
              <a:gd name="connsiteX3" fmla="*/ 1687660 w 2497040"/>
              <a:gd name="connsiteY3" fmla="*/ 7292 h 665403"/>
              <a:gd name="connsiteX4" fmla="*/ 1721161 w 2497040"/>
              <a:gd name="connsiteY4" fmla="*/ 12529 h 665403"/>
              <a:gd name="connsiteX5" fmla="*/ 1746851 w 2497040"/>
              <a:gd name="connsiteY5" fmla="*/ 17801 h 665403"/>
              <a:gd name="connsiteX6" fmla="*/ 1774160 w 2497040"/>
              <a:gd name="connsiteY6" fmla="*/ 25012 h 665403"/>
              <a:gd name="connsiteX7" fmla="*/ 1802411 w 2497040"/>
              <a:gd name="connsiteY7" fmla="*/ 33469 h 665403"/>
              <a:gd name="connsiteX8" fmla="*/ 1830644 w 2497040"/>
              <a:gd name="connsiteY8" fmla="*/ 43297 h 665403"/>
              <a:gd name="connsiteX9" fmla="*/ 1858450 w 2497040"/>
              <a:gd name="connsiteY9" fmla="*/ 54351 h 665403"/>
              <a:gd name="connsiteX10" fmla="*/ 1885562 w 2497040"/>
              <a:gd name="connsiteY10" fmla="*/ 66082 h 665403"/>
              <a:gd name="connsiteX11" fmla="*/ 1910485 w 2497040"/>
              <a:gd name="connsiteY11" fmla="*/ 77511 h 665403"/>
              <a:gd name="connsiteX12" fmla="*/ 1932793 w 2497040"/>
              <a:gd name="connsiteY12" fmla="*/ 89864 h 665403"/>
              <a:gd name="connsiteX13" fmla="*/ 1951400 w 2497040"/>
              <a:gd name="connsiteY13" fmla="*/ 102305 h 665403"/>
              <a:gd name="connsiteX14" fmla="*/ 1963763 w 2497040"/>
              <a:gd name="connsiteY14" fmla="*/ 110279 h 665403"/>
              <a:gd name="connsiteX15" fmla="*/ 1974490 w 2497040"/>
              <a:gd name="connsiteY15" fmla="*/ 117683 h 665403"/>
              <a:gd name="connsiteX16" fmla="*/ 1984398 w 2497040"/>
              <a:gd name="connsiteY16" fmla="*/ 124802 h 665403"/>
              <a:gd name="connsiteX17" fmla="*/ 1992278 w 2497040"/>
              <a:gd name="connsiteY17" fmla="*/ 129840 h 665403"/>
              <a:gd name="connsiteX18" fmla="*/ 1997170 w 2497040"/>
              <a:gd name="connsiteY18" fmla="*/ 132919 h 665403"/>
              <a:gd name="connsiteX19" fmla="*/ 2001386 w 2497040"/>
              <a:gd name="connsiteY19" fmla="*/ 135304 h 665403"/>
              <a:gd name="connsiteX20" fmla="*/ 2009464 w 2497040"/>
              <a:gd name="connsiteY20" fmla="*/ 135821 h 665403"/>
              <a:gd name="connsiteX21" fmla="*/ 2019196 w 2497040"/>
              <a:gd name="connsiteY21" fmla="*/ 135538 h 665403"/>
              <a:gd name="connsiteX22" fmla="*/ 2030583 w 2497040"/>
              <a:gd name="connsiteY22" fmla="*/ 134455 h 665403"/>
              <a:gd name="connsiteX23" fmla="*/ 2044462 w 2497040"/>
              <a:gd name="connsiteY23" fmla="*/ 131485 h 665403"/>
              <a:gd name="connsiteX24" fmla="*/ 2058749 w 2497040"/>
              <a:gd name="connsiteY24" fmla="*/ 128659 h 665403"/>
              <a:gd name="connsiteX25" fmla="*/ 2070706 w 2497040"/>
              <a:gd name="connsiteY25" fmla="*/ 125938 h 665403"/>
              <a:gd name="connsiteX26" fmla="*/ 2080066 w 2497040"/>
              <a:gd name="connsiteY26" fmla="*/ 122772 h 665403"/>
              <a:gd name="connsiteX27" fmla="*/ 2087503 w 2497040"/>
              <a:gd name="connsiteY27" fmla="*/ 119855 h 665403"/>
              <a:gd name="connsiteX28" fmla="*/ 2094265 w 2497040"/>
              <a:gd name="connsiteY28" fmla="*/ 116244 h 665403"/>
              <a:gd name="connsiteX29" fmla="*/ 2099942 w 2497040"/>
              <a:gd name="connsiteY29" fmla="*/ 111797 h 665403"/>
              <a:gd name="connsiteX30" fmla="*/ 2105495 w 2497040"/>
              <a:gd name="connsiteY30" fmla="*/ 106388 h 665403"/>
              <a:gd name="connsiteX31" fmla="*/ 2111760 w 2497040"/>
              <a:gd name="connsiteY31" fmla="*/ 98933 h 665403"/>
              <a:gd name="connsiteX32" fmla="*/ 2119003 w 2497040"/>
              <a:gd name="connsiteY32" fmla="*/ 89984 h 665403"/>
              <a:gd name="connsiteX33" fmla="*/ 2130002 w 2497040"/>
              <a:gd name="connsiteY33" fmla="*/ 76836 h 665403"/>
              <a:gd name="connsiteX34" fmla="*/ 2141214 w 2497040"/>
              <a:gd name="connsiteY34" fmla="*/ 68350 h 665403"/>
              <a:gd name="connsiteX35" fmla="*/ 2152655 w 2497040"/>
              <a:gd name="connsiteY35" fmla="*/ 63156 h 665403"/>
              <a:gd name="connsiteX36" fmla="*/ 2164042 w 2497040"/>
              <a:gd name="connsiteY36" fmla="*/ 62073 h 665403"/>
              <a:gd name="connsiteX37" fmla="*/ 2175927 w 2497040"/>
              <a:gd name="connsiteY37" fmla="*/ 64833 h 665403"/>
              <a:gd name="connsiteX38" fmla="*/ 2186938 w 2497040"/>
              <a:gd name="connsiteY38" fmla="*/ 71419 h 665403"/>
              <a:gd name="connsiteX39" fmla="*/ 2198304 w 2497040"/>
              <a:gd name="connsiteY39" fmla="*/ 82257 h 665403"/>
              <a:gd name="connsiteX40" fmla="*/ 2209758 w 2497040"/>
              <a:gd name="connsiteY40" fmla="*/ 96797 h 665403"/>
              <a:gd name="connsiteX41" fmla="*/ 2221443 w 2497040"/>
              <a:gd name="connsiteY41" fmla="*/ 114629 h 665403"/>
              <a:gd name="connsiteX42" fmla="*/ 2226938 w 2497040"/>
              <a:gd name="connsiteY42" fmla="*/ 123883 h 665403"/>
              <a:gd name="connsiteX43" fmla="*/ 2232860 w 2497040"/>
              <a:gd name="connsiteY43" fmla="*/ 131909 h 665403"/>
              <a:gd name="connsiteX44" fmla="*/ 2238801 w 2497040"/>
              <a:gd name="connsiteY44" fmla="*/ 138565 h 665403"/>
              <a:gd name="connsiteX45" fmla="*/ 2243266 w 2497040"/>
              <a:gd name="connsiteY45" fmla="*/ 142872 h 665403"/>
              <a:gd name="connsiteX46" fmla="*/ 2247073 w 2497040"/>
              <a:gd name="connsiteY46" fmla="*/ 145115 h 665403"/>
              <a:gd name="connsiteX47" fmla="*/ 2251058 w 2497040"/>
              <a:gd name="connsiteY47" fmla="*/ 144208 h 665403"/>
              <a:gd name="connsiteX48" fmla="*/ 2256432 w 2497040"/>
              <a:gd name="connsiteY48" fmla="*/ 141949 h 665403"/>
              <a:gd name="connsiteX49" fmla="*/ 2261842 w 2497040"/>
              <a:gd name="connsiteY49" fmla="*/ 136950 h 665403"/>
              <a:gd name="connsiteX50" fmla="*/ 2267395 w 2497040"/>
              <a:gd name="connsiteY50" fmla="*/ 131541 h 665403"/>
              <a:gd name="connsiteX51" fmla="*/ 2276027 w 2497040"/>
              <a:gd name="connsiteY51" fmla="*/ 121240 h 665403"/>
              <a:gd name="connsiteX52" fmla="*/ 2283519 w 2497040"/>
              <a:gd name="connsiteY52" fmla="*/ 114212 h 665403"/>
              <a:gd name="connsiteX53" fmla="*/ 2289853 w 2497040"/>
              <a:gd name="connsiteY53" fmla="*/ 111829 h 665403"/>
              <a:gd name="connsiteX54" fmla="*/ 2294782 w 2497040"/>
              <a:gd name="connsiteY54" fmla="*/ 112168 h 665403"/>
              <a:gd name="connsiteX55" fmla="*/ 2299246 w 2497040"/>
              <a:gd name="connsiteY55" fmla="*/ 116475 h 665403"/>
              <a:gd name="connsiteX56" fmla="*/ 2302429 w 2497040"/>
              <a:gd name="connsiteY56" fmla="*/ 124465 h 665403"/>
              <a:gd name="connsiteX57" fmla="*/ 2303832 w 2497040"/>
              <a:gd name="connsiteY57" fmla="*/ 132295 h 665403"/>
              <a:gd name="connsiteX58" fmla="*/ 2305466 w 2497040"/>
              <a:gd name="connsiteY58" fmla="*/ 143416 h 665403"/>
              <a:gd name="connsiteX59" fmla="*/ 2305730 w 2497040"/>
              <a:gd name="connsiteY59" fmla="*/ 154520 h 665403"/>
              <a:gd name="connsiteX60" fmla="*/ 2306279 w 2497040"/>
              <a:gd name="connsiteY60" fmla="*/ 164805 h 665403"/>
              <a:gd name="connsiteX61" fmla="*/ 2305352 w 2497040"/>
              <a:gd name="connsiteY61" fmla="*/ 172741 h 665403"/>
              <a:gd name="connsiteX62" fmla="*/ 2306079 w 2497040"/>
              <a:gd name="connsiteY62" fmla="*/ 179877 h 665403"/>
              <a:gd name="connsiteX63" fmla="*/ 2306967 w 2497040"/>
              <a:gd name="connsiteY63" fmla="*/ 185233 h 665403"/>
              <a:gd name="connsiteX64" fmla="*/ 2309919 w 2497040"/>
              <a:gd name="connsiteY64" fmla="*/ 189931 h 665403"/>
              <a:gd name="connsiteX65" fmla="*/ 2314099 w 2497040"/>
              <a:gd name="connsiteY65" fmla="*/ 195057 h 665403"/>
              <a:gd name="connsiteX66" fmla="*/ 2320734 w 2497040"/>
              <a:gd name="connsiteY66" fmla="*/ 201037 h 665403"/>
              <a:gd name="connsiteX67" fmla="*/ 2330233 w 2497040"/>
              <a:gd name="connsiteY67" fmla="*/ 208014 h 665403"/>
              <a:gd name="connsiteX68" fmla="*/ 2342720 w 2497040"/>
              <a:gd name="connsiteY68" fmla="*/ 216948 h 665403"/>
              <a:gd name="connsiteX69" fmla="*/ 2359673 w 2497040"/>
              <a:gd name="connsiteY69" fmla="*/ 230190 h 665403"/>
              <a:gd name="connsiteX70" fmla="*/ 2376055 w 2497040"/>
              <a:gd name="connsiteY70" fmla="*/ 245069 h 665403"/>
              <a:gd name="connsiteX71" fmla="*/ 2390658 w 2497040"/>
              <a:gd name="connsiteY71" fmla="*/ 259787 h 665403"/>
              <a:gd name="connsiteX72" fmla="*/ 2405510 w 2497040"/>
              <a:gd name="connsiteY72" fmla="*/ 276427 h 665403"/>
              <a:gd name="connsiteX73" fmla="*/ 2420059 w 2497040"/>
              <a:gd name="connsiteY73" fmla="*/ 295256 h 665403"/>
              <a:gd name="connsiteX74" fmla="*/ 2434589 w 2497040"/>
              <a:gd name="connsiteY74" fmla="*/ 315455 h 665403"/>
              <a:gd name="connsiteX75" fmla="*/ 2449493 w 2497040"/>
              <a:gd name="connsiteY75" fmla="*/ 338537 h 665403"/>
              <a:gd name="connsiteX76" fmla="*/ 2464769 w 2497040"/>
              <a:gd name="connsiteY76" fmla="*/ 364501 h 665403"/>
              <a:gd name="connsiteX77" fmla="*/ 2475883 w 2497040"/>
              <a:gd name="connsiteY77" fmla="*/ 383970 h 665403"/>
              <a:gd name="connsiteX78" fmla="*/ 2484028 w 2497040"/>
              <a:gd name="connsiteY78" fmla="*/ 400111 h 665403"/>
              <a:gd name="connsiteX79" fmla="*/ 2490144 w 2497040"/>
              <a:gd name="connsiteY79" fmla="*/ 414169 h 665403"/>
              <a:gd name="connsiteX80" fmla="*/ 2494233 w 2497040"/>
              <a:gd name="connsiteY80" fmla="*/ 426145 h 665403"/>
              <a:gd name="connsiteX81" fmla="*/ 2496989 w 2497040"/>
              <a:gd name="connsiteY81" fmla="*/ 435363 h 665403"/>
              <a:gd name="connsiteX82" fmla="*/ 2497040 w 2497040"/>
              <a:gd name="connsiteY82" fmla="*/ 441805 h 665403"/>
              <a:gd name="connsiteX83" fmla="*/ 2494797 w 2497040"/>
              <a:gd name="connsiteY83" fmla="*/ 445612 h 665403"/>
              <a:gd name="connsiteX84" fmla="*/ 2490669 w 2497040"/>
              <a:gd name="connsiteY84" fmla="*/ 446928 h 665403"/>
              <a:gd name="connsiteX85" fmla="*/ 2487644 w 2497040"/>
              <a:gd name="connsiteY85" fmla="*/ 447711 h 665403"/>
              <a:gd name="connsiteX86" fmla="*/ 2482289 w 2497040"/>
              <a:gd name="connsiteY86" fmla="*/ 448600 h 665403"/>
              <a:gd name="connsiteX87" fmla="*/ 2475545 w 2497040"/>
              <a:gd name="connsiteY87" fmla="*/ 450841 h 665403"/>
              <a:gd name="connsiteX88" fmla="*/ 2467841 w 2497040"/>
              <a:gd name="connsiteY88" fmla="*/ 453206 h 665403"/>
              <a:gd name="connsiteX89" fmla="*/ 2459727 w 2497040"/>
              <a:gd name="connsiteY89" fmla="*/ 455429 h 665403"/>
              <a:gd name="connsiteX90" fmla="*/ 2448037 w 2497040"/>
              <a:gd name="connsiteY90" fmla="*/ 458701 h 665403"/>
              <a:gd name="connsiteX91" fmla="*/ 2435670 w 2497040"/>
              <a:gd name="connsiteY91" fmla="*/ 461279 h 665403"/>
              <a:gd name="connsiteX92" fmla="*/ 2422362 w 2497040"/>
              <a:gd name="connsiteY92" fmla="*/ 462611 h 665403"/>
              <a:gd name="connsiteX93" fmla="*/ 2411402 w 2497040"/>
              <a:gd name="connsiteY93" fmla="*/ 462467 h 665403"/>
              <a:gd name="connsiteX94" fmla="*/ 2400727 w 2497040"/>
              <a:gd name="connsiteY94" fmla="*/ 461504 h 665403"/>
              <a:gd name="connsiteX95" fmla="*/ 2389501 w 2497040"/>
              <a:gd name="connsiteY95" fmla="*/ 460808 h 665403"/>
              <a:gd name="connsiteX96" fmla="*/ 2378826 w 2497040"/>
              <a:gd name="connsiteY96" fmla="*/ 459846 h 665403"/>
              <a:gd name="connsiteX97" fmla="*/ 2370054 w 2497040"/>
              <a:gd name="connsiteY97" fmla="*/ 460004 h 665403"/>
              <a:gd name="connsiteX98" fmla="*/ 2361158 w 2497040"/>
              <a:gd name="connsiteY98" fmla="*/ 459202 h 665403"/>
              <a:gd name="connsiteX99" fmla="*/ 2350217 w 2497040"/>
              <a:gd name="connsiteY99" fmla="*/ 457688 h 665403"/>
              <a:gd name="connsiteX100" fmla="*/ 2337496 w 2497040"/>
              <a:gd name="connsiteY100" fmla="*/ 456013 h 665403"/>
              <a:gd name="connsiteX101" fmla="*/ 2325612 w 2497040"/>
              <a:gd name="connsiteY101" fmla="*/ 453253 h 665403"/>
              <a:gd name="connsiteX102" fmla="*/ 2313033 w 2497040"/>
              <a:gd name="connsiteY102" fmla="*/ 451169 h 665403"/>
              <a:gd name="connsiteX103" fmla="*/ 2300028 w 2497040"/>
              <a:gd name="connsiteY103" fmla="*/ 450312 h 665403"/>
              <a:gd name="connsiteX104" fmla="*/ 2287840 w 2497040"/>
              <a:gd name="connsiteY104" fmla="*/ 449741 h 665403"/>
              <a:gd name="connsiteX105" fmla="*/ 2277005 w 2497040"/>
              <a:gd name="connsiteY105" fmla="*/ 450558 h 665403"/>
              <a:gd name="connsiteX106" fmla="*/ 2264799 w 2497040"/>
              <a:gd name="connsiteY106" fmla="*/ 451356 h 665403"/>
              <a:gd name="connsiteX107" fmla="*/ 2250405 w 2497040"/>
              <a:gd name="connsiteY107" fmla="*/ 451852 h 665403"/>
              <a:gd name="connsiteX108" fmla="*/ 2234375 w 2497040"/>
              <a:gd name="connsiteY108" fmla="*/ 451778 h 665403"/>
              <a:gd name="connsiteX109" fmla="*/ 2214235 w 2497040"/>
              <a:gd name="connsiteY109" fmla="*/ 451650 h 665403"/>
              <a:gd name="connsiteX110" fmla="*/ 2191087 w 2497040"/>
              <a:gd name="connsiteY110" fmla="*/ 450934 h 665403"/>
              <a:gd name="connsiteX111" fmla="*/ 2164258 w 2497040"/>
              <a:gd name="connsiteY111" fmla="*/ 448937 h 665403"/>
              <a:gd name="connsiteX112" fmla="*/ 2153298 w 2497040"/>
              <a:gd name="connsiteY112" fmla="*/ 448793 h 665403"/>
              <a:gd name="connsiteX113" fmla="*/ 2143566 w 2497040"/>
              <a:gd name="connsiteY113" fmla="*/ 449076 h 665403"/>
              <a:gd name="connsiteX114" fmla="*/ 2133264 w 2497040"/>
              <a:gd name="connsiteY114" fmla="*/ 450996 h 665403"/>
              <a:gd name="connsiteX115" fmla="*/ 2122819 w 2497040"/>
              <a:gd name="connsiteY115" fmla="*/ 453325 h 665403"/>
              <a:gd name="connsiteX116" fmla="*/ 2111129 w 2497040"/>
              <a:gd name="connsiteY116" fmla="*/ 456597 h 665403"/>
              <a:gd name="connsiteX117" fmla="*/ 2098175 w 2497040"/>
              <a:gd name="connsiteY117" fmla="*/ 462182 h 665403"/>
              <a:gd name="connsiteX118" fmla="*/ 2082605 w 2497040"/>
              <a:gd name="connsiteY118" fmla="*/ 468692 h 665403"/>
              <a:gd name="connsiteX119" fmla="*/ 2065505 w 2497040"/>
              <a:gd name="connsiteY119" fmla="*/ 476964 h 665403"/>
              <a:gd name="connsiteX120" fmla="*/ 2051981 w 2497040"/>
              <a:gd name="connsiteY120" fmla="*/ 484186 h 665403"/>
              <a:gd name="connsiteX121" fmla="*/ 2041482 w 2497040"/>
              <a:gd name="connsiteY121" fmla="*/ 490626 h 665403"/>
              <a:gd name="connsiteX122" fmla="*/ 2034132 w 2497040"/>
              <a:gd name="connsiteY122" fmla="*/ 497244 h 665403"/>
              <a:gd name="connsiteX123" fmla="*/ 2030910 w 2497040"/>
              <a:gd name="connsiteY123" fmla="*/ 502546 h 665403"/>
              <a:gd name="connsiteX124" fmla="*/ 2029468 w 2497040"/>
              <a:gd name="connsiteY124" fmla="*/ 508009 h 665403"/>
              <a:gd name="connsiteX125" fmla="*/ 2032420 w 2497040"/>
              <a:gd name="connsiteY125" fmla="*/ 512707 h 665403"/>
              <a:gd name="connsiteX126" fmla="*/ 2038788 w 2497040"/>
              <a:gd name="connsiteY126" fmla="*/ 518135 h 665403"/>
              <a:gd name="connsiteX127" fmla="*/ 2047362 w 2497040"/>
              <a:gd name="connsiteY127" fmla="*/ 522496 h 665403"/>
              <a:gd name="connsiteX128" fmla="*/ 2058944 w 2497040"/>
              <a:gd name="connsiteY128" fmla="*/ 527445 h 665403"/>
              <a:gd name="connsiteX129" fmla="*/ 2070258 w 2497040"/>
              <a:gd name="connsiteY129" fmla="*/ 531842 h 665403"/>
              <a:gd name="connsiteX130" fmla="*/ 2080309 w 2497040"/>
              <a:gd name="connsiteY130" fmla="*/ 538552 h 665403"/>
              <a:gd name="connsiteX131" fmla="*/ 2088047 w 2497040"/>
              <a:gd name="connsiteY131" fmla="*/ 543998 h 665403"/>
              <a:gd name="connsiteX132" fmla="*/ 2092760 w 2497040"/>
              <a:gd name="connsiteY132" fmla="*/ 550227 h 665403"/>
              <a:gd name="connsiteX133" fmla="*/ 2095018 w 2497040"/>
              <a:gd name="connsiteY133" fmla="*/ 555601 h 665403"/>
              <a:gd name="connsiteX134" fmla="*/ 2096030 w 2497040"/>
              <a:gd name="connsiteY134" fmla="*/ 561919 h 665403"/>
              <a:gd name="connsiteX135" fmla="*/ 2095282 w 2497040"/>
              <a:gd name="connsiteY135" fmla="*/ 566705 h 665403"/>
              <a:gd name="connsiteX136" fmla="*/ 2093039 w 2497040"/>
              <a:gd name="connsiteY136" fmla="*/ 570513 h 665403"/>
              <a:gd name="connsiteX137" fmla="*/ 2089320 w 2497040"/>
              <a:gd name="connsiteY137" fmla="*/ 571971 h 665403"/>
              <a:gd name="connsiteX138" fmla="*/ 2083983 w 2497040"/>
              <a:gd name="connsiteY138" fmla="*/ 571490 h 665403"/>
              <a:gd name="connsiteX139" fmla="*/ 2078379 w 2497040"/>
              <a:gd name="connsiteY139" fmla="*/ 570457 h 665403"/>
              <a:gd name="connsiteX140" fmla="*/ 2071386 w 2497040"/>
              <a:gd name="connsiteY140" fmla="*/ 570776 h 665403"/>
              <a:gd name="connsiteX141" fmla="*/ 2064642 w 2497040"/>
              <a:gd name="connsiteY141" fmla="*/ 573017 h 665403"/>
              <a:gd name="connsiteX142" fmla="*/ 2057774 w 2497040"/>
              <a:gd name="connsiteY142" fmla="*/ 574297 h 665403"/>
              <a:gd name="connsiteX143" fmla="*/ 2048754 w 2497040"/>
              <a:gd name="connsiteY143" fmla="*/ 572534 h 665403"/>
              <a:gd name="connsiteX144" fmla="*/ 2038258 w 2497040"/>
              <a:gd name="connsiteY144" fmla="*/ 568421 h 665403"/>
              <a:gd name="connsiteX145" fmla="*/ 2026162 w 2497040"/>
              <a:gd name="connsiteY145" fmla="*/ 560999 h 665403"/>
              <a:gd name="connsiteX146" fmla="*/ 2010952 w 2497040"/>
              <a:gd name="connsiteY146" fmla="*/ 550658 h 665403"/>
              <a:gd name="connsiteX147" fmla="*/ 1994000 w 2497040"/>
              <a:gd name="connsiteY147" fmla="*/ 537416 h 665403"/>
              <a:gd name="connsiteX148" fmla="*/ 1982331 w 2497040"/>
              <a:gd name="connsiteY148" fmla="*/ 528766 h 665403"/>
              <a:gd name="connsiteX149" fmla="*/ 1971711 w 2497040"/>
              <a:gd name="connsiteY149" fmla="*/ 523693 h 665403"/>
              <a:gd name="connsiteX150" fmla="*/ 1961872 w 2497040"/>
              <a:gd name="connsiteY150" fmla="*/ 521645 h 665403"/>
              <a:gd name="connsiteX151" fmla="*/ 1953083 w 2497040"/>
              <a:gd name="connsiteY151" fmla="*/ 523174 h 665403"/>
              <a:gd name="connsiteX152" fmla="*/ 1945075 w 2497040"/>
              <a:gd name="connsiteY152" fmla="*/ 527728 h 665403"/>
              <a:gd name="connsiteX153" fmla="*/ 1938525 w 2497040"/>
              <a:gd name="connsiteY153" fmla="*/ 536001 h 665403"/>
              <a:gd name="connsiteX154" fmla="*/ 1933755 w 2497040"/>
              <a:gd name="connsiteY154" fmla="*/ 544435 h 665403"/>
              <a:gd name="connsiteX155" fmla="*/ 1933770 w 2497040"/>
              <a:gd name="connsiteY155" fmla="*/ 553617 h 665403"/>
              <a:gd name="connsiteX156" fmla="*/ 1936810 w 2497040"/>
              <a:gd name="connsiteY156" fmla="*/ 562016 h 665403"/>
              <a:gd name="connsiteX157" fmla="*/ 1942590 w 2497040"/>
              <a:gd name="connsiteY157" fmla="*/ 570452 h 665403"/>
              <a:gd name="connsiteX158" fmla="*/ 1952338 w 2497040"/>
              <a:gd name="connsiteY158" fmla="*/ 579350 h 665403"/>
              <a:gd name="connsiteX159" fmla="*/ 1964150 w 2497040"/>
              <a:gd name="connsiteY159" fmla="*/ 587591 h 665403"/>
              <a:gd name="connsiteX160" fmla="*/ 1979519 w 2497040"/>
              <a:gd name="connsiteY160" fmla="*/ 596153 h 665403"/>
              <a:gd name="connsiteX161" fmla="*/ 1989731 w 2497040"/>
              <a:gd name="connsiteY161" fmla="*/ 601083 h 665403"/>
              <a:gd name="connsiteX162" fmla="*/ 1999124 w 2497040"/>
              <a:gd name="connsiteY162" fmla="*/ 605729 h 665403"/>
              <a:gd name="connsiteX163" fmla="*/ 2007822 w 2497040"/>
              <a:gd name="connsiteY163" fmla="*/ 611051 h 665403"/>
              <a:gd name="connsiteX164" fmla="*/ 2013515 w 2497040"/>
              <a:gd name="connsiteY164" fmla="*/ 615785 h 665403"/>
              <a:gd name="connsiteX165" fmla="*/ 2016894 w 2497040"/>
              <a:gd name="connsiteY165" fmla="*/ 619256 h 665403"/>
              <a:gd name="connsiteX166" fmla="*/ 2018458 w 2497040"/>
              <a:gd name="connsiteY166" fmla="*/ 625306 h 665403"/>
              <a:gd name="connsiteX167" fmla="*/ 2018634 w 2497040"/>
              <a:gd name="connsiteY167" fmla="*/ 632709 h 665403"/>
              <a:gd name="connsiteX168" fmla="*/ 2017173 w 2497040"/>
              <a:gd name="connsiteY168" fmla="*/ 639541 h 665403"/>
              <a:gd name="connsiteX169" fmla="*/ 2013952 w 2497040"/>
              <a:gd name="connsiteY169" fmla="*/ 644844 h 665403"/>
              <a:gd name="connsiteX170" fmla="*/ 2010054 w 2497040"/>
              <a:gd name="connsiteY170" fmla="*/ 649452 h 665403"/>
              <a:gd name="connsiteX171" fmla="*/ 2004413 w 2497040"/>
              <a:gd name="connsiteY171" fmla="*/ 651159 h 665403"/>
              <a:gd name="connsiteX172" fmla="*/ 1999324 w 2497040"/>
              <a:gd name="connsiteY172" fmla="*/ 652599 h 665403"/>
              <a:gd name="connsiteX173" fmla="*/ 1995036 w 2497040"/>
              <a:gd name="connsiteY173" fmla="*/ 655695 h 665403"/>
              <a:gd name="connsiteX174" fmla="*/ 1992241 w 2497040"/>
              <a:gd name="connsiteY174" fmla="*/ 659769 h 665403"/>
              <a:gd name="connsiteX175" fmla="*/ 1990693 w 2497040"/>
              <a:gd name="connsiteY175" fmla="*/ 662901 h 665403"/>
              <a:gd name="connsiteX176" fmla="*/ 1986974 w 2497040"/>
              <a:gd name="connsiteY176" fmla="*/ 664359 h 665403"/>
              <a:gd name="connsiteX177" fmla="*/ 1981085 w 2497040"/>
              <a:gd name="connsiteY177" fmla="*/ 664145 h 665403"/>
              <a:gd name="connsiteX178" fmla="*/ 1974395 w 2497040"/>
              <a:gd name="connsiteY178" fmla="*/ 662275 h 665403"/>
              <a:gd name="connsiteX179" fmla="*/ 1966336 w 2497040"/>
              <a:gd name="connsiteY179" fmla="*/ 660388 h 665403"/>
              <a:gd name="connsiteX180" fmla="*/ 1959486 w 2497040"/>
              <a:gd name="connsiteY180" fmla="*/ 660297 h 665403"/>
              <a:gd name="connsiteX181" fmla="*/ 1956586 w 2497040"/>
              <a:gd name="connsiteY181" fmla="*/ 662041 h 665403"/>
              <a:gd name="connsiteX182" fmla="*/ 1955037 w 2497040"/>
              <a:gd name="connsiteY182" fmla="*/ 665172 h 665403"/>
              <a:gd name="connsiteX183" fmla="*/ 1951745 w 2497040"/>
              <a:gd name="connsiteY183" fmla="*/ 665403 h 665403"/>
              <a:gd name="connsiteX184" fmla="*/ 1948205 w 2497040"/>
              <a:gd name="connsiteY184" fmla="*/ 663712 h 665403"/>
              <a:gd name="connsiteX185" fmla="*/ 1943207 w 2497040"/>
              <a:gd name="connsiteY185" fmla="*/ 658302 h 665403"/>
              <a:gd name="connsiteX186" fmla="*/ 1937285 w 2497040"/>
              <a:gd name="connsiteY186" fmla="*/ 650275 h 665403"/>
              <a:gd name="connsiteX187" fmla="*/ 1929495 w 2497040"/>
              <a:gd name="connsiteY187" fmla="*/ 638388 h 665403"/>
              <a:gd name="connsiteX188" fmla="*/ 1923839 w 2497040"/>
              <a:gd name="connsiteY188" fmla="*/ 630913 h 665403"/>
              <a:gd name="connsiteX189" fmla="*/ 1916280 w 2497040"/>
              <a:gd name="connsiteY189" fmla="*/ 622317 h 665403"/>
              <a:gd name="connsiteX190" fmla="*/ 1906693 w 2497040"/>
              <a:gd name="connsiteY190" fmla="*/ 611639 h 665403"/>
              <a:gd name="connsiteX191" fmla="*/ 1896163 w 2497040"/>
              <a:gd name="connsiteY191" fmla="*/ 599715 h 665403"/>
              <a:gd name="connsiteX192" fmla="*/ 1884406 w 2497040"/>
              <a:gd name="connsiteY192" fmla="*/ 587364 h 665403"/>
              <a:gd name="connsiteX193" fmla="*/ 1871955 w 2497040"/>
              <a:gd name="connsiteY193" fmla="*/ 575689 h 665403"/>
              <a:gd name="connsiteX194" fmla="*/ 1860198 w 2497040"/>
              <a:gd name="connsiteY194" fmla="*/ 563338 h 665403"/>
              <a:gd name="connsiteX195" fmla="*/ 1844758 w 2497040"/>
              <a:gd name="connsiteY195" fmla="*/ 549705 h 665403"/>
              <a:gd name="connsiteX196" fmla="*/ 1832022 w 2497040"/>
              <a:gd name="connsiteY196" fmla="*/ 538848 h 665403"/>
              <a:gd name="connsiteX197" fmla="*/ 1821865 w 2497040"/>
              <a:gd name="connsiteY197" fmla="*/ 529807 h 665403"/>
              <a:gd name="connsiteX198" fmla="*/ 1813185 w 2497040"/>
              <a:gd name="connsiteY198" fmla="*/ 523115 h 665403"/>
              <a:gd name="connsiteX199" fmla="*/ 1805980 w 2497040"/>
              <a:gd name="connsiteY199" fmla="*/ 518772 h 665403"/>
              <a:gd name="connsiteX200" fmla="*/ 1798900 w 2497040"/>
              <a:gd name="connsiteY200" fmla="*/ 515390 h 665403"/>
              <a:gd name="connsiteX201" fmla="*/ 1792762 w 2497040"/>
              <a:gd name="connsiteY201" fmla="*/ 513253 h 665403"/>
              <a:gd name="connsiteX202" fmla="*/ 1786749 w 2497040"/>
              <a:gd name="connsiteY202" fmla="*/ 512078 h 665403"/>
              <a:gd name="connsiteX203" fmla="*/ 1779241 w 2497040"/>
              <a:gd name="connsiteY203" fmla="*/ 509923 h 665403"/>
              <a:gd name="connsiteX204" fmla="*/ 1767766 w 2497040"/>
              <a:gd name="connsiteY204" fmla="*/ 507306 h 665403"/>
              <a:gd name="connsiteX205" fmla="*/ 1753978 w 2497040"/>
              <a:gd name="connsiteY205" fmla="*/ 503424 h 665403"/>
              <a:gd name="connsiteX206" fmla="*/ 1738002 w 2497040"/>
              <a:gd name="connsiteY206" fmla="*/ 499240 h 665403"/>
              <a:gd name="connsiteX207" fmla="*/ 1720390 w 2497040"/>
              <a:gd name="connsiteY207" fmla="*/ 494486 h 665403"/>
              <a:gd name="connsiteX208" fmla="*/ 1702919 w 2497040"/>
              <a:gd name="connsiteY208" fmla="*/ 489322 h 665403"/>
              <a:gd name="connsiteX209" fmla="*/ 1683261 w 2497040"/>
              <a:gd name="connsiteY209" fmla="*/ 483856 h 665403"/>
              <a:gd name="connsiteX210" fmla="*/ 1667836 w 2497040"/>
              <a:gd name="connsiteY210" fmla="*/ 479405 h 665403"/>
              <a:gd name="connsiteX211" fmla="*/ 1655543 w 2497040"/>
              <a:gd name="connsiteY211" fmla="*/ 476503 h 665403"/>
              <a:gd name="connsiteX212" fmla="*/ 1646523 w 2497040"/>
              <a:gd name="connsiteY212" fmla="*/ 474739 h 665403"/>
              <a:gd name="connsiteX213" fmla="*/ 1639673 w 2497040"/>
              <a:gd name="connsiteY213" fmla="*/ 474649 h 665403"/>
              <a:gd name="connsiteX214" fmla="*/ 1634460 w 2497040"/>
              <a:gd name="connsiteY214" fmla="*/ 475129 h 665403"/>
              <a:gd name="connsiteX215" fmla="*/ 1629228 w 2497040"/>
              <a:gd name="connsiteY215" fmla="*/ 476979 h 665403"/>
              <a:gd name="connsiteX216" fmla="*/ 1624531 w 2497040"/>
              <a:gd name="connsiteY216" fmla="*/ 479932 h 665403"/>
              <a:gd name="connsiteX217" fmla="*/ 1618587 w 2497040"/>
              <a:gd name="connsiteY217" fmla="*/ 483827 h 665403"/>
              <a:gd name="connsiteX218" fmla="*/ 1610579 w 2497040"/>
              <a:gd name="connsiteY218" fmla="*/ 488381 h 665403"/>
              <a:gd name="connsiteX219" fmla="*/ 1600650 w 2497040"/>
              <a:gd name="connsiteY219" fmla="*/ 493184 h 665403"/>
              <a:gd name="connsiteX220" fmla="*/ 1590169 w 2497040"/>
              <a:gd name="connsiteY220" fmla="*/ 498254 h 665403"/>
              <a:gd name="connsiteX221" fmla="*/ 1579422 w 2497040"/>
              <a:gd name="connsiteY221" fmla="*/ 502772 h 665403"/>
              <a:gd name="connsiteX222" fmla="*/ 1565489 w 2497040"/>
              <a:gd name="connsiteY222" fmla="*/ 509851 h 665403"/>
              <a:gd name="connsiteX223" fmla="*/ 1554990 w 2497040"/>
              <a:gd name="connsiteY223" fmla="*/ 516291 h 665403"/>
              <a:gd name="connsiteX224" fmla="*/ 1548334 w 2497040"/>
              <a:gd name="connsiteY224" fmla="*/ 522233 h 665403"/>
              <a:gd name="connsiteX225" fmla="*/ 1545788 w 2497040"/>
              <a:gd name="connsiteY225" fmla="*/ 528229 h 665403"/>
              <a:gd name="connsiteX226" fmla="*/ 1546676 w 2497040"/>
              <a:gd name="connsiteY226" fmla="*/ 533586 h 665403"/>
              <a:gd name="connsiteX227" fmla="*/ 1551692 w 2497040"/>
              <a:gd name="connsiteY227" fmla="*/ 537626 h 665403"/>
              <a:gd name="connsiteX228" fmla="*/ 1560676 w 2497040"/>
              <a:gd name="connsiteY228" fmla="*/ 542129 h 665403"/>
              <a:gd name="connsiteX229" fmla="*/ 1568326 w 2497040"/>
              <a:gd name="connsiteY229" fmla="*/ 543874 h 665403"/>
              <a:gd name="connsiteX230" fmla="*/ 1577755 w 2497040"/>
              <a:gd name="connsiteY230" fmla="*/ 545780 h 665403"/>
              <a:gd name="connsiteX231" fmla="*/ 1588839 w 2497040"/>
              <a:gd name="connsiteY231" fmla="*/ 546885 h 665403"/>
              <a:gd name="connsiteX232" fmla="*/ 1599657 w 2497040"/>
              <a:gd name="connsiteY232" fmla="*/ 547439 h 665403"/>
              <a:gd name="connsiteX233" fmla="*/ 1610617 w 2497040"/>
              <a:gd name="connsiteY233" fmla="*/ 547583 h 665403"/>
              <a:gd name="connsiteX234" fmla="*/ 1621167 w 2497040"/>
              <a:gd name="connsiteY234" fmla="*/ 547585 h 665403"/>
              <a:gd name="connsiteX235" fmla="*/ 1631309 w 2497040"/>
              <a:gd name="connsiteY235" fmla="*/ 547444 h 665403"/>
              <a:gd name="connsiteX236" fmla="*/ 1640205 w 2497040"/>
              <a:gd name="connsiteY236" fmla="*/ 548246 h 665403"/>
              <a:gd name="connsiteX237" fmla="*/ 1647588 w 2497040"/>
              <a:gd name="connsiteY237" fmla="*/ 549440 h 665403"/>
              <a:gd name="connsiteX238" fmla="*/ 1653192 w 2497040"/>
              <a:gd name="connsiteY238" fmla="*/ 550473 h 665403"/>
              <a:gd name="connsiteX239" fmla="*/ 1658902 w 2497040"/>
              <a:gd name="connsiteY239" fmla="*/ 553837 h 665403"/>
              <a:gd name="connsiteX240" fmla="*/ 1664986 w 2497040"/>
              <a:gd name="connsiteY240" fmla="*/ 560084 h 665403"/>
              <a:gd name="connsiteX241" fmla="*/ 1670375 w 2497040"/>
              <a:gd name="connsiteY241" fmla="*/ 567006 h 665403"/>
              <a:gd name="connsiteX242" fmla="*/ 1675336 w 2497040"/>
              <a:gd name="connsiteY242" fmla="*/ 575157 h 665403"/>
              <a:gd name="connsiteX243" fmla="*/ 1678643 w 2497040"/>
              <a:gd name="connsiteY243" fmla="*/ 584108 h 665403"/>
              <a:gd name="connsiteX244" fmla="*/ 1680865 w 2497040"/>
              <a:gd name="connsiteY244" fmla="*/ 592223 h 665403"/>
              <a:gd name="connsiteX245" fmla="*/ 1681735 w 2497040"/>
              <a:gd name="connsiteY245" fmla="*/ 598949 h 665403"/>
              <a:gd name="connsiteX246" fmla="*/ 1679207 w 2497040"/>
              <a:gd name="connsiteY246" fmla="*/ 603575 h 665403"/>
              <a:gd name="connsiteX247" fmla="*/ 1677925 w 2497040"/>
              <a:gd name="connsiteY247" fmla="*/ 607258 h 665403"/>
              <a:gd name="connsiteX248" fmla="*/ 1676892 w 2497040"/>
              <a:gd name="connsiteY248" fmla="*/ 612863 h 665403"/>
              <a:gd name="connsiteX249" fmla="*/ 1677495 w 2497040"/>
              <a:gd name="connsiteY249" fmla="*/ 619038 h 665403"/>
              <a:gd name="connsiteX250" fmla="*/ 1679202 w 2497040"/>
              <a:gd name="connsiteY250" fmla="*/ 624679 h 665403"/>
              <a:gd name="connsiteX251" fmla="*/ 1682402 w 2497040"/>
              <a:gd name="connsiteY251" fmla="*/ 631299 h 665403"/>
              <a:gd name="connsiteX252" fmla="*/ 1683309 w 2497040"/>
              <a:gd name="connsiteY252" fmla="*/ 635285 h 665403"/>
              <a:gd name="connsiteX253" fmla="*/ 1681636 w 2497040"/>
              <a:gd name="connsiteY253" fmla="*/ 637456 h 665403"/>
              <a:gd name="connsiteX254" fmla="*/ 1678344 w 2497040"/>
              <a:gd name="connsiteY254" fmla="*/ 637686 h 665403"/>
              <a:gd name="connsiteX255" fmla="*/ 1672864 w 2497040"/>
              <a:gd name="connsiteY255" fmla="*/ 637614 h 665403"/>
              <a:gd name="connsiteX256" fmla="*/ 1665587 w 2497040"/>
              <a:gd name="connsiteY256" fmla="*/ 638752 h 665403"/>
              <a:gd name="connsiteX257" fmla="*/ 1660213 w 2497040"/>
              <a:gd name="connsiteY257" fmla="*/ 641011 h 665403"/>
              <a:gd name="connsiteX258" fmla="*/ 1656849 w 2497040"/>
              <a:gd name="connsiteY258" fmla="*/ 646722 h 665403"/>
              <a:gd name="connsiteX259" fmla="*/ 1654464 w 2497040"/>
              <a:gd name="connsiteY259" fmla="*/ 650939 h 665403"/>
              <a:gd name="connsiteX260" fmla="*/ 1653057 w 2497040"/>
              <a:gd name="connsiteY260" fmla="*/ 653661 h 665403"/>
              <a:gd name="connsiteX261" fmla="*/ 1650584 w 2497040"/>
              <a:gd name="connsiteY261" fmla="*/ 654177 h 665403"/>
              <a:gd name="connsiteX262" fmla="*/ 1648129 w 2497040"/>
              <a:gd name="connsiteY262" fmla="*/ 653322 h 665403"/>
              <a:gd name="connsiteX263" fmla="*/ 1643646 w 2497040"/>
              <a:gd name="connsiteY263" fmla="*/ 650386 h 665403"/>
              <a:gd name="connsiteX264" fmla="*/ 1639057 w 2497040"/>
              <a:gd name="connsiteY264" fmla="*/ 645118 h 665403"/>
              <a:gd name="connsiteX265" fmla="*/ 1632726 w 2497040"/>
              <a:gd name="connsiteY265" fmla="*/ 636949 h 665403"/>
              <a:gd name="connsiteX266" fmla="*/ 1624348 w 2497040"/>
              <a:gd name="connsiteY266" fmla="*/ 628068 h 665403"/>
              <a:gd name="connsiteX267" fmla="*/ 1617162 w 2497040"/>
              <a:gd name="connsiteY267" fmla="*/ 622355 h 665403"/>
              <a:gd name="connsiteX268" fmla="*/ 1610330 w 2497040"/>
              <a:gd name="connsiteY268" fmla="*/ 620895 h 665403"/>
              <a:gd name="connsiteX269" fmla="*/ 1604689 w 2497040"/>
              <a:gd name="connsiteY269" fmla="*/ 622602 h 665403"/>
              <a:gd name="connsiteX270" fmla="*/ 1599546 w 2497040"/>
              <a:gd name="connsiteY270" fmla="*/ 628153 h 665403"/>
              <a:gd name="connsiteX271" fmla="*/ 1595042 w 2497040"/>
              <a:gd name="connsiteY271" fmla="*/ 637138 h 665403"/>
              <a:gd name="connsiteX272" fmla="*/ 1589059 w 2497040"/>
              <a:gd name="connsiteY272" fmla="*/ 654327 h 665403"/>
              <a:gd name="connsiteX273" fmla="*/ 1578533 w 2497040"/>
              <a:gd name="connsiteY273" fmla="*/ 631851 h 665403"/>
              <a:gd name="connsiteX274" fmla="*/ 1571828 w 2497040"/>
              <a:gd name="connsiteY274" fmla="*/ 620799 h 665403"/>
              <a:gd name="connsiteX275" fmla="*/ 1566333 w 2497040"/>
              <a:gd name="connsiteY275" fmla="*/ 611546 h 665403"/>
              <a:gd name="connsiteX276" fmla="*/ 1559716 w 2497040"/>
              <a:gd name="connsiteY276" fmla="*/ 604195 h 665403"/>
              <a:gd name="connsiteX277" fmla="*/ 1552139 w 2497040"/>
              <a:gd name="connsiteY277" fmla="*/ 596970 h 665403"/>
              <a:gd name="connsiteX278" fmla="*/ 1543049 w 2497040"/>
              <a:gd name="connsiteY278" fmla="*/ 590135 h 665403"/>
              <a:gd name="connsiteX279" fmla="*/ 1530953 w 2497040"/>
              <a:gd name="connsiteY279" fmla="*/ 582713 h 665403"/>
              <a:gd name="connsiteX280" fmla="*/ 1516383 w 2497040"/>
              <a:gd name="connsiteY280" fmla="*/ 575806 h 665403"/>
              <a:gd name="connsiteX281" fmla="*/ 1497740 w 2497040"/>
              <a:gd name="connsiteY281" fmla="*/ 566105 h 665403"/>
              <a:gd name="connsiteX282" fmla="*/ 1479630 w 2497040"/>
              <a:gd name="connsiteY282" fmla="*/ 557507 h 665403"/>
              <a:gd name="connsiteX283" fmla="*/ 1464917 w 2497040"/>
              <a:gd name="connsiteY283" fmla="*/ 551010 h 665403"/>
              <a:gd name="connsiteX284" fmla="*/ 1451824 w 2497040"/>
              <a:gd name="connsiteY284" fmla="*/ 546453 h 665403"/>
              <a:gd name="connsiteX285" fmla="*/ 1440491 w 2497040"/>
              <a:gd name="connsiteY285" fmla="*/ 543426 h 665403"/>
              <a:gd name="connsiteX286" fmla="*/ 1429834 w 2497040"/>
              <a:gd name="connsiteY286" fmla="*/ 541093 h 665403"/>
              <a:gd name="connsiteX287" fmla="*/ 1419302 w 2497040"/>
              <a:gd name="connsiteY287" fmla="*/ 539721 h 665403"/>
              <a:gd name="connsiteX288" fmla="*/ 1409997 w 2497040"/>
              <a:gd name="connsiteY288" fmla="*/ 538776 h 665403"/>
              <a:gd name="connsiteX289" fmla="*/ 1396476 w 2497040"/>
              <a:gd name="connsiteY289" fmla="*/ 535446 h 665403"/>
              <a:gd name="connsiteX290" fmla="*/ 1379806 w 2497040"/>
              <a:gd name="connsiteY290" fmla="*/ 531938 h 665403"/>
              <a:gd name="connsiteX291" fmla="*/ 1360966 w 2497040"/>
              <a:gd name="connsiteY291" fmla="*/ 526757 h 665403"/>
              <a:gd name="connsiteX292" fmla="*/ 1341022 w 2497040"/>
              <a:gd name="connsiteY292" fmla="*/ 522109 h 665403"/>
              <a:gd name="connsiteX293" fmla="*/ 1321648 w 2497040"/>
              <a:gd name="connsiteY293" fmla="*/ 515824 h 665403"/>
              <a:gd name="connsiteX294" fmla="*/ 1250682 w 2497040"/>
              <a:gd name="connsiteY294" fmla="*/ 494335 h 665403"/>
              <a:gd name="connsiteX295" fmla="*/ 1222586 w 2497040"/>
              <a:gd name="connsiteY295" fmla="*/ 505202 h 665403"/>
              <a:gd name="connsiteX296" fmla="*/ 1200985 w 2497040"/>
              <a:gd name="connsiteY296" fmla="*/ 511907 h 665403"/>
              <a:gd name="connsiteX297" fmla="*/ 1175434 w 2497040"/>
              <a:gd name="connsiteY297" fmla="*/ 516778 h 665403"/>
              <a:gd name="connsiteX298" fmla="*/ 1146752 w 2497040"/>
              <a:gd name="connsiteY298" fmla="*/ 520101 h 665403"/>
              <a:gd name="connsiteX299" fmla="*/ 1116577 w 2497040"/>
              <a:gd name="connsiteY299" fmla="*/ 522444 h 665403"/>
              <a:gd name="connsiteX300" fmla="*/ 1084249 w 2497040"/>
              <a:gd name="connsiteY300" fmla="*/ 521745 h 665403"/>
              <a:gd name="connsiteX301" fmla="*/ 1050978 w 2497040"/>
              <a:gd name="connsiteY301" fmla="*/ 519800 h 665403"/>
              <a:gd name="connsiteX302" fmla="*/ 1026764 w 2497040"/>
              <a:gd name="connsiteY302" fmla="*/ 516877 h 665403"/>
              <a:gd name="connsiteX303" fmla="*/ 1003778 w 2497040"/>
              <a:gd name="connsiteY303" fmla="*/ 514382 h 665403"/>
              <a:gd name="connsiteX304" fmla="*/ 982037 w 2497040"/>
              <a:gd name="connsiteY304" fmla="*/ 510944 h 665403"/>
              <a:gd name="connsiteX305" fmla="*/ 959478 w 2497040"/>
              <a:gd name="connsiteY305" fmla="*/ 507222 h 665403"/>
              <a:gd name="connsiteX306" fmla="*/ 935834 w 2497040"/>
              <a:gd name="connsiteY306" fmla="*/ 502662 h 665403"/>
              <a:gd name="connsiteX307" fmla="*/ 911247 w 2497040"/>
              <a:gd name="connsiteY307" fmla="*/ 496857 h 665403"/>
              <a:gd name="connsiteX308" fmla="*/ 884347 w 2497040"/>
              <a:gd name="connsiteY308" fmla="*/ 489788 h 665403"/>
              <a:gd name="connsiteX309" fmla="*/ 853765 w 2497040"/>
              <a:gd name="connsiteY309" fmla="*/ 481438 h 665403"/>
              <a:gd name="connsiteX310" fmla="*/ 819500 w 2497040"/>
              <a:gd name="connsiteY310" fmla="*/ 471805 h 665403"/>
              <a:gd name="connsiteX311" fmla="*/ 791106 w 2497040"/>
              <a:gd name="connsiteY311" fmla="*/ 463757 h 665403"/>
              <a:gd name="connsiteX312" fmla="*/ 765168 w 2497040"/>
              <a:gd name="connsiteY312" fmla="*/ 456564 h 665403"/>
              <a:gd name="connsiteX313" fmla="*/ 742218 w 2497040"/>
              <a:gd name="connsiteY313" fmla="*/ 451329 h 665403"/>
              <a:gd name="connsiteX314" fmla="*/ 720228 w 2497040"/>
              <a:gd name="connsiteY314" fmla="*/ 445969 h 665403"/>
              <a:gd name="connsiteX315" fmla="*/ 699857 w 2497040"/>
              <a:gd name="connsiteY315" fmla="*/ 442549 h 665403"/>
              <a:gd name="connsiteX316" fmla="*/ 680305 w 2497040"/>
              <a:gd name="connsiteY316" fmla="*/ 439414 h 665403"/>
              <a:gd name="connsiteX317" fmla="*/ 661553 w 2497040"/>
              <a:gd name="connsiteY317" fmla="*/ 437934 h 665403"/>
              <a:gd name="connsiteX318" fmla="*/ 642515 w 2497040"/>
              <a:gd name="connsiteY318" fmla="*/ 437272 h 665403"/>
              <a:gd name="connsiteX319" fmla="*/ 624012 w 2497040"/>
              <a:gd name="connsiteY319" fmla="*/ 437714 h 665403"/>
              <a:gd name="connsiteX320" fmla="*/ 604671 w 2497040"/>
              <a:gd name="connsiteY320" fmla="*/ 439241 h 665403"/>
              <a:gd name="connsiteX321" fmla="*/ 584495 w 2497040"/>
              <a:gd name="connsiteY321" fmla="*/ 441853 h 665403"/>
              <a:gd name="connsiteX322" fmla="*/ 563481 w 2497040"/>
              <a:gd name="connsiteY322" fmla="*/ 445551 h 665403"/>
              <a:gd name="connsiteX323" fmla="*/ 540813 w 2497040"/>
              <a:gd name="connsiteY323" fmla="*/ 450049 h 665403"/>
              <a:gd name="connsiteX324" fmla="*/ 515654 w 2497040"/>
              <a:gd name="connsiteY324" fmla="*/ 456432 h 665403"/>
              <a:gd name="connsiteX325" fmla="*/ 488982 w 2497040"/>
              <a:gd name="connsiteY325" fmla="*/ 463208 h 665403"/>
              <a:gd name="connsiteX326" fmla="*/ 459409 w 2497040"/>
              <a:gd name="connsiteY326" fmla="*/ 471726 h 665403"/>
              <a:gd name="connsiteX327" fmla="*/ 426403 w 2497040"/>
              <a:gd name="connsiteY327" fmla="*/ 480884 h 665403"/>
              <a:gd name="connsiteX328" fmla="*/ 409766 w 2497040"/>
              <a:gd name="connsiteY328" fmla="*/ 485188 h 665403"/>
              <a:gd name="connsiteX329" fmla="*/ 390229 w 2497040"/>
              <a:gd name="connsiteY329" fmla="*/ 491234 h 665403"/>
              <a:gd name="connsiteX330" fmla="*/ 368485 w 2497040"/>
              <a:gd name="connsiteY330" fmla="*/ 498348 h 665403"/>
              <a:gd name="connsiteX331" fmla="*/ 345229 w 2497040"/>
              <a:gd name="connsiteY331" fmla="*/ 505854 h 665403"/>
              <a:gd name="connsiteX332" fmla="*/ 320870 w 2497040"/>
              <a:gd name="connsiteY332" fmla="*/ 513892 h 665403"/>
              <a:gd name="connsiteX333" fmla="*/ 294998 w 2497040"/>
              <a:gd name="connsiteY333" fmla="*/ 522322 h 665403"/>
              <a:gd name="connsiteX334" fmla="*/ 268984 w 2497040"/>
              <a:gd name="connsiteY334" fmla="*/ 531162 h 665403"/>
              <a:gd name="connsiteX335" fmla="*/ 242969 w 2497040"/>
              <a:gd name="connsiteY335" fmla="*/ 540001 h 665403"/>
              <a:gd name="connsiteX336" fmla="*/ 216955 w 2497040"/>
              <a:gd name="connsiteY336" fmla="*/ 548840 h 665403"/>
              <a:gd name="connsiteX337" fmla="*/ 192311 w 2497040"/>
              <a:gd name="connsiteY337" fmla="*/ 557698 h 665403"/>
              <a:gd name="connsiteX338" fmla="*/ 168770 w 2497040"/>
              <a:gd name="connsiteY338" fmla="*/ 566021 h 665403"/>
              <a:gd name="connsiteX339" fmla="*/ 146741 w 2497040"/>
              <a:gd name="connsiteY339" fmla="*/ 573954 h 665403"/>
              <a:gd name="connsiteX340" fmla="*/ 127186 w 2497040"/>
              <a:gd name="connsiteY340" fmla="*/ 581371 h 665403"/>
              <a:gd name="connsiteX341" fmla="*/ 110246 w 2497040"/>
              <a:gd name="connsiteY341" fmla="*/ 587863 h 665403"/>
              <a:gd name="connsiteX342" fmla="*/ 95513 w 2497040"/>
              <a:gd name="connsiteY342" fmla="*/ 593287 h 665403"/>
              <a:gd name="connsiteX343" fmla="*/ 83520 w 2497040"/>
              <a:gd name="connsiteY343" fmla="*/ 598748 h 665403"/>
              <a:gd name="connsiteX344" fmla="*/ 70584 w 2497040"/>
              <a:gd name="connsiteY344" fmla="*/ 602963 h 665403"/>
              <a:gd name="connsiteX345" fmla="*/ 59018 w 2497040"/>
              <a:gd name="connsiteY345" fmla="*/ 607196 h 665403"/>
              <a:gd name="connsiteX346" fmla="*/ 47861 w 2497040"/>
              <a:gd name="connsiteY346" fmla="*/ 611572 h 665403"/>
              <a:gd name="connsiteX347" fmla="*/ 38644 w 2497040"/>
              <a:gd name="connsiteY347" fmla="*/ 614328 h 665403"/>
              <a:gd name="connsiteX348" fmla="*/ 32185 w 2497040"/>
              <a:gd name="connsiteY348" fmla="*/ 615751 h 665403"/>
              <a:gd name="connsiteX349" fmla="*/ 23538 w 2497040"/>
              <a:gd name="connsiteY349" fmla="*/ 616870 h 665403"/>
              <a:gd name="connsiteX350" fmla="*/ 15443 w 2497040"/>
              <a:gd name="connsiteY350" fmla="*/ 617723 h 665403"/>
              <a:gd name="connsiteX351" fmla="*/ 8183 w 2497040"/>
              <a:gd name="connsiteY351" fmla="*/ 617491 h 665403"/>
              <a:gd name="connsiteX352" fmla="*/ 2579 w 2497040"/>
              <a:gd name="connsiteY352" fmla="*/ 616458 h 665403"/>
              <a:gd name="connsiteX353" fmla="*/ 0 w 2497040"/>
              <a:gd name="connsiteY353" fmla="*/ 614642 h 665403"/>
              <a:gd name="connsiteX354" fmla="*/ 18 w 2497040"/>
              <a:gd name="connsiteY354" fmla="*/ 613272 h 665403"/>
              <a:gd name="connsiteX355" fmla="*/ 3328 w 2497040"/>
              <a:gd name="connsiteY355" fmla="*/ 611671 h 665403"/>
              <a:gd name="connsiteX356" fmla="*/ 10072 w 2497040"/>
              <a:gd name="connsiteY356" fmla="*/ 609430 h 665403"/>
              <a:gd name="connsiteX357" fmla="*/ 20231 w 2497040"/>
              <a:gd name="connsiteY357" fmla="*/ 607919 h 665403"/>
              <a:gd name="connsiteX358" fmla="*/ 30676 w 2497040"/>
              <a:gd name="connsiteY358" fmla="*/ 605590 h 665403"/>
              <a:gd name="connsiteX359" fmla="*/ 41120 w 2497040"/>
              <a:gd name="connsiteY359" fmla="*/ 603261 h 665403"/>
              <a:gd name="connsiteX360" fmla="*/ 51992 w 2497040"/>
              <a:gd name="connsiteY360" fmla="*/ 599704 h 665403"/>
              <a:gd name="connsiteX361" fmla="*/ 63416 w 2497040"/>
              <a:gd name="connsiteY361" fmla="*/ 595880 h 665403"/>
              <a:gd name="connsiteX362" fmla="*/ 75248 w 2497040"/>
              <a:gd name="connsiteY362" fmla="*/ 592199 h 665403"/>
              <a:gd name="connsiteX363" fmla="*/ 88878 w 2497040"/>
              <a:gd name="connsiteY363" fmla="*/ 587307 h 665403"/>
              <a:gd name="connsiteX364" fmla="*/ 103487 w 2497040"/>
              <a:gd name="connsiteY364" fmla="*/ 580922 h 665403"/>
              <a:gd name="connsiteX365" fmla="*/ 120018 w 2497040"/>
              <a:gd name="connsiteY365" fmla="*/ 574287 h 665403"/>
              <a:gd name="connsiteX366" fmla="*/ 138345 w 2497040"/>
              <a:gd name="connsiteY366" fmla="*/ 566443 h 665403"/>
              <a:gd name="connsiteX367" fmla="*/ 158471 w 2497040"/>
              <a:gd name="connsiteY367" fmla="*/ 557390 h 665403"/>
              <a:gd name="connsiteX368" fmla="*/ 181496 w 2497040"/>
              <a:gd name="connsiteY368" fmla="*/ 546592 h 665403"/>
              <a:gd name="connsiteX369" fmla="*/ 207138 w 2497040"/>
              <a:gd name="connsiteY369" fmla="*/ 534870 h 665403"/>
              <a:gd name="connsiteX370" fmla="*/ 256356 w 2497040"/>
              <a:gd name="connsiteY370" fmla="*/ 512084 h 665403"/>
              <a:gd name="connsiteX371" fmla="*/ 303493 w 2497040"/>
              <a:gd name="connsiteY371" fmla="*/ 491326 h 665403"/>
              <a:gd name="connsiteX372" fmla="*/ 348262 w 2497040"/>
              <a:gd name="connsiteY372" fmla="*/ 473415 h 665403"/>
              <a:gd name="connsiteX373" fmla="*/ 390113 w 2497040"/>
              <a:gd name="connsiteY373" fmla="*/ 458618 h 665403"/>
              <a:gd name="connsiteX374" fmla="*/ 429348 w 2497040"/>
              <a:gd name="connsiteY374" fmla="*/ 444745 h 665403"/>
              <a:gd name="connsiteX375" fmla="*/ 466768 w 2497040"/>
              <a:gd name="connsiteY375" fmla="*/ 433452 h 665403"/>
              <a:gd name="connsiteX376" fmla="*/ 502514 w 2497040"/>
              <a:gd name="connsiteY376" fmla="*/ 424329 h 665403"/>
              <a:gd name="connsiteX377" fmla="*/ 537139 w 2497040"/>
              <a:gd name="connsiteY377" fmla="*/ 417111 h 665403"/>
              <a:gd name="connsiteX378" fmla="*/ 569682 w 2497040"/>
              <a:gd name="connsiteY378" fmla="*/ 411921 h 665403"/>
              <a:gd name="connsiteX379" fmla="*/ 601370 w 2497040"/>
              <a:gd name="connsiteY379" fmla="*/ 409186 h 665403"/>
              <a:gd name="connsiteX380" fmla="*/ 632080 w 2497040"/>
              <a:gd name="connsiteY380" fmla="*/ 407945 h 665403"/>
              <a:gd name="connsiteX381" fmla="*/ 662077 w 2497040"/>
              <a:gd name="connsiteY381" fmla="*/ 408751 h 665403"/>
              <a:gd name="connsiteX382" fmla="*/ 676595 w 2497040"/>
              <a:gd name="connsiteY382" fmla="*/ 409216 h 665403"/>
              <a:gd name="connsiteX383" fmla="*/ 691237 w 2497040"/>
              <a:gd name="connsiteY383" fmla="*/ 410642 h 665403"/>
              <a:gd name="connsiteX384" fmla="*/ 704243 w 2497040"/>
              <a:gd name="connsiteY384" fmla="*/ 411499 h 665403"/>
              <a:gd name="connsiteX385" fmla="*/ 717373 w 2497040"/>
              <a:gd name="connsiteY385" fmla="*/ 413316 h 665403"/>
              <a:gd name="connsiteX386" fmla="*/ 731054 w 2497040"/>
              <a:gd name="connsiteY386" fmla="*/ 414866 h 665403"/>
              <a:gd name="connsiteX387" fmla="*/ 745821 w 2497040"/>
              <a:gd name="connsiteY387" fmla="*/ 417253 h 665403"/>
              <a:gd name="connsiteX388" fmla="*/ 761957 w 2497040"/>
              <a:gd name="connsiteY388" fmla="*/ 419658 h 665403"/>
              <a:gd name="connsiteX389" fmla="*/ 779998 w 2497040"/>
              <a:gd name="connsiteY389" fmla="*/ 423184 h 665403"/>
              <a:gd name="connsiteX390" fmla="*/ 800226 w 2497040"/>
              <a:gd name="connsiteY390" fmla="*/ 427014 h 665403"/>
              <a:gd name="connsiteX391" fmla="*/ 823870 w 2497040"/>
              <a:gd name="connsiteY391" fmla="*/ 431573 h 665403"/>
              <a:gd name="connsiteX392" fmla="*/ 850788 w 2497040"/>
              <a:gd name="connsiteY392" fmla="*/ 437272 h 665403"/>
              <a:gd name="connsiteX393" fmla="*/ 881673 w 2497040"/>
              <a:gd name="connsiteY393" fmla="*/ 443434 h 665403"/>
              <a:gd name="connsiteX394" fmla="*/ 920760 w 2497040"/>
              <a:gd name="connsiteY394" fmla="*/ 451074 h 665403"/>
              <a:gd name="connsiteX395" fmla="*/ 955061 w 2497040"/>
              <a:gd name="connsiteY395" fmla="*/ 457966 h 665403"/>
              <a:gd name="connsiteX396" fmla="*/ 986783 w 2497040"/>
              <a:gd name="connsiteY396" fmla="*/ 463043 h 665403"/>
              <a:gd name="connsiteX397" fmla="*/ 1014413 w 2497040"/>
              <a:gd name="connsiteY397" fmla="*/ 466696 h 665403"/>
              <a:gd name="connsiteX398" fmla="*/ 1039587 w 2497040"/>
              <a:gd name="connsiteY398" fmla="*/ 469494 h 665403"/>
              <a:gd name="connsiteX399" fmla="*/ 1062040 w 2497040"/>
              <a:gd name="connsiteY399" fmla="*/ 470885 h 665403"/>
              <a:gd name="connsiteX400" fmla="*/ 1081772 w 2497040"/>
              <a:gd name="connsiteY400" fmla="*/ 470871 h 665403"/>
              <a:gd name="connsiteX401" fmla="*/ 1100827 w 2497040"/>
              <a:gd name="connsiteY401" fmla="*/ 470162 h 665403"/>
              <a:gd name="connsiteX402" fmla="*/ 1117712 w 2497040"/>
              <a:gd name="connsiteY402" fmla="*/ 467781 h 665403"/>
              <a:gd name="connsiteX403" fmla="*/ 1134616 w 2497040"/>
              <a:gd name="connsiteY403" fmla="*/ 464029 h 665403"/>
              <a:gd name="connsiteX404" fmla="*/ 1150701 w 2497040"/>
              <a:gd name="connsiteY404" fmla="*/ 459993 h 665403"/>
              <a:gd name="connsiteX405" fmla="*/ 1163922 w 2497040"/>
              <a:gd name="connsiteY405" fmla="*/ 454959 h 665403"/>
              <a:gd name="connsiteX406" fmla="*/ 1173299 w 2497040"/>
              <a:gd name="connsiteY406" fmla="*/ 450423 h 665403"/>
              <a:gd name="connsiteX407" fmla="*/ 1182286 w 2497040"/>
              <a:gd name="connsiteY407" fmla="*/ 444375 h 665403"/>
              <a:gd name="connsiteX408" fmla="*/ 1188551 w 2497040"/>
              <a:gd name="connsiteY408" fmla="*/ 436920 h 665403"/>
              <a:gd name="connsiteX409" fmla="*/ 1192912 w 2497040"/>
              <a:gd name="connsiteY409" fmla="*/ 428344 h 665403"/>
              <a:gd name="connsiteX410" fmla="*/ 1196224 w 2497040"/>
              <a:gd name="connsiteY410" fmla="*/ 416191 h 665403"/>
              <a:gd name="connsiteX411" fmla="*/ 1199288 w 2497040"/>
              <a:gd name="connsiteY411" fmla="*/ 402116 h 665403"/>
              <a:gd name="connsiteX412" fmla="*/ 1200895 w 2497040"/>
              <a:gd name="connsiteY412" fmla="*/ 384322 h 665403"/>
              <a:gd name="connsiteX413" fmla="*/ 1204031 w 2497040"/>
              <a:gd name="connsiteY413" fmla="*/ 364767 h 665403"/>
              <a:gd name="connsiteX414" fmla="*/ 1208450 w 2497040"/>
              <a:gd name="connsiteY414" fmla="*/ 341529 h 665403"/>
              <a:gd name="connsiteX415" fmla="*/ 1214666 w 2497040"/>
              <a:gd name="connsiteY415" fmla="*/ 317080 h 665403"/>
              <a:gd name="connsiteX416" fmla="*/ 1221309 w 2497040"/>
              <a:gd name="connsiteY416" fmla="*/ 291404 h 665403"/>
              <a:gd name="connsiteX417" fmla="*/ 1229732 w 2497040"/>
              <a:gd name="connsiteY417" fmla="*/ 265889 h 665403"/>
              <a:gd name="connsiteX418" fmla="*/ 1238830 w 2497040"/>
              <a:gd name="connsiteY418" fmla="*/ 241068 h 665403"/>
              <a:gd name="connsiteX419" fmla="*/ 1248195 w 2497040"/>
              <a:gd name="connsiteY419" fmla="*/ 216798 h 665403"/>
              <a:gd name="connsiteX420" fmla="*/ 1257257 w 2497040"/>
              <a:gd name="connsiteY420" fmla="*/ 194717 h 665403"/>
              <a:gd name="connsiteX421" fmla="*/ 1266550 w 2497040"/>
              <a:gd name="connsiteY421" fmla="*/ 175928 h 665403"/>
              <a:gd name="connsiteX422" fmla="*/ 1275521 w 2497040"/>
              <a:gd name="connsiteY422" fmla="*/ 160697 h 665403"/>
              <a:gd name="connsiteX423" fmla="*/ 1296577 w 2497040"/>
              <a:gd name="connsiteY423" fmla="*/ 133155 h 665403"/>
              <a:gd name="connsiteX424" fmla="*/ 1318841 w 2497040"/>
              <a:gd name="connsiteY424" fmla="*/ 107411 h 665403"/>
              <a:gd name="connsiteX425" fmla="*/ 1343667 w 2497040"/>
              <a:gd name="connsiteY425" fmla="*/ 84852 h 665403"/>
              <a:gd name="connsiteX426" fmla="*/ 1369008 w 2497040"/>
              <a:gd name="connsiteY426" fmla="*/ 64767 h 665403"/>
              <a:gd name="connsiteX427" fmla="*/ 1397605 w 2497040"/>
              <a:gd name="connsiteY427" fmla="*/ 47191 h 665403"/>
              <a:gd name="connsiteX428" fmla="*/ 1426841 w 2497040"/>
              <a:gd name="connsiteY428" fmla="*/ 33050 h 665403"/>
              <a:gd name="connsiteX429" fmla="*/ 1457695 w 2497040"/>
              <a:gd name="connsiteY429" fmla="*/ 20848 h 665403"/>
              <a:gd name="connsiteX430" fmla="*/ 1490702 w 2497040"/>
              <a:gd name="connsiteY430" fmla="*/ 11690 h 665403"/>
              <a:gd name="connsiteX431" fmla="*/ 1525594 w 2497040"/>
              <a:gd name="connsiteY431" fmla="*/ 5023 h 665403"/>
              <a:gd name="connsiteX432" fmla="*/ 1550841 w 2497040"/>
              <a:gd name="connsiteY432" fmla="*/ 2340 h 665403"/>
              <a:gd name="connsiteX433" fmla="*/ 1575804 w 2497040"/>
              <a:gd name="connsiteY433" fmla="*/ 476 h 66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2497040" h="665403">
                <a:moveTo>
                  <a:pt x="1602118" y="0"/>
                </a:moveTo>
                <a:lnTo>
                  <a:pt x="1628415" y="894"/>
                </a:lnTo>
                <a:lnTo>
                  <a:pt x="1656472" y="3319"/>
                </a:lnTo>
                <a:lnTo>
                  <a:pt x="1687660" y="7292"/>
                </a:lnTo>
                <a:lnTo>
                  <a:pt x="1721161" y="12529"/>
                </a:lnTo>
                <a:lnTo>
                  <a:pt x="1746851" y="17801"/>
                </a:lnTo>
                <a:lnTo>
                  <a:pt x="1774160" y="25012"/>
                </a:lnTo>
                <a:lnTo>
                  <a:pt x="1802411" y="33469"/>
                </a:lnTo>
                <a:lnTo>
                  <a:pt x="1830644" y="43297"/>
                </a:lnTo>
                <a:lnTo>
                  <a:pt x="1858450" y="54351"/>
                </a:lnTo>
                <a:lnTo>
                  <a:pt x="1885562" y="66082"/>
                </a:lnTo>
                <a:lnTo>
                  <a:pt x="1910485" y="77511"/>
                </a:lnTo>
                <a:lnTo>
                  <a:pt x="1932793" y="89864"/>
                </a:lnTo>
                <a:lnTo>
                  <a:pt x="1951400" y="102305"/>
                </a:lnTo>
                <a:lnTo>
                  <a:pt x="1963763" y="110279"/>
                </a:lnTo>
                <a:lnTo>
                  <a:pt x="1974490" y="117683"/>
                </a:lnTo>
                <a:lnTo>
                  <a:pt x="1984398" y="124802"/>
                </a:lnTo>
                <a:lnTo>
                  <a:pt x="1992278" y="129840"/>
                </a:lnTo>
                <a:lnTo>
                  <a:pt x="1997170" y="132919"/>
                </a:lnTo>
                <a:lnTo>
                  <a:pt x="2001386" y="135304"/>
                </a:lnTo>
                <a:lnTo>
                  <a:pt x="2009464" y="135821"/>
                </a:lnTo>
                <a:lnTo>
                  <a:pt x="2019196" y="135538"/>
                </a:lnTo>
                <a:lnTo>
                  <a:pt x="2030583" y="134455"/>
                </a:lnTo>
                <a:lnTo>
                  <a:pt x="2044462" y="131485"/>
                </a:lnTo>
                <a:lnTo>
                  <a:pt x="2058749" y="128659"/>
                </a:lnTo>
                <a:lnTo>
                  <a:pt x="2070706" y="125938"/>
                </a:lnTo>
                <a:lnTo>
                  <a:pt x="2080066" y="122772"/>
                </a:lnTo>
                <a:lnTo>
                  <a:pt x="2087503" y="119855"/>
                </a:lnTo>
                <a:lnTo>
                  <a:pt x="2094265" y="116244"/>
                </a:lnTo>
                <a:lnTo>
                  <a:pt x="2099942" y="111797"/>
                </a:lnTo>
                <a:lnTo>
                  <a:pt x="2105495" y="106388"/>
                </a:lnTo>
                <a:lnTo>
                  <a:pt x="2111760" y="98933"/>
                </a:lnTo>
                <a:lnTo>
                  <a:pt x="2119003" y="89984"/>
                </a:lnTo>
                <a:lnTo>
                  <a:pt x="2130002" y="76836"/>
                </a:lnTo>
                <a:lnTo>
                  <a:pt x="2141214" y="68350"/>
                </a:lnTo>
                <a:lnTo>
                  <a:pt x="2152655" y="63156"/>
                </a:lnTo>
                <a:lnTo>
                  <a:pt x="2164042" y="62073"/>
                </a:lnTo>
                <a:lnTo>
                  <a:pt x="2175927" y="64833"/>
                </a:lnTo>
                <a:lnTo>
                  <a:pt x="2186938" y="71419"/>
                </a:lnTo>
                <a:lnTo>
                  <a:pt x="2198304" y="82257"/>
                </a:lnTo>
                <a:lnTo>
                  <a:pt x="2209758" y="96797"/>
                </a:lnTo>
                <a:lnTo>
                  <a:pt x="2221443" y="114629"/>
                </a:lnTo>
                <a:lnTo>
                  <a:pt x="2226938" y="123883"/>
                </a:lnTo>
                <a:lnTo>
                  <a:pt x="2232860" y="131909"/>
                </a:lnTo>
                <a:lnTo>
                  <a:pt x="2238801" y="138565"/>
                </a:lnTo>
                <a:lnTo>
                  <a:pt x="2243266" y="142872"/>
                </a:lnTo>
                <a:lnTo>
                  <a:pt x="2247073" y="145115"/>
                </a:lnTo>
                <a:lnTo>
                  <a:pt x="2251058" y="144208"/>
                </a:lnTo>
                <a:lnTo>
                  <a:pt x="2256432" y="141949"/>
                </a:lnTo>
                <a:lnTo>
                  <a:pt x="2261842" y="136950"/>
                </a:lnTo>
                <a:lnTo>
                  <a:pt x="2267395" y="131541"/>
                </a:lnTo>
                <a:lnTo>
                  <a:pt x="2276027" y="121240"/>
                </a:lnTo>
                <a:lnTo>
                  <a:pt x="2283519" y="114212"/>
                </a:lnTo>
                <a:lnTo>
                  <a:pt x="2289853" y="111829"/>
                </a:lnTo>
                <a:lnTo>
                  <a:pt x="2294782" y="112168"/>
                </a:lnTo>
                <a:lnTo>
                  <a:pt x="2299246" y="116475"/>
                </a:lnTo>
                <a:lnTo>
                  <a:pt x="2302429" y="124465"/>
                </a:lnTo>
                <a:lnTo>
                  <a:pt x="2303832" y="132295"/>
                </a:lnTo>
                <a:lnTo>
                  <a:pt x="2305466" y="143416"/>
                </a:lnTo>
                <a:lnTo>
                  <a:pt x="2305730" y="154520"/>
                </a:lnTo>
                <a:lnTo>
                  <a:pt x="2306279" y="164805"/>
                </a:lnTo>
                <a:lnTo>
                  <a:pt x="2305352" y="172741"/>
                </a:lnTo>
                <a:lnTo>
                  <a:pt x="2306079" y="179877"/>
                </a:lnTo>
                <a:lnTo>
                  <a:pt x="2306967" y="185233"/>
                </a:lnTo>
                <a:lnTo>
                  <a:pt x="2309919" y="189931"/>
                </a:lnTo>
                <a:lnTo>
                  <a:pt x="2314099" y="195057"/>
                </a:lnTo>
                <a:lnTo>
                  <a:pt x="2320734" y="201037"/>
                </a:lnTo>
                <a:lnTo>
                  <a:pt x="2330233" y="208014"/>
                </a:lnTo>
                <a:lnTo>
                  <a:pt x="2342720" y="216948"/>
                </a:lnTo>
                <a:lnTo>
                  <a:pt x="2359673" y="230190"/>
                </a:lnTo>
                <a:lnTo>
                  <a:pt x="2376055" y="245069"/>
                </a:lnTo>
                <a:lnTo>
                  <a:pt x="2390658" y="259787"/>
                </a:lnTo>
                <a:lnTo>
                  <a:pt x="2405510" y="276427"/>
                </a:lnTo>
                <a:lnTo>
                  <a:pt x="2420059" y="295256"/>
                </a:lnTo>
                <a:lnTo>
                  <a:pt x="2434589" y="315455"/>
                </a:lnTo>
                <a:lnTo>
                  <a:pt x="2449493" y="338537"/>
                </a:lnTo>
                <a:lnTo>
                  <a:pt x="2464769" y="364501"/>
                </a:lnTo>
                <a:lnTo>
                  <a:pt x="2475883" y="383970"/>
                </a:lnTo>
                <a:lnTo>
                  <a:pt x="2484028" y="400111"/>
                </a:lnTo>
                <a:lnTo>
                  <a:pt x="2490144" y="414169"/>
                </a:lnTo>
                <a:lnTo>
                  <a:pt x="2494233" y="426145"/>
                </a:lnTo>
                <a:lnTo>
                  <a:pt x="2496989" y="435363"/>
                </a:lnTo>
                <a:lnTo>
                  <a:pt x="2497040" y="441805"/>
                </a:lnTo>
                <a:lnTo>
                  <a:pt x="2494797" y="445612"/>
                </a:lnTo>
                <a:lnTo>
                  <a:pt x="2490669" y="446928"/>
                </a:lnTo>
                <a:lnTo>
                  <a:pt x="2487644" y="447711"/>
                </a:lnTo>
                <a:lnTo>
                  <a:pt x="2482289" y="448600"/>
                </a:lnTo>
                <a:lnTo>
                  <a:pt x="2475545" y="450841"/>
                </a:lnTo>
                <a:lnTo>
                  <a:pt x="2467841" y="453206"/>
                </a:lnTo>
                <a:lnTo>
                  <a:pt x="2459727" y="455429"/>
                </a:lnTo>
                <a:lnTo>
                  <a:pt x="2448037" y="458701"/>
                </a:lnTo>
                <a:lnTo>
                  <a:pt x="2435670" y="461279"/>
                </a:lnTo>
                <a:lnTo>
                  <a:pt x="2422362" y="462611"/>
                </a:lnTo>
                <a:lnTo>
                  <a:pt x="2411402" y="462467"/>
                </a:lnTo>
                <a:lnTo>
                  <a:pt x="2400727" y="461504"/>
                </a:lnTo>
                <a:lnTo>
                  <a:pt x="2389501" y="460808"/>
                </a:lnTo>
                <a:lnTo>
                  <a:pt x="2378826" y="459846"/>
                </a:lnTo>
                <a:lnTo>
                  <a:pt x="2370054" y="460004"/>
                </a:lnTo>
                <a:lnTo>
                  <a:pt x="2361158" y="459202"/>
                </a:lnTo>
                <a:lnTo>
                  <a:pt x="2350217" y="457688"/>
                </a:lnTo>
                <a:lnTo>
                  <a:pt x="2337496" y="456013"/>
                </a:lnTo>
                <a:lnTo>
                  <a:pt x="2325612" y="453253"/>
                </a:lnTo>
                <a:lnTo>
                  <a:pt x="2313033" y="451169"/>
                </a:lnTo>
                <a:lnTo>
                  <a:pt x="2300028" y="450312"/>
                </a:lnTo>
                <a:lnTo>
                  <a:pt x="2287840" y="449741"/>
                </a:lnTo>
                <a:lnTo>
                  <a:pt x="2277005" y="450558"/>
                </a:lnTo>
                <a:lnTo>
                  <a:pt x="2264799" y="451356"/>
                </a:lnTo>
                <a:lnTo>
                  <a:pt x="2250405" y="451852"/>
                </a:lnTo>
                <a:lnTo>
                  <a:pt x="2234375" y="451778"/>
                </a:lnTo>
                <a:lnTo>
                  <a:pt x="2214235" y="451650"/>
                </a:lnTo>
                <a:lnTo>
                  <a:pt x="2191087" y="450934"/>
                </a:lnTo>
                <a:lnTo>
                  <a:pt x="2164258" y="448937"/>
                </a:lnTo>
                <a:lnTo>
                  <a:pt x="2153298" y="448793"/>
                </a:lnTo>
                <a:lnTo>
                  <a:pt x="2143566" y="449076"/>
                </a:lnTo>
                <a:lnTo>
                  <a:pt x="2133264" y="450996"/>
                </a:lnTo>
                <a:lnTo>
                  <a:pt x="2122819" y="453325"/>
                </a:lnTo>
                <a:lnTo>
                  <a:pt x="2111129" y="456597"/>
                </a:lnTo>
                <a:lnTo>
                  <a:pt x="2098175" y="462182"/>
                </a:lnTo>
                <a:lnTo>
                  <a:pt x="2082605" y="468692"/>
                </a:lnTo>
                <a:lnTo>
                  <a:pt x="2065505" y="476964"/>
                </a:lnTo>
                <a:lnTo>
                  <a:pt x="2051981" y="484186"/>
                </a:lnTo>
                <a:lnTo>
                  <a:pt x="2041482" y="490626"/>
                </a:lnTo>
                <a:lnTo>
                  <a:pt x="2034132" y="497244"/>
                </a:lnTo>
                <a:lnTo>
                  <a:pt x="2030910" y="502546"/>
                </a:lnTo>
                <a:lnTo>
                  <a:pt x="2029468" y="508009"/>
                </a:lnTo>
                <a:lnTo>
                  <a:pt x="2032420" y="512707"/>
                </a:lnTo>
                <a:lnTo>
                  <a:pt x="2038788" y="518135"/>
                </a:lnTo>
                <a:lnTo>
                  <a:pt x="2047362" y="522496"/>
                </a:lnTo>
                <a:lnTo>
                  <a:pt x="2058944" y="527445"/>
                </a:lnTo>
                <a:lnTo>
                  <a:pt x="2070258" y="531842"/>
                </a:lnTo>
                <a:lnTo>
                  <a:pt x="2080309" y="538552"/>
                </a:lnTo>
                <a:lnTo>
                  <a:pt x="2088047" y="543998"/>
                </a:lnTo>
                <a:lnTo>
                  <a:pt x="2092760" y="550227"/>
                </a:lnTo>
                <a:lnTo>
                  <a:pt x="2095018" y="555601"/>
                </a:lnTo>
                <a:lnTo>
                  <a:pt x="2096030" y="561919"/>
                </a:lnTo>
                <a:lnTo>
                  <a:pt x="2095282" y="566705"/>
                </a:lnTo>
                <a:lnTo>
                  <a:pt x="2093039" y="570513"/>
                </a:lnTo>
                <a:lnTo>
                  <a:pt x="2089320" y="571971"/>
                </a:lnTo>
                <a:lnTo>
                  <a:pt x="2083983" y="571490"/>
                </a:lnTo>
                <a:lnTo>
                  <a:pt x="2078379" y="570457"/>
                </a:lnTo>
                <a:lnTo>
                  <a:pt x="2071386" y="570776"/>
                </a:lnTo>
                <a:lnTo>
                  <a:pt x="2064642" y="573017"/>
                </a:lnTo>
                <a:lnTo>
                  <a:pt x="2057774" y="574297"/>
                </a:lnTo>
                <a:lnTo>
                  <a:pt x="2048754" y="572534"/>
                </a:lnTo>
                <a:lnTo>
                  <a:pt x="2038258" y="568421"/>
                </a:lnTo>
                <a:lnTo>
                  <a:pt x="2026162" y="560999"/>
                </a:lnTo>
                <a:lnTo>
                  <a:pt x="2010952" y="550658"/>
                </a:lnTo>
                <a:lnTo>
                  <a:pt x="1994000" y="537416"/>
                </a:lnTo>
                <a:lnTo>
                  <a:pt x="1982331" y="528766"/>
                </a:lnTo>
                <a:lnTo>
                  <a:pt x="1971711" y="523693"/>
                </a:lnTo>
                <a:lnTo>
                  <a:pt x="1961872" y="521645"/>
                </a:lnTo>
                <a:lnTo>
                  <a:pt x="1953083" y="523174"/>
                </a:lnTo>
                <a:lnTo>
                  <a:pt x="1945075" y="527728"/>
                </a:lnTo>
                <a:lnTo>
                  <a:pt x="1938525" y="536001"/>
                </a:lnTo>
                <a:lnTo>
                  <a:pt x="1933755" y="544435"/>
                </a:lnTo>
                <a:lnTo>
                  <a:pt x="1933770" y="553617"/>
                </a:lnTo>
                <a:lnTo>
                  <a:pt x="1936810" y="562016"/>
                </a:lnTo>
                <a:lnTo>
                  <a:pt x="1942590" y="570452"/>
                </a:lnTo>
                <a:lnTo>
                  <a:pt x="1952338" y="579350"/>
                </a:lnTo>
                <a:lnTo>
                  <a:pt x="1964150" y="587591"/>
                </a:lnTo>
                <a:lnTo>
                  <a:pt x="1979519" y="596153"/>
                </a:lnTo>
                <a:lnTo>
                  <a:pt x="1989731" y="601083"/>
                </a:lnTo>
                <a:lnTo>
                  <a:pt x="1999124" y="605729"/>
                </a:lnTo>
                <a:lnTo>
                  <a:pt x="2007822" y="611051"/>
                </a:lnTo>
                <a:lnTo>
                  <a:pt x="2013515" y="615785"/>
                </a:lnTo>
                <a:lnTo>
                  <a:pt x="2016894" y="619256"/>
                </a:lnTo>
                <a:lnTo>
                  <a:pt x="2018458" y="625306"/>
                </a:lnTo>
                <a:lnTo>
                  <a:pt x="2018634" y="632709"/>
                </a:lnTo>
                <a:lnTo>
                  <a:pt x="2017173" y="639541"/>
                </a:lnTo>
                <a:lnTo>
                  <a:pt x="2013952" y="644844"/>
                </a:lnTo>
                <a:lnTo>
                  <a:pt x="2010054" y="649452"/>
                </a:lnTo>
                <a:lnTo>
                  <a:pt x="2004413" y="651159"/>
                </a:lnTo>
                <a:lnTo>
                  <a:pt x="1999324" y="652599"/>
                </a:lnTo>
                <a:lnTo>
                  <a:pt x="1995036" y="655695"/>
                </a:lnTo>
                <a:lnTo>
                  <a:pt x="1992241" y="659769"/>
                </a:lnTo>
                <a:lnTo>
                  <a:pt x="1990693" y="662901"/>
                </a:lnTo>
                <a:lnTo>
                  <a:pt x="1986974" y="664359"/>
                </a:lnTo>
                <a:lnTo>
                  <a:pt x="1981085" y="664145"/>
                </a:lnTo>
                <a:lnTo>
                  <a:pt x="1974395" y="662275"/>
                </a:lnTo>
                <a:lnTo>
                  <a:pt x="1966336" y="660388"/>
                </a:lnTo>
                <a:lnTo>
                  <a:pt x="1959486" y="660297"/>
                </a:lnTo>
                <a:lnTo>
                  <a:pt x="1956586" y="662041"/>
                </a:lnTo>
                <a:lnTo>
                  <a:pt x="1955037" y="665172"/>
                </a:lnTo>
                <a:lnTo>
                  <a:pt x="1951745" y="665403"/>
                </a:lnTo>
                <a:lnTo>
                  <a:pt x="1948205" y="663712"/>
                </a:lnTo>
                <a:lnTo>
                  <a:pt x="1943207" y="658302"/>
                </a:lnTo>
                <a:lnTo>
                  <a:pt x="1937285" y="650275"/>
                </a:lnTo>
                <a:lnTo>
                  <a:pt x="1929495" y="638388"/>
                </a:lnTo>
                <a:lnTo>
                  <a:pt x="1923839" y="630913"/>
                </a:lnTo>
                <a:lnTo>
                  <a:pt x="1916280" y="622317"/>
                </a:lnTo>
                <a:lnTo>
                  <a:pt x="1906693" y="611639"/>
                </a:lnTo>
                <a:lnTo>
                  <a:pt x="1896163" y="599715"/>
                </a:lnTo>
                <a:lnTo>
                  <a:pt x="1884406" y="587364"/>
                </a:lnTo>
                <a:lnTo>
                  <a:pt x="1871955" y="575689"/>
                </a:lnTo>
                <a:lnTo>
                  <a:pt x="1860198" y="563338"/>
                </a:lnTo>
                <a:lnTo>
                  <a:pt x="1844758" y="549705"/>
                </a:lnTo>
                <a:lnTo>
                  <a:pt x="1832022" y="538848"/>
                </a:lnTo>
                <a:lnTo>
                  <a:pt x="1821865" y="529807"/>
                </a:lnTo>
                <a:lnTo>
                  <a:pt x="1813185" y="523115"/>
                </a:lnTo>
                <a:lnTo>
                  <a:pt x="1805980" y="518772"/>
                </a:lnTo>
                <a:lnTo>
                  <a:pt x="1798900" y="515390"/>
                </a:lnTo>
                <a:lnTo>
                  <a:pt x="1792762" y="513253"/>
                </a:lnTo>
                <a:lnTo>
                  <a:pt x="1786749" y="512078"/>
                </a:lnTo>
                <a:lnTo>
                  <a:pt x="1779241" y="509923"/>
                </a:lnTo>
                <a:lnTo>
                  <a:pt x="1767766" y="507306"/>
                </a:lnTo>
                <a:lnTo>
                  <a:pt x="1753978" y="503424"/>
                </a:lnTo>
                <a:lnTo>
                  <a:pt x="1738002" y="499240"/>
                </a:lnTo>
                <a:lnTo>
                  <a:pt x="1720390" y="494486"/>
                </a:lnTo>
                <a:lnTo>
                  <a:pt x="1702919" y="489322"/>
                </a:lnTo>
                <a:lnTo>
                  <a:pt x="1683261" y="483856"/>
                </a:lnTo>
                <a:lnTo>
                  <a:pt x="1667836" y="479405"/>
                </a:lnTo>
                <a:lnTo>
                  <a:pt x="1655543" y="476503"/>
                </a:lnTo>
                <a:lnTo>
                  <a:pt x="1646523" y="474739"/>
                </a:lnTo>
                <a:lnTo>
                  <a:pt x="1639673" y="474649"/>
                </a:lnTo>
                <a:lnTo>
                  <a:pt x="1634460" y="475129"/>
                </a:lnTo>
                <a:lnTo>
                  <a:pt x="1629228" y="476979"/>
                </a:lnTo>
                <a:lnTo>
                  <a:pt x="1624531" y="479932"/>
                </a:lnTo>
                <a:lnTo>
                  <a:pt x="1618587" y="483827"/>
                </a:lnTo>
                <a:lnTo>
                  <a:pt x="1610579" y="488381"/>
                </a:lnTo>
                <a:lnTo>
                  <a:pt x="1600650" y="493184"/>
                </a:lnTo>
                <a:lnTo>
                  <a:pt x="1590169" y="498254"/>
                </a:lnTo>
                <a:lnTo>
                  <a:pt x="1579422" y="502772"/>
                </a:lnTo>
                <a:lnTo>
                  <a:pt x="1565489" y="509851"/>
                </a:lnTo>
                <a:lnTo>
                  <a:pt x="1554990" y="516291"/>
                </a:lnTo>
                <a:lnTo>
                  <a:pt x="1548334" y="522233"/>
                </a:lnTo>
                <a:lnTo>
                  <a:pt x="1545788" y="528229"/>
                </a:lnTo>
                <a:lnTo>
                  <a:pt x="1546676" y="533586"/>
                </a:lnTo>
                <a:lnTo>
                  <a:pt x="1551692" y="537626"/>
                </a:lnTo>
                <a:lnTo>
                  <a:pt x="1560676" y="542129"/>
                </a:lnTo>
                <a:lnTo>
                  <a:pt x="1568326" y="543874"/>
                </a:lnTo>
                <a:lnTo>
                  <a:pt x="1577755" y="545780"/>
                </a:lnTo>
                <a:lnTo>
                  <a:pt x="1588839" y="546885"/>
                </a:lnTo>
                <a:lnTo>
                  <a:pt x="1599657" y="547439"/>
                </a:lnTo>
                <a:lnTo>
                  <a:pt x="1610617" y="547583"/>
                </a:lnTo>
                <a:lnTo>
                  <a:pt x="1621167" y="547585"/>
                </a:lnTo>
                <a:lnTo>
                  <a:pt x="1631309" y="547444"/>
                </a:lnTo>
                <a:lnTo>
                  <a:pt x="1640205" y="548246"/>
                </a:lnTo>
                <a:lnTo>
                  <a:pt x="1647588" y="549440"/>
                </a:lnTo>
                <a:lnTo>
                  <a:pt x="1653192" y="550473"/>
                </a:lnTo>
                <a:lnTo>
                  <a:pt x="1658902" y="553837"/>
                </a:lnTo>
                <a:lnTo>
                  <a:pt x="1664986" y="560084"/>
                </a:lnTo>
                <a:lnTo>
                  <a:pt x="1670375" y="567006"/>
                </a:lnTo>
                <a:lnTo>
                  <a:pt x="1675336" y="575157"/>
                </a:lnTo>
                <a:lnTo>
                  <a:pt x="1678643" y="584108"/>
                </a:lnTo>
                <a:lnTo>
                  <a:pt x="1680865" y="592223"/>
                </a:lnTo>
                <a:lnTo>
                  <a:pt x="1681735" y="598949"/>
                </a:lnTo>
                <a:lnTo>
                  <a:pt x="1679207" y="603575"/>
                </a:lnTo>
                <a:lnTo>
                  <a:pt x="1677925" y="607258"/>
                </a:lnTo>
                <a:lnTo>
                  <a:pt x="1676892" y="612863"/>
                </a:lnTo>
                <a:lnTo>
                  <a:pt x="1677495" y="619038"/>
                </a:lnTo>
                <a:lnTo>
                  <a:pt x="1679202" y="624679"/>
                </a:lnTo>
                <a:lnTo>
                  <a:pt x="1682402" y="631299"/>
                </a:lnTo>
                <a:lnTo>
                  <a:pt x="1683309" y="635285"/>
                </a:lnTo>
                <a:lnTo>
                  <a:pt x="1681636" y="637456"/>
                </a:lnTo>
                <a:lnTo>
                  <a:pt x="1678344" y="637686"/>
                </a:lnTo>
                <a:lnTo>
                  <a:pt x="1672864" y="637614"/>
                </a:lnTo>
                <a:lnTo>
                  <a:pt x="1665587" y="638752"/>
                </a:lnTo>
                <a:lnTo>
                  <a:pt x="1660213" y="641011"/>
                </a:lnTo>
                <a:lnTo>
                  <a:pt x="1656849" y="646722"/>
                </a:lnTo>
                <a:lnTo>
                  <a:pt x="1654464" y="650939"/>
                </a:lnTo>
                <a:lnTo>
                  <a:pt x="1653057" y="653661"/>
                </a:lnTo>
                <a:lnTo>
                  <a:pt x="1650584" y="654177"/>
                </a:lnTo>
                <a:lnTo>
                  <a:pt x="1648129" y="653322"/>
                </a:lnTo>
                <a:lnTo>
                  <a:pt x="1643646" y="650386"/>
                </a:lnTo>
                <a:lnTo>
                  <a:pt x="1639057" y="645118"/>
                </a:lnTo>
                <a:lnTo>
                  <a:pt x="1632726" y="636949"/>
                </a:lnTo>
                <a:lnTo>
                  <a:pt x="1624348" y="628068"/>
                </a:lnTo>
                <a:lnTo>
                  <a:pt x="1617162" y="622355"/>
                </a:lnTo>
                <a:lnTo>
                  <a:pt x="1610330" y="620895"/>
                </a:lnTo>
                <a:lnTo>
                  <a:pt x="1604689" y="622602"/>
                </a:lnTo>
                <a:lnTo>
                  <a:pt x="1599546" y="628153"/>
                </a:lnTo>
                <a:lnTo>
                  <a:pt x="1595042" y="637138"/>
                </a:lnTo>
                <a:lnTo>
                  <a:pt x="1589059" y="654327"/>
                </a:lnTo>
                <a:lnTo>
                  <a:pt x="1578533" y="631851"/>
                </a:lnTo>
                <a:lnTo>
                  <a:pt x="1571828" y="620799"/>
                </a:lnTo>
                <a:lnTo>
                  <a:pt x="1566333" y="611546"/>
                </a:lnTo>
                <a:lnTo>
                  <a:pt x="1559716" y="604195"/>
                </a:lnTo>
                <a:lnTo>
                  <a:pt x="1552139" y="596970"/>
                </a:lnTo>
                <a:lnTo>
                  <a:pt x="1543049" y="590135"/>
                </a:lnTo>
                <a:lnTo>
                  <a:pt x="1530953" y="582713"/>
                </a:lnTo>
                <a:lnTo>
                  <a:pt x="1516383" y="575806"/>
                </a:lnTo>
                <a:lnTo>
                  <a:pt x="1497740" y="566105"/>
                </a:lnTo>
                <a:lnTo>
                  <a:pt x="1479630" y="557507"/>
                </a:lnTo>
                <a:lnTo>
                  <a:pt x="1464917" y="551010"/>
                </a:lnTo>
                <a:lnTo>
                  <a:pt x="1451824" y="546453"/>
                </a:lnTo>
                <a:lnTo>
                  <a:pt x="1440491" y="543426"/>
                </a:lnTo>
                <a:lnTo>
                  <a:pt x="1429834" y="541093"/>
                </a:lnTo>
                <a:lnTo>
                  <a:pt x="1419302" y="539721"/>
                </a:lnTo>
                <a:lnTo>
                  <a:pt x="1409997" y="538776"/>
                </a:lnTo>
                <a:lnTo>
                  <a:pt x="1396476" y="535446"/>
                </a:lnTo>
                <a:lnTo>
                  <a:pt x="1379806" y="531938"/>
                </a:lnTo>
                <a:lnTo>
                  <a:pt x="1360966" y="526757"/>
                </a:lnTo>
                <a:lnTo>
                  <a:pt x="1341022" y="522109"/>
                </a:lnTo>
                <a:lnTo>
                  <a:pt x="1321648" y="515824"/>
                </a:lnTo>
                <a:lnTo>
                  <a:pt x="1250682" y="494335"/>
                </a:lnTo>
                <a:lnTo>
                  <a:pt x="1222586" y="505202"/>
                </a:lnTo>
                <a:lnTo>
                  <a:pt x="1200985" y="511907"/>
                </a:lnTo>
                <a:lnTo>
                  <a:pt x="1175434" y="516778"/>
                </a:lnTo>
                <a:lnTo>
                  <a:pt x="1146752" y="520101"/>
                </a:lnTo>
                <a:lnTo>
                  <a:pt x="1116577" y="522444"/>
                </a:lnTo>
                <a:lnTo>
                  <a:pt x="1084249" y="521745"/>
                </a:lnTo>
                <a:lnTo>
                  <a:pt x="1050978" y="519800"/>
                </a:lnTo>
                <a:lnTo>
                  <a:pt x="1026764" y="516877"/>
                </a:lnTo>
                <a:lnTo>
                  <a:pt x="1003778" y="514382"/>
                </a:lnTo>
                <a:lnTo>
                  <a:pt x="982037" y="510944"/>
                </a:lnTo>
                <a:lnTo>
                  <a:pt x="959478" y="507222"/>
                </a:lnTo>
                <a:lnTo>
                  <a:pt x="935834" y="502662"/>
                </a:lnTo>
                <a:lnTo>
                  <a:pt x="911247" y="496857"/>
                </a:lnTo>
                <a:lnTo>
                  <a:pt x="884347" y="489788"/>
                </a:lnTo>
                <a:lnTo>
                  <a:pt x="853765" y="481438"/>
                </a:lnTo>
                <a:lnTo>
                  <a:pt x="819500" y="471805"/>
                </a:lnTo>
                <a:lnTo>
                  <a:pt x="791106" y="463757"/>
                </a:lnTo>
                <a:lnTo>
                  <a:pt x="765168" y="456564"/>
                </a:lnTo>
                <a:lnTo>
                  <a:pt x="742218" y="451329"/>
                </a:lnTo>
                <a:lnTo>
                  <a:pt x="720228" y="445969"/>
                </a:lnTo>
                <a:lnTo>
                  <a:pt x="699857" y="442549"/>
                </a:lnTo>
                <a:lnTo>
                  <a:pt x="680305" y="439414"/>
                </a:lnTo>
                <a:lnTo>
                  <a:pt x="661553" y="437934"/>
                </a:lnTo>
                <a:lnTo>
                  <a:pt x="642515" y="437272"/>
                </a:lnTo>
                <a:lnTo>
                  <a:pt x="624012" y="437714"/>
                </a:lnTo>
                <a:lnTo>
                  <a:pt x="604671" y="439241"/>
                </a:lnTo>
                <a:lnTo>
                  <a:pt x="584495" y="441853"/>
                </a:lnTo>
                <a:lnTo>
                  <a:pt x="563481" y="445551"/>
                </a:lnTo>
                <a:lnTo>
                  <a:pt x="540813" y="450049"/>
                </a:lnTo>
                <a:lnTo>
                  <a:pt x="515654" y="456432"/>
                </a:lnTo>
                <a:lnTo>
                  <a:pt x="488982" y="463208"/>
                </a:lnTo>
                <a:lnTo>
                  <a:pt x="459409" y="471726"/>
                </a:lnTo>
                <a:lnTo>
                  <a:pt x="426403" y="480884"/>
                </a:lnTo>
                <a:lnTo>
                  <a:pt x="409766" y="485188"/>
                </a:lnTo>
                <a:lnTo>
                  <a:pt x="390229" y="491234"/>
                </a:lnTo>
                <a:lnTo>
                  <a:pt x="368485" y="498348"/>
                </a:lnTo>
                <a:lnTo>
                  <a:pt x="345229" y="505854"/>
                </a:lnTo>
                <a:lnTo>
                  <a:pt x="320870" y="513892"/>
                </a:lnTo>
                <a:lnTo>
                  <a:pt x="294998" y="522322"/>
                </a:lnTo>
                <a:lnTo>
                  <a:pt x="268984" y="531162"/>
                </a:lnTo>
                <a:lnTo>
                  <a:pt x="242969" y="540001"/>
                </a:lnTo>
                <a:lnTo>
                  <a:pt x="216955" y="548840"/>
                </a:lnTo>
                <a:lnTo>
                  <a:pt x="192311" y="557698"/>
                </a:lnTo>
                <a:lnTo>
                  <a:pt x="168770" y="566021"/>
                </a:lnTo>
                <a:lnTo>
                  <a:pt x="146741" y="573954"/>
                </a:lnTo>
                <a:lnTo>
                  <a:pt x="127186" y="581371"/>
                </a:lnTo>
                <a:lnTo>
                  <a:pt x="110246" y="587863"/>
                </a:lnTo>
                <a:lnTo>
                  <a:pt x="95513" y="593287"/>
                </a:lnTo>
                <a:lnTo>
                  <a:pt x="83520" y="598748"/>
                </a:lnTo>
                <a:lnTo>
                  <a:pt x="70584" y="602963"/>
                </a:lnTo>
                <a:lnTo>
                  <a:pt x="59018" y="607196"/>
                </a:lnTo>
                <a:lnTo>
                  <a:pt x="47861" y="611572"/>
                </a:lnTo>
                <a:lnTo>
                  <a:pt x="38644" y="614328"/>
                </a:lnTo>
                <a:lnTo>
                  <a:pt x="32185" y="615751"/>
                </a:lnTo>
                <a:lnTo>
                  <a:pt x="23538" y="616870"/>
                </a:lnTo>
                <a:lnTo>
                  <a:pt x="15443" y="617723"/>
                </a:lnTo>
                <a:lnTo>
                  <a:pt x="8183" y="617491"/>
                </a:lnTo>
                <a:lnTo>
                  <a:pt x="2579" y="616458"/>
                </a:lnTo>
                <a:lnTo>
                  <a:pt x="0" y="614642"/>
                </a:lnTo>
                <a:lnTo>
                  <a:pt x="18" y="613272"/>
                </a:lnTo>
                <a:lnTo>
                  <a:pt x="3328" y="611671"/>
                </a:lnTo>
                <a:lnTo>
                  <a:pt x="10072" y="609430"/>
                </a:lnTo>
                <a:lnTo>
                  <a:pt x="20231" y="607919"/>
                </a:lnTo>
                <a:lnTo>
                  <a:pt x="30676" y="605590"/>
                </a:lnTo>
                <a:lnTo>
                  <a:pt x="41120" y="603261"/>
                </a:lnTo>
                <a:lnTo>
                  <a:pt x="51992" y="599704"/>
                </a:lnTo>
                <a:lnTo>
                  <a:pt x="63416" y="595880"/>
                </a:lnTo>
                <a:lnTo>
                  <a:pt x="75248" y="592199"/>
                </a:lnTo>
                <a:lnTo>
                  <a:pt x="88878" y="587307"/>
                </a:lnTo>
                <a:lnTo>
                  <a:pt x="103487" y="580922"/>
                </a:lnTo>
                <a:lnTo>
                  <a:pt x="120018" y="574287"/>
                </a:lnTo>
                <a:lnTo>
                  <a:pt x="138345" y="566443"/>
                </a:lnTo>
                <a:lnTo>
                  <a:pt x="158471" y="557390"/>
                </a:lnTo>
                <a:lnTo>
                  <a:pt x="181496" y="546592"/>
                </a:lnTo>
                <a:lnTo>
                  <a:pt x="207138" y="534870"/>
                </a:lnTo>
                <a:lnTo>
                  <a:pt x="256356" y="512084"/>
                </a:lnTo>
                <a:lnTo>
                  <a:pt x="303493" y="491326"/>
                </a:lnTo>
                <a:lnTo>
                  <a:pt x="348262" y="473415"/>
                </a:lnTo>
                <a:lnTo>
                  <a:pt x="390113" y="458618"/>
                </a:lnTo>
                <a:lnTo>
                  <a:pt x="429348" y="444745"/>
                </a:lnTo>
                <a:lnTo>
                  <a:pt x="466768" y="433452"/>
                </a:lnTo>
                <a:lnTo>
                  <a:pt x="502514" y="424329"/>
                </a:lnTo>
                <a:lnTo>
                  <a:pt x="537139" y="417111"/>
                </a:lnTo>
                <a:lnTo>
                  <a:pt x="569682" y="411921"/>
                </a:lnTo>
                <a:lnTo>
                  <a:pt x="601370" y="409186"/>
                </a:lnTo>
                <a:lnTo>
                  <a:pt x="632080" y="407945"/>
                </a:lnTo>
                <a:lnTo>
                  <a:pt x="662077" y="408751"/>
                </a:lnTo>
                <a:lnTo>
                  <a:pt x="676595" y="409216"/>
                </a:lnTo>
                <a:lnTo>
                  <a:pt x="691237" y="410642"/>
                </a:lnTo>
                <a:lnTo>
                  <a:pt x="704243" y="411499"/>
                </a:lnTo>
                <a:lnTo>
                  <a:pt x="717373" y="413316"/>
                </a:lnTo>
                <a:lnTo>
                  <a:pt x="731054" y="414866"/>
                </a:lnTo>
                <a:lnTo>
                  <a:pt x="745821" y="417253"/>
                </a:lnTo>
                <a:lnTo>
                  <a:pt x="761957" y="419658"/>
                </a:lnTo>
                <a:lnTo>
                  <a:pt x="779998" y="423184"/>
                </a:lnTo>
                <a:lnTo>
                  <a:pt x="800226" y="427014"/>
                </a:lnTo>
                <a:lnTo>
                  <a:pt x="823870" y="431573"/>
                </a:lnTo>
                <a:lnTo>
                  <a:pt x="850788" y="437272"/>
                </a:lnTo>
                <a:lnTo>
                  <a:pt x="881673" y="443434"/>
                </a:lnTo>
                <a:lnTo>
                  <a:pt x="920760" y="451074"/>
                </a:lnTo>
                <a:lnTo>
                  <a:pt x="955061" y="457966"/>
                </a:lnTo>
                <a:lnTo>
                  <a:pt x="986783" y="463043"/>
                </a:lnTo>
                <a:lnTo>
                  <a:pt x="1014413" y="466696"/>
                </a:lnTo>
                <a:lnTo>
                  <a:pt x="1039587" y="469494"/>
                </a:lnTo>
                <a:lnTo>
                  <a:pt x="1062040" y="470885"/>
                </a:lnTo>
                <a:lnTo>
                  <a:pt x="1081772" y="470871"/>
                </a:lnTo>
                <a:lnTo>
                  <a:pt x="1100827" y="470162"/>
                </a:lnTo>
                <a:lnTo>
                  <a:pt x="1117712" y="467781"/>
                </a:lnTo>
                <a:lnTo>
                  <a:pt x="1134616" y="464029"/>
                </a:lnTo>
                <a:lnTo>
                  <a:pt x="1150701" y="459993"/>
                </a:lnTo>
                <a:lnTo>
                  <a:pt x="1163922" y="454959"/>
                </a:lnTo>
                <a:lnTo>
                  <a:pt x="1173299" y="450423"/>
                </a:lnTo>
                <a:lnTo>
                  <a:pt x="1182286" y="444375"/>
                </a:lnTo>
                <a:lnTo>
                  <a:pt x="1188551" y="436920"/>
                </a:lnTo>
                <a:lnTo>
                  <a:pt x="1192912" y="428344"/>
                </a:lnTo>
                <a:lnTo>
                  <a:pt x="1196224" y="416191"/>
                </a:lnTo>
                <a:lnTo>
                  <a:pt x="1199288" y="402116"/>
                </a:lnTo>
                <a:lnTo>
                  <a:pt x="1200895" y="384322"/>
                </a:lnTo>
                <a:lnTo>
                  <a:pt x="1204031" y="364767"/>
                </a:lnTo>
                <a:lnTo>
                  <a:pt x="1208450" y="341529"/>
                </a:lnTo>
                <a:lnTo>
                  <a:pt x="1214666" y="317080"/>
                </a:lnTo>
                <a:lnTo>
                  <a:pt x="1221309" y="291404"/>
                </a:lnTo>
                <a:lnTo>
                  <a:pt x="1229732" y="265889"/>
                </a:lnTo>
                <a:lnTo>
                  <a:pt x="1238830" y="241068"/>
                </a:lnTo>
                <a:lnTo>
                  <a:pt x="1248195" y="216798"/>
                </a:lnTo>
                <a:lnTo>
                  <a:pt x="1257257" y="194717"/>
                </a:lnTo>
                <a:lnTo>
                  <a:pt x="1266550" y="175928"/>
                </a:lnTo>
                <a:lnTo>
                  <a:pt x="1275521" y="160697"/>
                </a:lnTo>
                <a:lnTo>
                  <a:pt x="1296577" y="133155"/>
                </a:lnTo>
                <a:lnTo>
                  <a:pt x="1318841" y="107411"/>
                </a:lnTo>
                <a:lnTo>
                  <a:pt x="1343667" y="84852"/>
                </a:lnTo>
                <a:lnTo>
                  <a:pt x="1369008" y="64767"/>
                </a:lnTo>
                <a:lnTo>
                  <a:pt x="1397605" y="47191"/>
                </a:lnTo>
                <a:lnTo>
                  <a:pt x="1426841" y="33050"/>
                </a:lnTo>
                <a:lnTo>
                  <a:pt x="1457695" y="20848"/>
                </a:lnTo>
                <a:lnTo>
                  <a:pt x="1490702" y="11690"/>
                </a:lnTo>
                <a:lnTo>
                  <a:pt x="1525594" y="5023"/>
                </a:lnTo>
                <a:lnTo>
                  <a:pt x="1550841" y="2340"/>
                </a:lnTo>
                <a:lnTo>
                  <a:pt x="1575804" y="476"/>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Chip"/>
          <p:cNvGrpSpPr/>
          <p:nvPr/>
        </p:nvGrpSpPr>
        <p:grpSpPr>
          <a:xfrm>
            <a:off x="6648914" y="5570253"/>
            <a:ext cx="901065" cy="614062"/>
            <a:chOff x="8374216" y="4701043"/>
            <a:chExt cx="2090584" cy="1424700"/>
          </a:xfrm>
          <a:solidFill>
            <a:srgbClr val="FFFFFF"/>
          </a:solidFill>
        </p:grpSpPr>
        <p:grpSp>
          <p:nvGrpSpPr>
            <p:cNvPr id="15" name="Group 14"/>
            <p:cNvGrpSpPr/>
            <p:nvPr/>
          </p:nvGrpSpPr>
          <p:grpSpPr>
            <a:xfrm>
              <a:off x="9291858" y="4701043"/>
              <a:ext cx="1172941" cy="952868"/>
              <a:chOff x="9291858" y="4701043"/>
              <a:chExt cx="1172941" cy="952868"/>
            </a:xfrm>
            <a:grpFill/>
          </p:grpSpPr>
          <p:sp>
            <p:nvSpPr>
              <p:cNvPr id="23" name="Freeform 22"/>
              <p:cNvSpPr/>
              <p:nvPr/>
            </p:nvSpPr>
            <p:spPr>
              <a:xfrm flipH="1">
                <a:off x="9291858" y="4701043"/>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flipH="1">
                <a:off x="9593185" y="4851439"/>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flipH="1">
                <a:off x="9893391" y="5018045"/>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flipH="1">
                <a:off x="10192994" y="5177477"/>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Freeform 15"/>
            <p:cNvSpPr/>
            <p:nvPr/>
          </p:nvSpPr>
          <p:spPr>
            <a:xfrm>
              <a:off x="8450580" y="4732020"/>
              <a:ext cx="2014220" cy="1193800"/>
            </a:xfrm>
            <a:custGeom>
              <a:avLst/>
              <a:gdLst>
                <a:gd name="connsiteX0" fmla="*/ 5080 w 2014220"/>
                <a:gd name="connsiteY0" fmla="*/ 401320 h 1193800"/>
                <a:gd name="connsiteX1" fmla="*/ 787400 w 2014220"/>
                <a:gd name="connsiteY1" fmla="*/ 0 h 1193800"/>
                <a:gd name="connsiteX2" fmla="*/ 2014220 w 2014220"/>
                <a:gd name="connsiteY2" fmla="*/ 640080 h 1193800"/>
                <a:gd name="connsiteX3" fmla="*/ 2011680 w 2014220"/>
                <a:gd name="connsiteY3" fmla="*/ 807720 h 1193800"/>
                <a:gd name="connsiteX4" fmla="*/ 1219200 w 2014220"/>
                <a:gd name="connsiteY4" fmla="*/ 1193800 h 1193800"/>
                <a:gd name="connsiteX5" fmla="*/ 0 w 2014220"/>
                <a:gd name="connsiteY5" fmla="*/ 566420 h 1193800"/>
                <a:gd name="connsiteX6" fmla="*/ 5080 w 2014220"/>
                <a:gd name="connsiteY6" fmla="*/ 40132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4220" h="1193800">
                  <a:moveTo>
                    <a:pt x="5080" y="401320"/>
                  </a:moveTo>
                  <a:lnTo>
                    <a:pt x="787400" y="0"/>
                  </a:lnTo>
                  <a:lnTo>
                    <a:pt x="2014220" y="640080"/>
                  </a:lnTo>
                  <a:cubicBezTo>
                    <a:pt x="2013373" y="695960"/>
                    <a:pt x="2012527" y="751840"/>
                    <a:pt x="2011680" y="807720"/>
                  </a:cubicBezTo>
                  <a:lnTo>
                    <a:pt x="1219200" y="1193800"/>
                  </a:lnTo>
                  <a:lnTo>
                    <a:pt x="0" y="566420"/>
                  </a:lnTo>
                  <a:lnTo>
                    <a:pt x="5080" y="401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a:xfrm>
              <a:off x="8374216" y="5224020"/>
              <a:ext cx="1212609" cy="901723"/>
              <a:chOff x="8374216" y="5224020"/>
              <a:chExt cx="1212609" cy="901723"/>
            </a:xfrm>
            <a:grpFill/>
          </p:grpSpPr>
          <p:sp>
            <p:nvSpPr>
              <p:cNvPr id="19" name="Freeform 18"/>
              <p:cNvSpPr/>
              <p:nvPr/>
            </p:nvSpPr>
            <p:spPr>
              <a:xfrm>
                <a:off x="8374216" y="5224020"/>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8696238" y="5384641"/>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a:off x="9018260" y="5545262"/>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9340282" y="5705883"/>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Freeform 17"/>
            <p:cNvSpPr/>
            <p:nvPr/>
          </p:nvSpPr>
          <p:spPr>
            <a:xfrm>
              <a:off x="8453120" y="5128260"/>
              <a:ext cx="2009140" cy="609600"/>
            </a:xfrm>
            <a:custGeom>
              <a:avLst/>
              <a:gdLst>
                <a:gd name="connsiteX0" fmla="*/ 0 w 2009140"/>
                <a:gd name="connsiteY0" fmla="*/ 0 h 594360"/>
                <a:gd name="connsiteX1" fmla="*/ 1209040 w 2009140"/>
                <a:gd name="connsiteY1" fmla="*/ 594360 h 594360"/>
                <a:gd name="connsiteX2" fmla="*/ 2009140 w 2009140"/>
                <a:gd name="connsiteY2" fmla="*/ 241300 h 594360"/>
                <a:gd name="connsiteX3" fmla="*/ 2009140 w 2009140"/>
                <a:gd name="connsiteY3" fmla="*/ 241300 h 594360"/>
                <a:gd name="connsiteX0" fmla="*/ 0 w 2009140"/>
                <a:gd name="connsiteY0" fmla="*/ 0 h 609600"/>
                <a:gd name="connsiteX1" fmla="*/ 1209040 w 2009140"/>
                <a:gd name="connsiteY1" fmla="*/ 609600 h 609600"/>
                <a:gd name="connsiteX2" fmla="*/ 2009140 w 2009140"/>
                <a:gd name="connsiteY2" fmla="*/ 241300 h 609600"/>
                <a:gd name="connsiteX3" fmla="*/ 2009140 w 2009140"/>
                <a:gd name="connsiteY3" fmla="*/ 241300 h 609600"/>
                <a:gd name="connsiteX0" fmla="*/ 0 w 2009140"/>
                <a:gd name="connsiteY0" fmla="*/ 0 h 609600"/>
                <a:gd name="connsiteX1" fmla="*/ 1216660 w 2009140"/>
                <a:gd name="connsiteY1" fmla="*/ 609600 h 609600"/>
                <a:gd name="connsiteX2" fmla="*/ 2009140 w 2009140"/>
                <a:gd name="connsiteY2" fmla="*/ 241300 h 609600"/>
                <a:gd name="connsiteX3" fmla="*/ 2009140 w 2009140"/>
                <a:gd name="connsiteY3" fmla="*/ 241300 h 609600"/>
              </a:gdLst>
              <a:ahLst/>
              <a:cxnLst>
                <a:cxn ang="0">
                  <a:pos x="connsiteX0" y="connsiteY0"/>
                </a:cxn>
                <a:cxn ang="0">
                  <a:pos x="connsiteX1" y="connsiteY1"/>
                </a:cxn>
                <a:cxn ang="0">
                  <a:pos x="connsiteX2" y="connsiteY2"/>
                </a:cxn>
                <a:cxn ang="0">
                  <a:pos x="connsiteX3" y="connsiteY3"/>
                </a:cxn>
              </a:cxnLst>
              <a:rect l="l" t="t" r="r" b="b"/>
              <a:pathLst>
                <a:path w="2009140" h="609600">
                  <a:moveTo>
                    <a:pt x="0" y="0"/>
                  </a:moveTo>
                  <a:lnTo>
                    <a:pt x="1216660" y="609600"/>
                  </a:lnTo>
                  <a:lnTo>
                    <a:pt x="2009140" y="241300"/>
                  </a:lnTo>
                  <a:lnTo>
                    <a:pt x="2009140" y="241300"/>
                  </a:ln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Plus Chip"/>
          <p:cNvSpPr/>
          <p:nvPr/>
        </p:nvSpPr>
        <p:spPr>
          <a:xfrm>
            <a:off x="5767852"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Network"/>
          <p:cNvSpPr>
            <a:spLocks noChangeAspect="1" noEditPoints="1"/>
          </p:cNvSpPr>
          <p:nvPr/>
        </p:nvSpPr>
        <p:spPr bwMode="auto">
          <a:xfrm>
            <a:off x="8721335" y="5514267"/>
            <a:ext cx="547672" cy="726033"/>
          </a:xfrm>
          <a:custGeom>
            <a:avLst/>
            <a:gdLst>
              <a:gd name="T0" fmla="*/ 2699 w 5390"/>
              <a:gd name="T1" fmla="*/ 0 h 7135"/>
              <a:gd name="T2" fmla="*/ 0 w 5390"/>
              <a:gd name="T3" fmla="*/ 2699 h 7135"/>
              <a:gd name="T4" fmla="*/ 730 w 5390"/>
              <a:gd name="T5" fmla="*/ 4541 h 7135"/>
              <a:gd name="T6" fmla="*/ 1114 w 5390"/>
              <a:gd name="T7" fmla="*/ 4157 h 7135"/>
              <a:gd name="T8" fmla="*/ 542 w 5390"/>
              <a:gd name="T9" fmla="*/ 2699 h 7135"/>
              <a:gd name="T10" fmla="*/ 2699 w 5390"/>
              <a:gd name="T11" fmla="*/ 549 h 7135"/>
              <a:gd name="T12" fmla="*/ 4849 w 5390"/>
              <a:gd name="T13" fmla="*/ 2699 h 7135"/>
              <a:gd name="T14" fmla="*/ 4278 w 5390"/>
              <a:gd name="T15" fmla="*/ 4159 h 7135"/>
              <a:gd name="T16" fmla="*/ 4662 w 5390"/>
              <a:gd name="T17" fmla="*/ 4542 h 7135"/>
              <a:gd name="T18" fmla="*/ 5390 w 5390"/>
              <a:gd name="T19" fmla="*/ 2699 h 7135"/>
              <a:gd name="T20" fmla="*/ 2699 w 5390"/>
              <a:gd name="T21" fmla="*/ 0 h 7135"/>
              <a:gd name="T22" fmla="*/ 2699 w 5390"/>
              <a:gd name="T23" fmla="*/ 1008 h 7135"/>
              <a:gd name="T24" fmla="*/ 1008 w 5390"/>
              <a:gd name="T25" fmla="*/ 2699 h 7135"/>
              <a:gd name="T26" fmla="*/ 1444 w 5390"/>
              <a:gd name="T27" fmla="*/ 3827 h 7135"/>
              <a:gd name="T28" fmla="*/ 1827 w 5390"/>
              <a:gd name="T29" fmla="*/ 3443 h 7135"/>
              <a:gd name="T30" fmla="*/ 1551 w 5390"/>
              <a:gd name="T31" fmla="*/ 2699 h 7135"/>
              <a:gd name="T32" fmla="*/ 2699 w 5390"/>
              <a:gd name="T33" fmla="*/ 1556 h 7135"/>
              <a:gd name="T34" fmla="*/ 3841 w 5390"/>
              <a:gd name="T35" fmla="*/ 2699 h 7135"/>
              <a:gd name="T36" fmla="*/ 3566 w 5390"/>
              <a:gd name="T37" fmla="*/ 3446 h 7135"/>
              <a:gd name="T38" fmla="*/ 3951 w 5390"/>
              <a:gd name="T39" fmla="*/ 3832 h 7135"/>
              <a:gd name="T40" fmla="*/ 4389 w 5390"/>
              <a:gd name="T41" fmla="*/ 2699 h 7135"/>
              <a:gd name="T42" fmla="*/ 2699 w 5390"/>
              <a:gd name="T43" fmla="*/ 1008 h 7135"/>
              <a:gd name="T44" fmla="*/ 2694 w 5390"/>
              <a:gd name="T45" fmla="*/ 2054 h 7135"/>
              <a:gd name="T46" fmla="*/ 2172 w 5390"/>
              <a:gd name="T47" fmla="*/ 2577 h 7135"/>
              <a:gd name="T48" fmla="*/ 2694 w 5390"/>
              <a:gd name="T49" fmla="*/ 3098 h 7135"/>
              <a:gd name="T50" fmla="*/ 3216 w 5390"/>
              <a:gd name="T51" fmla="*/ 2577 h 7135"/>
              <a:gd name="T52" fmla="*/ 2694 w 5390"/>
              <a:gd name="T53" fmla="*/ 2054 h 7135"/>
              <a:gd name="T54" fmla="*/ 2296 w 5390"/>
              <a:gd name="T55" fmla="*/ 3380 h 7135"/>
              <a:gd name="T56" fmla="*/ 1218 w 5390"/>
              <a:gd name="T57" fmla="*/ 7135 h 7135"/>
              <a:gd name="T58" fmla="*/ 1914 w 5390"/>
              <a:gd name="T59" fmla="*/ 7134 h 7135"/>
              <a:gd name="T60" fmla="*/ 2691 w 5390"/>
              <a:gd name="T61" fmla="*/ 3869 h 7135"/>
              <a:gd name="T62" fmla="*/ 3468 w 5390"/>
              <a:gd name="T63" fmla="*/ 7134 h 7135"/>
              <a:gd name="T64" fmla="*/ 4164 w 5390"/>
              <a:gd name="T65" fmla="*/ 7135 h 7135"/>
              <a:gd name="T66" fmla="*/ 3086 w 5390"/>
              <a:gd name="T67" fmla="*/ 3380 h 7135"/>
              <a:gd name="T68" fmla="*/ 2691 w 5390"/>
              <a:gd name="T69" fmla="*/ 3472 h 7135"/>
              <a:gd name="T70" fmla="*/ 2296 w 5390"/>
              <a:gd name="T71" fmla="*/ 3380 h 7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90" h="7135">
                <a:moveTo>
                  <a:pt x="2699" y="0"/>
                </a:moveTo>
                <a:cubicBezTo>
                  <a:pt x="1212" y="0"/>
                  <a:pt x="0" y="1213"/>
                  <a:pt x="0" y="2699"/>
                </a:cubicBezTo>
                <a:cubicBezTo>
                  <a:pt x="0" y="3410"/>
                  <a:pt x="278" y="4058"/>
                  <a:pt x="730" y="4541"/>
                </a:cubicBezTo>
                <a:lnTo>
                  <a:pt x="1114" y="4157"/>
                </a:lnTo>
                <a:cubicBezTo>
                  <a:pt x="759" y="3774"/>
                  <a:pt x="542" y="3263"/>
                  <a:pt x="542" y="2699"/>
                </a:cubicBezTo>
                <a:cubicBezTo>
                  <a:pt x="542" y="1508"/>
                  <a:pt x="1508" y="549"/>
                  <a:pt x="2699" y="549"/>
                </a:cubicBezTo>
                <a:cubicBezTo>
                  <a:pt x="3890" y="549"/>
                  <a:pt x="4849" y="1508"/>
                  <a:pt x="4849" y="2699"/>
                </a:cubicBezTo>
                <a:cubicBezTo>
                  <a:pt x="4849" y="3264"/>
                  <a:pt x="4632" y="3776"/>
                  <a:pt x="4278" y="4159"/>
                </a:cubicBezTo>
                <a:lnTo>
                  <a:pt x="4662" y="4542"/>
                </a:lnTo>
                <a:cubicBezTo>
                  <a:pt x="5113" y="4059"/>
                  <a:pt x="5390" y="3411"/>
                  <a:pt x="5390" y="2699"/>
                </a:cubicBezTo>
                <a:cubicBezTo>
                  <a:pt x="5390" y="1213"/>
                  <a:pt x="4185" y="0"/>
                  <a:pt x="2699" y="0"/>
                </a:cubicBezTo>
                <a:close/>
                <a:moveTo>
                  <a:pt x="2699" y="1008"/>
                </a:moveTo>
                <a:cubicBezTo>
                  <a:pt x="1769" y="1008"/>
                  <a:pt x="1008" y="1769"/>
                  <a:pt x="1008" y="2699"/>
                </a:cubicBezTo>
                <a:cubicBezTo>
                  <a:pt x="1008" y="3132"/>
                  <a:pt x="1174" y="3527"/>
                  <a:pt x="1444" y="3827"/>
                </a:cubicBezTo>
                <a:lnTo>
                  <a:pt x="1827" y="3443"/>
                </a:lnTo>
                <a:cubicBezTo>
                  <a:pt x="1656" y="3244"/>
                  <a:pt x="1551" y="2985"/>
                  <a:pt x="1551" y="2699"/>
                </a:cubicBezTo>
                <a:cubicBezTo>
                  <a:pt x="1551" y="2064"/>
                  <a:pt x="2064" y="1556"/>
                  <a:pt x="2699" y="1556"/>
                </a:cubicBezTo>
                <a:cubicBezTo>
                  <a:pt x="3334" y="1556"/>
                  <a:pt x="3841" y="2064"/>
                  <a:pt x="3841" y="2699"/>
                </a:cubicBezTo>
                <a:cubicBezTo>
                  <a:pt x="3841" y="2986"/>
                  <a:pt x="3737" y="3246"/>
                  <a:pt x="3566" y="3446"/>
                </a:cubicBezTo>
                <a:lnTo>
                  <a:pt x="3951" y="3832"/>
                </a:lnTo>
                <a:cubicBezTo>
                  <a:pt x="4223" y="3531"/>
                  <a:pt x="4389" y="3134"/>
                  <a:pt x="4389" y="2699"/>
                </a:cubicBezTo>
                <a:cubicBezTo>
                  <a:pt x="4389" y="1769"/>
                  <a:pt x="3629" y="1008"/>
                  <a:pt x="2699" y="1008"/>
                </a:cubicBezTo>
                <a:close/>
                <a:moveTo>
                  <a:pt x="2694" y="2054"/>
                </a:moveTo>
                <a:cubicBezTo>
                  <a:pt x="2406" y="2054"/>
                  <a:pt x="2172" y="2289"/>
                  <a:pt x="2172" y="2577"/>
                </a:cubicBezTo>
                <a:cubicBezTo>
                  <a:pt x="2172" y="2864"/>
                  <a:pt x="2406" y="3098"/>
                  <a:pt x="2694" y="3098"/>
                </a:cubicBezTo>
                <a:cubicBezTo>
                  <a:pt x="2982" y="3098"/>
                  <a:pt x="3216" y="2864"/>
                  <a:pt x="3216" y="2577"/>
                </a:cubicBezTo>
                <a:cubicBezTo>
                  <a:pt x="3216" y="2289"/>
                  <a:pt x="2982" y="2054"/>
                  <a:pt x="2694" y="2054"/>
                </a:cubicBezTo>
                <a:close/>
                <a:moveTo>
                  <a:pt x="2296" y="3380"/>
                </a:moveTo>
                <a:lnTo>
                  <a:pt x="1218" y="7135"/>
                </a:lnTo>
                <a:lnTo>
                  <a:pt x="1914" y="7134"/>
                </a:lnTo>
                <a:lnTo>
                  <a:pt x="2691" y="3869"/>
                </a:lnTo>
                <a:lnTo>
                  <a:pt x="3468" y="7134"/>
                </a:lnTo>
                <a:lnTo>
                  <a:pt x="4164" y="7135"/>
                </a:lnTo>
                <a:lnTo>
                  <a:pt x="3086" y="3380"/>
                </a:lnTo>
                <a:cubicBezTo>
                  <a:pt x="2967" y="3439"/>
                  <a:pt x="2833" y="3472"/>
                  <a:pt x="2691" y="3472"/>
                </a:cubicBezTo>
                <a:cubicBezTo>
                  <a:pt x="2549" y="3472"/>
                  <a:pt x="2415" y="3439"/>
                  <a:pt x="2296" y="3380"/>
                </a:cubicBez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Tweet"/>
          <p:cNvSpPr>
            <a:spLocks/>
          </p:cNvSpPr>
          <p:nvPr/>
        </p:nvSpPr>
        <p:spPr bwMode="auto">
          <a:xfrm>
            <a:off x="10440367" y="5564092"/>
            <a:ext cx="898193" cy="626384"/>
          </a:xfrm>
          <a:custGeom>
            <a:avLst/>
            <a:gdLst>
              <a:gd name="T0" fmla="*/ 4218 w 6186"/>
              <a:gd name="T1" fmla="*/ 150 h 4314"/>
              <a:gd name="T2" fmla="*/ 4103 w 6186"/>
              <a:gd name="T3" fmla="*/ 215 h 4314"/>
              <a:gd name="T4" fmla="*/ 4302 w 6186"/>
              <a:gd name="T5" fmla="*/ 140 h 4314"/>
              <a:gd name="T6" fmla="*/ 4565 w 6186"/>
              <a:gd name="T7" fmla="*/ 103 h 4314"/>
              <a:gd name="T8" fmla="*/ 4550 w 6186"/>
              <a:gd name="T9" fmla="*/ 240 h 4314"/>
              <a:gd name="T10" fmla="*/ 4240 w 6186"/>
              <a:gd name="T11" fmla="*/ 358 h 4314"/>
              <a:gd name="T12" fmla="*/ 4201 w 6186"/>
              <a:gd name="T13" fmla="*/ 405 h 4314"/>
              <a:gd name="T14" fmla="*/ 4836 w 6186"/>
              <a:gd name="T15" fmla="*/ 639 h 4314"/>
              <a:gd name="T16" fmla="*/ 5209 w 6186"/>
              <a:gd name="T17" fmla="*/ 1046 h 4314"/>
              <a:gd name="T18" fmla="*/ 5386 w 6186"/>
              <a:gd name="T19" fmla="*/ 1430 h 4314"/>
              <a:gd name="T20" fmla="*/ 5431 w 6186"/>
              <a:gd name="T21" fmla="*/ 1602 h 4314"/>
              <a:gd name="T22" fmla="*/ 5644 w 6186"/>
              <a:gd name="T23" fmla="*/ 1642 h 4314"/>
              <a:gd name="T24" fmla="*/ 6092 w 6186"/>
              <a:gd name="T25" fmla="*/ 1606 h 4314"/>
              <a:gd name="T26" fmla="*/ 5929 w 6186"/>
              <a:gd name="T27" fmla="*/ 1814 h 4314"/>
              <a:gd name="T28" fmla="*/ 5594 w 6186"/>
              <a:gd name="T29" fmla="*/ 1911 h 4314"/>
              <a:gd name="T30" fmla="*/ 5506 w 6186"/>
              <a:gd name="T31" fmla="*/ 1930 h 4314"/>
              <a:gd name="T32" fmla="*/ 5843 w 6186"/>
              <a:gd name="T33" fmla="*/ 2005 h 4314"/>
              <a:gd name="T34" fmla="*/ 5991 w 6186"/>
              <a:gd name="T35" fmla="*/ 2151 h 4314"/>
              <a:gd name="T36" fmla="*/ 5567 w 6186"/>
              <a:gd name="T37" fmla="*/ 2266 h 4314"/>
              <a:gd name="T38" fmla="*/ 5350 w 6186"/>
              <a:gd name="T39" fmla="*/ 2556 h 4314"/>
              <a:gd name="T40" fmla="*/ 4823 w 6186"/>
              <a:gd name="T41" fmla="*/ 3383 h 4314"/>
              <a:gd name="T42" fmla="*/ 4088 w 6186"/>
              <a:gd name="T43" fmla="*/ 3919 h 4314"/>
              <a:gd name="T44" fmla="*/ 3262 w 6186"/>
              <a:gd name="T45" fmla="*/ 4213 h 4314"/>
              <a:gd name="T46" fmla="*/ 2463 w 6186"/>
              <a:gd name="T47" fmla="*/ 4314 h 4314"/>
              <a:gd name="T48" fmla="*/ 1413 w 6186"/>
              <a:gd name="T49" fmla="*/ 4149 h 4314"/>
              <a:gd name="T50" fmla="*/ 656 w 6186"/>
              <a:gd name="T51" fmla="*/ 3756 h 4314"/>
              <a:gd name="T52" fmla="*/ 186 w 6186"/>
              <a:gd name="T53" fmla="*/ 3341 h 4314"/>
              <a:gd name="T54" fmla="*/ 4 w 6186"/>
              <a:gd name="T55" fmla="*/ 3117 h 4314"/>
              <a:gd name="T56" fmla="*/ 120 w 6186"/>
              <a:gd name="T57" fmla="*/ 3206 h 4314"/>
              <a:gd name="T58" fmla="*/ 527 w 6186"/>
              <a:gd name="T59" fmla="*/ 3422 h 4314"/>
              <a:gd name="T60" fmla="*/ 1151 w 6186"/>
              <a:gd name="T61" fmla="*/ 3525 h 4314"/>
              <a:gd name="T62" fmla="*/ 1921 w 6186"/>
              <a:gd name="T63" fmla="*/ 3285 h 4314"/>
              <a:gd name="T64" fmla="*/ 2060 w 6186"/>
              <a:gd name="T65" fmla="*/ 2997 h 4314"/>
              <a:gd name="T66" fmla="*/ 1837 w 6186"/>
              <a:gd name="T67" fmla="*/ 2804 h 4314"/>
              <a:gd name="T68" fmla="*/ 1998 w 6186"/>
              <a:gd name="T69" fmla="*/ 2526 h 4314"/>
              <a:gd name="T70" fmla="*/ 1638 w 6186"/>
              <a:gd name="T71" fmla="*/ 2412 h 4314"/>
              <a:gd name="T72" fmla="*/ 1378 w 6186"/>
              <a:gd name="T73" fmla="*/ 2198 h 4314"/>
              <a:gd name="T74" fmla="*/ 1320 w 6186"/>
              <a:gd name="T75" fmla="*/ 2097 h 4314"/>
              <a:gd name="T76" fmla="*/ 1464 w 6186"/>
              <a:gd name="T77" fmla="*/ 1990 h 4314"/>
              <a:gd name="T78" fmla="*/ 1565 w 6186"/>
              <a:gd name="T79" fmla="*/ 1876 h 4314"/>
              <a:gd name="T80" fmla="*/ 1183 w 6186"/>
              <a:gd name="T81" fmla="*/ 1615 h 4314"/>
              <a:gd name="T82" fmla="*/ 1063 w 6186"/>
              <a:gd name="T83" fmla="*/ 1368 h 4314"/>
              <a:gd name="T84" fmla="*/ 1076 w 6186"/>
              <a:gd name="T85" fmla="*/ 1293 h 4314"/>
              <a:gd name="T86" fmla="*/ 1320 w 6186"/>
              <a:gd name="T87" fmla="*/ 1194 h 4314"/>
              <a:gd name="T88" fmla="*/ 960 w 6186"/>
              <a:gd name="T89" fmla="*/ 791 h 4314"/>
              <a:gd name="T90" fmla="*/ 900 w 6186"/>
              <a:gd name="T91" fmla="*/ 508 h 4314"/>
              <a:gd name="T92" fmla="*/ 980 w 6186"/>
              <a:gd name="T93" fmla="*/ 504 h 4314"/>
              <a:gd name="T94" fmla="*/ 1398 w 6186"/>
              <a:gd name="T95" fmla="*/ 671 h 4314"/>
              <a:gd name="T96" fmla="*/ 2000 w 6186"/>
              <a:gd name="T97" fmla="*/ 935 h 4314"/>
              <a:gd name="T98" fmla="*/ 2576 w 6186"/>
              <a:gd name="T99" fmla="*/ 1231 h 4314"/>
              <a:gd name="T100" fmla="*/ 2894 w 6186"/>
              <a:gd name="T101" fmla="*/ 1495 h 4314"/>
              <a:gd name="T102" fmla="*/ 2973 w 6186"/>
              <a:gd name="T103" fmla="*/ 1548 h 4314"/>
              <a:gd name="T104" fmla="*/ 3099 w 6186"/>
              <a:gd name="T105" fmla="*/ 1224 h 4314"/>
              <a:gd name="T106" fmla="*/ 3365 w 6186"/>
              <a:gd name="T107" fmla="*/ 693 h 4314"/>
              <a:gd name="T108" fmla="*/ 3743 w 6186"/>
              <a:gd name="T109" fmla="*/ 195 h 4314"/>
              <a:gd name="T110" fmla="*/ 3907 w 6186"/>
              <a:gd name="T111" fmla="*/ 135 h 4314"/>
              <a:gd name="T112" fmla="*/ 3882 w 6186"/>
              <a:gd name="T113" fmla="*/ 195 h 4314"/>
              <a:gd name="T114" fmla="*/ 4120 w 6186"/>
              <a:gd name="T115" fmla="*/ 58 h 4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86" h="4314">
                <a:moveTo>
                  <a:pt x="4332" y="0"/>
                </a:moveTo>
                <a:lnTo>
                  <a:pt x="4328" y="28"/>
                </a:lnTo>
                <a:lnTo>
                  <a:pt x="4317" y="54"/>
                </a:lnTo>
                <a:lnTo>
                  <a:pt x="4298" y="80"/>
                </a:lnTo>
                <a:lnTo>
                  <a:pt x="4274" y="107"/>
                </a:lnTo>
                <a:lnTo>
                  <a:pt x="4246" y="129"/>
                </a:lnTo>
                <a:lnTo>
                  <a:pt x="4218" y="150"/>
                </a:lnTo>
                <a:lnTo>
                  <a:pt x="4188" y="168"/>
                </a:lnTo>
                <a:lnTo>
                  <a:pt x="4160" y="185"/>
                </a:lnTo>
                <a:lnTo>
                  <a:pt x="4135" y="198"/>
                </a:lnTo>
                <a:lnTo>
                  <a:pt x="4117" y="210"/>
                </a:lnTo>
                <a:lnTo>
                  <a:pt x="4103" y="215"/>
                </a:lnTo>
                <a:lnTo>
                  <a:pt x="4098" y="217"/>
                </a:lnTo>
                <a:lnTo>
                  <a:pt x="4103" y="215"/>
                </a:lnTo>
                <a:lnTo>
                  <a:pt x="4115" y="210"/>
                </a:lnTo>
                <a:lnTo>
                  <a:pt x="4133" y="202"/>
                </a:lnTo>
                <a:lnTo>
                  <a:pt x="4160" y="191"/>
                </a:lnTo>
                <a:lnTo>
                  <a:pt x="4190" y="180"/>
                </a:lnTo>
                <a:lnTo>
                  <a:pt x="4225" y="167"/>
                </a:lnTo>
                <a:lnTo>
                  <a:pt x="4263" y="153"/>
                </a:lnTo>
                <a:lnTo>
                  <a:pt x="4302" y="140"/>
                </a:lnTo>
                <a:lnTo>
                  <a:pt x="4343" y="127"/>
                </a:lnTo>
                <a:lnTo>
                  <a:pt x="4385" y="116"/>
                </a:lnTo>
                <a:lnTo>
                  <a:pt x="4426" y="108"/>
                </a:lnTo>
                <a:lnTo>
                  <a:pt x="4465" y="101"/>
                </a:lnTo>
                <a:lnTo>
                  <a:pt x="4503" y="97"/>
                </a:lnTo>
                <a:lnTo>
                  <a:pt x="4536" y="99"/>
                </a:lnTo>
                <a:lnTo>
                  <a:pt x="4565" y="103"/>
                </a:lnTo>
                <a:lnTo>
                  <a:pt x="4589" y="112"/>
                </a:lnTo>
                <a:lnTo>
                  <a:pt x="4606" y="127"/>
                </a:lnTo>
                <a:lnTo>
                  <a:pt x="4615" y="152"/>
                </a:lnTo>
                <a:lnTo>
                  <a:pt x="4613" y="174"/>
                </a:lnTo>
                <a:lnTo>
                  <a:pt x="4600" y="197"/>
                </a:lnTo>
                <a:lnTo>
                  <a:pt x="4580" y="219"/>
                </a:lnTo>
                <a:lnTo>
                  <a:pt x="4550" y="240"/>
                </a:lnTo>
                <a:lnTo>
                  <a:pt x="4514" y="260"/>
                </a:lnTo>
                <a:lnTo>
                  <a:pt x="4473" y="281"/>
                </a:lnTo>
                <a:lnTo>
                  <a:pt x="4428" y="298"/>
                </a:lnTo>
                <a:lnTo>
                  <a:pt x="4381" y="316"/>
                </a:lnTo>
                <a:lnTo>
                  <a:pt x="4334" y="331"/>
                </a:lnTo>
                <a:lnTo>
                  <a:pt x="4287" y="346"/>
                </a:lnTo>
                <a:lnTo>
                  <a:pt x="4240" y="358"/>
                </a:lnTo>
                <a:lnTo>
                  <a:pt x="4199" y="369"/>
                </a:lnTo>
                <a:lnTo>
                  <a:pt x="4161" y="378"/>
                </a:lnTo>
                <a:lnTo>
                  <a:pt x="4130" y="386"/>
                </a:lnTo>
                <a:lnTo>
                  <a:pt x="4105" y="391"/>
                </a:lnTo>
                <a:lnTo>
                  <a:pt x="4090" y="395"/>
                </a:lnTo>
                <a:lnTo>
                  <a:pt x="4085" y="397"/>
                </a:lnTo>
                <a:lnTo>
                  <a:pt x="4201" y="405"/>
                </a:lnTo>
                <a:lnTo>
                  <a:pt x="4310" y="420"/>
                </a:lnTo>
                <a:lnTo>
                  <a:pt x="4413" y="442"/>
                </a:lnTo>
                <a:lnTo>
                  <a:pt x="4510" y="472"/>
                </a:lnTo>
                <a:lnTo>
                  <a:pt x="4600" y="506"/>
                </a:lnTo>
                <a:lnTo>
                  <a:pt x="4684" y="547"/>
                </a:lnTo>
                <a:lnTo>
                  <a:pt x="4763" y="590"/>
                </a:lnTo>
                <a:lnTo>
                  <a:pt x="4836" y="639"/>
                </a:lnTo>
                <a:lnTo>
                  <a:pt x="4904" y="691"/>
                </a:lnTo>
                <a:lnTo>
                  <a:pt x="4968" y="746"/>
                </a:lnTo>
                <a:lnTo>
                  <a:pt x="5026" y="804"/>
                </a:lnTo>
                <a:lnTo>
                  <a:pt x="5078" y="862"/>
                </a:lnTo>
                <a:lnTo>
                  <a:pt x="5127" y="924"/>
                </a:lnTo>
                <a:lnTo>
                  <a:pt x="5170" y="984"/>
                </a:lnTo>
                <a:lnTo>
                  <a:pt x="5209" y="1046"/>
                </a:lnTo>
                <a:lnTo>
                  <a:pt x="5247" y="1106"/>
                </a:lnTo>
                <a:lnTo>
                  <a:pt x="5279" y="1165"/>
                </a:lnTo>
                <a:lnTo>
                  <a:pt x="5307" y="1224"/>
                </a:lnTo>
                <a:lnTo>
                  <a:pt x="5331" y="1280"/>
                </a:lnTo>
                <a:lnTo>
                  <a:pt x="5352" y="1334"/>
                </a:lnTo>
                <a:lnTo>
                  <a:pt x="5371" y="1385"/>
                </a:lnTo>
                <a:lnTo>
                  <a:pt x="5386" y="1430"/>
                </a:lnTo>
                <a:lnTo>
                  <a:pt x="5399" y="1473"/>
                </a:lnTo>
                <a:lnTo>
                  <a:pt x="5410" y="1510"/>
                </a:lnTo>
                <a:lnTo>
                  <a:pt x="5417" y="1542"/>
                </a:lnTo>
                <a:lnTo>
                  <a:pt x="5423" y="1567"/>
                </a:lnTo>
                <a:lnTo>
                  <a:pt x="5427" y="1585"/>
                </a:lnTo>
                <a:lnTo>
                  <a:pt x="5429" y="1598"/>
                </a:lnTo>
                <a:lnTo>
                  <a:pt x="5431" y="1602"/>
                </a:lnTo>
                <a:lnTo>
                  <a:pt x="5436" y="1604"/>
                </a:lnTo>
                <a:lnTo>
                  <a:pt x="5451" y="1608"/>
                </a:lnTo>
                <a:lnTo>
                  <a:pt x="5476" y="1613"/>
                </a:lnTo>
                <a:lnTo>
                  <a:pt x="5507" y="1621"/>
                </a:lnTo>
                <a:lnTo>
                  <a:pt x="5547" y="1627"/>
                </a:lnTo>
                <a:lnTo>
                  <a:pt x="5594" y="1634"/>
                </a:lnTo>
                <a:lnTo>
                  <a:pt x="5644" y="1642"/>
                </a:lnTo>
                <a:lnTo>
                  <a:pt x="5700" y="1645"/>
                </a:lnTo>
                <a:lnTo>
                  <a:pt x="5760" y="1649"/>
                </a:lnTo>
                <a:lnTo>
                  <a:pt x="5824" y="1649"/>
                </a:lnTo>
                <a:lnTo>
                  <a:pt x="5890" y="1645"/>
                </a:lnTo>
                <a:lnTo>
                  <a:pt x="5957" y="1636"/>
                </a:lnTo>
                <a:lnTo>
                  <a:pt x="6025" y="1625"/>
                </a:lnTo>
                <a:lnTo>
                  <a:pt x="6092" y="1606"/>
                </a:lnTo>
                <a:lnTo>
                  <a:pt x="6158" y="1580"/>
                </a:lnTo>
                <a:lnTo>
                  <a:pt x="6134" y="1632"/>
                </a:lnTo>
                <a:lnTo>
                  <a:pt x="6104" y="1677"/>
                </a:lnTo>
                <a:lnTo>
                  <a:pt x="6066" y="1718"/>
                </a:lnTo>
                <a:lnTo>
                  <a:pt x="6025" y="1754"/>
                </a:lnTo>
                <a:lnTo>
                  <a:pt x="5978" y="1786"/>
                </a:lnTo>
                <a:lnTo>
                  <a:pt x="5929" y="1814"/>
                </a:lnTo>
                <a:lnTo>
                  <a:pt x="5879" y="1836"/>
                </a:lnTo>
                <a:lnTo>
                  <a:pt x="5828" y="1857"/>
                </a:lnTo>
                <a:lnTo>
                  <a:pt x="5777" y="1872"/>
                </a:lnTo>
                <a:lnTo>
                  <a:pt x="5727" y="1887"/>
                </a:lnTo>
                <a:lnTo>
                  <a:pt x="5678" y="1896"/>
                </a:lnTo>
                <a:lnTo>
                  <a:pt x="5633" y="1906"/>
                </a:lnTo>
                <a:lnTo>
                  <a:pt x="5594" y="1911"/>
                </a:lnTo>
                <a:lnTo>
                  <a:pt x="5558" y="1915"/>
                </a:lnTo>
                <a:lnTo>
                  <a:pt x="5528" y="1919"/>
                </a:lnTo>
                <a:lnTo>
                  <a:pt x="5506" y="1921"/>
                </a:lnTo>
                <a:lnTo>
                  <a:pt x="5492" y="1921"/>
                </a:lnTo>
                <a:lnTo>
                  <a:pt x="5487" y="1921"/>
                </a:lnTo>
                <a:lnTo>
                  <a:pt x="5491" y="1925"/>
                </a:lnTo>
                <a:lnTo>
                  <a:pt x="5506" y="1930"/>
                </a:lnTo>
                <a:lnTo>
                  <a:pt x="5530" y="1938"/>
                </a:lnTo>
                <a:lnTo>
                  <a:pt x="5562" y="1949"/>
                </a:lnTo>
                <a:lnTo>
                  <a:pt x="5603" y="1962"/>
                </a:lnTo>
                <a:lnTo>
                  <a:pt x="5652" y="1973"/>
                </a:lnTo>
                <a:lnTo>
                  <a:pt x="5708" y="1986"/>
                </a:lnTo>
                <a:lnTo>
                  <a:pt x="5772" y="1996"/>
                </a:lnTo>
                <a:lnTo>
                  <a:pt x="5843" y="2005"/>
                </a:lnTo>
                <a:lnTo>
                  <a:pt x="5920" y="2009"/>
                </a:lnTo>
                <a:lnTo>
                  <a:pt x="6002" y="2009"/>
                </a:lnTo>
                <a:lnTo>
                  <a:pt x="6092" y="2005"/>
                </a:lnTo>
                <a:lnTo>
                  <a:pt x="6186" y="1996"/>
                </a:lnTo>
                <a:lnTo>
                  <a:pt x="6122" y="2058"/>
                </a:lnTo>
                <a:lnTo>
                  <a:pt x="6057" y="2110"/>
                </a:lnTo>
                <a:lnTo>
                  <a:pt x="5991" y="2151"/>
                </a:lnTo>
                <a:lnTo>
                  <a:pt x="5924" y="2187"/>
                </a:lnTo>
                <a:lnTo>
                  <a:pt x="5858" y="2213"/>
                </a:lnTo>
                <a:lnTo>
                  <a:pt x="5792" y="2234"/>
                </a:lnTo>
                <a:lnTo>
                  <a:pt x="5730" y="2249"/>
                </a:lnTo>
                <a:lnTo>
                  <a:pt x="5671" y="2258"/>
                </a:lnTo>
                <a:lnTo>
                  <a:pt x="5616" y="2264"/>
                </a:lnTo>
                <a:lnTo>
                  <a:pt x="5567" y="2266"/>
                </a:lnTo>
                <a:lnTo>
                  <a:pt x="5526" y="2266"/>
                </a:lnTo>
                <a:lnTo>
                  <a:pt x="5492" y="2264"/>
                </a:lnTo>
                <a:lnTo>
                  <a:pt x="5466" y="2262"/>
                </a:lnTo>
                <a:lnTo>
                  <a:pt x="5449" y="2260"/>
                </a:lnTo>
                <a:lnTo>
                  <a:pt x="5444" y="2258"/>
                </a:lnTo>
                <a:lnTo>
                  <a:pt x="5401" y="2410"/>
                </a:lnTo>
                <a:lnTo>
                  <a:pt x="5350" y="2556"/>
                </a:lnTo>
                <a:lnTo>
                  <a:pt x="5292" y="2693"/>
                </a:lnTo>
                <a:lnTo>
                  <a:pt x="5228" y="2824"/>
                </a:lnTo>
                <a:lnTo>
                  <a:pt x="5157" y="2948"/>
                </a:lnTo>
                <a:lnTo>
                  <a:pt x="5082" y="3066"/>
                </a:lnTo>
                <a:lnTo>
                  <a:pt x="4999" y="3178"/>
                </a:lnTo>
                <a:lnTo>
                  <a:pt x="4915" y="3283"/>
                </a:lnTo>
                <a:lnTo>
                  <a:pt x="4823" y="3383"/>
                </a:lnTo>
                <a:lnTo>
                  <a:pt x="4729" y="3474"/>
                </a:lnTo>
                <a:lnTo>
                  <a:pt x="4630" y="3563"/>
                </a:lnTo>
                <a:lnTo>
                  <a:pt x="4527" y="3645"/>
                </a:lnTo>
                <a:lnTo>
                  <a:pt x="4422" y="3720"/>
                </a:lnTo>
                <a:lnTo>
                  <a:pt x="4313" y="3791"/>
                </a:lnTo>
                <a:lnTo>
                  <a:pt x="4203" y="3857"/>
                </a:lnTo>
                <a:lnTo>
                  <a:pt x="4088" y="3919"/>
                </a:lnTo>
                <a:lnTo>
                  <a:pt x="3974" y="3973"/>
                </a:lnTo>
                <a:lnTo>
                  <a:pt x="3856" y="4026"/>
                </a:lnTo>
                <a:lnTo>
                  <a:pt x="3740" y="4070"/>
                </a:lnTo>
                <a:lnTo>
                  <a:pt x="3620" y="4114"/>
                </a:lnTo>
                <a:lnTo>
                  <a:pt x="3502" y="4151"/>
                </a:lnTo>
                <a:lnTo>
                  <a:pt x="3382" y="4183"/>
                </a:lnTo>
                <a:lnTo>
                  <a:pt x="3262" y="4213"/>
                </a:lnTo>
                <a:lnTo>
                  <a:pt x="3144" y="4237"/>
                </a:lnTo>
                <a:lnTo>
                  <a:pt x="3026" y="4260"/>
                </a:lnTo>
                <a:lnTo>
                  <a:pt x="2909" y="4277"/>
                </a:lnTo>
                <a:lnTo>
                  <a:pt x="2795" y="4292"/>
                </a:lnTo>
                <a:lnTo>
                  <a:pt x="2682" y="4303"/>
                </a:lnTo>
                <a:lnTo>
                  <a:pt x="2572" y="4310"/>
                </a:lnTo>
                <a:lnTo>
                  <a:pt x="2463" y="4314"/>
                </a:lnTo>
                <a:lnTo>
                  <a:pt x="2296" y="4312"/>
                </a:lnTo>
                <a:lnTo>
                  <a:pt x="2133" y="4303"/>
                </a:lnTo>
                <a:lnTo>
                  <a:pt x="1978" y="4286"/>
                </a:lnTo>
                <a:lnTo>
                  <a:pt x="1828" y="4262"/>
                </a:lnTo>
                <a:lnTo>
                  <a:pt x="1683" y="4230"/>
                </a:lnTo>
                <a:lnTo>
                  <a:pt x="1547" y="4192"/>
                </a:lnTo>
                <a:lnTo>
                  <a:pt x="1413" y="4149"/>
                </a:lnTo>
                <a:lnTo>
                  <a:pt x="1288" y="4102"/>
                </a:lnTo>
                <a:lnTo>
                  <a:pt x="1168" y="4052"/>
                </a:lnTo>
                <a:lnTo>
                  <a:pt x="1053" y="3997"/>
                </a:lnTo>
                <a:lnTo>
                  <a:pt x="945" y="3939"/>
                </a:lnTo>
                <a:lnTo>
                  <a:pt x="844" y="3879"/>
                </a:lnTo>
                <a:lnTo>
                  <a:pt x="746" y="3817"/>
                </a:lnTo>
                <a:lnTo>
                  <a:pt x="656" y="3756"/>
                </a:lnTo>
                <a:lnTo>
                  <a:pt x="572" y="3692"/>
                </a:lnTo>
                <a:lnTo>
                  <a:pt x="491" y="3630"/>
                </a:lnTo>
                <a:lnTo>
                  <a:pt x="420" y="3568"/>
                </a:lnTo>
                <a:lnTo>
                  <a:pt x="352" y="3508"/>
                </a:lnTo>
                <a:lnTo>
                  <a:pt x="291" y="3450"/>
                </a:lnTo>
                <a:lnTo>
                  <a:pt x="236" y="3394"/>
                </a:lnTo>
                <a:lnTo>
                  <a:pt x="186" y="3341"/>
                </a:lnTo>
                <a:lnTo>
                  <a:pt x="142" y="3293"/>
                </a:lnTo>
                <a:lnTo>
                  <a:pt x="105" y="3250"/>
                </a:lnTo>
                <a:lnTo>
                  <a:pt x="73" y="3210"/>
                </a:lnTo>
                <a:lnTo>
                  <a:pt x="47" y="3176"/>
                </a:lnTo>
                <a:lnTo>
                  <a:pt x="26" y="3150"/>
                </a:lnTo>
                <a:lnTo>
                  <a:pt x="11" y="3130"/>
                </a:lnTo>
                <a:lnTo>
                  <a:pt x="4" y="3117"/>
                </a:lnTo>
                <a:lnTo>
                  <a:pt x="0" y="3113"/>
                </a:lnTo>
                <a:lnTo>
                  <a:pt x="4" y="3117"/>
                </a:lnTo>
                <a:lnTo>
                  <a:pt x="13" y="3126"/>
                </a:lnTo>
                <a:lnTo>
                  <a:pt x="32" y="3139"/>
                </a:lnTo>
                <a:lnTo>
                  <a:pt x="54" y="3158"/>
                </a:lnTo>
                <a:lnTo>
                  <a:pt x="84" y="3182"/>
                </a:lnTo>
                <a:lnTo>
                  <a:pt x="120" y="3206"/>
                </a:lnTo>
                <a:lnTo>
                  <a:pt x="163" y="3236"/>
                </a:lnTo>
                <a:lnTo>
                  <a:pt x="210" y="3266"/>
                </a:lnTo>
                <a:lnTo>
                  <a:pt x="262" y="3298"/>
                </a:lnTo>
                <a:lnTo>
                  <a:pt x="322" y="3330"/>
                </a:lnTo>
                <a:lnTo>
                  <a:pt x="384" y="3362"/>
                </a:lnTo>
                <a:lnTo>
                  <a:pt x="454" y="3392"/>
                </a:lnTo>
                <a:lnTo>
                  <a:pt x="527" y="3422"/>
                </a:lnTo>
                <a:lnTo>
                  <a:pt x="604" y="3448"/>
                </a:lnTo>
                <a:lnTo>
                  <a:pt x="686" y="3473"/>
                </a:lnTo>
                <a:lnTo>
                  <a:pt x="770" y="3493"/>
                </a:lnTo>
                <a:lnTo>
                  <a:pt x="860" y="3510"/>
                </a:lnTo>
                <a:lnTo>
                  <a:pt x="954" y="3521"/>
                </a:lnTo>
                <a:lnTo>
                  <a:pt x="1050" y="3527"/>
                </a:lnTo>
                <a:lnTo>
                  <a:pt x="1151" y="3525"/>
                </a:lnTo>
                <a:lnTo>
                  <a:pt x="1252" y="3518"/>
                </a:lnTo>
                <a:lnTo>
                  <a:pt x="1359" y="3503"/>
                </a:lnTo>
                <a:lnTo>
                  <a:pt x="1468" y="3478"/>
                </a:lnTo>
                <a:lnTo>
                  <a:pt x="1578" y="3445"/>
                </a:lnTo>
                <a:lnTo>
                  <a:pt x="1691" y="3403"/>
                </a:lnTo>
                <a:lnTo>
                  <a:pt x="1805" y="3349"/>
                </a:lnTo>
                <a:lnTo>
                  <a:pt x="1921" y="3285"/>
                </a:lnTo>
                <a:lnTo>
                  <a:pt x="2041" y="3208"/>
                </a:lnTo>
                <a:lnTo>
                  <a:pt x="2159" y="3120"/>
                </a:lnTo>
                <a:lnTo>
                  <a:pt x="2281" y="3017"/>
                </a:lnTo>
                <a:lnTo>
                  <a:pt x="2221" y="3021"/>
                </a:lnTo>
                <a:lnTo>
                  <a:pt x="2165" y="3017"/>
                </a:lnTo>
                <a:lnTo>
                  <a:pt x="2111" y="3010"/>
                </a:lnTo>
                <a:lnTo>
                  <a:pt x="2060" y="2997"/>
                </a:lnTo>
                <a:lnTo>
                  <a:pt x="2011" y="2980"/>
                </a:lnTo>
                <a:lnTo>
                  <a:pt x="1968" y="2957"/>
                </a:lnTo>
                <a:lnTo>
                  <a:pt x="1929" y="2933"/>
                </a:lnTo>
                <a:lnTo>
                  <a:pt x="1897" y="2903"/>
                </a:lnTo>
                <a:lnTo>
                  <a:pt x="1869" y="2873"/>
                </a:lnTo>
                <a:lnTo>
                  <a:pt x="1850" y="2839"/>
                </a:lnTo>
                <a:lnTo>
                  <a:pt x="1837" y="2804"/>
                </a:lnTo>
                <a:lnTo>
                  <a:pt x="1831" y="2766"/>
                </a:lnTo>
                <a:lnTo>
                  <a:pt x="1835" y="2727"/>
                </a:lnTo>
                <a:lnTo>
                  <a:pt x="1846" y="2687"/>
                </a:lnTo>
                <a:lnTo>
                  <a:pt x="1869" y="2646"/>
                </a:lnTo>
                <a:lnTo>
                  <a:pt x="1901" y="2607"/>
                </a:lnTo>
                <a:lnTo>
                  <a:pt x="1944" y="2566"/>
                </a:lnTo>
                <a:lnTo>
                  <a:pt x="1998" y="2526"/>
                </a:lnTo>
                <a:lnTo>
                  <a:pt x="2066" y="2489"/>
                </a:lnTo>
                <a:lnTo>
                  <a:pt x="1980" y="2491"/>
                </a:lnTo>
                <a:lnTo>
                  <a:pt x="1899" y="2485"/>
                </a:lnTo>
                <a:lnTo>
                  <a:pt x="1826" y="2474"/>
                </a:lnTo>
                <a:lnTo>
                  <a:pt x="1756" y="2459"/>
                </a:lnTo>
                <a:lnTo>
                  <a:pt x="1695" y="2436"/>
                </a:lnTo>
                <a:lnTo>
                  <a:pt x="1638" y="2412"/>
                </a:lnTo>
                <a:lnTo>
                  <a:pt x="1586" y="2384"/>
                </a:lnTo>
                <a:lnTo>
                  <a:pt x="1539" y="2354"/>
                </a:lnTo>
                <a:lnTo>
                  <a:pt x="1498" y="2324"/>
                </a:lnTo>
                <a:lnTo>
                  <a:pt x="1462" y="2292"/>
                </a:lnTo>
                <a:lnTo>
                  <a:pt x="1430" y="2260"/>
                </a:lnTo>
                <a:lnTo>
                  <a:pt x="1402" y="2228"/>
                </a:lnTo>
                <a:lnTo>
                  <a:pt x="1378" y="2198"/>
                </a:lnTo>
                <a:lnTo>
                  <a:pt x="1359" y="2172"/>
                </a:lnTo>
                <a:lnTo>
                  <a:pt x="1344" y="2148"/>
                </a:lnTo>
                <a:lnTo>
                  <a:pt x="1333" y="2127"/>
                </a:lnTo>
                <a:lnTo>
                  <a:pt x="1323" y="2112"/>
                </a:lnTo>
                <a:lnTo>
                  <a:pt x="1320" y="2103"/>
                </a:lnTo>
                <a:lnTo>
                  <a:pt x="1318" y="2099"/>
                </a:lnTo>
                <a:lnTo>
                  <a:pt x="1320" y="2097"/>
                </a:lnTo>
                <a:lnTo>
                  <a:pt x="1325" y="2089"/>
                </a:lnTo>
                <a:lnTo>
                  <a:pt x="1337" y="2078"/>
                </a:lnTo>
                <a:lnTo>
                  <a:pt x="1352" y="2063"/>
                </a:lnTo>
                <a:lnTo>
                  <a:pt x="1370" y="2046"/>
                </a:lnTo>
                <a:lnTo>
                  <a:pt x="1397" y="2028"/>
                </a:lnTo>
                <a:lnTo>
                  <a:pt x="1427" y="2009"/>
                </a:lnTo>
                <a:lnTo>
                  <a:pt x="1464" y="1990"/>
                </a:lnTo>
                <a:lnTo>
                  <a:pt x="1505" y="1971"/>
                </a:lnTo>
                <a:lnTo>
                  <a:pt x="1554" y="1956"/>
                </a:lnTo>
                <a:lnTo>
                  <a:pt x="1610" y="1943"/>
                </a:lnTo>
                <a:lnTo>
                  <a:pt x="1674" y="1934"/>
                </a:lnTo>
                <a:lnTo>
                  <a:pt x="1743" y="1928"/>
                </a:lnTo>
                <a:lnTo>
                  <a:pt x="1650" y="1904"/>
                </a:lnTo>
                <a:lnTo>
                  <a:pt x="1565" y="1876"/>
                </a:lnTo>
                <a:lnTo>
                  <a:pt x="1488" y="1846"/>
                </a:lnTo>
                <a:lnTo>
                  <a:pt x="1419" y="1810"/>
                </a:lnTo>
                <a:lnTo>
                  <a:pt x="1359" y="1775"/>
                </a:lnTo>
                <a:lnTo>
                  <a:pt x="1305" y="1735"/>
                </a:lnTo>
                <a:lnTo>
                  <a:pt x="1258" y="1696"/>
                </a:lnTo>
                <a:lnTo>
                  <a:pt x="1217" y="1657"/>
                </a:lnTo>
                <a:lnTo>
                  <a:pt x="1183" y="1615"/>
                </a:lnTo>
                <a:lnTo>
                  <a:pt x="1153" y="1576"/>
                </a:lnTo>
                <a:lnTo>
                  <a:pt x="1128" y="1537"/>
                </a:lnTo>
                <a:lnTo>
                  <a:pt x="1108" y="1497"/>
                </a:lnTo>
                <a:lnTo>
                  <a:pt x="1091" y="1462"/>
                </a:lnTo>
                <a:lnTo>
                  <a:pt x="1080" y="1428"/>
                </a:lnTo>
                <a:lnTo>
                  <a:pt x="1068" y="1396"/>
                </a:lnTo>
                <a:lnTo>
                  <a:pt x="1063" y="1368"/>
                </a:lnTo>
                <a:lnTo>
                  <a:pt x="1057" y="1345"/>
                </a:lnTo>
                <a:lnTo>
                  <a:pt x="1055" y="1325"/>
                </a:lnTo>
                <a:lnTo>
                  <a:pt x="1053" y="1310"/>
                </a:lnTo>
                <a:lnTo>
                  <a:pt x="1053" y="1302"/>
                </a:lnTo>
                <a:lnTo>
                  <a:pt x="1053" y="1299"/>
                </a:lnTo>
                <a:lnTo>
                  <a:pt x="1059" y="1297"/>
                </a:lnTo>
                <a:lnTo>
                  <a:pt x="1076" y="1293"/>
                </a:lnTo>
                <a:lnTo>
                  <a:pt x="1104" y="1287"/>
                </a:lnTo>
                <a:lnTo>
                  <a:pt x="1143" y="1280"/>
                </a:lnTo>
                <a:lnTo>
                  <a:pt x="1192" y="1272"/>
                </a:lnTo>
                <a:lnTo>
                  <a:pt x="1254" y="1265"/>
                </a:lnTo>
                <a:lnTo>
                  <a:pt x="1325" y="1257"/>
                </a:lnTo>
                <a:lnTo>
                  <a:pt x="1410" y="1250"/>
                </a:lnTo>
                <a:lnTo>
                  <a:pt x="1320" y="1194"/>
                </a:lnTo>
                <a:lnTo>
                  <a:pt x="1239" y="1136"/>
                </a:lnTo>
                <a:lnTo>
                  <a:pt x="1172" y="1077"/>
                </a:lnTo>
                <a:lnTo>
                  <a:pt x="1112" y="1019"/>
                </a:lnTo>
                <a:lnTo>
                  <a:pt x="1063" y="961"/>
                </a:lnTo>
                <a:lnTo>
                  <a:pt x="1022" y="903"/>
                </a:lnTo>
                <a:lnTo>
                  <a:pt x="988" y="845"/>
                </a:lnTo>
                <a:lnTo>
                  <a:pt x="960" y="791"/>
                </a:lnTo>
                <a:lnTo>
                  <a:pt x="939" y="738"/>
                </a:lnTo>
                <a:lnTo>
                  <a:pt x="924" y="689"/>
                </a:lnTo>
                <a:lnTo>
                  <a:pt x="913" y="643"/>
                </a:lnTo>
                <a:lnTo>
                  <a:pt x="905" y="601"/>
                </a:lnTo>
                <a:lnTo>
                  <a:pt x="902" y="566"/>
                </a:lnTo>
                <a:lnTo>
                  <a:pt x="900" y="534"/>
                </a:lnTo>
                <a:lnTo>
                  <a:pt x="900" y="508"/>
                </a:lnTo>
                <a:lnTo>
                  <a:pt x="902" y="489"/>
                </a:lnTo>
                <a:lnTo>
                  <a:pt x="904" y="478"/>
                </a:lnTo>
                <a:lnTo>
                  <a:pt x="904" y="474"/>
                </a:lnTo>
                <a:lnTo>
                  <a:pt x="909" y="476"/>
                </a:lnTo>
                <a:lnTo>
                  <a:pt x="924" y="481"/>
                </a:lnTo>
                <a:lnTo>
                  <a:pt x="947" y="491"/>
                </a:lnTo>
                <a:lnTo>
                  <a:pt x="980" y="504"/>
                </a:lnTo>
                <a:lnTo>
                  <a:pt x="1022" y="519"/>
                </a:lnTo>
                <a:lnTo>
                  <a:pt x="1068" y="538"/>
                </a:lnTo>
                <a:lnTo>
                  <a:pt x="1123" y="560"/>
                </a:lnTo>
                <a:lnTo>
                  <a:pt x="1185" y="584"/>
                </a:lnTo>
                <a:lnTo>
                  <a:pt x="1252" y="611"/>
                </a:lnTo>
                <a:lnTo>
                  <a:pt x="1323" y="641"/>
                </a:lnTo>
                <a:lnTo>
                  <a:pt x="1398" y="671"/>
                </a:lnTo>
                <a:lnTo>
                  <a:pt x="1479" y="704"/>
                </a:lnTo>
                <a:lnTo>
                  <a:pt x="1561" y="740"/>
                </a:lnTo>
                <a:lnTo>
                  <a:pt x="1646" y="776"/>
                </a:lnTo>
                <a:lnTo>
                  <a:pt x="1734" y="815"/>
                </a:lnTo>
                <a:lnTo>
                  <a:pt x="1822" y="853"/>
                </a:lnTo>
                <a:lnTo>
                  <a:pt x="1910" y="894"/>
                </a:lnTo>
                <a:lnTo>
                  <a:pt x="2000" y="935"/>
                </a:lnTo>
                <a:lnTo>
                  <a:pt x="2088" y="976"/>
                </a:lnTo>
                <a:lnTo>
                  <a:pt x="2176" y="1019"/>
                </a:lnTo>
                <a:lnTo>
                  <a:pt x="2263" y="1061"/>
                </a:lnTo>
                <a:lnTo>
                  <a:pt x="2345" y="1104"/>
                </a:lnTo>
                <a:lnTo>
                  <a:pt x="2426" y="1147"/>
                </a:lnTo>
                <a:lnTo>
                  <a:pt x="2504" y="1188"/>
                </a:lnTo>
                <a:lnTo>
                  <a:pt x="2576" y="1231"/>
                </a:lnTo>
                <a:lnTo>
                  <a:pt x="2636" y="1274"/>
                </a:lnTo>
                <a:lnTo>
                  <a:pt x="2690" y="1317"/>
                </a:lnTo>
                <a:lnTo>
                  <a:pt x="2741" y="1357"/>
                </a:lnTo>
                <a:lnTo>
                  <a:pt x="2786" y="1396"/>
                </a:lnTo>
                <a:lnTo>
                  <a:pt x="2827" y="1432"/>
                </a:lnTo>
                <a:lnTo>
                  <a:pt x="2862" y="1465"/>
                </a:lnTo>
                <a:lnTo>
                  <a:pt x="2894" y="1495"/>
                </a:lnTo>
                <a:lnTo>
                  <a:pt x="2919" y="1520"/>
                </a:lnTo>
                <a:lnTo>
                  <a:pt x="2939" y="1540"/>
                </a:lnTo>
                <a:lnTo>
                  <a:pt x="2954" y="1555"/>
                </a:lnTo>
                <a:lnTo>
                  <a:pt x="2964" y="1565"/>
                </a:lnTo>
                <a:lnTo>
                  <a:pt x="2967" y="1568"/>
                </a:lnTo>
                <a:lnTo>
                  <a:pt x="2967" y="1563"/>
                </a:lnTo>
                <a:lnTo>
                  <a:pt x="2973" y="1548"/>
                </a:lnTo>
                <a:lnTo>
                  <a:pt x="2982" y="1523"/>
                </a:lnTo>
                <a:lnTo>
                  <a:pt x="2994" y="1492"/>
                </a:lnTo>
                <a:lnTo>
                  <a:pt x="3009" y="1450"/>
                </a:lnTo>
                <a:lnTo>
                  <a:pt x="3027" y="1404"/>
                </a:lnTo>
                <a:lnTo>
                  <a:pt x="3048" y="1349"/>
                </a:lnTo>
                <a:lnTo>
                  <a:pt x="3072" y="1289"/>
                </a:lnTo>
                <a:lnTo>
                  <a:pt x="3099" y="1224"/>
                </a:lnTo>
                <a:lnTo>
                  <a:pt x="3129" y="1156"/>
                </a:lnTo>
                <a:lnTo>
                  <a:pt x="3162" y="1083"/>
                </a:lnTo>
                <a:lnTo>
                  <a:pt x="3196" y="1008"/>
                </a:lnTo>
                <a:lnTo>
                  <a:pt x="3235" y="931"/>
                </a:lnTo>
                <a:lnTo>
                  <a:pt x="3275" y="853"/>
                </a:lnTo>
                <a:lnTo>
                  <a:pt x="3318" y="772"/>
                </a:lnTo>
                <a:lnTo>
                  <a:pt x="3365" y="693"/>
                </a:lnTo>
                <a:lnTo>
                  <a:pt x="3412" y="614"/>
                </a:lnTo>
                <a:lnTo>
                  <a:pt x="3462" y="536"/>
                </a:lnTo>
                <a:lnTo>
                  <a:pt x="3515" y="461"/>
                </a:lnTo>
                <a:lnTo>
                  <a:pt x="3569" y="388"/>
                </a:lnTo>
                <a:lnTo>
                  <a:pt x="3625" y="320"/>
                </a:lnTo>
                <a:lnTo>
                  <a:pt x="3683" y="255"/>
                </a:lnTo>
                <a:lnTo>
                  <a:pt x="3743" y="195"/>
                </a:lnTo>
                <a:lnTo>
                  <a:pt x="3807" y="140"/>
                </a:lnTo>
                <a:lnTo>
                  <a:pt x="3871" y="93"/>
                </a:lnTo>
                <a:lnTo>
                  <a:pt x="3937" y="52"/>
                </a:lnTo>
                <a:lnTo>
                  <a:pt x="3935" y="69"/>
                </a:lnTo>
                <a:lnTo>
                  <a:pt x="3927" y="90"/>
                </a:lnTo>
                <a:lnTo>
                  <a:pt x="3918" y="112"/>
                </a:lnTo>
                <a:lnTo>
                  <a:pt x="3907" y="135"/>
                </a:lnTo>
                <a:lnTo>
                  <a:pt x="3895" y="157"/>
                </a:lnTo>
                <a:lnTo>
                  <a:pt x="3886" y="176"/>
                </a:lnTo>
                <a:lnTo>
                  <a:pt x="3877" y="193"/>
                </a:lnTo>
                <a:lnTo>
                  <a:pt x="3869" y="202"/>
                </a:lnTo>
                <a:lnTo>
                  <a:pt x="3867" y="206"/>
                </a:lnTo>
                <a:lnTo>
                  <a:pt x="3871" y="204"/>
                </a:lnTo>
                <a:lnTo>
                  <a:pt x="3882" y="195"/>
                </a:lnTo>
                <a:lnTo>
                  <a:pt x="3901" y="182"/>
                </a:lnTo>
                <a:lnTo>
                  <a:pt x="3925" y="165"/>
                </a:lnTo>
                <a:lnTo>
                  <a:pt x="3955" y="146"/>
                </a:lnTo>
                <a:lnTo>
                  <a:pt x="3989" y="125"/>
                </a:lnTo>
                <a:lnTo>
                  <a:pt x="4030" y="103"/>
                </a:lnTo>
                <a:lnTo>
                  <a:pt x="4073" y="80"/>
                </a:lnTo>
                <a:lnTo>
                  <a:pt x="4120" y="58"/>
                </a:lnTo>
                <a:lnTo>
                  <a:pt x="4171" y="39"/>
                </a:lnTo>
                <a:lnTo>
                  <a:pt x="4223" y="22"/>
                </a:lnTo>
                <a:lnTo>
                  <a:pt x="4278" y="9"/>
                </a:lnTo>
                <a:lnTo>
                  <a:pt x="4332" y="0"/>
                </a:ln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Plus Network"/>
          <p:cNvSpPr/>
          <p:nvPr/>
        </p:nvSpPr>
        <p:spPr>
          <a:xfrm>
            <a:off x="7840274"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p:cNvSpPr txBox="1"/>
          <p:nvPr/>
        </p:nvSpPr>
        <p:spPr>
          <a:xfrm>
            <a:off x="2145610" y="6536755"/>
            <a:ext cx="7244484" cy="338554"/>
          </a:xfrm>
          <a:prstGeom prst="rect">
            <a:avLst/>
          </a:prstGeom>
          <a:noFill/>
        </p:spPr>
        <p:txBody>
          <a:bodyPr wrap="none" rtlCol="0">
            <a:spAutoFit/>
          </a:bodyPr>
          <a:lstStyle/>
          <a:p>
            <a:r>
              <a:rPr lang="en-US" sz="1600" dirty="0"/>
              <a:t>Source: “</a:t>
            </a:r>
            <a:r>
              <a:rPr lang="en-US" sz="1600" dirty="0" err="1">
                <a:hlinkClick r:id="rId3"/>
              </a:rPr>
              <a:t>TEDx</a:t>
            </a:r>
            <a:r>
              <a:rPr lang="en-US" sz="1600" dirty="0">
                <a:hlinkClick r:id="rId3"/>
              </a:rPr>
              <a:t> Warwick – Andy Stanford-Clark – Innovation Begins at Home</a:t>
            </a:r>
            <a:r>
              <a:rPr lang="en-US" sz="1600" dirty="0"/>
              <a:t>”</a:t>
            </a:r>
          </a:p>
        </p:txBody>
      </p:sp>
    </p:spTree>
    <p:extLst>
      <p:ext uri="{BB962C8B-B14F-4D97-AF65-F5344CB8AC3E}">
        <p14:creationId xmlns:p14="http://schemas.microsoft.com/office/powerpoint/2010/main" val="411259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AKER REVOLUTION</a:t>
            </a:r>
            <a:endParaRPr lang="en-US" dirty="0"/>
          </a:p>
        </p:txBody>
      </p:sp>
      <p:pic>
        <p:nvPicPr>
          <p:cNvPr id="4" name="Picture 3">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6806" y="1530498"/>
            <a:ext cx="2590800" cy="1019175"/>
          </a:xfrm>
          <a:prstGeom prst="rect">
            <a:avLst/>
          </a:prstGeom>
        </p:spPr>
      </p:pic>
      <p:grpSp>
        <p:nvGrpSpPr>
          <p:cNvPr id="21" name="Group 20"/>
          <p:cNvGrpSpPr/>
          <p:nvPr/>
        </p:nvGrpSpPr>
        <p:grpSpPr>
          <a:xfrm>
            <a:off x="765944" y="2879938"/>
            <a:ext cx="1936173" cy="1718356"/>
            <a:chOff x="478760" y="2660294"/>
            <a:chExt cx="2433750" cy="2159956"/>
          </a:xfrm>
        </p:grpSpPr>
        <p:pic>
          <p:nvPicPr>
            <p:cNvPr id="13" name="Picture 12">
              <a:hlinkClick r:id="rId4"/>
            </p:cNvPr>
            <p:cNvPicPr>
              <a:picLocks noChangeAspect="1"/>
            </p:cNvPicPr>
            <p:nvPr/>
          </p:nvPicPr>
          <p:blipFill>
            <a:blip r:embed="rId5"/>
            <a:stretch>
              <a:fillRect/>
            </a:stretch>
          </p:blipFill>
          <p:spPr>
            <a:xfrm>
              <a:off x="478760" y="2903182"/>
              <a:ext cx="2433750" cy="1917068"/>
            </a:xfrm>
            <a:prstGeom prst="rect">
              <a:avLst/>
            </a:prstGeom>
          </p:spPr>
        </p:pic>
        <p:pic>
          <p:nvPicPr>
            <p:cNvPr id="18" name="Picture 17">
              <a:hlinkClick r:id="rId4"/>
            </p:cNvPr>
            <p:cNvPicPr>
              <a:picLocks noChangeAspect="1"/>
            </p:cNvPicPr>
            <p:nvPr/>
          </p:nvPicPr>
          <p:blipFill>
            <a:blip r:embed="rId6"/>
            <a:stretch>
              <a:fillRect/>
            </a:stretch>
          </p:blipFill>
          <p:spPr>
            <a:xfrm>
              <a:off x="550429" y="2660294"/>
              <a:ext cx="546380" cy="372476"/>
            </a:xfrm>
            <a:prstGeom prst="rect">
              <a:avLst/>
            </a:prstGeom>
          </p:spPr>
        </p:pic>
      </p:grpSp>
      <p:grpSp>
        <p:nvGrpSpPr>
          <p:cNvPr id="20" name="Group 19"/>
          <p:cNvGrpSpPr/>
          <p:nvPr/>
        </p:nvGrpSpPr>
        <p:grpSpPr>
          <a:xfrm>
            <a:off x="672594" y="4742106"/>
            <a:ext cx="1864240" cy="1579656"/>
            <a:chOff x="334225" y="4756603"/>
            <a:chExt cx="2137974" cy="1811603"/>
          </a:xfrm>
        </p:grpSpPr>
        <p:pic>
          <p:nvPicPr>
            <p:cNvPr id="12" name="Picture 11">
              <a:hlinkClick r:id="rId7"/>
            </p:cNvPr>
            <p:cNvPicPr>
              <a:picLocks noChangeAspect="1"/>
            </p:cNvPicPr>
            <p:nvPr/>
          </p:nvPicPr>
          <p:blipFill>
            <a:blip r:embed="rId8"/>
            <a:stretch>
              <a:fillRect/>
            </a:stretch>
          </p:blipFill>
          <p:spPr>
            <a:xfrm>
              <a:off x="334225" y="5005589"/>
              <a:ext cx="2137974" cy="1562617"/>
            </a:xfrm>
            <a:prstGeom prst="rect">
              <a:avLst/>
            </a:prstGeom>
            <a:effectLst>
              <a:outerShdw blurRad="50800" dist="38100" dir="2700000" algn="tl" rotWithShape="0">
                <a:prstClr val="black">
                  <a:alpha val="40000"/>
                </a:prstClr>
              </a:outerShdw>
            </a:effectLst>
          </p:spPr>
        </p:pic>
        <p:pic>
          <p:nvPicPr>
            <p:cNvPr id="19" name="Picture 18">
              <a:hlinkClick r:id="rId7"/>
            </p:cNvPr>
            <p:cNvPicPr>
              <a:picLocks noChangeAspect="1"/>
            </p:cNvPicPr>
            <p:nvPr/>
          </p:nvPicPr>
          <p:blipFill>
            <a:blip r:embed="rId9"/>
            <a:stretch>
              <a:fillRect/>
            </a:stretch>
          </p:blipFill>
          <p:spPr>
            <a:xfrm>
              <a:off x="334225" y="4756603"/>
              <a:ext cx="1151160" cy="229141"/>
            </a:xfrm>
            <a:prstGeom prst="rect">
              <a:avLst/>
            </a:prstGeom>
          </p:spPr>
        </p:pic>
      </p:grpSp>
      <p:grpSp>
        <p:nvGrpSpPr>
          <p:cNvPr id="24" name="Group 23"/>
          <p:cNvGrpSpPr/>
          <p:nvPr/>
        </p:nvGrpSpPr>
        <p:grpSpPr>
          <a:xfrm>
            <a:off x="3521409" y="2829438"/>
            <a:ext cx="1966671" cy="1621364"/>
            <a:chOff x="3521409" y="2829438"/>
            <a:chExt cx="1966671" cy="1621364"/>
          </a:xfrm>
        </p:grpSpPr>
        <p:pic>
          <p:nvPicPr>
            <p:cNvPr id="14" name="Picture 13">
              <a:hlinkClick r:id="rId10"/>
            </p:cNvPr>
            <p:cNvPicPr>
              <a:picLocks noChangeAspect="1"/>
            </p:cNvPicPr>
            <p:nvPr/>
          </p:nvPicPr>
          <p:blipFill>
            <a:blip r:embed="rId11"/>
            <a:stretch>
              <a:fillRect/>
            </a:stretch>
          </p:blipFill>
          <p:spPr>
            <a:xfrm>
              <a:off x="3529463" y="3073168"/>
              <a:ext cx="1958617" cy="1377634"/>
            </a:xfrm>
            <a:prstGeom prst="rect">
              <a:avLst/>
            </a:prstGeom>
            <a:effectLst>
              <a:outerShdw blurRad="50800" dist="38100" dir="2700000" algn="tl" rotWithShape="0">
                <a:prstClr val="black">
                  <a:alpha val="40000"/>
                </a:prstClr>
              </a:outerShdw>
            </a:effectLst>
          </p:spPr>
        </p:pic>
        <p:pic>
          <p:nvPicPr>
            <p:cNvPr id="23" name="Picture 22">
              <a:hlinkClick r:id="rId10"/>
            </p:cNvPr>
            <p:cNvPicPr>
              <a:picLocks noChangeAspect="1"/>
            </p:cNvPicPr>
            <p:nvPr/>
          </p:nvPicPr>
          <p:blipFill>
            <a:blip r:embed="rId12"/>
            <a:stretch>
              <a:fillRect/>
            </a:stretch>
          </p:blipFill>
          <p:spPr>
            <a:xfrm>
              <a:off x="3521409" y="2829438"/>
              <a:ext cx="1919905" cy="243730"/>
            </a:xfrm>
            <a:prstGeom prst="rect">
              <a:avLst/>
            </a:prstGeom>
          </p:spPr>
        </p:pic>
      </p:grpSp>
      <p:grpSp>
        <p:nvGrpSpPr>
          <p:cNvPr id="27" name="Group 26"/>
          <p:cNvGrpSpPr/>
          <p:nvPr/>
        </p:nvGrpSpPr>
        <p:grpSpPr>
          <a:xfrm>
            <a:off x="3674158" y="4733747"/>
            <a:ext cx="1767156" cy="1588015"/>
            <a:chOff x="3228451" y="4604918"/>
            <a:chExt cx="1767156" cy="1588015"/>
          </a:xfrm>
        </p:grpSpPr>
        <p:pic>
          <p:nvPicPr>
            <p:cNvPr id="15" name="Picture 14">
              <a:hlinkClick r:id="rId13"/>
            </p:cNvPr>
            <p:cNvPicPr>
              <a:picLocks noChangeAspect="1"/>
            </p:cNvPicPr>
            <p:nvPr/>
          </p:nvPicPr>
          <p:blipFill>
            <a:blip r:embed="rId14"/>
            <a:stretch>
              <a:fillRect/>
            </a:stretch>
          </p:blipFill>
          <p:spPr>
            <a:xfrm>
              <a:off x="3228451" y="4888340"/>
              <a:ext cx="1767156" cy="1304593"/>
            </a:xfrm>
            <a:prstGeom prst="rect">
              <a:avLst/>
            </a:prstGeom>
            <a:effectLst>
              <a:outerShdw blurRad="50800" dist="38100" dir="2700000" algn="tl" rotWithShape="0">
                <a:prstClr val="black">
                  <a:alpha val="40000"/>
                </a:prstClr>
              </a:outerShdw>
            </a:effectLst>
          </p:spPr>
        </p:pic>
        <p:pic>
          <p:nvPicPr>
            <p:cNvPr id="26" name="Picture 25">
              <a:hlinkClick r:id="rId13"/>
            </p:cNvPr>
            <p:cNvPicPr>
              <a:picLocks noChangeAspect="1"/>
            </p:cNvPicPr>
            <p:nvPr/>
          </p:nvPicPr>
          <p:blipFill>
            <a:blip r:embed="rId15"/>
            <a:stretch>
              <a:fillRect/>
            </a:stretch>
          </p:blipFill>
          <p:spPr>
            <a:xfrm>
              <a:off x="3521911" y="4604918"/>
              <a:ext cx="934650" cy="400096"/>
            </a:xfrm>
            <a:prstGeom prst="rect">
              <a:avLst/>
            </a:prstGeom>
          </p:spPr>
        </p:pic>
      </p:grpSp>
      <p:grpSp>
        <p:nvGrpSpPr>
          <p:cNvPr id="40" name="Group 39"/>
          <p:cNvGrpSpPr/>
          <p:nvPr/>
        </p:nvGrpSpPr>
        <p:grpSpPr>
          <a:xfrm>
            <a:off x="6632639" y="2245358"/>
            <a:ext cx="5166217" cy="3493152"/>
            <a:chOff x="6632639" y="2245358"/>
            <a:chExt cx="5166217" cy="3493152"/>
          </a:xfrm>
        </p:grpSpPr>
        <p:pic>
          <p:nvPicPr>
            <p:cNvPr id="6" name="Picture 5"/>
            <p:cNvPicPr>
              <a:picLocks noChangeAspect="1"/>
            </p:cNvPicPr>
            <p:nvPr/>
          </p:nvPicPr>
          <p:blipFill rotWithShape="1">
            <a:blip r:embed="rId16" cstate="print">
              <a:extLst>
                <a:ext uri="{28A0092B-C50C-407E-A947-70E740481C1C}">
                  <a14:useLocalDpi xmlns:a14="http://schemas.microsoft.com/office/drawing/2010/main" val="0"/>
                </a:ext>
              </a:extLst>
            </a:blip>
            <a:srcRect t="11368"/>
            <a:stretch/>
          </p:blipFill>
          <p:spPr>
            <a:xfrm>
              <a:off x="9235101" y="2245360"/>
              <a:ext cx="2563755"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35101" y="4029757"/>
              <a:ext cx="2563755" cy="1708753"/>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p:cNvPicPr>
              <a:picLocks noChangeAspect="1"/>
            </p:cNvPicPr>
            <p:nvPr/>
          </p:nvPicPr>
          <p:blipFill rotWithShape="1">
            <a:blip r:embed="rId18" cstate="print">
              <a:extLst>
                <a:ext uri="{28A0092B-C50C-407E-A947-70E740481C1C}">
                  <a14:useLocalDpi xmlns:a14="http://schemas.microsoft.com/office/drawing/2010/main" val="0"/>
                </a:ext>
              </a:extLst>
            </a:blip>
            <a:srcRect l="2220" r="-1"/>
            <a:stretch/>
          </p:blipFill>
          <p:spPr>
            <a:xfrm>
              <a:off x="7933870" y="4029757"/>
              <a:ext cx="1229360"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p:cNvPicPr>
              <a:picLocks noChangeAspect="1"/>
            </p:cNvPicPr>
            <p:nvPr/>
          </p:nvPicPr>
          <p:blipFill rotWithShape="1">
            <a:blip r:embed="rId19" cstate="print">
              <a:extLst>
                <a:ext uri="{28A0092B-C50C-407E-A947-70E740481C1C}">
                  <a14:useLocalDpi xmlns:a14="http://schemas.microsoft.com/office/drawing/2010/main" val="0"/>
                </a:ext>
              </a:extLst>
            </a:blip>
            <a:srcRect l="-317" t="4055" r="225" b="17709"/>
            <a:stretch/>
          </p:blipFill>
          <p:spPr>
            <a:xfrm>
              <a:off x="7933870" y="2245359"/>
              <a:ext cx="1229360"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p:cNvPicPr>
              <a:picLocks noChangeAspect="1"/>
            </p:cNvPicPr>
            <p:nvPr/>
          </p:nvPicPr>
          <p:blipFill rotWithShape="1">
            <a:blip r:embed="rId20" cstate="print">
              <a:extLst>
                <a:ext uri="{28A0092B-C50C-407E-A947-70E740481C1C}">
                  <a14:useLocalDpi xmlns:a14="http://schemas.microsoft.com/office/drawing/2010/main" val="0"/>
                </a:ext>
              </a:extLst>
            </a:blip>
            <a:srcRect t="6810"/>
            <a:stretch/>
          </p:blipFill>
          <p:spPr>
            <a:xfrm>
              <a:off x="6632639" y="2245358"/>
              <a:ext cx="1229360" cy="1708306"/>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Picture 28"/>
            <p:cNvPicPr>
              <a:picLocks noChangeAspect="1"/>
            </p:cNvPicPr>
            <p:nvPr/>
          </p:nvPicPr>
          <p:blipFill rotWithShape="1">
            <a:blip r:embed="rId21" cstate="print">
              <a:extLst>
                <a:ext uri="{28A0092B-C50C-407E-A947-70E740481C1C}">
                  <a14:useLocalDpi xmlns:a14="http://schemas.microsoft.com/office/drawing/2010/main" val="0"/>
                </a:ext>
              </a:extLst>
            </a:blip>
            <a:srcRect l="36245" t="23680" r="32020" b="7487"/>
            <a:stretch/>
          </p:blipFill>
          <p:spPr>
            <a:xfrm>
              <a:off x="6632640" y="4029757"/>
              <a:ext cx="1229359"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39" name="Group 38"/>
          <p:cNvGrpSpPr/>
          <p:nvPr/>
        </p:nvGrpSpPr>
        <p:grpSpPr>
          <a:xfrm>
            <a:off x="2639379" y="3761985"/>
            <a:ext cx="823539" cy="1587751"/>
            <a:chOff x="2540641" y="3680948"/>
            <a:chExt cx="903129" cy="1741197"/>
          </a:xfrm>
        </p:grpSpPr>
        <p:pic>
          <p:nvPicPr>
            <p:cNvPr id="31" name="Picture 30">
              <a:hlinkClick r:id="rId22"/>
            </p:cNvPr>
            <p:cNvPicPr>
              <a:picLocks noChangeAspect="1"/>
            </p:cNvPicPr>
            <p:nvPr/>
          </p:nvPicPr>
          <p:blipFill rotWithShape="1">
            <a:blip r:embed="rId23" cstate="print">
              <a:extLst>
                <a:ext uri="{28A0092B-C50C-407E-A947-70E740481C1C}">
                  <a14:useLocalDpi xmlns:a14="http://schemas.microsoft.com/office/drawing/2010/main" val="0"/>
                </a:ext>
              </a:extLst>
            </a:blip>
            <a:srcRect t="26393" b="25253"/>
            <a:stretch/>
          </p:blipFill>
          <p:spPr>
            <a:xfrm>
              <a:off x="2575408" y="3680948"/>
              <a:ext cx="833594" cy="403080"/>
            </a:xfrm>
            <a:prstGeom prst="rect">
              <a:avLst/>
            </a:prstGeom>
          </p:spPr>
        </p:pic>
        <p:pic>
          <p:nvPicPr>
            <p:cNvPr id="32" name="Picture 31">
              <a:hlinkClick r:id="rId24"/>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575408" y="4168522"/>
              <a:ext cx="833594" cy="625195"/>
            </a:xfrm>
            <a:prstGeom prst="rect">
              <a:avLst/>
            </a:prstGeom>
          </p:spPr>
        </p:pic>
        <p:pic>
          <p:nvPicPr>
            <p:cNvPr id="33" name="Picture 32">
              <a:hlinkClick r:id="rId26"/>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575408" y="4878211"/>
              <a:ext cx="833594" cy="159083"/>
            </a:xfrm>
            <a:prstGeom prst="rect">
              <a:avLst/>
            </a:prstGeom>
          </p:spPr>
        </p:pic>
        <p:grpSp>
          <p:nvGrpSpPr>
            <p:cNvPr id="36" name="Group 35"/>
            <p:cNvGrpSpPr/>
            <p:nvPr/>
          </p:nvGrpSpPr>
          <p:grpSpPr>
            <a:xfrm>
              <a:off x="2540641" y="5121789"/>
              <a:ext cx="903129" cy="300356"/>
              <a:chOff x="2243198" y="4476750"/>
              <a:chExt cx="7160093" cy="2381250"/>
            </a:xfrm>
          </p:grpSpPr>
          <p:pic>
            <p:nvPicPr>
              <p:cNvPr id="37" name="Picture 36">
                <a:hlinkClick r:id="rId28"/>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243198" y="4476750"/>
                <a:ext cx="2381250" cy="2381250"/>
              </a:xfrm>
              <a:prstGeom prst="rect">
                <a:avLst/>
              </a:prstGeom>
            </p:spPr>
          </p:pic>
          <p:sp>
            <p:nvSpPr>
              <p:cNvPr id="38" name="Freeform 37">
                <a:hlinkClick r:id="rId28"/>
              </p:cNvPr>
              <p:cNvSpPr/>
              <p:nvPr/>
            </p:nvSpPr>
            <p:spPr>
              <a:xfrm>
                <a:off x="4435462" y="5055138"/>
                <a:ext cx="4967829" cy="1467195"/>
              </a:xfrm>
              <a:custGeom>
                <a:avLst/>
                <a:gdLst/>
                <a:ahLst/>
                <a:cxnLst/>
                <a:rect l="l" t="t" r="r" b="b"/>
                <a:pathLst>
                  <a:path w="2850295" h="841804">
                    <a:moveTo>
                      <a:pt x="1650201" y="360229"/>
                    </a:moveTo>
                    <a:cubicBezTo>
                      <a:pt x="1625533" y="360229"/>
                      <a:pt x="1603858" y="364945"/>
                      <a:pt x="1585175" y="374377"/>
                    </a:cubicBezTo>
                    <a:cubicBezTo>
                      <a:pt x="1566492" y="383809"/>
                      <a:pt x="1550893" y="397231"/>
                      <a:pt x="1538378" y="414644"/>
                    </a:cubicBezTo>
                    <a:cubicBezTo>
                      <a:pt x="1525862" y="432057"/>
                      <a:pt x="1516521" y="453007"/>
                      <a:pt x="1510354" y="477494"/>
                    </a:cubicBezTo>
                    <a:cubicBezTo>
                      <a:pt x="1504187" y="501981"/>
                      <a:pt x="1501103" y="529279"/>
                      <a:pt x="1501103" y="559389"/>
                    </a:cubicBezTo>
                    <a:cubicBezTo>
                      <a:pt x="1501103" y="589499"/>
                      <a:pt x="1504731" y="615799"/>
                      <a:pt x="1511987" y="638291"/>
                    </a:cubicBezTo>
                    <a:cubicBezTo>
                      <a:pt x="1519242" y="660783"/>
                      <a:pt x="1529218" y="679465"/>
                      <a:pt x="1541915" y="694339"/>
                    </a:cubicBezTo>
                    <a:cubicBezTo>
                      <a:pt x="1554612" y="709212"/>
                      <a:pt x="1569667" y="720367"/>
                      <a:pt x="1587080" y="727804"/>
                    </a:cubicBezTo>
                    <a:cubicBezTo>
                      <a:pt x="1604492" y="735241"/>
                      <a:pt x="1623356" y="738959"/>
                      <a:pt x="1643671" y="738959"/>
                    </a:cubicBezTo>
                    <a:cubicBezTo>
                      <a:pt x="1663261" y="738959"/>
                      <a:pt x="1681762" y="734878"/>
                      <a:pt x="1699175" y="726716"/>
                    </a:cubicBezTo>
                    <a:cubicBezTo>
                      <a:pt x="1716588" y="718553"/>
                      <a:pt x="1731824" y="707035"/>
                      <a:pt x="1744884" y="692162"/>
                    </a:cubicBezTo>
                    <a:cubicBezTo>
                      <a:pt x="1757944" y="677289"/>
                      <a:pt x="1768282" y="659059"/>
                      <a:pt x="1775901" y="637475"/>
                    </a:cubicBezTo>
                    <a:cubicBezTo>
                      <a:pt x="1783519" y="615890"/>
                      <a:pt x="1787328" y="591857"/>
                      <a:pt x="1787328" y="565374"/>
                    </a:cubicBezTo>
                    <a:lnTo>
                      <a:pt x="1787328" y="502797"/>
                    </a:lnTo>
                    <a:cubicBezTo>
                      <a:pt x="1787328" y="483207"/>
                      <a:pt x="1783791" y="464706"/>
                      <a:pt x="1776717" y="447293"/>
                    </a:cubicBezTo>
                    <a:cubicBezTo>
                      <a:pt x="1769643" y="429880"/>
                      <a:pt x="1760030" y="414735"/>
                      <a:pt x="1747877" y="401857"/>
                    </a:cubicBezTo>
                    <a:cubicBezTo>
                      <a:pt x="1735724" y="388978"/>
                      <a:pt x="1721304" y="378821"/>
                      <a:pt x="1704617" y="371384"/>
                    </a:cubicBezTo>
                    <a:cubicBezTo>
                      <a:pt x="1687929" y="363947"/>
                      <a:pt x="1669791" y="360229"/>
                      <a:pt x="1650201" y="360229"/>
                    </a:cubicBezTo>
                    <a:close/>
                    <a:moveTo>
                      <a:pt x="2607059" y="355876"/>
                    </a:moveTo>
                    <a:cubicBezTo>
                      <a:pt x="2590009" y="355876"/>
                      <a:pt x="2573957" y="359141"/>
                      <a:pt x="2558902" y="365670"/>
                    </a:cubicBezTo>
                    <a:cubicBezTo>
                      <a:pt x="2543847" y="372200"/>
                      <a:pt x="2530334" y="381451"/>
                      <a:pt x="2518362" y="393422"/>
                    </a:cubicBezTo>
                    <a:cubicBezTo>
                      <a:pt x="2506391" y="405393"/>
                      <a:pt x="2496324" y="419723"/>
                      <a:pt x="2488162" y="436410"/>
                    </a:cubicBezTo>
                    <a:cubicBezTo>
                      <a:pt x="2479999" y="453098"/>
                      <a:pt x="2474286" y="471599"/>
                      <a:pt x="2471021" y="491914"/>
                    </a:cubicBezTo>
                    <a:lnTo>
                      <a:pt x="2725140" y="491914"/>
                    </a:lnTo>
                    <a:cubicBezTo>
                      <a:pt x="2725140" y="472687"/>
                      <a:pt x="2722964" y="454730"/>
                      <a:pt x="2718610" y="438043"/>
                    </a:cubicBezTo>
                    <a:cubicBezTo>
                      <a:pt x="2714257" y="421355"/>
                      <a:pt x="2707274" y="406935"/>
                      <a:pt x="2697661" y="394783"/>
                    </a:cubicBezTo>
                    <a:cubicBezTo>
                      <a:pt x="2688047" y="382630"/>
                      <a:pt x="2675804" y="373107"/>
                      <a:pt x="2660930" y="366214"/>
                    </a:cubicBezTo>
                    <a:cubicBezTo>
                      <a:pt x="2646057" y="359322"/>
                      <a:pt x="2628100" y="355876"/>
                      <a:pt x="2607059" y="355876"/>
                    </a:cubicBezTo>
                    <a:close/>
                    <a:moveTo>
                      <a:pt x="2088137" y="270988"/>
                    </a:moveTo>
                    <a:lnTo>
                      <a:pt x="2213837" y="270988"/>
                    </a:lnTo>
                    <a:lnTo>
                      <a:pt x="2213837" y="828200"/>
                    </a:lnTo>
                    <a:lnTo>
                      <a:pt x="2088137" y="828200"/>
                    </a:lnTo>
                    <a:close/>
                    <a:moveTo>
                      <a:pt x="468887" y="270988"/>
                    </a:moveTo>
                    <a:lnTo>
                      <a:pt x="594587" y="270988"/>
                    </a:lnTo>
                    <a:lnTo>
                      <a:pt x="594587" y="828200"/>
                    </a:lnTo>
                    <a:lnTo>
                      <a:pt x="468887" y="828200"/>
                    </a:lnTo>
                    <a:close/>
                    <a:moveTo>
                      <a:pt x="2607059" y="257384"/>
                    </a:moveTo>
                    <a:cubicBezTo>
                      <a:pt x="2647689" y="257384"/>
                      <a:pt x="2683241" y="263914"/>
                      <a:pt x="2713713" y="276973"/>
                    </a:cubicBezTo>
                    <a:cubicBezTo>
                      <a:pt x="2744186" y="290033"/>
                      <a:pt x="2769489" y="308262"/>
                      <a:pt x="2789622" y="331661"/>
                    </a:cubicBezTo>
                    <a:cubicBezTo>
                      <a:pt x="2809756" y="355059"/>
                      <a:pt x="2824902" y="383174"/>
                      <a:pt x="2835059" y="416004"/>
                    </a:cubicBezTo>
                    <a:cubicBezTo>
                      <a:pt x="2845217" y="448835"/>
                      <a:pt x="2850295" y="484840"/>
                      <a:pt x="2850295" y="524019"/>
                    </a:cubicBezTo>
                    <a:lnTo>
                      <a:pt x="2850295" y="586596"/>
                    </a:lnTo>
                    <a:lnTo>
                      <a:pt x="2471021" y="586596"/>
                    </a:lnTo>
                    <a:cubicBezTo>
                      <a:pt x="2473560" y="637021"/>
                      <a:pt x="2489069" y="675565"/>
                      <a:pt x="2517546" y="702229"/>
                    </a:cubicBezTo>
                    <a:cubicBezTo>
                      <a:pt x="2546023" y="728892"/>
                      <a:pt x="2586381" y="742224"/>
                      <a:pt x="2638620" y="742224"/>
                    </a:cubicBezTo>
                    <a:cubicBezTo>
                      <a:pt x="2669818" y="742224"/>
                      <a:pt x="2700109" y="737236"/>
                      <a:pt x="2729494" y="727260"/>
                    </a:cubicBezTo>
                    <a:cubicBezTo>
                      <a:pt x="2758878" y="717284"/>
                      <a:pt x="2784272" y="704496"/>
                      <a:pt x="2805675" y="688897"/>
                    </a:cubicBezTo>
                    <a:lnTo>
                      <a:pt x="2805675" y="795007"/>
                    </a:lnTo>
                    <a:cubicBezTo>
                      <a:pt x="2798420" y="799723"/>
                      <a:pt x="2788625" y="804802"/>
                      <a:pt x="2776291" y="810243"/>
                    </a:cubicBezTo>
                    <a:cubicBezTo>
                      <a:pt x="2763957" y="815685"/>
                      <a:pt x="2749355" y="820763"/>
                      <a:pt x="2732486" y="825479"/>
                    </a:cubicBezTo>
                    <a:cubicBezTo>
                      <a:pt x="2715618" y="830195"/>
                      <a:pt x="2696663" y="834095"/>
                      <a:pt x="2675622" y="837179"/>
                    </a:cubicBezTo>
                    <a:cubicBezTo>
                      <a:pt x="2654582" y="840262"/>
                      <a:pt x="2632090" y="841804"/>
                      <a:pt x="2608147" y="841804"/>
                    </a:cubicBezTo>
                    <a:cubicBezTo>
                      <a:pt x="2566792" y="841804"/>
                      <a:pt x="2529699" y="835546"/>
                      <a:pt x="2496868" y="823031"/>
                    </a:cubicBezTo>
                    <a:cubicBezTo>
                      <a:pt x="2464038" y="810515"/>
                      <a:pt x="2436195" y="792105"/>
                      <a:pt x="2413341" y="767799"/>
                    </a:cubicBezTo>
                    <a:cubicBezTo>
                      <a:pt x="2390486" y="743494"/>
                      <a:pt x="2372892" y="713475"/>
                      <a:pt x="2360558" y="677742"/>
                    </a:cubicBezTo>
                    <a:cubicBezTo>
                      <a:pt x="2348224" y="642009"/>
                      <a:pt x="2342057" y="601107"/>
                      <a:pt x="2342057" y="555036"/>
                    </a:cubicBezTo>
                    <a:cubicBezTo>
                      <a:pt x="2342057" y="503885"/>
                      <a:pt x="2349947" y="459627"/>
                      <a:pt x="2365727" y="422262"/>
                    </a:cubicBezTo>
                    <a:cubicBezTo>
                      <a:pt x="2381508" y="384897"/>
                      <a:pt x="2402095" y="353971"/>
                      <a:pt x="2427489" y="329484"/>
                    </a:cubicBezTo>
                    <a:cubicBezTo>
                      <a:pt x="2452883" y="304997"/>
                      <a:pt x="2481269" y="286859"/>
                      <a:pt x="2512649" y="275069"/>
                    </a:cubicBezTo>
                    <a:cubicBezTo>
                      <a:pt x="2544028" y="263279"/>
                      <a:pt x="2575498" y="257384"/>
                      <a:pt x="2607059" y="257384"/>
                    </a:cubicBezTo>
                    <a:close/>
                    <a:moveTo>
                      <a:pt x="1072697" y="257384"/>
                    </a:moveTo>
                    <a:cubicBezTo>
                      <a:pt x="1131828" y="257384"/>
                      <a:pt x="1177628" y="276248"/>
                      <a:pt x="1210096" y="313976"/>
                    </a:cubicBezTo>
                    <a:cubicBezTo>
                      <a:pt x="1242563" y="351704"/>
                      <a:pt x="1258797" y="409021"/>
                      <a:pt x="1258797" y="485928"/>
                    </a:cubicBezTo>
                    <a:lnTo>
                      <a:pt x="1258797" y="828200"/>
                    </a:lnTo>
                    <a:lnTo>
                      <a:pt x="1133098" y="828200"/>
                    </a:lnTo>
                    <a:lnTo>
                      <a:pt x="1133098" y="515312"/>
                    </a:lnTo>
                    <a:cubicBezTo>
                      <a:pt x="1133098" y="463074"/>
                      <a:pt x="1124301" y="424167"/>
                      <a:pt x="1106706" y="398592"/>
                    </a:cubicBezTo>
                    <a:cubicBezTo>
                      <a:pt x="1089112" y="373016"/>
                      <a:pt x="1060726" y="360229"/>
                      <a:pt x="1021547" y="360229"/>
                    </a:cubicBezTo>
                    <a:cubicBezTo>
                      <a:pt x="1003045" y="360229"/>
                      <a:pt x="985723" y="363947"/>
                      <a:pt x="969580" y="371384"/>
                    </a:cubicBezTo>
                    <a:cubicBezTo>
                      <a:pt x="953437" y="378821"/>
                      <a:pt x="939470" y="389250"/>
                      <a:pt x="927680" y="402673"/>
                    </a:cubicBezTo>
                    <a:cubicBezTo>
                      <a:pt x="915890" y="416095"/>
                      <a:pt x="906640" y="432057"/>
                      <a:pt x="899928" y="450558"/>
                    </a:cubicBezTo>
                    <a:cubicBezTo>
                      <a:pt x="893217" y="469059"/>
                      <a:pt x="889862" y="489374"/>
                      <a:pt x="889862" y="511503"/>
                    </a:cubicBezTo>
                    <a:lnTo>
                      <a:pt x="889862" y="828200"/>
                    </a:lnTo>
                    <a:lnTo>
                      <a:pt x="764162" y="828200"/>
                    </a:lnTo>
                    <a:lnTo>
                      <a:pt x="764162" y="270988"/>
                    </a:lnTo>
                    <a:lnTo>
                      <a:pt x="889862" y="270988"/>
                    </a:lnTo>
                    <a:lnTo>
                      <a:pt x="889862" y="360229"/>
                    </a:lnTo>
                    <a:lnTo>
                      <a:pt x="892038" y="360229"/>
                    </a:lnTo>
                    <a:cubicBezTo>
                      <a:pt x="914530" y="323226"/>
                      <a:pt x="940921" y="296835"/>
                      <a:pt x="971213" y="281055"/>
                    </a:cubicBezTo>
                    <a:cubicBezTo>
                      <a:pt x="1001504" y="265274"/>
                      <a:pt x="1035332" y="257384"/>
                      <a:pt x="1072697" y="257384"/>
                    </a:cubicBezTo>
                    <a:close/>
                    <a:moveTo>
                      <a:pt x="218749" y="103933"/>
                    </a:moveTo>
                    <a:lnTo>
                      <a:pt x="218749" y="270988"/>
                    </a:lnTo>
                    <a:lnTo>
                      <a:pt x="353155" y="270988"/>
                    </a:lnTo>
                    <a:lnTo>
                      <a:pt x="353155" y="372200"/>
                    </a:lnTo>
                    <a:lnTo>
                      <a:pt x="218749" y="372200"/>
                    </a:lnTo>
                    <a:lnTo>
                      <a:pt x="218749" y="642100"/>
                    </a:lnTo>
                    <a:cubicBezTo>
                      <a:pt x="218749" y="677289"/>
                      <a:pt x="225098" y="702229"/>
                      <a:pt x="237795" y="716921"/>
                    </a:cubicBezTo>
                    <a:cubicBezTo>
                      <a:pt x="250491" y="731613"/>
                      <a:pt x="270444" y="738959"/>
                      <a:pt x="297651" y="738959"/>
                    </a:cubicBezTo>
                    <a:cubicBezTo>
                      <a:pt x="304907" y="738959"/>
                      <a:pt x="314067" y="737417"/>
                      <a:pt x="325131" y="734334"/>
                    </a:cubicBezTo>
                    <a:cubicBezTo>
                      <a:pt x="336196" y="731250"/>
                      <a:pt x="345537" y="727169"/>
                      <a:pt x="353155" y="722090"/>
                    </a:cubicBezTo>
                    <a:lnTo>
                      <a:pt x="353155" y="822759"/>
                    </a:lnTo>
                    <a:cubicBezTo>
                      <a:pt x="348802" y="825298"/>
                      <a:pt x="342907" y="827656"/>
                      <a:pt x="335470" y="829833"/>
                    </a:cubicBezTo>
                    <a:cubicBezTo>
                      <a:pt x="328033" y="832009"/>
                      <a:pt x="319962" y="834005"/>
                      <a:pt x="311255" y="835818"/>
                    </a:cubicBezTo>
                    <a:cubicBezTo>
                      <a:pt x="302549" y="837632"/>
                      <a:pt x="293389" y="839083"/>
                      <a:pt x="283775" y="840172"/>
                    </a:cubicBezTo>
                    <a:cubicBezTo>
                      <a:pt x="274162" y="841260"/>
                      <a:pt x="265002" y="841804"/>
                      <a:pt x="256296" y="841804"/>
                    </a:cubicBezTo>
                    <a:cubicBezTo>
                      <a:pt x="200429" y="841804"/>
                      <a:pt x="159164" y="826658"/>
                      <a:pt x="132501" y="796367"/>
                    </a:cubicBezTo>
                    <a:cubicBezTo>
                      <a:pt x="105837" y="766076"/>
                      <a:pt x="92506" y="722453"/>
                      <a:pt x="92506" y="665499"/>
                    </a:cubicBezTo>
                    <a:lnTo>
                      <a:pt x="92506" y="372200"/>
                    </a:lnTo>
                    <a:lnTo>
                      <a:pt x="0" y="372200"/>
                    </a:lnTo>
                    <a:lnTo>
                      <a:pt x="0" y="270988"/>
                    </a:lnTo>
                    <a:lnTo>
                      <a:pt x="92506" y="270988"/>
                    </a:lnTo>
                    <a:lnTo>
                      <a:pt x="92506" y="142568"/>
                    </a:lnTo>
                    <a:close/>
                    <a:moveTo>
                      <a:pt x="1786240" y="3265"/>
                    </a:moveTo>
                    <a:lnTo>
                      <a:pt x="1911939" y="3265"/>
                    </a:lnTo>
                    <a:lnTo>
                      <a:pt x="1911939" y="828200"/>
                    </a:lnTo>
                    <a:lnTo>
                      <a:pt x="1786240" y="828200"/>
                    </a:lnTo>
                    <a:lnTo>
                      <a:pt x="1786240" y="741136"/>
                    </a:lnTo>
                    <a:lnTo>
                      <a:pt x="1784063" y="741136"/>
                    </a:lnTo>
                    <a:cubicBezTo>
                      <a:pt x="1774994" y="756372"/>
                      <a:pt x="1764564" y="770157"/>
                      <a:pt x="1752774" y="782491"/>
                    </a:cubicBezTo>
                    <a:cubicBezTo>
                      <a:pt x="1740984" y="794826"/>
                      <a:pt x="1727652" y="805346"/>
                      <a:pt x="1712779" y="814052"/>
                    </a:cubicBezTo>
                    <a:cubicBezTo>
                      <a:pt x="1697905" y="822759"/>
                      <a:pt x="1681218" y="829561"/>
                      <a:pt x="1662717" y="834458"/>
                    </a:cubicBezTo>
                    <a:cubicBezTo>
                      <a:pt x="1644216" y="839355"/>
                      <a:pt x="1623719" y="841804"/>
                      <a:pt x="1601228" y="841804"/>
                    </a:cubicBezTo>
                    <a:cubicBezTo>
                      <a:pt x="1568216" y="841804"/>
                      <a:pt x="1537652" y="835818"/>
                      <a:pt x="1509538" y="823847"/>
                    </a:cubicBezTo>
                    <a:cubicBezTo>
                      <a:pt x="1481423" y="811876"/>
                      <a:pt x="1457027" y="794100"/>
                      <a:pt x="1436349" y="770520"/>
                    </a:cubicBezTo>
                    <a:cubicBezTo>
                      <a:pt x="1415671" y="746940"/>
                      <a:pt x="1399528" y="717828"/>
                      <a:pt x="1387920" y="683184"/>
                    </a:cubicBezTo>
                    <a:cubicBezTo>
                      <a:pt x="1376311" y="648539"/>
                      <a:pt x="1370507" y="608544"/>
                      <a:pt x="1370507" y="563198"/>
                    </a:cubicBezTo>
                    <a:cubicBezTo>
                      <a:pt x="1370507" y="516763"/>
                      <a:pt x="1376583" y="474682"/>
                      <a:pt x="1388736" y="436954"/>
                    </a:cubicBezTo>
                    <a:cubicBezTo>
                      <a:pt x="1400889" y="399226"/>
                      <a:pt x="1418120" y="367031"/>
                      <a:pt x="1440430" y="340367"/>
                    </a:cubicBezTo>
                    <a:cubicBezTo>
                      <a:pt x="1462741" y="313704"/>
                      <a:pt x="1489586" y="293207"/>
                      <a:pt x="1520965" y="278878"/>
                    </a:cubicBezTo>
                    <a:cubicBezTo>
                      <a:pt x="1552345" y="264549"/>
                      <a:pt x="1587261" y="257384"/>
                      <a:pt x="1625714" y="257384"/>
                    </a:cubicBezTo>
                    <a:cubicBezTo>
                      <a:pt x="1645304" y="257384"/>
                      <a:pt x="1663261" y="259470"/>
                      <a:pt x="1679586" y="263642"/>
                    </a:cubicBezTo>
                    <a:cubicBezTo>
                      <a:pt x="1695910" y="267813"/>
                      <a:pt x="1710602" y="273618"/>
                      <a:pt x="1723662" y="281055"/>
                    </a:cubicBezTo>
                    <a:cubicBezTo>
                      <a:pt x="1736722" y="288491"/>
                      <a:pt x="1748330" y="297288"/>
                      <a:pt x="1758488" y="307446"/>
                    </a:cubicBezTo>
                    <a:cubicBezTo>
                      <a:pt x="1768645" y="317603"/>
                      <a:pt x="1777170" y="328487"/>
                      <a:pt x="1784063" y="340095"/>
                    </a:cubicBezTo>
                    <a:lnTo>
                      <a:pt x="1786240" y="340095"/>
                    </a:lnTo>
                    <a:close/>
                    <a:moveTo>
                      <a:pt x="2152347" y="0"/>
                    </a:moveTo>
                    <a:cubicBezTo>
                      <a:pt x="2163230" y="0"/>
                      <a:pt x="2173388" y="1904"/>
                      <a:pt x="2182820" y="5713"/>
                    </a:cubicBezTo>
                    <a:cubicBezTo>
                      <a:pt x="2192252" y="9522"/>
                      <a:pt x="2200414" y="14782"/>
                      <a:pt x="2207307" y="21494"/>
                    </a:cubicBezTo>
                    <a:cubicBezTo>
                      <a:pt x="2214200" y="28205"/>
                      <a:pt x="2219641" y="36004"/>
                      <a:pt x="2223631" y="44892"/>
                    </a:cubicBezTo>
                    <a:cubicBezTo>
                      <a:pt x="2227622" y="53780"/>
                      <a:pt x="2229617" y="63484"/>
                      <a:pt x="2229617" y="74004"/>
                    </a:cubicBezTo>
                    <a:cubicBezTo>
                      <a:pt x="2229617" y="83799"/>
                      <a:pt x="2227713" y="93140"/>
                      <a:pt x="2223903" y="102028"/>
                    </a:cubicBezTo>
                    <a:cubicBezTo>
                      <a:pt x="2220094" y="110916"/>
                      <a:pt x="2214744" y="118625"/>
                      <a:pt x="2207851" y="125155"/>
                    </a:cubicBezTo>
                    <a:cubicBezTo>
                      <a:pt x="2200958" y="131685"/>
                      <a:pt x="2192796" y="136854"/>
                      <a:pt x="2183364" y="140663"/>
                    </a:cubicBezTo>
                    <a:cubicBezTo>
                      <a:pt x="2173932" y="144472"/>
                      <a:pt x="2163593" y="146377"/>
                      <a:pt x="2152347" y="146377"/>
                    </a:cubicBezTo>
                    <a:cubicBezTo>
                      <a:pt x="2141464" y="146377"/>
                      <a:pt x="2131307" y="144472"/>
                      <a:pt x="2121875" y="140663"/>
                    </a:cubicBezTo>
                    <a:cubicBezTo>
                      <a:pt x="2112443" y="136854"/>
                      <a:pt x="2104281" y="131685"/>
                      <a:pt x="2097388" y="125155"/>
                    </a:cubicBezTo>
                    <a:cubicBezTo>
                      <a:pt x="2090495" y="118625"/>
                      <a:pt x="2085144" y="110916"/>
                      <a:pt x="2081335" y="102028"/>
                    </a:cubicBezTo>
                    <a:cubicBezTo>
                      <a:pt x="2077526" y="93140"/>
                      <a:pt x="2075622" y="83799"/>
                      <a:pt x="2075622" y="74004"/>
                    </a:cubicBezTo>
                    <a:cubicBezTo>
                      <a:pt x="2075622" y="63484"/>
                      <a:pt x="2077617" y="53689"/>
                      <a:pt x="2081607" y="44620"/>
                    </a:cubicBezTo>
                    <a:cubicBezTo>
                      <a:pt x="2085598" y="35551"/>
                      <a:pt x="2091039" y="27751"/>
                      <a:pt x="2097932" y="21222"/>
                    </a:cubicBezTo>
                    <a:cubicBezTo>
                      <a:pt x="2104825" y="14692"/>
                      <a:pt x="2112896" y="9522"/>
                      <a:pt x="2122147" y="5713"/>
                    </a:cubicBezTo>
                    <a:cubicBezTo>
                      <a:pt x="2131397" y="1904"/>
                      <a:pt x="2141464" y="0"/>
                      <a:pt x="2152347" y="0"/>
                    </a:cubicBezTo>
                    <a:close/>
                    <a:moveTo>
                      <a:pt x="533097" y="0"/>
                    </a:moveTo>
                    <a:cubicBezTo>
                      <a:pt x="543980" y="0"/>
                      <a:pt x="554138" y="1904"/>
                      <a:pt x="563570" y="5713"/>
                    </a:cubicBezTo>
                    <a:cubicBezTo>
                      <a:pt x="573002" y="9522"/>
                      <a:pt x="581164" y="14782"/>
                      <a:pt x="588057" y="21494"/>
                    </a:cubicBezTo>
                    <a:cubicBezTo>
                      <a:pt x="594949" y="28205"/>
                      <a:pt x="600391" y="36004"/>
                      <a:pt x="604381" y="44892"/>
                    </a:cubicBezTo>
                    <a:cubicBezTo>
                      <a:pt x="608372" y="53780"/>
                      <a:pt x="610367" y="63484"/>
                      <a:pt x="610367" y="74004"/>
                    </a:cubicBezTo>
                    <a:cubicBezTo>
                      <a:pt x="610367" y="83799"/>
                      <a:pt x="608463" y="93140"/>
                      <a:pt x="604653" y="102028"/>
                    </a:cubicBezTo>
                    <a:cubicBezTo>
                      <a:pt x="600844" y="110916"/>
                      <a:pt x="595494" y="118625"/>
                      <a:pt x="588601" y="125155"/>
                    </a:cubicBezTo>
                    <a:cubicBezTo>
                      <a:pt x="581708" y="131685"/>
                      <a:pt x="573546" y="136854"/>
                      <a:pt x="564114" y="140663"/>
                    </a:cubicBezTo>
                    <a:cubicBezTo>
                      <a:pt x="554682" y="144472"/>
                      <a:pt x="544343" y="146377"/>
                      <a:pt x="533097" y="146377"/>
                    </a:cubicBezTo>
                    <a:cubicBezTo>
                      <a:pt x="522214" y="146377"/>
                      <a:pt x="512057" y="144472"/>
                      <a:pt x="502625" y="140663"/>
                    </a:cubicBezTo>
                    <a:cubicBezTo>
                      <a:pt x="493193" y="136854"/>
                      <a:pt x="485031" y="131685"/>
                      <a:pt x="478138" y="125155"/>
                    </a:cubicBezTo>
                    <a:cubicBezTo>
                      <a:pt x="471245" y="118625"/>
                      <a:pt x="465895" y="110916"/>
                      <a:pt x="462085" y="102028"/>
                    </a:cubicBezTo>
                    <a:cubicBezTo>
                      <a:pt x="458276" y="93140"/>
                      <a:pt x="456372" y="83799"/>
                      <a:pt x="456372" y="74004"/>
                    </a:cubicBezTo>
                    <a:cubicBezTo>
                      <a:pt x="456372" y="63484"/>
                      <a:pt x="458367" y="53689"/>
                      <a:pt x="462358" y="44620"/>
                    </a:cubicBezTo>
                    <a:cubicBezTo>
                      <a:pt x="466348" y="35551"/>
                      <a:pt x="471790" y="27751"/>
                      <a:pt x="478682" y="21222"/>
                    </a:cubicBezTo>
                    <a:cubicBezTo>
                      <a:pt x="485575" y="14692"/>
                      <a:pt x="493646" y="9522"/>
                      <a:pt x="502897" y="5713"/>
                    </a:cubicBezTo>
                    <a:cubicBezTo>
                      <a:pt x="512148" y="1904"/>
                      <a:pt x="522214" y="0"/>
                      <a:pt x="533097" y="0"/>
                    </a:cubicBezTo>
                    <a:close/>
                  </a:path>
                </a:pathLst>
              </a:cu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35945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s stuff</a:t>
            </a:r>
            <a:endParaRPr lang="en-US" dirty="0"/>
          </a:p>
        </p:txBody>
      </p:sp>
      <p:sp>
        <p:nvSpPr>
          <p:cNvPr id="3" name="Content Placeholder 2"/>
          <p:cNvSpPr>
            <a:spLocks noGrp="1"/>
          </p:cNvSpPr>
          <p:nvPr>
            <p:ph idx="1"/>
          </p:nvPr>
        </p:nvSpPr>
        <p:spPr/>
        <p:txBody>
          <a:bodyPr>
            <a:normAutofit lnSpcReduction="10000"/>
          </a:bodyPr>
          <a:lstStyle/>
          <a:p>
            <a:r>
              <a:rPr lang="en-US" dirty="0" smtClean="0"/>
              <a:t>We’ll figure the network out as we go:</a:t>
            </a:r>
          </a:p>
          <a:p>
            <a:pPr lvl="1"/>
            <a:r>
              <a:rPr lang="en-US" dirty="0" smtClean="0"/>
              <a:t>For now, you can connect to the </a:t>
            </a:r>
            <a:r>
              <a:rPr lang="en-US" dirty="0" err="1" smtClean="0"/>
              <a:t>WiFi</a:t>
            </a:r>
            <a:r>
              <a:rPr lang="en-US" dirty="0" smtClean="0"/>
              <a:t> :</a:t>
            </a:r>
          </a:p>
          <a:p>
            <a:pPr lvl="2"/>
            <a:r>
              <a:rPr lang="en-US" dirty="0" smtClean="0"/>
              <a:t>SSID </a:t>
            </a:r>
            <a:r>
              <a:rPr lang="en-US" b="1" dirty="0" err="1" smtClean="0"/>
              <a:t>msiotcamp</a:t>
            </a:r>
            <a:endParaRPr lang="en-US" b="1" dirty="0" smtClean="0"/>
          </a:p>
          <a:p>
            <a:pPr lvl="2"/>
            <a:r>
              <a:rPr lang="en-US" dirty="0" smtClean="0"/>
              <a:t>PWD	</a:t>
            </a:r>
            <a:r>
              <a:rPr lang="en-US" b="1" dirty="0" err="1" smtClean="0"/>
              <a:t>msiotcamp</a:t>
            </a:r>
            <a:endParaRPr lang="en-US" b="1" dirty="0" smtClean="0"/>
          </a:p>
          <a:p>
            <a:pPr lvl="1"/>
            <a:r>
              <a:rPr lang="en-US" dirty="0" smtClean="0"/>
              <a:t>Or you can plug into an Ethernet cable</a:t>
            </a:r>
          </a:p>
          <a:p>
            <a:pPr lvl="1"/>
            <a:r>
              <a:rPr lang="en-US" dirty="0" smtClean="0"/>
              <a:t>You may have to change your connection when we get into the labs</a:t>
            </a:r>
          </a:p>
          <a:p>
            <a:pPr lvl="1"/>
            <a:endParaRPr lang="en-US" dirty="0"/>
          </a:p>
          <a:p>
            <a:r>
              <a:rPr lang="en-US" dirty="0" smtClean="0"/>
              <a:t>I have a site with </a:t>
            </a:r>
            <a:r>
              <a:rPr lang="en-US" dirty="0" smtClean="0"/>
              <a:t>notes, links, contact info, </a:t>
            </a:r>
            <a:r>
              <a:rPr lang="en-US" dirty="0" smtClean="0"/>
              <a:t>etc.  </a:t>
            </a:r>
            <a:r>
              <a:rPr lang="en-US" dirty="0" smtClean="0"/>
              <a:t>Pretty much everything you need at:</a:t>
            </a:r>
            <a:r>
              <a:rPr lang="en-US" dirty="0" smtClean="0"/>
              <a:t/>
            </a:r>
            <a:br>
              <a:rPr lang="en-US" dirty="0" smtClean="0"/>
            </a:br>
            <a:r>
              <a:rPr lang="en-US" dirty="0"/>
              <a:t/>
            </a:r>
            <a:br>
              <a:rPr lang="en-US" dirty="0"/>
            </a:br>
            <a:r>
              <a:rPr lang="en-US" sz="4000" dirty="0" smtClean="0">
                <a:hlinkClick r:id="rId2"/>
              </a:rPr>
              <a:t>http://</a:t>
            </a:r>
            <a:r>
              <a:rPr lang="en-US" sz="4000" dirty="0" smtClean="0">
                <a:hlinkClick r:id="rId2"/>
              </a:rPr>
              <a:t>aka.ms/iotcampsea</a:t>
            </a:r>
            <a:r>
              <a:rPr lang="en-US" sz="4000" dirty="0" smtClean="0"/>
              <a:t>  </a:t>
            </a:r>
            <a:endParaRPr lang="en-US" sz="4000" dirty="0" smtClean="0"/>
          </a:p>
        </p:txBody>
      </p:sp>
    </p:spTree>
    <p:extLst>
      <p:ext uri="{BB962C8B-B14F-4D97-AF65-F5344CB8AC3E}">
        <p14:creationId xmlns:p14="http://schemas.microsoft.com/office/powerpoint/2010/main" val="1000880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l="623" t="8277" r="655" b="8488"/>
          <a:stretch/>
        </p:blipFill>
        <p:spPr>
          <a:xfrm>
            <a:off x="-11575" y="-11574"/>
            <a:ext cx="12211291" cy="6863788"/>
          </a:xfrm>
          <a:prstGeom prst="rect">
            <a:avLst/>
          </a:prstGeom>
        </p:spPr>
      </p:pic>
      <p:sp>
        <p:nvSpPr>
          <p:cNvPr id="2" name="Title 1"/>
          <p:cNvSpPr>
            <a:spLocks noGrp="1"/>
          </p:cNvSpPr>
          <p:nvPr>
            <p:ph type="title"/>
          </p:nvPr>
        </p:nvSpPr>
        <p:spPr/>
        <p:txBody>
          <a:bodyPr>
            <a:normAutofit/>
          </a:bodyPr>
          <a:lstStyle/>
          <a:p>
            <a:r>
              <a:rPr lang="en-US" sz="2800" dirty="0" smtClean="0">
                <a:solidFill>
                  <a:schemeClr val="bg1"/>
                </a:solidFill>
              </a:rPr>
              <a:t>3D printing &amp; milling</a:t>
            </a:r>
            <a:endParaRPr lang="en-US" sz="2800" dirty="0">
              <a:solidFill>
                <a:schemeClr val="bg1"/>
              </a:solidFill>
            </a:endParaRPr>
          </a:p>
        </p:txBody>
      </p:sp>
    </p:spTree>
    <p:extLst>
      <p:ext uri="{BB962C8B-B14F-4D97-AF65-F5344CB8AC3E}">
        <p14:creationId xmlns:p14="http://schemas.microsoft.com/office/powerpoint/2010/main" val="5314395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r spaces, places and FAIRES</a:t>
            </a:r>
            <a:endParaRPr lang="en-US" dirty="0"/>
          </a:p>
        </p:txBody>
      </p:sp>
      <p:grpSp>
        <p:nvGrpSpPr>
          <p:cNvPr id="5" name="Group 4"/>
          <p:cNvGrpSpPr/>
          <p:nvPr/>
        </p:nvGrpSpPr>
        <p:grpSpPr>
          <a:xfrm>
            <a:off x="822961" y="1561862"/>
            <a:ext cx="10683240" cy="4252151"/>
            <a:chOff x="822960" y="1561862"/>
            <a:chExt cx="11430001" cy="4549377"/>
          </a:xfrm>
        </p:grpSpPr>
        <p:pic>
          <p:nvPicPr>
            <p:cNvPr id="1028" name="Picture 4" descr="C:\Users\BStateha\AppData\Local\Temp\SNAGHTML6a1c2e3.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960" y="1561862"/>
              <a:ext cx="5715001" cy="45493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BStateha\AppData\Local\Temp\SNAGHTML6a0cc4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7961" y="1561862"/>
              <a:ext cx="5715000" cy="3659152"/>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p:cNvSpPr txBox="1"/>
          <p:nvPr/>
        </p:nvSpPr>
        <p:spPr>
          <a:xfrm>
            <a:off x="6329680" y="5354320"/>
            <a:ext cx="5176521" cy="1200329"/>
          </a:xfrm>
          <a:prstGeom prst="rect">
            <a:avLst/>
          </a:prstGeom>
          <a:noFill/>
        </p:spPr>
        <p:txBody>
          <a:bodyPr wrap="square" rtlCol="0">
            <a:spAutoFit/>
          </a:bodyPr>
          <a:lstStyle/>
          <a:p>
            <a:r>
              <a:rPr lang="en-US" b="1" dirty="0" smtClean="0">
                <a:latin typeface="Segoe Light" panose="020B0302040504020203" pitchFamily="34" charset="0"/>
              </a:rPr>
              <a:t>Not just for adults!</a:t>
            </a:r>
            <a:r>
              <a:rPr lang="en-US" dirty="0" smtClean="0">
                <a:latin typeface="Segoe Light" panose="020B0302040504020203" pitchFamily="34" charset="0"/>
              </a:rPr>
              <a:t> Many of these places make significant efforts to educate kids from elementary school age and up.  Often this is made possible by STEM (or STEAM) grants.</a:t>
            </a:r>
            <a:endParaRPr lang="en-US" dirty="0">
              <a:latin typeface="Segoe Light" panose="020B0302040504020203" pitchFamily="34" charset="0"/>
            </a:endParaRPr>
          </a:p>
        </p:txBody>
      </p:sp>
    </p:spTree>
    <p:extLst>
      <p:ext uri="{BB962C8B-B14F-4D97-AF65-F5344CB8AC3E}">
        <p14:creationId xmlns:p14="http://schemas.microsoft.com/office/powerpoint/2010/main" val="36470816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rowdfunding</a:t>
            </a:r>
            <a:endParaRPr lang="en-US" dirty="0"/>
          </a:p>
        </p:txBody>
      </p:sp>
      <p:pic>
        <p:nvPicPr>
          <p:cNvPr id="4" name="Picture 3">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t="34875" b="39223"/>
          <a:stretch/>
        </p:blipFill>
        <p:spPr>
          <a:xfrm>
            <a:off x="4670328" y="2667000"/>
            <a:ext cx="2851345" cy="355600"/>
          </a:xfrm>
          <a:prstGeom prst="rect">
            <a:avLst/>
          </a:prstGeom>
        </p:spPr>
      </p:pic>
      <p:sp>
        <p:nvSpPr>
          <p:cNvPr id="5" name="TextBox 4"/>
          <p:cNvSpPr txBox="1"/>
          <p:nvPr/>
        </p:nvSpPr>
        <p:spPr>
          <a:xfrm>
            <a:off x="4866080" y="3037258"/>
            <a:ext cx="2459841" cy="369332"/>
          </a:xfrm>
          <a:prstGeom prst="rect">
            <a:avLst/>
          </a:prstGeom>
          <a:noFill/>
        </p:spPr>
        <p:txBody>
          <a:bodyPr wrap="none" rtlCol="0">
            <a:spAutoFit/>
          </a:bodyPr>
          <a:lstStyle/>
          <a:p>
            <a:pPr algn="ctr"/>
            <a:r>
              <a:rPr lang="en-US" dirty="0" smtClean="0">
                <a:latin typeface="Segoe Light" panose="020B0302040504020203" pitchFamily="34" charset="0"/>
              </a:rPr>
              <a:t>Since starting in 2009….</a:t>
            </a:r>
            <a:endParaRPr lang="en-US" dirty="0">
              <a:latin typeface="Segoe Light" panose="020B0302040504020203" pitchFamily="34" charset="0"/>
            </a:endParaRPr>
          </a:p>
        </p:txBody>
      </p:sp>
      <p:sp>
        <p:nvSpPr>
          <p:cNvPr id="6" name="TextBox 5"/>
          <p:cNvSpPr txBox="1"/>
          <p:nvPr/>
        </p:nvSpPr>
        <p:spPr>
          <a:xfrm>
            <a:off x="4814592" y="3370448"/>
            <a:ext cx="2562817" cy="461665"/>
          </a:xfrm>
          <a:prstGeom prst="rect">
            <a:avLst/>
          </a:prstGeom>
          <a:noFill/>
        </p:spPr>
        <p:txBody>
          <a:bodyPr wrap="none" rtlCol="0">
            <a:spAutoFit/>
          </a:bodyPr>
          <a:lstStyle/>
          <a:p>
            <a:pPr algn="ctr"/>
            <a:r>
              <a:rPr lang="en-US" sz="2400" dirty="0" smtClean="0">
                <a:solidFill>
                  <a:srgbClr val="1E2D0B"/>
                </a:solidFill>
                <a:latin typeface="Cooper Black" panose="0208090404030B020404" pitchFamily="18" charset="0"/>
              </a:rPr>
              <a:t>48,000 Projects</a:t>
            </a:r>
            <a:endParaRPr lang="en-US" sz="2400" dirty="0">
              <a:solidFill>
                <a:srgbClr val="1E2D0B"/>
              </a:solidFill>
              <a:latin typeface="Cooper Black" panose="0208090404030B020404" pitchFamily="18" charset="0"/>
            </a:endParaRPr>
          </a:p>
        </p:txBody>
      </p:sp>
      <p:sp>
        <p:nvSpPr>
          <p:cNvPr id="7" name="TextBox 6"/>
          <p:cNvSpPr txBox="1"/>
          <p:nvPr/>
        </p:nvSpPr>
        <p:spPr>
          <a:xfrm>
            <a:off x="4497389" y="3795971"/>
            <a:ext cx="3197222" cy="523220"/>
          </a:xfrm>
          <a:prstGeom prst="rect">
            <a:avLst/>
          </a:prstGeom>
          <a:noFill/>
        </p:spPr>
        <p:txBody>
          <a:bodyPr wrap="none" rtlCol="0">
            <a:spAutoFit/>
          </a:bodyPr>
          <a:lstStyle/>
          <a:p>
            <a:pPr algn="ctr"/>
            <a:r>
              <a:rPr lang="en-US" sz="2800" dirty="0" smtClean="0">
                <a:solidFill>
                  <a:srgbClr val="3C5A14"/>
                </a:solidFill>
                <a:latin typeface="Cooper Black" panose="0208090404030B020404" pitchFamily="18" charset="0"/>
              </a:rPr>
              <a:t>4,800,000 People</a:t>
            </a:r>
            <a:endParaRPr lang="en-US" sz="2800" dirty="0">
              <a:solidFill>
                <a:srgbClr val="3C5A14"/>
              </a:solidFill>
              <a:latin typeface="Cooper Black" panose="0208090404030B020404" pitchFamily="18" charset="0"/>
            </a:endParaRPr>
          </a:p>
        </p:txBody>
      </p:sp>
      <p:sp>
        <p:nvSpPr>
          <p:cNvPr id="8" name="TextBox 7"/>
          <p:cNvSpPr txBox="1"/>
          <p:nvPr/>
        </p:nvSpPr>
        <p:spPr>
          <a:xfrm>
            <a:off x="3784630" y="4283049"/>
            <a:ext cx="4622740" cy="584775"/>
          </a:xfrm>
          <a:prstGeom prst="rect">
            <a:avLst/>
          </a:prstGeom>
          <a:noFill/>
        </p:spPr>
        <p:txBody>
          <a:bodyPr wrap="none" rtlCol="0">
            <a:spAutoFit/>
          </a:bodyPr>
          <a:lstStyle/>
          <a:p>
            <a:r>
              <a:rPr lang="en-US" sz="3200" dirty="0" smtClean="0">
                <a:solidFill>
                  <a:srgbClr val="5A871F"/>
                </a:solidFill>
                <a:latin typeface="Cooper Black" panose="0208090404030B020404" pitchFamily="18" charset="0"/>
              </a:rPr>
              <a:t>$777,000,000 Pledged</a:t>
            </a:r>
            <a:endParaRPr lang="en-US" sz="3200" dirty="0">
              <a:solidFill>
                <a:srgbClr val="5A871F"/>
              </a:solidFill>
              <a:latin typeface="Cooper Black" panose="0208090404030B020404" pitchFamily="18" charset="0"/>
            </a:endParaRPr>
          </a:p>
        </p:txBody>
      </p:sp>
      <p:sp>
        <p:nvSpPr>
          <p:cNvPr id="9" name="TextBox 8"/>
          <p:cNvSpPr txBox="1"/>
          <p:nvPr/>
        </p:nvSpPr>
        <p:spPr>
          <a:xfrm>
            <a:off x="2776341" y="4831682"/>
            <a:ext cx="6639318" cy="646331"/>
          </a:xfrm>
          <a:prstGeom prst="rect">
            <a:avLst/>
          </a:prstGeom>
          <a:noFill/>
        </p:spPr>
        <p:txBody>
          <a:bodyPr wrap="none" rtlCol="0">
            <a:spAutoFit/>
          </a:bodyPr>
          <a:lstStyle/>
          <a:p>
            <a:r>
              <a:rPr lang="en-US" sz="3600" dirty="0" smtClean="0">
                <a:solidFill>
                  <a:srgbClr val="78B329"/>
                </a:solidFill>
                <a:latin typeface="Cooper Black" panose="0208090404030B020404" pitchFamily="18" charset="0"/>
              </a:rPr>
              <a:t>44% Projects Reached Goal</a:t>
            </a:r>
            <a:endParaRPr lang="en-US" sz="3600" dirty="0">
              <a:solidFill>
                <a:srgbClr val="78B329"/>
              </a:solidFill>
              <a:latin typeface="Cooper Black" panose="0208090404030B020404" pitchFamily="18" charset="0"/>
            </a:endParaRPr>
          </a:p>
        </p:txBody>
      </p:sp>
      <p:sp>
        <p:nvSpPr>
          <p:cNvPr id="11" name="TextBox 10"/>
          <p:cNvSpPr txBox="1"/>
          <p:nvPr/>
        </p:nvSpPr>
        <p:spPr>
          <a:xfrm>
            <a:off x="2061145" y="5441869"/>
            <a:ext cx="8069710" cy="707886"/>
          </a:xfrm>
          <a:prstGeom prst="rect">
            <a:avLst/>
          </a:prstGeom>
          <a:noFill/>
        </p:spPr>
        <p:txBody>
          <a:bodyPr wrap="none" rtlCol="0">
            <a:spAutoFit/>
          </a:bodyPr>
          <a:lstStyle/>
          <a:p>
            <a:r>
              <a:rPr lang="en-US" sz="4000" dirty="0" smtClean="0">
                <a:solidFill>
                  <a:srgbClr val="95D340"/>
                </a:solidFill>
                <a:latin typeface="Cooper Black" panose="0208090404030B020404" pitchFamily="18" charset="0"/>
              </a:rPr>
              <a:t>$274,391,721 Collected in 2012</a:t>
            </a:r>
            <a:endParaRPr lang="en-US" sz="1200" dirty="0">
              <a:solidFill>
                <a:srgbClr val="95D340"/>
              </a:solidFill>
              <a:latin typeface="Cooper Black" panose="0208090404030B020404" pitchFamily="18" charset="0"/>
            </a:endParaRPr>
          </a:p>
        </p:txBody>
      </p:sp>
      <p:pic>
        <p:nvPicPr>
          <p:cNvPr id="13" name="Picture 12">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51280" y="2620638"/>
            <a:ext cx="1899920" cy="358610"/>
          </a:xfrm>
          <a:prstGeom prst="rect">
            <a:avLst/>
          </a:prstGeom>
        </p:spPr>
      </p:pic>
      <p:pic>
        <p:nvPicPr>
          <p:cNvPr id="15" name="Picture 14">
            <a:hlinkClick r:id="rId6"/>
          </p:cNvPr>
          <p:cNvPicPr>
            <a:picLocks noChangeAspect="1"/>
          </p:cNvPicPr>
          <p:nvPr/>
        </p:nvPicPr>
        <p:blipFill rotWithShape="1">
          <a:blip r:embed="rId7">
            <a:extLst>
              <a:ext uri="{28A0092B-C50C-407E-A947-70E740481C1C}">
                <a14:useLocalDpi xmlns:a14="http://schemas.microsoft.com/office/drawing/2010/main" val="0"/>
              </a:ext>
            </a:extLst>
          </a:blip>
          <a:srcRect l="12200" t="35511" r="20900" b="49022"/>
          <a:stretch/>
        </p:blipFill>
        <p:spPr>
          <a:xfrm>
            <a:off x="8940800" y="2700199"/>
            <a:ext cx="2145792" cy="279049"/>
          </a:xfrm>
          <a:prstGeom prst="rect">
            <a:avLst/>
          </a:prstGeom>
        </p:spPr>
      </p:pic>
      <p:pic>
        <p:nvPicPr>
          <p:cNvPr id="16" name="Picture 15">
            <a:hlinkClick r:id="rId8"/>
          </p:cNvPr>
          <p:cNvPicPr>
            <a:picLocks noChangeAspect="1"/>
          </p:cNvPicPr>
          <p:nvPr/>
        </p:nvPicPr>
        <p:blipFill rotWithShape="1">
          <a:blip r:embed="rId9">
            <a:extLst>
              <a:ext uri="{28A0092B-C50C-407E-A947-70E740481C1C}">
                <a14:useLocalDpi xmlns:a14="http://schemas.microsoft.com/office/drawing/2010/main" val="0"/>
              </a:ext>
            </a:extLst>
          </a:blip>
          <a:srcRect t="29040" b="28080"/>
          <a:stretch/>
        </p:blipFill>
        <p:spPr>
          <a:xfrm>
            <a:off x="1351280" y="3327833"/>
            <a:ext cx="1899920" cy="509179"/>
          </a:xfrm>
          <a:prstGeom prst="rect">
            <a:avLst/>
          </a:prstGeom>
        </p:spPr>
      </p:pic>
      <p:grpSp>
        <p:nvGrpSpPr>
          <p:cNvPr id="19" name="Group 18"/>
          <p:cNvGrpSpPr/>
          <p:nvPr/>
        </p:nvGrpSpPr>
        <p:grpSpPr>
          <a:xfrm>
            <a:off x="9038681" y="3298294"/>
            <a:ext cx="1950030" cy="568257"/>
            <a:chOff x="-1634124" y="830881"/>
            <a:chExt cx="13980895" cy="4074160"/>
          </a:xfrm>
        </p:grpSpPr>
        <p:pic>
          <p:nvPicPr>
            <p:cNvPr id="17" name="Picture 16">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t="70253"/>
            <a:stretch/>
          </p:blipFill>
          <p:spPr>
            <a:xfrm>
              <a:off x="2950124" y="1847944"/>
              <a:ext cx="9396647" cy="2040034"/>
            </a:xfrm>
            <a:prstGeom prst="rect">
              <a:avLst/>
            </a:prstGeom>
          </p:spPr>
        </p:pic>
        <p:pic>
          <p:nvPicPr>
            <p:cNvPr id="18" name="Picture 17">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l="29852" t="-214" r="21709" b="40805"/>
            <a:stretch/>
          </p:blipFill>
          <p:spPr>
            <a:xfrm>
              <a:off x="-1634124" y="830881"/>
              <a:ext cx="4551680" cy="4074160"/>
            </a:xfrm>
            <a:prstGeom prst="rect">
              <a:avLst/>
            </a:prstGeom>
          </p:spPr>
        </p:pic>
      </p:grpSp>
      <p:sp>
        <p:nvSpPr>
          <p:cNvPr id="20" name="TextBox 19"/>
          <p:cNvSpPr txBox="1"/>
          <p:nvPr/>
        </p:nvSpPr>
        <p:spPr>
          <a:xfrm>
            <a:off x="0" y="6488668"/>
            <a:ext cx="1898661" cy="338554"/>
          </a:xfrm>
          <a:prstGeom prst="rect">
            <a:avLst/>
          </a:prstGeom>
          <a:noFill/>
        </p:spPr>
        <p:txBody>
          <a:bodyPr wrap="none" rtlCol="0">
            <a:spAutoFit/>
          </a:bodyPr>
          <a:lstStyle/>
          <a:p>
            <a:r>
              <a:rPr lang="en-US" sz="1600" dirty="0"/>
              <a:t>Source: </a:t>
            </a:r>
            <a:r>
              <a:rPr lang="en-US" sz="1600" dirty="0" err="1" smtClean="0">
                <a:hlinkClick r:id="rId12"/>
              </a:rPr>
              <a:t>Kickstarter</a:t>
            </a:r>
            <a:endParaRPr lang="en-US" sz="1600" dirty="0"/>
          </a:p>
        </p:txBody>
      </p:sp>
    </p:spTree>
    <p:extLst>
      <p:ext uri="{BB962C8B-B14F-4D97-AF65-F5344CB8AC3E}">
        <p14:creationId xmlns:p14="http://schemas.microsoft.com/office/powerpoint/2010/main" val="789909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 they communicate?</a:t>
            </a:r>
            <a:endParaRPr lang="en-US" dirty="0"/>
          </a:p>
        </p:txBody>
      </p:sp>
      <p:sp>
        <p:nvSpPr>
          <p:cNvPr id="5" name="Text Placeholder 4"/>
          <p:cNvSpPr>
            <a:spLocks noGrp="1"/>
          </p:cNvSpPr>
          <p:nvPr>
            <p:ph type="body" idx="1"/>
          </p:nvPr>
        </p:nvSpPr>
        <p:spPr/>
        <p:txBody>
          <a:bodyPr/>
          <a:lstStyle/>
          <a:p>
            <a:r>
              <a:rPr lang="en-US" dirty="0" smtClean="0"/>
              <a:t>What are the networking protocols and standards that make this work?</a:t>
            </a:r>
            <a:endParaRPr lang="en-US" dirty="0"/>
          </a:p>
        </p:txBody>
      </p:sp>
    </p:spTree>
    <p:extLst>
      <p:ext uri="{BB962C8B-B14F-4D97-AF65-F5344CB8AC3E}">
        <p14:creationId xmlns:p14="http://schemas.microsoft.com/office/powerpoint/2010/main" val="23278420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on paths</a:t>
            </a:r>
            <a:endParaRPr lang="en-US" dirty="0"/>
          </a:p>
        </p:txBody>
      </p:sp>
      <p:sp>
        <p:nvSpPr>
          <p:cNvPr id="4" name="Oval 3"/>
          <p:cNvSpPr/>
          <p:nvPr/>
        </p:nvSpPr>
        <p:spPr>
          <a:xfrm>
            <a:off x="3131820" y="2651760"/>
            <a:ext cx="2148840" cy="21488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eople</a:t>
            </a:r>
            <a:endParaRPr lang="en-US" dirty="0"/>
          </a:p>
        </p:txBody>
      </p:sp>
      <p:sp>
        <p:nvSpPr>
          <p:cNvPr id="5" name="Oval 4"/>
          <p:cNvSpPr/>
          <p:nvPr/>
        </p:nvSpPr>
        <p:spPr>
          <a:xfrm>
            <a:off x="6911340" y="2651760"/>
            <a:ext cx="2148840" cy="214884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Machines</a:t>
            </a:r>
            <a:br>
              <a:rPr lang="en-US" dirty="0" smtClean="0"/>
            </a:br>
            <a:r>
              <a:rPr lang="en-US" dirty="0" smtClean="0"/>
              <a:t>(things)</a:t>
            </a:r>
            <a:endParaRPr lang="en-US" dirty="0"/>
          </a:p>
        </p:txBody>
      </p:sp>
      <p:grpSp>
        <p:nvGrpSpPr>
          <p:cNvPr id="17" name="P2P"/>
          <p:cNvGrpSpPr/>
          <p:nvPr/>
        </p:nvGrpSpPr>
        <p:grpSpPr>
          <a:xfrm>
            <a:off x="1211101" y="4445450"/>
            <a:ext cx="3749519" cy="1508760"/>
            <a:chOff x="1211101" y="4445450"/>
            <a:chExt cx="3749519" cy="1508760"/>
          </a:xfrm>
        </p:grpSpPr>
        <p:sp>
          <p:nvSpPr>
            <p:cNvPr id="8" name="Arc 7"/>
            <p:cNvSpPr/>
            <p:nvPr/>
          </p:nvSpPr>
          <p:spPr>
            <a:xfrm>
              <a:off x="345186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P</a:t>
              </a:r>
              <a:endParaRPr lang="en-US" dirty="0"/>
            </a:p>
          </p:txBody>
        </p:sp>
        <p:sp>
          <p:nvSpPr>
            <p:cNvPr id="12" name="TextBox 11"/>
            <p:cNvSpPr txBox="1"/>
            <p:nvPr/>
          </p:nvSpPr>
          <p:spPr>
            <a:xfrm>
              <a:off x="1211101" y="4876664"/>
              <a:ext cx="1920719" cy="646331"/>
            </a:xfrm>
            <a:prstGeom prst="rect">
              <a:avLst/>
            </a:prstGeom>
            <a:noFill/>
          </p:spPr>
          <p:txBody>
            <a:bodyPr wrap="none" rtlCol="0">
              <a:spAutoFit/>
            </a:bodyPr>
            <a:lstStyle/>
            <a:p>
              <a:pPr algn="ctr"/>
              <a:r>
                <a:rPr lang="en-US" dirty="0" smtClean="0">
                  <a:latin typeface="Segoe Light" panose="020B0302040504020203" pitchFamily="34" charset="0"/>
                </a:rPr>
                <a:t>Social Networking</a:t>
              </a:r>
            </a:p>
            <a:p>
              <a:pPr algn="ctr"/>
              <a:r>
                <a:rPr lang="en-US" dirty="0" smtClean="0">
                  <a:latin typeface="Segoe Light" panose="020B0302040504020203" pitchFamily="34" charset="0"/>
                </a:rPr>
                <a:t>Email, Skype, etc. </a:t>
              </a:r>
              <a:endParaRPr lang="en-US" dirty="0">
                <a:latin typeface="Segoe Light" panose="020B0302040504020203" pitchFamily="34" charset="0"/>
              </a:endParaRPr>
            </a:p>
          </p:txBody>
        </p:sp>
      </p:grpSp>
      <p:grpSp>
        <p:nvGrpSpPr>
          <p:cNvPr id="16" name="P2M"/>
          <p:cNvGrpSpPr/>
          <p:nvPr/>
        </p:nvGrpSpPr>
        <p:grpSpPr>
          <a:xfrm>
            <a:off x="5049868" y="2005429"/>
            <a:ext cx="2061783" cy="2673733"/>
            <a:chOff x="5049868" y="2005429"/>
            <a:chExt cx="2061783" cy="2673733"/>
          </a:xfrm>
        </p:grpSpPr>
        <p:sp>
          <p:nvSpPr>
            <p:cNvPr id="11" name="Arc 10"/>
            <p:cNvSpPr/>
            <p:nvPr/>
          </p:nvSpPr>
          <p:spPr>
            <a:xfrm>
              <a:off x="5143018" y="2773198"/>
              <a:ext cx="1905964" cy="1905964"/>
            </a:xfrm>
            <a:prstGeom prst="arc">
              <a:avLst>
                <a:gd name="adj1" fmla="val 12177445"/>
                <a:gd name="adj2" fmla="val 20299251"/>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M</a:t>
              </a:r>
              <a:endParaRPr lang="en-US" dirty="0"/>
            </a:p>
          </p:txBody>
        </p:sp>
        <p:sp>
          <p:nvSpPr>
            <p:cNvPr id="13" name="TextBox 12"/>
            <p:cNvSpPr txBox="1"/>
            <p:nvPr/>
          </p:nvSpPr>
          <p:spPr>
            <a:xfrm>
              <a:off x="5049868" y="2005429"/>
              <a:ext cx="2061783" cy="646331"/>
            </a:xfrm>
            <a:prstGeom prst="rect">
              <a:avLst/>
            </a:prstGeom>
            <a:noFill/>
          </p:spPr>
          <p:txBody>
            <a:bodyPr wrap="none" rtlCol="0">
              <a:spAutoFit/>
            </a:bodyPr>
            <a:lstStyle/>
            <a:p>
              <a:pPr algn="ctr"/>
              <a:r>
                <a:rPr lang="en-US" dirty="0" smtClean="0">
                  <a:latin typeface="Segoe Light" panose="020B0302040504020203" pitchFamily="34" charset="0"/>
                </a:rPr>
                <a:t>Home automation, </a:t>
              </a:r>
            </a:p>
            <a:p>
              <a:pPr algn="ctr"/>
              <a:r>
                <a:rPr lang="en-US" dirty="0" smtClean="0">
                  <a:latin typeface="Segoe Light" panose="020B0302040504020203" pitchFamily="34" charset="0"/>
                </a:rPr>
                <a:t>Self Tracking, etc. </a:t>
              </a:r>
              <a:endParaRPr lang="en-US" dirty="0">
                <a:latin typeface="Segoe Light" panose="020B0302040504020203" pitchFamily="34" charset="0"/>
              </a:endParaRPr>
            </a:p>
          </p:txBody>
        </p:sp>
      </p:grpSp>
      <p:grpSp>
        <p:nvGrpSpPr>
          <p:cNvPr id="15" name="M2M"/>
          <p:cNvGrpSpPr/>
          <p:nvPr/>
        </p:nvGrpSpPr>
        <p:grpSpPr>
          <a:xfrm>
            <a:off x="7231380" y="4445450"/>
            <a:ext cx="3864785" cy="1508760"/>
            <a:chOff x="7231380" y="4445450"/>
            <a:chExt cx="3864785" cy="1508760"/>
          </a:xfrm>
        </p:grpSpPr>
        <p:sp>
          <p:nvSpPr>
            <p:cNvPr id="10" name="Arc 9"/>
            <p:cNvSpPr/>
            <p:nvPr/>
          </p:nvSpPr>
          <p:spPr>
            <a:xfrm>
              <a:off x="723138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M2M</a:t>
              </a:r>
              <a:endParaRPr lang="en-US" dirty="0"/>
            </a:p>
          </p:txBody>
        </p:sp>
        <p:sp>
          <p:nvSpPr>
            <p:cNvPr id="14" name="TextBox 13"/>
            <p:cNvSpPr txBox="1"/>
            <p:nvPr/>
          </p:nvSpPr>
          <p:spPr>
            <a:xfrm>
              <a:off x="9126844" y="4876664"/>
              <a:ext cx="1969321" cy="646331"/>
            </a:xfrm>
            <a:prstGeom prst="rect">
              <a:avLst/>
            </a:prstGeom>
            <a:noFill/>
          </p:spPr>
          <p:txBody>
            <a:bodyPr wrap="none" rtlCol="0">
              <a:spAutoFit/>
            </a:bodyPr>
            <a:lstStyle/>
            <a:p>
              <a:pPr algn="ctr"/>
              <a:r>
                <a:rPr lang="en-US" dirty="0" smtClean="0">
                  <a:latin typeface="Segoe Light" panose="020B0302040504020203" pitchFamily="34" charset="0"/>
                </a:rPr>
                <a:t>Smart Grid, </a:t>
              </a:r>
              <a:br>
                <a:rPr lang="en-US" dirty="0" smtClean="0">
                  <a:latin typeface="Segoe Light" panose="020B0302040504020203" pitchFamily="34" charset="0"/>
                </a:rPr>
              </a:br>
              <a:r>
                <a:rPr lang="en-US" dirty="0" smtClean="0">
                  <a:latin typeface="Segoe Light" panose="020B0302040504020203" pitchFamily="34" charset="0"/>
                </a:rPr>
                <a:t>Smart Home, etc…</a:t>
              </a:r>
              <a:endParaRPr lang="en-US" dirty="0">
                <a:latin typeface="Segoe Light" panose="020B0302040504020203" pitchFamily="34" charset="0"/>
              </a:endParaRPr>
            </a:p>
          </p:txBody>
        </p:sp>
      </p:grpSp>
    </p:spTree>
    <p:extLst>
      <p:ext uri="{BB962C8B-B14F-4D97-AF65-F5344CB8AC3E}">
        <p14:creationId xmlns:p14="http://schemas.microsoft.com/office/powerpoint/2010/main" val="112079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4 (32bit) address space</a:t>
            </a:r>
            <a:endParaRPr lang="en-US" dirty="0"/>
          </a:p>
        </p:txBody>
      </p:sp>
      <p:sp>
        <p:nvSpPr>
          <p:cNvPr id="5" name="TextBox 4"/>
          <p:cNvSpPr txBox="1"/>
          <p:nvPr/>
        </p:nvSpPr>
        <p:spPr>
          <a:xfrm>
            <a:off x="3566160" y="2804160"/>
            <a:ext cx="5029200" cy="1569660"/>
          </a:xfrm>
          <a:prstGeom prst="rect">
            <a:avLst/>
          </a:prstGeom>
          <a:noFill/>
        </p:spPr>
        <p:txBody>
          <a:bodyPr wrap="square" rtlCol="0">
            <a:spAutoFit/>
          </a:bodyPr>
          <a:lstStyle/>
          <a:p>
            <a:pPr algn="ctr"/>
            <a:r>
              <a:rPr lang="en-US" sz="3200" dirty="0" smtClean="0">
                <a:latin typeface="+mj-lt"/>
              </a:rPr>
              <a:t>4,294,967,295</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4.3 Billion Addresses</a:t>
            </a:r>
          </a:p>
        </p:txBody>
      </p:sp>
    </p:spTree>
    <p:extLst>
      <p:ext uri="{BB962C8B-B14F-4D97-AF65-F5344CB8AC3E}">
        <p14:creationId xmlns:p14="http://schemas.microsoft.com/office/powerpoint/2010/main" val="1663005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6 (128bit) address space</a:t>
            </a:r>
            <a:endParaRPr lang="en-US" dirty="0"/>
          </a:p>
        </p:txBody>
      </p:sp>
      <p:sp>
        <p:nvSpPr>
          <p:cNvPr id="5" name="TextBox 4"/>
          <p:cNvSpPr txBox="1"/>
          <p:nvPr/>
        </p:nvSpPr>
        <p:spPr>
          <a:xfrm>
            <a:off x="121920" y="2804160"/>
            <a:ext cx="11917680" cy="1569660"/>
          </a:xfrm>
          <a:prstGeom prst="rect">
            <a:avLst/>
          </a:prstGeom>
          <a:noFill/>
        </p:spPr>
        <p:txBody>
          <a:bodyPr wrap="square" rtlCol="0">
            <a:spAutoFit/>
          </a:bodyPr>
          <a:lstStyle/>
          <a:p>
            <a:pPr algn="ctr"/>
            <a:r>
              <a:rPr lang="en-US" sz="3200" dirty="0" smtClean="0">
                <a:latin typeface="+mj-lt"/>
              </a:rPr>
              <a:t>340,282,366,920,938,463,463,374,607,431,768,211,456</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340.3 </a:t>
            </a:r>
            <a:r>
              <a:rPr lang="en-US" sz="3200" dirty="0" err="1" smtClean="0">
                <a:latin typeface="+mj-lt"/>
              </a:rPr>
              <a:t>Undecillion</a:t>
            </a:r>
            <a:r>
              <a:rPr lang="en-US" sz="3200" dirty="0" smtClean="0">
                <a:latin typeface="+mj-lt"/>
              </a:rPr>
              <a:t> Addresses</a:t>
            </a:r>
          </a:p>
        </p:txBody>
      </p:sp>
      <p:grpSp>
        <p:nvGrpSpPr>
          <p:cNvPr id="28" name="Number Names"/>
          <p:cNvGrpSpPr/>
          <p:nvPr/>
        </p:nvGrpSpPr>
        <p:grpSpPr>
          <a:xfrm>
            <a:off x="643413" y="2565633"/>
            <a:ext cx="10931296" cy="184666"/>
            <a:chOff x="643413" y="2565633"/>
            <a:chExt cx="10931296" cy="184666"/>
          </a:xfrm>
        </p:grpSpPr>
        <p:sp>
          <p:nvSpPr>
            <p:cNvPr id="7" name="TextBox 6"/>
            <p:cNvSpPr txBox="1"/>
            <p:nvPr/>
          </p:nvSpPr>
          <p:spPr>
            <a:xfrm>
              <a:off x="107492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Hundred</a:t>
              </a:r>
            </a:p>
          </p:txBody>
        </p:sp>
        <p:sp>
          <p:nvSpPr>
            <p:cNvPr id="12" name="TextBox 11"/>
            <p:cNvSpPr txBox="1"/>
            <p:nvPr/>
          </p:nvSpPr>
          <p:spPr>
            <a:xfrm>
              <a:off x="990712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housand</a:t>
              </a:r>
            </a:p>
          </p:txBody>
        </p:sp>
        <p:sp>
          <p:nvSpPr>
            <p:cNvPr id="13" name="TextBox 12"/>
            <p:cNvSpPr txBox="1"/>
            <p:nvPr/>
          </p:nvSpPr>
          <p:spPr>
            <a:xfrm>
              <a:off x="906497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Million</a:t>
              </a:r>
            </a:p>
          </p:txBody>
        </p:sp>
        <p:sp>
          <p:nvSpPr>
            <p:cNvPr id="14" name="TextBox 13"/>
            <p:cNvSpPr txBox="1"/>
            <p:nvPr/>
          </p:nvSpPr>
          <p:spPr>
            <a:xfrm>
              <a:off x="822281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Billion</a:t>
              </a:r>
            </a:p>
          </p:txBody>
        </p:sp>
        <p:sp>
          <p:nvSpPr>
            <p:cNvPr id="15" name="TextBox 14"/>
            <p:cNvSpPr txBox="1"/>
            <p:nvPr/>
          </p:nvSpPr>
          <p:spPr>
            <a:xfrm>
              <a:off x="738066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rillion</a:t>
              </a:r>
            </a:p>
          </p:txBody>
        </p:sp>
        <p:sp>
          <p:nvSpPr>
            <p:cNvPr id="16" name="TextBox 15"/>
            <p:cNvSpPr txBox="1"/>
            <p:nvPr/>
          </p:nvSpPr>
          <p:spPr>
            <a:xfrm>
              <a:off x="653850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adrillion</a:t>
              </a:r>
            </a:p>
          </p:txBody>
        </p:sp>
        <p:sp>
          <p:nvSpPr>
            <p:cNvPr id="17" name="TextBox 16"/>
            <p:cNvSpPr txBox="1"/>
            <p:nvPr/>
          </p:nvSpPr>
          <p:spPr>
            <a:xfrm>
              <a:off x="569634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intillion</a:t>
              </a:r>
            </a:p>
          </p:txBody>
        </p:sp>
        <p:sp>
          <p:nvSpPr>
            <p:cNvPr id="18" name="TextBox 17"/>
            <p:cNvSpPr txBox="1"/>
            <p:nvPr/>
          </p:nvSpPr>
          <p:spPr>
            <a:xfrm>
              <a:off x="485419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xtillion</a:t>
              </a:r>
            </a:p>
          </p:txBody>
        </p:sp>
        <p:sp>
          <p:nvSpPr>
            <p:cNvPr id="19" name="TextBox 18"/>
            <p:cNvSpPr txBox="1"/>
            <p:nvPr/>
          </p:nvSpPr>
          <p:spPr>
            <a:xfrm>
              <a:off x="401203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ptillion</a:t>
              </a:r>
            </a:p>
          </p:txBody>
        </p:sp>
        <p:sp>
          <p:nvSpPr>
            <p:cNvPr id="20" name="TextBox 19"/>
            <p:cNvSpPr txBox="1"/>
            <p:nvPr/>
          </p:nvSpPr>
          <p:spPr>
            <a:xfrm>
              <a:off x="31698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Octillion</a:t>
              </a:r>
            </a:p>
          </p:txBody>
        </p:sp>
        <p:sp>
          <p:nvSpPr>
            <p:cNvPr id="21" name="TextBox 20"/>
            <p:cNvSpPr txBox="1"/>
            <p:nvPr/>
          </p:nvSpPr>
          <p:spPr>
            <a:xfrm>
              <a:off x="232772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Nonillion</a:t>
              </a:r>
            </a:p>
          </p:txBody>
        </p:sp>
        <p:sp>
          <p:nvSpPr>
            <p:cNvPr id="22" name="TextBox 21"/>
            <p:cNvSpPr txBox="1"/>
            <p:nvPr/>
          </p:nvSpPr>
          <p:spPr>
            <a:xfrm>
              <a:off x="1485569"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Decillion</a:t>
              </a:r>
              <a:endParaRPr lang="en-US" sz="1200" dirty="0" smtClean="0">
                <a:latin typeface="Segoe Light" panose="020B0302040504020203" pitchFamily="34" charset="0"/>
              </a:endParaRPr>
            </a:p>
          </p:txBody>
        </p:sp>
        <p:sp>
          <p:nvSpPr>
            <p:cNvPr id="23" name="TextBox 22"/>
            <p:cNvSpPr txBox="1"/>
            <p:nvPr/>
          </p:nvSpPr>
          <p:spPr>
            <a:xfrm>
              <a:off x="643413"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Undecillion</a:t>
              </a:r>
              <a:endParaRPr lang="en-US" sz="1200" dirty="0" smtClean="0">
                <a:latin typeface="Segoe Light" panose="020B0302040504020203" pitchFamily="34" charset="0"/>
              </a:endParaRPr>
            </a:p>
          </p:txBody>
        </p:sp>
      </p:grpSp>
      <p:grpSp>
        <p:nvGrpSpPr>
          <p:cNvPr id="30" name="Group 29"/>
          <p:cNvGrpSpPr/>
          <p:nvPr/>
        </p:nvGrpSpPr>
        <p:grpSpPr>
          <a:xfrm>
            <a:off x="1861781" y="1706960"/>
            <a:ext cx="5920779" cy="822880"/>
            <a:chOff x="1861781" y="1706960"/>
            <a:chExt cx="5920779" cy="822880"/>
          </a:xfrm>
        </p:grpSpPr>
        <p:sp>
          <p:nvSpPr>
            <p:cNvPr id="24" name="TextBox 23"/>
            <p:cNvSpPr txBox="1"/>
            <p:nvPr/>
          </p:nvSpPr>
          <p:spPr>
            <a:xfrm>
              <a:off x="1861781" y="1706960"/>
              <a:ext cx="5471947" cy="369332"/>
            </a:xfrm>
            <a:prstGeom prst="rect">
              <a:avLst/>
            </a:prstGeom>
            <a:noFill/>
          </p:spPr>
          <p:txBody>
            <a:bodyPr wrap="none" rtlCol="0">
              <a:spAutoFit/>
            </a:bodyPr>
            <a:lstStyle/>
            <a:p>
              <a:r>
                <a:rPr lang="en-US" dirty="0" smtClean="0">
                  <a:latin typeface="Segoe Light" panose="020B0302040504020203" pitchFamily="34" charset="0"/>
                </a:rPr>
                <a:t>Remember, we’re </a:t>
              </a:r>
              <a:r>
                <a:rPr lang="en-US" b="1" i="1" dirty="0" smtClean="0">
                  <a:latin typeface="Segoe Light" panose="020B0302040504020203" pitchFamily="34" charset="0"/>
                </a:rPr>
                <a:t>only</a:t>
              </a:r>
              <a:r>
                <a:rPr lang="en-US" dirty="0" smtClean="0">
                  <a:latin typeface="Segoe Light" panose="020B0302040504020203" pitchFamily="34" charset="0"/>
                </a:rPr>
                <a:t> talking about trillions of devices!</a:t>
              </a:r>
              <a:endParaRPr lang="en-US" dirty="0">
                <a:latin typeface="Segoe Light" panose="020B0302040504020203" pitchFamily="34" charset="0"/>
              </a:endParaRPr>
            </a:p>
          </p:txBody>
        </p:sp>
        <p:sp>
          <p:nvSpPr>
            <p:cNvPr id="26" name="Freeform 25"/>
            <p:cNvSpPr/>
            <p:nvPr/>
          </p:nvSpPr>
          <p:spPr>
            <a:xfrm>
              <a:off x="7548880"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p:cNvGrpSpPr/>
          <p:nvPr/>
        </p:nvGrpSpPr>
        <p:grpSpPr>
          <a:xfrm>
            <a:off x="8624902" y="1729309"/>
            <a:ext cx="2563357" cy="800531"/>
            <a:chOff x="8624902" y="1729309"/>
            <a:chExt cx="2563357" cy="800531"/>
          </a:xfrm>
        </p:grpSpPr>
        <p:sp>
          <p:nvSpPr>
            <p:cNvPr id="25" name="TextBox 24"/>
            <p:cNvSpPr txBox="1"/>
            <p:nvPr/>
          </p:nvSpPr>
          <p:spPr>
            <a:xfrm>
              <a:off x="8858582" y="1729309"/>
              <a:ext cx="2329677" cy="369332"/>
            </a:xfrm>
            <a:prstGeom prst="rect">
              <a:avLst/>
            </a:prstGeom>
            <a:noFill/>
          </p:spPr>
          <p:txBody>
            <a:bodyPr wrap="none" rtlCol="0">
              <a:spAutoFit/>
            </a:bodyPr>
            <a:lstStyle/>
            <a:p>
              <a:r>
                <a:rPr lang="en-US" dirty="0">
                  <a:latin typeface="Segoe Light" panose="020B0302040504020203" pitchFamily="34" charset="0"/>
                </a:rPr>
                <a:t>a</a:t>
              </a:r>
              <a:r>
                <a:rPr lang="en-US" dirty="0" smtClean="0">
                  <a:latin typeface="Segoe Light" panose="020B0302040504020203" pitchFamily="34" charset="0"/>
                </a:rPr>
                <a:t>nd billions of people!</a:t>
              </a:r>
              <a:endParaRPr lang="en-US" dirty="0">
                <a:latin typeface="Segoe Light" panose="020B0302040504020203" pitchFamily="34" charset="0"/>
              </a:endParaRPr>
            </a:p>
          </p:txBody>
        </p:sp>
        <p:sp>
          <p:nvSpPr>
            <p:cNvPr id="27" name="Freeform 26"/>
            <p:cNvSpPr/>
            <p:nvPr/>
          </p:nvSpPr>
          <p:spPr>
            <a:xfrm flipH="1">
              <a:off x="8624902"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2926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959" y="349885"/>
            <a:ext cx="11031583" cy="1325563"/>
          </a:xfrm>
        </p:spPr>
        <p:txBody>
          <a:bodyPr>
            <a:normAutofit/>
          </a:bodyPr>
          <a:lstStyle/>
          <a:p>
            <a:r>
              <a:rPr lang="en-US" dirty="0" smtClean="0"/>
              <a:t>wireless, SWARMS, and CLOUDS</a:t>
            </a:r>
            <a:endParaRPr lang="en-US" dirty="0"/>
          </a:p>
        </p:txBody>
      </p:sp>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b="13166"/>
          <a:stretch/>
        </p:blipFill>
        <p:spPr>
          <a:xfrm>
            <a:off x="1054081" y="1535474"/>
            <a:ext cx="765602" cy="1085781"/>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2959" y="2769965"/>
            <a:ext cx="1227846" cy="1085781"/>
          </a:xfrm>
          <a:prstGeom prst="rect">
            <a:avLst/>
          </a:prstGeom>
        </p:spPr>
      </p:pic>
      <p:grpSp>
        <p:nvGrpSpPr>
          <p:cNvPr id="13" name="Group 12"/>
          <p:cNvGrpSpPr/>
          <p:nvPr/>
        </p:nvGrpSpPr>
        <p:grpSpPr>
          <a:xfrm>
            <a:off x="1041027" y="4004456"/>
            <a:ext cx="791710" cy="1052144"/>
            <a:chOff x="5169909" y="1934255"/>
            <a:chExt cx="1377848" cy="1831093"/>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9909" y="1934255"/>
              <a:ext cx="1377848" cy="1171171"/>
            </a:xfrm>
            <a:prstGeom prst="rect">
              <a:avLst/>
            </a:prstGeom>
          </p:spPr>
        </p:pic>
        <p:sp>
          <p:nvSpPr>
            <p:cNvPr id="12" name="Freeform 11"/>
            <p:cNvSpPr/>
            <p:nvPr/>
          </p:nvSpPr>
          <p:spPr>
            <a:xfrm>
              <a:off x="5300221" y="3399793"/>
              <a:ext cx="893703" cy="365555"/>
            </a:xfrm>
            <a:custGeom>
              <a:avLst/>
              <a:gdLst/>
              <a:ahLst/>
              <a:cxnLst/>
              <a:rect l="l" t="t" r="r" b="b"/>
              <a:pathLst>
                <a:path w="893703" h="365555">
                  <a:moveTo>
                    <a:pt x="390525" y="5916"/>
                  </a:moveTo>
                  <a:lnTo>
                    <a:pt x="581806" y="5916"/>
                  </a:lnTo>
                  <a:lnTo>
                    <a:pt x="581806" y="56448"/>
                  </a:lnTo>
                  <a:lnTo>
                    <a:pt x="449191" y="56448"/>
                  </a:lnTo>
                  <a:lnTo>
                    <a:pt x="449191" y="160962"/>
                  </a:lnTo>
                  <a:lnTo>
                    <a:pt x="571946" y="160962"/>
                  </a:lnTo>
                  <a:lnTo>
                    <a:pt x="571946" y="211494"/>
                  </a:lnTo>
                  <a:lnTo>
                    <a:pt x="449191" y="211494"/>
                  </a:lnTo>
                  <a:lnTo>
                    <a:pt x="449191" y="359392"/>
                  </a:lnTo>
                  <a:lnTo>
                    <a:pt x="390525" y="359392"/>
                  </a:lnTo>
                  <a:close/>
                  <a:moveTo>
                    <a:pt x="0" y="5916"/>
                  </a:moveTo>
                  <a:lnTo>
                    <a:pt x="74195" y="5916"/>
                  </a:lnTo>
                  <a:lnTo>
                    <a:pt x="230227" y="261533"/>
                  </a:lnTo>
                  <a:cubicBezTo>
                    <a:pt x="231213" y="263176"/>
                    <a:pt x="232405" y="265107"/>
                    <a:pt x="233802" y="267326"/>
                  </a:cubicBezTo>
                  <a:cubicBezTo>
                    <a:pt x="235198" y="269544"/>
                    <a:pt x="236595" y="271845"/>
                    <a:pt x="237992" y="274228"/>
                  </a:cubicBezTo>
                  <a:cubicBezTo>
                    <a:pt x="239389" y="276610"/>
                    <a:pt x="240704" y="278911"/>
                    <a:pt x="241936" y="281129"/>
                  </a:cubicBezTo>
                  <a:cubicBezTo>
                    <a:pt x="243169" y="283348"/>
                    <a:pt x="244196" y="285197"/>
                    <a:pt x="245017" y="286676"/>
                  </a:cubicBezTo>
                  <a:lnTo>
                    <a:pt x="246003" y="286676"/>
                  </a:lnTo>
                  <a:cubicBezTo>
                    <a:pt x="245675" y="284868"/>
                    <a:pt x="245346" y="281294"/>
                    <a:pt x="245017" y="275953"/>
                  </a:cubicBezTo>
                  <a:cubicBezTo>
                    <a:pt x="244689" y="270612"/>
                    <a:pt x="244401" y="264861"/>
                    <a:pt x="244154" y="258698"/>
                  </a:cubicBezTo>
                  <a:cubicBezTo>
                    <a:pt x="243908" y="252536"/>
                    <a:pt x="243703" y="246702"/>
                    <a:pt x="243538" y="241197"/>
                  </a:cubicBezTo>
                  <a:cubicBezTo>
                    <a:pt x="243374" y="235692"/>
                    <a:pt x="243292" y="231871"/>
                    <a:pt x="243292" y="229735"/>
                  </a:cubicBezTo>
                  <a:lnTo>
                    <a:pt x="243292" y="5916"/>
                  </a:lnTo>
                  <a:lnTo>
                    <a:pt x="300972" y="5916"/>
                  </a:lnTo>
                  <a:lnTo>
                    <a:pt x="300972" y="359392"/>
                  </a:lnTo>
                  <a:lnTo>
                    <a:pt x="230720" y="359392"/>
                  </a:lnTo>
                  <a:lnTo>
                    <a:pt x="68772" y="97859"/>
                  </a:lnTo>
                  <a:cubicBezTo>
                    <a:pt x="67622" y="96216"/>
                    <a:pt x="66389" y="94326"/>
                    <a:pt x="65075" y="92190"/>
                  </a:cubicBezTo>
                  <a:cubicBezTo>
                    <a:pt x="63760" y="90054"/>
                    <a:pt x="62528" y="87876"/>
                    <a:pt x="61377" y="85658"/>
                  </a:cubicBezTo>
                  <a:cubicBezTo>
                    <a:pt x="60227" y="83439"/>
                    <a:pt x="59200" y="81262"/>
                    <a:pt x="58296" y="79126"/>
                  </a:cubicBezTo>
                  <a:cubicBezTo>
                    <a:pt x="57392" y="76989"/>
                    <a:pt x="56694" y="75182"/>
                    <a:pt x="56201" y="73703"/>
                  </a:cubicBezTo>
                  <a:lnTo>
                    <a:pt x="54475" y="73703"/>
                  </a:lnTo>
                  <a:cubicBezTo>
                    <a:pt x="54968" y="75675"/>
                    <a:pt x="55379" y="79290"/>
                    <a:pt x="55708" y="84548"/>
                  </a:cubicBezTo>
                  <a:cubicBezTo>
                    <a:pt x="56037" y="89807"/>
                    <a:pt x="56365" y="95394"/>
                    <a:pt x="56694" y="101310"/>
                  </a:cubicBezTo>
                  <a:cubicBezTo>
                    <a:pt x="57023" y="107226"/>
                    <a:pt x="57269" y="112854"/>
                    <a:pt x="57433" y="118195"/>
                  </a:cubicBezTo>
                  <a:cubicBezTo>
                    <a:pt x="57598" y="123536"/>
                    <a:pt x="57680" y="127357"/>
                    <a:pt x="57680" y="129657"/>
                  </a:cubicBezTo>
                  <a:lnTo>
                    <a:pt x="57680" y="359392"/>
                  </a:lnTo>
                  <a:lnTo>
                    <a:pt x="0" y="359392"/>
                  </a:lnTo>
                  <a:close/>
                  <a:moveTo>
                    <a:pt x="807676" y="0"/>
                  </a:moveTo>
                  <a:cubicBezTo>
                    <a:pt x="815892" y="0"/>
                    <a:pt x="824109" y="370"/>
                    <a:pt x="832326" y="1109"/>
                  </a:cubicBezTo>
                  <a:cubicBezTo>
                    <a:pt x="840542" y="1849"/>
                    <a:pt x="848389" y="2835"/>
                    <a:pt x="855866" y="4067"/>
                  </a:cubicBezTo>
                  <a:cubicBezTo>
                    <a:pt x="863343" y="5300"/>
                    <a:pt x="870368" y="6820"/>
                    <a:pt x="876941" y="8627"/>
                  </a:cubicBezTo>
                  <a:cubicBezTo>
                    <a:pt x="883515" y="10435"/>
                    <a:pt x="889102" y="12407"/>
                    <a:pt x="893703" y="14543"/>
                  </a:cubicBezTo>
                  <a:lnTo>
                    <a:pt x="893703" y="74196"/>
                  </a:lnTo>
                  <a:cubicBezTo>
                    <a:pt x="881707" y="67129"/>
                    <a:pt x="868478" y="61665"/>
                    <a:pt x="854017" y="57804"/>
                  </a:cubicBezTo>
                  <a:cubicBezTo>
                    <a:pt x="839556" y="53942"/>
                    <a:pt x="824684" y="52011"/>
                    <a:pt x="809401" y="52011"/>
                  </a:cubicBezTo>
                  <a:cubicBezTo>
                    <a:pt x="791982" y="52011"/>
                    <a:pt x="775713" y="54969"/>
                    <a:pt x="760595" y="60885"/>
                  </a:cubicBezTo>
                  <a:cubicBezTo>
                    <a:pt x="745477" y="66801"/>
                    <a:pt x="732330" y="75428"/>
                    <a:pt x="721156" y="86767"/>
                  </a:cubicBezTo>
                  <a:cubicBezTo>
                    <a:pt x="709981" y="98106"/>
                    <a:pt x="701189" y="112115"/>
                    <a:pt x="694780" y="128795"/>
                  </a:cubicBezTo>
                  <a:cubicBezTo>
                    <a:pt x="688372" y="145474"/>
                    <a:pt x="685167" y="164660"/>
                    <a:pt x="685167" y="186352"/>
                  </a:cubicBezTo>
                  <a:cubicBezTo>
                    <a:pt x="685167" y="206071"/>
                    <a:pt x="687961" y="223778"/>
                    <a:pt x="693548" y="239472"/>
                  </a:cubicBezTo>
                  <a:cubicBezTo>
                    <a:pt x="699135" y="255165"/>
                    <a:pt x="707064" y="268476"/>
                    <a:pt x="717335" y="279404"/>
                  </a:cubicBezTo>
                  <a:cubicBezTo>
                    <a:pt x="727606" y="290332"/>
                    <a:pt x="739971" y="298754"/>
                    <a:pt x="754433" y="304670"/>
                  </a:cubicBezTo>
                  <a:cubicBezTo>
                    <a:pt x="768894" y="310586"/>
                    <a:pt x="784998" y="313544"/>
                    <a:pt x="802746" y="313544"/>
                  </a:cubicBezTo>
                  <a:cubicBezTo>
                    <a:pt x="820001" y="313544"/>
                    <a:pt x="836228" y="311449"/>
                    <a:pt x="851429" y="307258"/>
                  </a:cubicBezTo>
                  <a:cubicBezTo>
                    <a:pt x="866630" y="303068"/>
                    <a:pt x="880721" y="296864"/>
                    <a:pt x="893703" y="288648"/>
                  </a:cubicBezTo>
                  <a:lnTo>
                    <a:pt x="893703" y="344356"/>
                  </a:lnTo>
                  <a:cubicBezTo>
                    <a:pt x="887623" y="347642"/>
                    <a:pt x="880680" y="350600"/>
                    <a:pt x="872874" y="353230"/>
                  </a:cubicBezTo>
                  <a:cubicBezTo>
                    <a:pt x="865069" y="355859"/>
                    <a:pt x="856811" y="358078"/>
                    <a:pt x="848101" y="359885"/>
                  </a:cubicBezTo>
                  <a:cubicBezTo>
                    <a:pt x="839392" y="361693"/>
                    <a:pt x="830354" y="363090"/>
                    <a:pt x="820987" y="364076"/>
                  </a:cubicBezTo>
                  <a:cubicBezTo>
                    <a:pt x="811620" y="365062"/>
                    <a:pt x="802335" y="365555"/>
                    <a:pt x="793133" y="365555"/>
                  </a:cubicBezTo>
                  <a:cubicBezTo>
                    <a:pt x="766018" y="365555"/>
                    <a:pt x="741943" y="361159"/>
                    <a:pt x="720909" y="352367"/>
                  </a:cubicBezTo>
                  <a:cubicBezTo>
                    <a:pt x="699875" y="343575"/>
                    <a:pt x="682127" y="331374"/>
                    <a:pt x="667666" y="315762"/>
                  </a:cubicBezTo>
                  <a:cubicBezTo>
                    <a:pt x="653205" y="300151"/>
                    <a:pt x="642236" y="281581"/>
                    <a:pt x="634759" y="260054"/>
                  </a:cubicBezTo>
                  <a:cubicBezTo>
                    <a:pt x="627281" y="238527"/>
                    <a:pt x="623543" y="215109"/>
                    <a:pt x="623543" y="189802"/>
                  </a:cubicBezTo>
                  <a:cubicBezTo>
                    <a:pt x="623543" y="160716"/>
                    <a:pt x="628309" y="134464"/>
                    <a:pt x="637840" y="111047"/>
                  </a:cubicBezTo>
                  <a:cubicBezTo>
                    <a:pt x="647371" y="87630"/>
                    <a:pt x="660394" y="67704"/>
                    <a:pt x="676909" y="51271"/>
                  </a:cubicBezTo>
                  <a:cubicBezTo>
                    <a:pt x="693425" y="34838"/>
                    <a:pt x="712898" y="22185"/>
                    <a:pt x="735329" y="13311"/>
                  </a:cubicBezTo>
                  <a:cubicBezTo>
                    <a:pt x="757760" y="4437"/>
                    <a:pt x="781876" y="0"/>
                    <a:pt x="80767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Oval 14"/>
          <p:cNvSpPr/>
          <p:nvPr/>
        </p:nvSpPr>
        <p:spPr>
          <a:xfrm>
            <a:off x="4657463" y="4600952"/>
            <a:ext cx="4060339" cy="166407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424493" y="5109722"/>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6734227" y="4359780"/>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8484832" y="5348238"/>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6050848" y="603205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stCxn id="16" idx="6"/>
            <a:endCxn id="17" idx="4"/>
          </p:cNvCxnSpPr>
          <p:nvPr/>
        </p:nvCxnSpPr>
        <p:spPr>
          <a:xfrm flipV="1">
            <a:off x="4890434" y="4825720"/>
            <a:ext cx="2076764" cy="51697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8" idx="2"/>
          </p:cNvCxnSpPr>
          <p:nvPr/>
        </p:nvCxnSpPr>
        <p:spPr>
          <a:xfrm>
            <a:off x="6967197" y="4825720"/>
            <a:ext cx="1517635" cy="75548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8" idx="2"/>
            <a:endCxn id="19" idx="0"/>
          </p:cNvCxnSpPr>
          <p:nvPr/>
        </p:nvCxnSpPr>
        <p:spPr>
          <a:xfrm flipH="1">
            <a:off x="6283819" y="5581208"/>
            <a:ext cx="2201013" cy="45084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9" idx="0"/>
            <a:endCxn id="16" idx="6"/>
          </p:cNvCxnSpPr>
          <p:nvPr/>
        </p:nvCxnSpPr>
        <p:spPr>
          <a:xfrm flipH="1" flipV="1">
            <a:off x="4890434" y="5342692"/>
            <a:ext cx="1393384" cy="68936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7" idx="4"/>
            <a:endCxn id="19" idx="0"/>
          </p:cNvCxnSpPr>
          <p:nvPr/>
        </p:nvCxnSpPr>
        <p:spPr>
          <a:xfrm flipH="1">
            <a:off x="6283818" y="4825720"/>
            <a:ext cx="683379" cy="120633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33" idx="6"/>
            <a:endCxn id="18" idx="2"/>
          </p:cNvCxnSpPr>
          <p:nvPr/>
        </p:nvCxnSpPr>
        <p:spPr>
          <a:xfrm>
            <a:off x="6874010" y="5396734"/>
            <a:ext cx="1610822" cy="18447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6408069" y="516376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p:cNvGrpSpPr/>
          <p:nvPr/>
        </p:nvGrpSpPr>
        <p:grpSpPr>
          <a:xfrm>
            <a:off x="8810989" y="4098202"/>
            <a:ext cx="1855193" cy="876393"/>
            <a:chOff x="4261757" y="3506619"/>
            <a:chExt cx="2220686" cy="1049052"/>
          </a:xfrm>
        </p:grpSpPr>
        <p:sp>
          <p:nvSpPr>
            <p:cNvPr id="36" name="Oval 35"/>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stCxn id="37" idx="6"/>
              <a:endCxn id="38"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endCxn id="39"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9" idx="2"/>
              <a:endCxn id="40"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40" idx="0"/>
              <a:endCxn id="37"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38" idx="4"/>
              <a:endCxn id="40"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39"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1" name="Straight Connector 50"/>
          <p:cNvCxnSpPr>
            <a:stCxn id="16" idx="6"/>
            <a:endCxn id="33" idx="2"/>
          </p:cNvCxnSpPr>
          <p:nvPr/>
        </p:nvCxnSpPr>
        <p:spPr>
          <a:xfrm>
            <a:off x="4890434" y="5342692"/>
            <a:ext cx="1517635" cy="5404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7266239" y="3369795"/>
            <a:ext cx="1855193" cy="876393"/>
            <a:chOff x="4261757" y="3506619"/>
            <a:chExt cx="2220686" cy="1049052"/>
          </a:xfrm>
        </p:grpSpPr>
        <p:sp>
          <p:nvSpPr>
            <p:cNvPr id="55" name="Oval 54"/>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p:cNvCxnSpPr>
              <a:stCxn id="56" idx="6"/>
              <a:endCxn id="57"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8"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58" idx="2"/>
              <a:endCxn id="59"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59" idx="0"/>
              <a:endCxn id="56"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7" idx="4"/>
              <a:endCxn id="59"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58"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p:cNvGrpSpPr/>
          <p:nvPr/>
        </p:nvGrpSpPr>
        <p:grpSpPr>
          <a:xfrm>
            <a:off x="4864492" y="3277400"/>
            <a:ext cx="1855193" cy="876393"/>
            <a:chOff x="4261757" y="3506619"/>
            <a:chExt cx="2220686" cy="1049052"/>
          </a:xfrm>
        </p:grpSpPr>
        <p:sp>
          <p:nvSpPr>
            <p:cNvPr id="68" name="Oval 67"/>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Straight Connector 72"/>
            <p:cNvCxnSpPr>
              <a:stCxn id="69" idx="6"/>
              <a:endCxn id="70"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endCxn id="71"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2"/>
              <a:endCxn id="72"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72" idx="0"/>
              <a:endCxn id="69"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70" idx="4"/>
              <a:endCxn id="72"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71"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p:cNvGrpSpPr/>
          <p:nvPr/>
        </p:nvGrpSpPr>
        <p:grpSpPr>
          <a:xfrm>
            <a:off x="2737982" y="4002714"/>
            <a:ext cx="1855193" cy="876393"/>
            <a:chOff x="4261757" y="3506619"/>
            <a:chExt cx="2220686" cy="1049052"/>
          </a:xfrm>
        </p:grpSpPr>
        <p:sp>
          <p:nvSpPr>
            <p:cNvPr id="81" name="Oval 80"/>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Connector 85"/>
            <p:cNvCxnSpPr>
              <a:stCxn id="82" idx="6"/>
              <a:endCxn id="83"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4"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2"/>
              <a:endCxn id="85"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5" idx="0"/>
              <a:endCxn id="82"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3" idx="4"/>
              <a:endCxn id="85"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84"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2" name="TextBox 131"/>
          <p:cNvSpPr txBox="1"/>
          <p:nvPr/>
        </p:nvSpPr>
        <p:spPr>
          <a:xfrm>
            <a:off x="55517" y="6466706"/>
            <a:ext cx="10718512" cy="369332"/>
          </a:xfrm>
          <a:prstGeom prst="rect">
            <a:avLst/>
          </a:prstGeom>
          <a:noFill/>
        </p:spPr>
        <p:txBody>
          <a:bodyPr wrap="none" rtlCol="0">
            <a:spAutoFit/>
          </a:bodyPr>
          <a:lstStyle/>
          <a:p>
            <a:r>
              <a:rPr lang="en-US" dirty="0" smtClean="0"/>
              <a:t>Want to know more? </a:t>
            </a:r>
            <a:r>
              <a:rPr lang="en-US" dirty="0"/>
              <a:t>Check </a:t>
            </a:r>
            <a:r>
              <a:rPr lang="en-US" dirty="0" smtClean="0"/>
              <a:t>out Cisco’s </a:t>
            </a:r>
            <a:r>
              <a:rPr lang="en-US" dirty="0" err="1" smtClean="0"/>
              <a:t>Flavio</a:t>
            </a:r>
            <a:r>
              <a:rPr lang="en-US" dirty="0" smtClean="0"/>
              <a:t> </a:t>
            </a:r>
            <a:r>
              <a:rPr lang="en-US" dirty="0" err="1" smtClean="0"/>
              <a:t>Bonomi’s</a:t>
            </a:r>
            <a:r>
              <a:rPr lang="en-US" dirty="0" smtClean="0"/>
              <a:t> “</a:t>
            </a:r>
            <a:r>
              <a:rPr lang="en-US" dirty="0" smtClean="0">
                <a:hlinkClick r:id="rId6"/>
              </a:rPr>
              <a:t>Emerging Trends in Wireless in the Era of </a:t>
            </a:r>
            <a:r>
              <a:rPr lang="en-US" dirty="0" err="1" smtClean="0">
                <a:hlinkClick r:id="rId6"/>
              </a:rPr>
              <a:t>IoT</a:t>
            </a:r>
            <a:r>
              <a:rPr lang="en-US" dirty="0" smtClean="0"/>
              <a:t>”</a:t>
            </a:r>
            <a:endParaRPr lang="en-US"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4133" y="5355012"/>
            <a:ext cx="1205498" cy="880013"/>
          </a:xfrm>
          <a:prstGeom prst="rect">
            <a:avLst/>
          </a:prstGeom>
        </p:spPr>
      </p:pic>
      <p:grpSp>
        <p:nvGrpSpPr>
          <p:cNvPr id="20" name="Group 19"/>
          <p:cNvGrpSpPr/>
          <p:nvPr/>
        </p:nvGrpSpPr>
        <p:grpSpPr>
          <a:xfrm>
            <a:off x="3578961" y="1307225"/>
            <a:ext cx="6140527" cy="3856539"/>
            <a:chOff x="3578961" y="1307225"/>
            <a:chExt cx="6140527" cy="3856539"/>
          </a:xfrm>
        </p:grpSpPr>
        <p:grpSp>
          <p:nvGrpSpPr>
            <p:cNvPr id="111" name="Group 110"/>
            <p:cNvGrpSpPr/>
            <p:nvPr/>
          </p:nvGrpSpPr>
          <p:grpSpPr>
            <a:xfrm>
              <a:off x="3578961" y="1822928"/>
              <a:ext cx="6140527" cy="3340836"/>
              <a:chOff x="3578961" y="1822928"/>
              <a:chExt cx="6140527" cy="3340836"/>
            </a:xfrm>
          </p:grpSpPr>
          <p:cxnSp>
            <p:nvCxnSpPr>
              <p:cNvPr id="93" name="Straight Connector 92"/>
              <p:cNvCxnSpPr>
                <a:stCxn id="33" idx="0"/>
                <a:endCxn id="110" idx="6"/>
              </p:cNvCxnSpPr>
              <p:nvPr/>
            </p:nvCxnSpPr>
            <p:spPr>
              <a:xfrm flipV="1">
                <a:off x="6641040" y="2737913"/>
                <a:ext cx="350757" cy="2425851"/>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92" idx="1"/>
                <a:endCxn id="110" idx="6"/>
              </p:cNvCxnSpPr>
              <p:nvPr/>
            </p:nvCxnSpPr>
            <p:spPr>
              <a:xfrm flipV="1">
                <a:off x="3578961" y="2737913"/>
                <a:ext cx="3412836" cy="1622299"/>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79" idx="7"/>
                <a:endCxn id="110" idx="6"/>
              </p:cNvCxnSpPr>
              <p:nvPr/>
            </p:nvCxnSpPr>
            <p:spPr>
              <a:xfrm flipV="1">
                <a:off x="5840511" y="2737913"/>
                <a:ext cx="1151286" cy="89698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66" idx="4"/>
                <a:endCxn id="110" idx="6"/>
              </p:cNvCxnSpPr>
              <p:nvPr/>
            </p:nvCxnSpPr>
            <p:spPr>
              <a:xfrm flipH="1" flipV="1">
                <a:off x="6991797" y="2737913"/>
                <a:ext cx="1182941" cy="1152388"/>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47" idx="4"/>
                <a:endCxn id="110" idx="6"/>
              </p:cNvCxnSpPr>
              <p:nvPr/>
            </p:nvCxnSpPr>
            <p:spPr>
              <a:xfrm flipH="1" flipV="1">
                <a:off x="6991797" y="2737913"/>
                <a:ext cx="2727691" cy="188079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110" name="Freeform 109"/>
              <p:cNvSpPr/>
              <p:nvPr/>
            </p:nvSpPr>
            <p:spPr>
              <a:xfrm>
                <a:off x="6659477" y="1822928"/>
                <a:ext cx="664640" cy="914985"/>
              </a:xfrm>
              <a:custGeom>
                <a:avLst/>
                <a:gdLst>
                  <a:gd name="connsiteX0" fmla="*/ 332320 w 664640"/>
                  <a:gd name="connsiteY0" fmla="*/ 0 h 914985"/>
                  <a:gd name="connsiteX1" fmla="*/ 568003 w 664640"/>
                  <a:gd name="connsiteY1" fmla="*/ 217757 h 914985"/>
                  <a:gd name="connsiteX2" fmla="*/ 450161 w 664640"/>
                  <a:gd name="connsiteY2" fmla="*/ 217757 h 914985"/>
                  <a:gd name="connsiteX3" fmla="*/ 450161 w 664640"/>
                  <a:gd name="connsiteY3" fmla="*/ 313522 h 914985"/>
                  <a:gd name="connsiteX4" fmla="*/ 461674 w 664640"/>
                  <a:gd name="connsiteY4" fmla="*/ 316870 h 914985"/>
                  <a:gd name="connsiteX5" fmla="*/ 664640 w 664640"/>
                  <a:gd name="connsiteY5" fmla="*/ 603696 h 914985"/>
                  <a:gd name="connsiteX6" fmla="*/ 332320 w 664640"/>
                  <a:gd name="connsiteY6" fmla="*/ 914985 h 914985"/>
                  <a:gd name="connsiteX7" fmla="*/ 0 w 664640"/>
                  <a:gd name="connsiteY7" fmla="*/ 603696 h 914985"/>
                  <a:gd name="connsiteX8" fmla="*/ 202966 w 664640"/>
                  <a:gd name="connsiteY8" fmla="*/ 316870 h 914985"/>
                  <a:gd name="connsiteX9" fmla="*/ 214478 w 664640"/>
                  <a:gd name="connsiteY9" fmla="*/ 313522 h 914985"/>
                  <a:gd name="connsiteX10" fmla="*/ 214478 w 664640"/>
                  <a:gd name="connsiteY10" fmla="*/ 217757 h 914985"/>
                  <a:gd name="connsiteX11" fmla="*/ 96636 w 664640"/>
                  <a:gd name="connsiteY11" fmla="*/ 217757 h 9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4640" h="914985">
                    <a:moveTo>
                      <a:pt x="332320" y="0"/>
                    </a:moveTo>
                    <a:lnTo>
                      <a:pt x="568003" y="217757"/>
                    </a:lnTo>
                    <a:lnTo>
                      <a:pt x="450161" y="217757"/>
                    </a:lnTo>
                    <a:lnTo>
                      <a:pt x="450161" y="313522"/>
                    </a:lnTo>
                    <a:lnTo>
                      <a:pt x="461674" y="316870"/>
                    </a:lnTo>
                    <a:cubicBezTo>
                      <a:pt x="580949" y="364126"/>
                      <a:pt x="664640" y="474756"/>
                      <a:pt x="664640" y="603696"/>
                    </a:cubicBezTo>
                    <a:cubicBezTo>
                      <a:pt x="664640" y="775616"/>
                      <a:pt x="515855" y="914985"/>
                      <a:pt x="332320" y="914985"/>
                    </a:cubicBezTo>
                    <a:cubicBezTo>
                      <a:pt x="148785" y="914985"/>
                      <a:pt x="0" y="775616"/>
                      <a:pt x="0" y="603696"/>
                    </a:cubicBezTo>
                    <a:cubicBezTo>
                      <a:pt x="0" y="474756"/>
                      <a:pt x="83691" y="364126"/>
                      <a:pt x="202966" y="316870"/>
                    </a:cubicBezTo>
                    <a:lnTo>
                      <a:pt x="214478" y="313522"/>
                    </a:lnTo>
                    <a:lnTo>
                      <a:pt x="214478" y="217757"/>
                    </a:lnTo>
                    <a:lnTo>
                      <a:pt x="96636" y="2177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7" name="Freeform 96"/>
            <p:cNvSpPr>
              <a:spLocks noChangeAspect="1"/>
            </p:cNvSpPr>
            <p:nvPr/>
          </p:nvSpPr>
          <p:spPr bwMode="auto">
            <a:xfrm>
              <a:off x="6554124" y="1307225"/>
              <a:ext cx="920294" cy="628041"/>
            </a:xfrm>
            <a:custGeom>
              <a:avLst/>
              <a:gdLst>
                <a:gd name="connsiteX0" fmla="*/ 585896 w 920294"/>
                <a:gd name="connsiteY0" fmla="*/ 0 h 628041"/>
                <a:gd name="connsiteX1" fmla="*/ 802055 w 920294"/>
                <a:gd name="connsiteY1" fmla="*/ 216159 h 628041"/>
                <a:gd name="connsiteX2" fmla="*/ 793694 w 920294"/>
                <a:gd name="connsiteY2" fmla="*/ 272510 h 628041"/>
                <a:gd name="connsiteX3" fmla="*/ 920294 w 920294"/>
                <a:gd name="connsiteY3" fmla="*/ 444530 h 628041"/>
                <a:gd name="connsiteX4" fmla="*/ 736784 w 920294"/>
                <a:gd name="connsiteY4" fmla="*/ 628040 h 628041"/>
                <a:gd name="connsiteX5" fmla="*/ 736779 w 920294"/>
                <a:gd name="connsiteY5" fmla="*/ 628039 h 628041"/>
                <a:gd name="connsiteX6" fmla="*/ 593626 w 920294"/>
                <a:gd name="connsiteY6" fmla="*/ 628039 h 628041"/>
                <a:gd name="connsiteX7" fmla="*/ 438408 w 920294"/>
                <a:gd name="connsiteY7" fmla="*/ 484627 h 628041"/>
                <a:gd name="connsiteX8" fmla="*/ 283190 w 920294"/>
                <a:gd name="connsiteY8" fmla="*/ 628039 h 628041"/>
                <a:gd name="connsiteX9" fmla="*/ 183522 w 920294"/>
                <a:gd name="connsiteY9" fmla="*/ 628039 h 628041"/>
                <a:gd name="connsiteX10" fmla="*/ 183510 w 920294"/>
                <a:gd name="connsiteY10" fmla="*/ 628041 h 628041"/>
                <a:gd name="connsiteX11" fmla="*/ 0 w 920294"/>
                <a:gd name="connsiteY11" fmla="*/ 444531 h 628041"/>
                <a:gd name="connsiteX12" fmla="*/ 126112 w 920294"/>
                <a:gd name="connsiteY12" fmla="*/ 272610 h 628041"/>
                <a:gd name="connsiteX13" fmla="*/ 116910 w 920294"/>
                <a:gd name="connsiteY13" fmla="*/ 227032 h 628041"/>
                <a:gd name="connsiteX14" fmla="*/ 267789 w 920294"/>
                <a:gd name="connsiteY14" fmla="*/ 76153 h 628041"/>
                <a:gd name="connsiteX15" fmla="*/ 385344 w 920294"/>
                <a:gd name="connsiteY15" fmla="*/ 136464 h 628041"/>
                <a:gd name="connsiteX16" fmla="*/ 585896 w 920294"/>
                <a:gd name="connsiteY16" fmla="*/ 0 h 62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294" h="628041">
                  <a:moveTo>
                    <a:pt x="585896" y="0"/>
                  </a:moveTo>
                  <a:cubicBezTo>
                    <a:pt x="705277" y="0"/>
                    <a:pt x="802055" y="96778"/>
                    <a:pt x="802055" y="216159"/>
                  </a:cubicBezTo>
                  <a:cubicBezTo>
                    <a:pt x="802055" y="235739"/>
                    <a:pt x="799452" y="254710"/>
                    <a:pt x="793694" y="272510"/>
                  </a:cubicBezTo>
                  <a:cubicBezTo>
                    <a:pt x="867543" y="294432"/>
                    <a:pt x="920294" y="363322"/>
                    <a:pt x="920294" y="444530"/>
                  </a:cubicBezTo>
                  <a:cubicBezTo>
                    <a:pt x="920294" y="545879"/>
                    <a:pt x="838133" y="628040"/>
                    <a:pt x="736784" y="628040"/>
                  </a:cubicBezTo>
                  <a:lnTo>
                    <a:pt x="736779" y="628039"/>
                  </a:lnTo>
                  <a:lnTo>
                    <a:pt x="593626" y="628039"/>
                  </a:lnTo>
                  <a:lnTo>
                    <a:pt x="438408" y="484627"/>
                  </a:lnTo>
                  <a:lnTo>
                    <a:pt x="283190" y="628039"/>
                  </a:lnTo>
                  <a:lnTo>
                    <a:pt x="183522" y="628039"/>
                  </a:lnTo>
                  <a:cubicBezTo>
                    <a:pt x="183518" y="628041"/>
                    <a:pt x="183514" y="628041"/>
                    <a:pt x="183510" y="628041"/>
                  </a:cubicBezTo>
                  <a:cubicBezTo>
                    <a:pt x="82161" y="628041"/>
                    <a:pt x="0" y="545880"/>
                    <a:pt x="0" y="444531"/>
                  </a:cubicBezTo>
                  <a:cubicBezTo>
                    <a:pt x="0" y="363500"/>
                    <a:pt x="52523" y="294733"/>
                    <a:pt x="126112" y="272610"/>
                  </a:cubicBezTo>
                  <a:cubicBezTo>
                    <a:pt x="119438" y="258685"/>
                    <a:pt x="116910" y="243154"/>
                    <a:pt x="116910" y="227032"/>
                  </a:cubicBezTo>
                  <a:cubicBezTo>
                    <a:pt x="116910" y="143704"/>
                    <a:pt x="184460" y="76153"/>
                    <a:pt x="267789" y="76153"/>
                  </a:cubicBezTo>
                  <a:cubicBezTo>
                    <a:pt x="316446" y="76153"/>
                    <a:pt x="359725" y="99186"/>
                    <a:pt x="385344" y="136464"/>
                  </a:cubicBezTo>
                  <a:cubicBezTo>
                    <a:pt x="416725" y="56452"/>
                    <a:pt x="494718" y="0"/>
                    <a:pt x="58589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37526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250"/>
                                  </p:stCondLst>
                                  <p:childTnLst>
                                    <p:set>
                                      <p:cBhvr>
                                        <p:cTn id="41" dur="1" fill="hold">
                                          <p:stCondLst>
                                            <p:cond delay="0"/>
                                          </p:stCondLst>
                                        </p:cTn>
                                        <p:tgtEl>
                                          <p:spTgt spid="54"/>
                                        </p:tgtEl>
                                        <p:attrNameLst>
                                          <p:attrName>style.visibility</p:attrName>
                                        </p:attrNameLst>
                                      </p:cBhvr>
                                      <p:to>
                                        <p:strVal val="visible"/>
                                      </p:to>
                                    </p:set>
                                  </p:childTnLst>
                                </p:cTn>
                              </p:par>
                            </p:childTnLst>
                          </p:cTn>
                        </p:par>
                        <p:par>
                          <p:cTn id="42" fill="hold">
                            <p:stCondLst>
                              <p:cond delay="250"/>
                            </p:stCondLst>
                            <p:childTnLst>
                              <p:par>
                                <p:cTn id="43" presetID="1" presetClass="entr" presetSubtype="0" fill="hold" nodeType="afterEffect">
                                  <p:stCondLst>
                                    <p:cond delay="250"/>
                                  </p:stCondLst>
                                  <p:childTnLst>
                                    <p:set>
                                      <p:cBhvr>
                                        <p:cTn id="44" dur="1" fill="hold">
                                          <p:stCondLst>
                                            <p:cond delay="0"/>
                                          </p:stCondLst>
                                        </p:cTn>
                                        <p:tgtEl>
                                          <p:spTgt spid="67"/>
                                        </p:tgtEl>
                                        <p:attrNameLst>
                                          <p:attrName>style.visibility</p:attrName>
                                        </p:attrNameLst>
                                      </p:cBhvr>
                                      <p:to>
                                        <p:strVal val="visible"/>
                                      </p:to>
                                    </p:set>
                                  </p:childTnLst>
                                </p:cTn>
                              </p:par>
                            </p:childTnLst>
                          </p:cTn>
                        </p:par>
                        <p:par>
                          <p:cTn id="45" fill="hold">
                            <p:stCondLst>
                              <p:cond delay="500"/>
                            </p:stCondLst>
                            <p:childTnLst>
                              <p:par>
                                <p:cTn id="46" presetID="1" presetClass="entr" presetSubtype="0" fill="hold" nodeType="afterEffect">
                                  <p:stCondLst>
                                    <p:cond delay="250"/>
                                  </p:stCondLst>
                                  <p:childTnLst>
                                    <p:set>
                                      <p:cBhvr>
                                        <p:cTn id="47" dur="1" fill="hold">
                                          <p:stCondLst>
                                            <p:cond delay="0"/>
                                          </p:stCondLst>
                                        </p:cTn>
                                        <p:tgtEl>
                                          <p:spTgt spid="8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3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s</a:t>
            </a:r>
            <a:endParaRPr lang="en-US" dirty="0"/>
          </a:p>
        </p:txBody>
      </p:sp>
      <p:pic>
        <p:nvPicPr>
          <p:cNvPr id="7" name="Content Placeholder 6">
            <a:hlinkClick r:id="rId2"/>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760210" y="1452196"/>
            <a:ext cx="3670300" cy="1524000"/>
          </a:xfrm>
        </p:spPr>
      </p:pic>
      <p:pic>
        <p:nvPicPr>
          <p:cNvPr id="6" name="Picture 5">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57" y="1823083"/>
            <a:ext cx="2971428" cy="777143"/>
          </a:xfrm>
          <a:prstGeom prst="rect">
            <a:avLst/>
          </a:prstGeom>
        </p:spPr>
      </p:pic>
      <p:sp>
        <p:nvSpPr>
          <p:cNvPr id="8" name="TextBox 7"/>
          <p:cNvSpPr txBox="1"/>
          <p:nvPr/>
        </p:nvSpPr>
        <p:spPr>
          <a:xfrm>
            <a:off x="822960" y="2960415"/>
            <a:ext cx="4757521" cy="646331"/>
          </a:xfrm>
          <a:prstGeom prst="rect">
            <a:avLst/>
          </a:prstGeom>
          <a:noFill/>
        </p:spPr>
        <p:txBody>
          <a:bodyPr wrap="none" rtlCol="0">
            <a:spAutoFit/>
          </a:bodyPr>
          <a:lstStyle/>
          <a:p>
            <a:r>
              <a:rPr lang="en-US" dirty="0" smtClean="0">
                <a:latin typeface="Segoe Light" panose="020B0302040504020203" pitchFamily="34" charset="0"/>
              </a:rPr>
              <a:t>Created by </a:t>
            </a:r>
            <a:r>
              <a:rPr lang="en-US" b="1" i="1" dirty="0" smtClean="0">
                <a:latin typeface="Segoe Light" panose="020B0302040504020203" pitchFamily="34" charset="0"/>
              </a:rPr>
              <a:t>Dr. Andy Stanford-Clark </a:t>
            </a:r>
            <a:r>
              <a:rPr lang="en-US" dirty="0" smtClean="0">
                <a:latin typeface="Segoe Light" panose="020B0302040504020203" pitchFamily="34" charset="0"/>
              </a:rPr>
              <a:t>of IBM and </a:t>
            </a:r>
            <a:br>
              <a:rPr lang="en-US" dirty="0" smtClean="0">
                <a:latin typeface="Segoe Light" panose="020B0302040504020203" pitchFamily="34" charset="0"/>
              </a:rPr>
            </a:br>
            <a:r>
              <a:rPr lang="en-US" b="1" i="1" dirty="0" smtClean="0">
                <a:latin typeface="Segoe Light" panose="020B0302040504020203" pitchFamily="34" charset="0"/>
              </a:rPr>
              <a:t>Arlen Nipper </a:t>
            </a:r>
            <a:r>
              <a:rPr lang="en-US" dirty="0" smtClean="0">
                <a:latin typeface="Segoe Light" panose="020B0302040504020203" pitchFamily="34" charset="0"/>
              </a:rPr>
              <a:t>of </a:t>
            </a:r>
            <a:r>
              <a:rPr lang="en-US" dirty="0" err="1" smtClean="0">
                <a:latin typeface="Segoe Light" panose="020B0302040504020203" pitchFamily="34" charset="0"/>
              </a:rPr>
              <a:t>Arcom</a:t>
            </a:r>
            <a:r>
              <a:rPr lang="en-US" dirty="0" smtClean="0">
                <a:latin typeface="Segoe Light" panose="020B0302040504020203" pitchFamily="34" charset="0"/>
              </a:rPr>
              <a:t> in 1999</a:t>
            </a:r>
            <a:endParaRPr lang="en-US" dirty="0">
              <a:latin typeface="Segoe Light" panose="020B0302040504020203" pitchFamily="34" charset="0"/>
            </a:endParaRPr>
          </a:p>
        </p:txBody>
      </p:sp>
      <p:sp>
        <p:nvSpPr>
          <p:cNvPr id="9" name="Rectangle 8"/>
          <p:cNvSpPr/>
          <p:nvPr/>
        </p:nvSpPr>
        <p:spPr>
          <a:xfrm>
            <a:off x="822961" y="4078507"/>
            <a:ext cx="5303520" cy="2585323"/>
          </a:xfrm>
          <a:prstGeom prst="rect">
            <a:avLst/>
          </a:prstGeom>
        </p:spPr>
        <p:txBody>
          <a:bodyPr wrap="square">
            <a:spAutoFit/>
          </a:bodyPr>
          <a:lstStyle/>
          <a:p>
            <a:r>
              <a:rPr lang="en-US" b="1" dirty="0" smtClean="0">
                <a:solidFill>
                  <a:schemeClr val="accent2"/>
                </a:solidFill>
                <a:latin typeface="Segoe Light" panose="020B0302040504020203" pitchFamily="34" charset="0"/>
              </a:rPr>
              <a:t>Message Queuing Telemetry </a:t>
            </a:r>
            <a:r>
              <a:rPr lang="en-US" b="1" dirty="0">
                <a:solidFill>
                  <a:schemeClr val="accent2"/>
                </a:solidFill>
                <a:latin typeface="Segoe Light" panose="020B0302040504020203" pitchFamily="34" charset="0"/>
              </a:rPr>
              <a:t>Transport (MQTT)</a:t>
            </a:r>
            <a:r>
              <a:rPr lang="en-US" dirty="0">
                <a:latin typeface="Segoe Light" panose="020B0302040504020203" pitchFamily="34" charset="0"/>
              </a:rPr>
              <a:t> is a lightweight broker-based publish/subscribe</a:t>
            </a:r>
          </a:p>
          <a:p>
            <a:r>
              <a:rPr lang="en-US" dirty="0">
                <a:latin typeface="Segoe Light" panose="020B0302040504020203" pitchFamily="34" charset="0"/>
              </a:rPr>
              <a:t>messaging protocol designed to be open, simple, lightweight and easy to implement.</a:t>
            </a:r>
          </a:p>
          <a:p>
            <a:endParaRPr lang="en-US" dirty="0">
              <a:latin typeface="Segoe Light" panose="020B0302040504020203" pitchFamily="34" charset="0"/>
            </a:endParaRPr>
          </a:p>
          <a:p>
            <a:pPr marL="285750" indent="-285750">
              <a:buFont typeface="Arial" panose="020B0604020202020204" pitchFamily="34" charset="0"/>
              <a:buChar char="•"/>
            </a:pPr>
            <a:r>
              <a:rPr lang="en-US" dirty="0">
                <a:latin typeface="Segoe Light" panose="020B0302040504020203" pitchFamily="34" charset="0"/>
              </a:rPr>
              <a:t>Where the network is expensive, has low bandwidth or is unreliable</a:t>
            </a:r>
          </a:p>
          <a:p>
            <a:pPr marL="285750" indent="-285750">
              <a:buFont typeface="Arial" panose="020B0604020202020204" pitchFamily="34" charset="0"/>
              <a:buChar char="•"/>
            </a:pPr>
            <a:r>
              <a:rPr lang="en-US" dirty="0">
                <a:latin typeface="Segoe Light" panose="020B0302040504020203" pitchFamily="34" charset="0"/>
              </a:rPr>
              <a:t>When run on an embedded device with limited processor or memory resources</a:t>
            </a:r>
          </a:p>
        </p:txBody>
      </p:sp>
      <p:sp>
        <p:nvSpPr>
          <p:cNvPr id="10" name="TextBox 9"/>
          <p:cNvSpPr txBox="1"/>
          <p:nvPr/>
        </p:nvSpPr>
        <p:spPr>
          <a:xfrm>
            <a:off x="822960" y="3641381"/>
            <a:ext cx="4685065" cy="369332"/>
          </a:xfrm>
          <a:prstGeom prst="rect">
            <a:avLst/>
          </a:prstGeom>
          <a:noFill/>
        </p:spPr>
        <p:txBody>
          <a:bodyPr wrap="none" rtlCol="0">
            <a:spAutoFit/>
          </a:bodyPr>
          <a:lstStyle/>
          <a:p>
            <a:r>
              <a:rPr lang="en-US" dirty="0" smtClean="0">
                <a:latin typeface="Segoe Light" panose="020B0302040504020203" pitchFamily="34" charset="0"/>
              </a:rPr>
              <a:t>Undergoing the </a:t>
            </a:r>
            <a:r>
              <a:rPr lang="en-US" dirty="0" smtClean="0">
                <a:latin typeface="Segoe Light" panose="020B0302040504020203" pitchFamily="34" charset="0"/>
                <a:hlinkClick r:id="rId6"/>
              </a:rPr>
              <a:t>OASIS</a:t>
            </a:r>
            <a:r>
              <a:rPr lang="en-US" dirty="0" smtClean="0">
                <a:latin typeface="Segoe Light" panose="020B0302040504020203" pitchFamily="34" charset="0"/>
              </a:rPr>
              <a:t> standardization process</a:t>
            </a:r>
            <a:endParaRPr lang="en-US" dirty="0">
              <a:latin typeface="Segoe Light" panose="020B0302040504020203" pitchFamily="34" charset="0"/>
            </a:endParaRPr>
          </a:p>
        </p:txBody>
      </p:sp>
      <p:sp>
        <p:nvSpPr>
          <p:cNvPr id="11" name="TextBox 10"/>
          <p:cNvSpPr txBox="1"/>
          <p:nvPr/>
        </p:nvSpPr>
        <p:spPr>
          <a:xfrm>
            <a:off x="6760210" y="2960415"/>
            <a:ext cx="4730750" cy="1477328"/>
          </a:xfrm>
          <a:prstGeom prst="rect">
            <a:avLst/>
          </a:prstGeom>
          <a:noFill/>
        </p:spPr>
        <p:txBody>
          <a:bodyPr wrap="square" rtlCol="0">
            <a:spAutoFit/>
          </a:bodyPr>
          <a:lstStyle/>
          <a:p>
            <a:r>
              <a:rPr lang="en-US" dirty="0">
                <a:latin typeface="Segoe Light" panose="020B0302040504020203" pitchFamily="34" charset="0"/>
              </a:rPr>
              <a:t>The </a:t>
            </a:r>
            <a:r>
              <a:rPr lang="en-US" b="1" dirty="0" smtClean="0">
                <a:solidFill>
                  <a:schemeClr val="accent2"/>
                </a:solidFill>
                <a:latin typeface="Segoe Light" panose="020B0302040504020203" pitchFamily="34" charset="0"/>
              </a:rPr>
              <a:t>OMA Device </a:t>
            </a:r>
            <a:r>
              <a:rPr lang="en-US" b="1" dirty="0">
                <a:solidFill>
                  <a:schemeClr val="accent2"/>
                </a:solidFill>
                <a:latin typeface="Segoe Light" panose="020B0302040504020203" pitchFamily="34" charset="0"/>
              </a:rPr>
              <a:t>Management (DM) </a:t>
            </a:r>
            <a:r>
              <a:rPr lang="en-US" dirty="0">
                <a:latin typeface="Segoe Light" panose="020B0302040504020203" pitchFamily="34" charset="0"/>
              </a:rPr>
              <a:t>Working Group </a:t>
            </a:r>
            <a:r>
              <a:rPr lang="en-US" dirty="0" smtClean="0">
                <a:latin typeface="Segoe Light" panose="020B0302040504020203" pitchFamily="34" charset="0"/>
              </a:rPr>
              <a:t>specifies </a:t>
            </a:r>
            <a:r>
              <a:rPr lang="en-US" dirty="0">
                <a:latin typeface="Segoe Light" panose="020B0302040504020203" pitchFamily="34" charset="0"/>
              </a:rPr>
              <a:t>protocols and mechanisms to achieve the management of mobile devices, services access and software on connected devices.</a:t>
            </a: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60540" y="4655910"/>
            <a:ext cx="4478020" cy="1741452"/>
          </a:xfrm>
          <a:prstGeom prst="rect">
            <a:avLst/>
          </a:prstGeom>
        </p:spPr>
      </p:pic>
      <p:sp>
        <p:nvSpPr>
          <p:cNvPr id="13" name="TextBox 12"/>
          <p:cNvSpPr txBox="1"/>
          <p:nvPr/>
        </p:nvSpPr>
        <p:spPr>
          <a:xfrm>
            <a:off x="6760210" y="6424500"/>
            <a:ext cx="4669868" cy="253916"/>
          </a:xfrm>
          <a:prstGeom prst="rect">
            <a:avLst/>
          </a:prstGeom>
          <a:noFill/>
        </p:spPr>
        <p:txBody>
          <a:bodyPr wrap="none" rtlCol="0">
            <a:spAutoFit/>
          </a:bodyPr>
          <a:lstStyle/>
          <a:p>
            <a:r>
              <a:rPr lang="en-US" sz="1050" dirty="0">
                <a:latin typeface="Segoe Light" panose="020B0302040504020203" pitchFamily="34" charset="0"/>
                <a:hlinkClick r:id="rId2"/>
              </a:rPr>
              <a:t>http://openmobilealliance.org/about-oma/work-program/device-management</a:t>
            </a:r>
            <a:r>
              <a:rPr lang="en-US" sz="1050" dirty="0" smtClean="0">
                <a:latin typeface="Segoe Light" panose="020B0302040504020203" pitchFamily="34" charset="0"/>
                <a:hlinkClick r:id="rId2"/>
              </a:rPr>
              <a:t>/</a:t>
            </a:r>
            <a:r>
              <a:rPr lang="en-US" sz="1050" dirty="0" smtClean="0">
                <a:latin typeface="Segoe Light" panose="020B0302040504020203" pitchFamily="34" charset="0"/>
              </a:rPr>
              <a:t> </a:t>
            </a:r>
            <a:endParaRPr lang="en-US" sz="1050" dirty="0">
              <a:latin typeface="Segoe Light" panose="020B0302040504020203" pitchFamily="34" charset="0"/>
            </a:endParaRPr>
          </a:p>
        </p:txBody>
      </p:sp>
    </p:spTree>
    <p:extLst>
      <p:ext uri="{BB962C8B-B14F-4D97-AF65-F5344CB8AC3E}">
        <p14:creationId xmlns:p14="http://schemas.microsoft.com/office/powerpoint/2010/main" val="20524983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609165" y="689408"/>
            <a:ext cx="8973670" cy="5479184"/>
          </a:xfrm>
          <a:prstGeom prst="rect">
            <a:avLst/>
          </a:prstGeom>
        </p:spPr>
      </p:pic>
    </p:spTree>
    <p:extLst>
      <p:ext uri="{BB962C8B-B14F-4D97-AF65-F5344CB8AC3E}">
        <p14:creationId xmlns:p14="http://schemas.microsoft.com/office/powerpoint/2010/main" val="42421606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grpSp>
        <p:nvGrpSpPr>
          <p:cNvPr id="65" name="Zig Zag Horizontal Connectors"/>
          <p:cNvGrpSpPr/>
          <p:nvPr/>
        </p:nvGrpSpPr>
        <p:grpSpPr>
          <a:xfrm>
            <a:off x="4119685" y="3425969"/>
            <a:ext cx="708164" cy="471491"/>
            <a:chOff x="3343115" y="3414394"/>
            <a:chExt cx="708164" cy="471491"/>
          </a:xfrm>
        </p:grpSpPr>
        <p:sp>
          <p:nvSpPr>
            <p:cNvPr id="55" name="Connector"/>
            <p:cNvSpPr/>
            <p:nvPr/>
          </p:nvSpPr>
          <p:spPr>
            <a:xfrm rot="5400000">
              <a:off x="3449715" y="3583069"/>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Connector"/>
            <p:cNvSpPr/>
            <p:nvPr/>
          </p:nvSpPr>
          <p:spPr>
            <a:xfrm>
              <a:off x="3636633" y="3416299"/>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Connector"/>
            <p:cNvSpPr/>
            <p:nvPr/>
          </p:nvSpPr>
          <p:spPr>
            <a:xfrm rot="5400000">
              <a:off x="3748464" y="3307794"/>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6" name="Top Horizontal Connectors"/>
          <p:cNvGrpSpPr/>
          <p:nvPr/>
        </p:nvGrpSpPr>
        <p:grpSpPr>
          <a:xfrm>
            <a:off x="5793764" y="2099138"/>
            <a:ext cx="2857514" cy="469586"/>
            <a:chOff x="5017194" y="2087563"/>
            <a:chExt cx="2857514" cy="469586"/>
          </a:xfrm>
        </p:grpSpPr>
        <p:sp>
          <p:nvSpPr>
            <p:cNvPr id="58" name="Connector"/>
            <p:cNvSpPr/>
            <p:nvPr/>
          </p:nvSpPr>
          <p:spPr>
            <a:xfrm rot="5400000">
              <a:off x="6370355" y="779428"/>
              <a:ext cx="196215" cy="281248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Connector"/>
            <p:cNvSpPr/>
            <p:nvPr/>
          </p:nvSpPr>
          <p:spPr>
            <a:xfrm>
              <a:off x="5017194"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Connector"/>
            <p:cNvSpPr/>
            <p:nvPr/>
          </p:nvSpPr>
          <p:spPr>
            <a:xfrm>
              <a:off x="7678493"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opic 1"/>
          <p:cNvSpPr/>
          <p:nvPr/>
        </p:nvSpPr>
        <p:spPr>
          <a:xfrm>
            <a:off x="1884009" y="2449972"/>
            <a:ext cx="2438406" cy="24384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Listen to me talk</a:t>
            </a:r>
            <a:endParaRPr lang="en-US" sz="2800" dirty="0"/>
          </a:p>
        </p:txBody>
      </p:sp>
      <p:sp>
        <p:nvSpPr>
          <p:cNvPr id="23" name="Topic 2"/>
          <p:cNvSpPr/>
          <p:nvPr/>
        </p:nvSpPr>
        <p:spPr>
          <a:xfrm>
            <a:off x="4672669" y="2449972"/>
            <a:ext cx="2438406" cy="243840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smtClean="0"/>
              <a:t>Watch </a:t>
            </a:r>
            <a:r>
              <a:rPr lang="en-US" sz="2800" dirty="0" smtClean="0"/>
              <a:t>some cool demos</a:t>
            </a:r>
            <a:endParaRPr lang="en-US" sz="2800" dirty="0"/>
          </a:p>
        </p:txBody>
      </p:sp>
      <p:sp>
        <p:nvSpPr>
          <p:cNvPr id="25" name="Topic 3"/>
          <p:cNvSpPr/>
          <p:nvPr/>
        </p:nvSpPr>
        <p:spPr>
          <a:xfrm>
            <a:off x="7333968" y="2449972"/>
            <a:ext cx="2438406" cy="243840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dirty="0" smtClean="0"/>
              <a:t>Go do the Labs</a:t>
            </a:r>
            <a:endParaRPr lang="en-US" sz="2800" dirty="0"/>
          </a:p>
        </p:txBody>
      </p:sp>
      <p:sp>
        <p:nvSpPr>
          <p:cNvPr id="4" name="12-Point Star 3"/>
          <p:cNvSpPr/>
          <p:nvPr/>
        </p:nvSpPr>
        <p:spPr>
          <a:xfrm rot="20700000">
            <a:off x="3281319" y="1584566"/>
            <a:ext cx="1654529" cy="1654529"/>
          </a:xfrm>
          <a:prstGeom prst="star12">
            <a:avLst/>
          </a:prstGeom>
          <a:gradFill flip="none" rotWithShape="1">
            <a:gsLst>
              <a:gs pos="0">
                <a:srgbClr val="C80000"/>
              </a:gs>
              <a:gs pos="50000">
                <a:srgbClr val="C00000">
                  <a:shade val="67500"/>
                  <a:satMod val="115000"/>
                </a:srgbClr>
              </a:gs>
              <a:gs pos="100000">
                <a:srgbClr val="9E0000"/>
              </a:gs>
            </a:gsLst>
            <a:path path="circle">
              <a:fillToRect l="50000" t="50000" r="50000" b="50000"/>
            </a:path>
            <a:tileRect/>
          </a:gradFill>
          <a:ln w="38100">
            <a:solidFill>
              <a:srgbClr val="42463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smtClean="0"/>
              <a:t>And Some Guest Speakers!</a:t>
            </a:r>
            <a:endParaRPr lang="en-US" sz="1500" b="1" dirty="0"/>
          </a:p>
        </p:txBody>
      </p:sp>
      <p:sp>
        <p:nvSpPr>
          <p:cNvPr id="15" name="12-Point Star 14"/>
          <p:cNvSpPr/>
          <p:nvPr/>
        </p:nvSpPr>
        <p:spPr>
          <a:xfrm rot="1800000">
            <a:off x="5937512" y="4061113"/>
            <a:ext cx="1654529" cy="1654529"/>
          </a:xfrm>
          <a:prstGeom prst="star12">
            <a:avLst/>
          </a:prstGeom>
          <a:gradFill flip="none" rotWithShape="1">
            <a:gsLst>
              <a:gs pos="0">
                <a:srgbClr val="C80000"/>
              </a:gs>
              <a:gs pos="50000">
                <a:srgbClr val="C00000">
                  <a:shade val="67500"/>
                  <a:satMod val="115000"/>
                </a:srgbClr>
              </a:gs>
              <a:gs pos="100000">
                <a:srgbClr val="9E0000"/>
              </a:gs>
            </a:gsLst>
            <a:path path="circle">
              <a:fillToRect l="50000" t="50000" r="50000" b="50000"/>
            </a:path>
            <a:tileRect/>
          </a:gradFill>
          <a:ln w="38100">
            <a:solidFill>
              <a:srgbClr val="42463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smtClean="0"/>
              <a:t>Check out the devices in Back!</a:t>
            </a:r>
            <a:endParaRPr lang="en-US" sz="1500" b="1" dirty="0"/>
          </a:p>
        </p:txBody>
      </p:sp>
    </p:spTree>
    <p:extLst>
      <p:ext uri="{BB962C8B-B14F-4D97-AF65-F5344CB8AC3E}">
        <p14:creationId xmlns:p14="http://schemas.microsoft.com/office/powerpoint/2010/main" val="3786930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 grpId="0" animBg="1"/>
      <p:bldP spid="25" grpId="0" animBg="1"/>
      <p:bldP spid="4" grpId="0" animBg="1"/>
      <p:bldP spid="1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t sounds like a lot of data</a:t>
            </a:r>
            <a:endParaRPr lang="en-US" dirty="0"/>
          </a:p>
        </p:txBody>
      </p:sp>
      <p:sp>
        <p:nvSpPr>
          <p:cNvPr id="5" name="Text Placeholder 4"/>
          <p:cNvSpPr>
            <a:spLocks noGrp="1"/>
          </p:cNvSpPr>
          <p:nvPr>
            <p:ph type="body" idx="1"/>
          </p:nvPr>
        </p:nvSpPr>
        <p:spPr/>
        <p:txBody>
          <a:bodyPr/>
          <a:lstStyle/>
          <a:p>
            <a:r>
              <a:rPr lang="en-US" dirty="0" smtClean="0"/>
              <a:t>How are we going to store, process, and analyze it all?</a:t>
            </a:r>
            <a:endParaRPr lang="en-US" dirty="0"/>
          </a:p>
        </p:txBody>
      </p:sp>
    </p:spTree>
    <p:extLst>
      <p:ext uri="{BB962C8B-B14F-4D97-AF65-F5344CB8AC3E}">
        <p14:creationId xmlns:p14="http://schemas.microsoft.com/office/powerpoint/2010/main" val="22870914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much data is out there? HARD TO SAY!</a:t>
            </a:r>
            <a:endParaRPr lang="en-US" dirty="0"/>
          </a:p>
        </p:txBody>
      </p:sp>
      <p:pic>
        <p:nvPicPr>
          <p:cNvPr id="1026" name="Picture 2" descr="C:\Users\BStateha\AppData\Local\Temp\SNAGHTML57d891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1" y="1825625"/>
            <a:ext cx="5593080" cy="4482776"/>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3"/>
          <p:cNvSpPr/>
          <p:nvPr/>
        </p:nvSpPr>
        <p:spPr>
          <a:xfrm>
            <a:off x="670560" y="2644140"/>
            <a:ext cx="4206240" cy="723900"/>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4" idx="3"/>
          </p:cNvCxnSpPr>
          <p:nvPr/>
        </p:nvCxnSpPr>
        <p:spPr>
          <a:xfrm>
            <a:off x="4876800" y="3006090"/>
            <a:ext cx="2506980" cy="381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482840" y="2691229"/>
            <a:ext cx="3494867" cy="646331"/>
          </a:xfrm>
          <a:prstGeom prst="rect">
            <a:avLst/>
          </a:prstGeom>
          <a:noFill/>
        </p:spPr>
        <p:txBody>
          <a:bodyPr wrap="none" rtlCol="0">
            <a:spAutoFit/>
          </a:bodyPr>
          <a:lstStyle/>
          <a:p>
            <a:r>
              <a:rPr lang="en-US" dirty="0" smtClean="0">
                <a:latin typeface="Segoe Light" panose="020B0302040504020203" pitchFamily="34" charset="0"/>
              </a:rPr>
              <a:t>Outlook.com has over </a:t>
            </a:r>
            <a:r>
              <a:rPr lang="en-US" b="1" i="1" dirty="0" smtClean="0">
                <a:solidFill>
                  <a:schemeClr val="accent1"/>
                </a:solidFill>
                <a:latin typeface="Segoe Light" panose="020B0302040504020203" pitchFamily="34" charset="0"/>
              </a:rPr>
              <a:t>400 million </a:t>
            </a:r>
          </a:p>
          <a:p>
            <a:r>
              <a:rPr lang="en-US" dirty="0" smtClean="0">
                <a:latin typeface="Segoe Light" panose="020B0302040504020203" pitchFamily="34" charset="0"/>
              </a:rPr>
              <a:t>active accounts</a:t>
            </a:r>
            <a:endParaRPr lang="en-US" dirty="0">
              <a:latin typeface="Segoe Light" panose="020B0302040504020203" pitchFamily="34" charset="0"/>
            </a:endParaRPr>
          </a:p>
        </p:txBody>
      </p:sp>
      <p:sp>
        <p:nvSpPr>
          <p:cNvPr id="9" name="Rounded Rectangle 8"/>
          <p:cNvSpPr/>
          <p:nvPr/>
        </p:nvSpPr>
        <p:spPr>
          <a:xfrm>
            <a:off x="670560" y="4872435"/>
            <a:ext cx="4206240" cy="445289"/>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a:stCxn id="9" idx="3"/>
          </p:cNvCxnSpPr>
          <p:nvPr/>
        </p:nvCxnSpPr>
        <p:spPr>
          <a:xfrm>
            <a:off x="4876800" y="5095080"/>
            <a:ext cx="2506980" cy="958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2840" y="4786354"/>
            <a:ext cx="3536802" cy="369332"/>
          </a:xfrm>
          <a:prstGeom prst="rect">
            <a:avLst/>
          </a:prstGeom>
          <a:noFill/>
        </p:spPr>
        <p:txBody>
          <a:bodyPr wrap="none" rtlCol="0">
            <a:spAutoFit/>
          </a:bodyPr>
          <a:lstStyle/>
          <a:p>
            <a:r>
              <a:rPr lang="en-US" dirty="0" smtClean="0">
                <a:latin typeface="Segoe Light" panose="020B0302040504020203" pitchFamily="34" charset="0"/>
              </a:rPr>
              <a:t>Over </a:t>
            </a:r>
            <a:r>
              <a:rPr lang="en-US" b="1" i="1" dirty="0" smtClean="0">
                <a:solidFill>
                  <a:schemeClr val="accent1"/>
                </a:solidFill>
                <a:latin typeface="Segoe Light" panose="020B0302040504020203" pitchFamily="34" charset="0"/>
              </a:rPr>
              <a:t>150 Petabytes </a:t>
            </a:r>
            <a:r>
              <a:rPr lang="en-US" dirty="0" smtClean="0">
                <a:latin typeface="Segoe Light" panose="020B0302040504020203" pitchFamily="34" charset="0"/>
              </a:rPr>
              <a:t>of data stored!</a:t>
            </a:r>
            <a:endParaRPr lang="en-US" dirty="0">
              <a:latin typeface="Segoe Light" panose="020B0302040504020203" pitchFamily="34" charset="0"/>
            </a:endParaRPr>
          </a:p>
        </p:txBody>
      </p:sp>
      <p:sp>
        <p:nvSpPr>
          <p:cNvPr id="12" name="TextBox 11"/>
          <p:cNvSpPr txBox="1"/>
          <p:nvPr/>
        </p:nvSpPr>
        <p:spPr>
          <a:xfrm>
            <a:off x="0" y="6488668"/>
            <a:ext cx="2146229" cy="338554"/>
          </a:xfrm>
          <a:prstGeom prst="rect">
            <a:avLst/>
          </a:prstGeom>
          <a:noFill/>
        </p:spPr>
        <p:txBody>
          <a:bodyPr wrap="none" rtlCol="0">
            <a:spAutoFit/>
          </a:bodyPr>
          <a:lstStyle/>
          <a:p>
            <a:r>
              <a:rPr lang="en-US" sz="1600" dirty="0"/>
              <a:t>Source: </a:t>
            </a:r>
            <a:r>
              <a:rPr lang="en-US" sz="1600" dirty="0" smtClean="0">
                <a:hlinkClick r:id="rId3"/>
              </a:rPr>
              <a:t>Outlook Blog</a:t>
            </a:r>
            <a:endParaRPr lang="en-US" sz="1600" dirty="0"/>
          </a:p>
        </p:txBody>
      </p:sp>
    </p:spTree>
    <p:extLst>
      <p:ext uri="{BB962C8B-B14F-4D97-AF65-F5344CB8AC3E}">
        <p14:creationId xmlns:p14="http://schemas.microsoft.com/office/powerpoint/2010/main" val="35739643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Giga, </a:t>
            </a:r>
            <a:r>
              <a:rPr lang="en-US" sz="2800" dirty="0" err="1" smtClean="0"/>
              <a:t>tera</a:t>
            </a:r>
            <a:r>
              <a:rPr lang="en-US" sz="2800" dirty="0" smtClean="0"/>
              <a:t>, </a:t>
            </a:r>
            <a:r>
              <a:rPr lang="en-US" sz="2800" dirty="0" err="1" smtClean="0"/>
              <a:t>exa</a:t>
            </a:r>
            <a:r>
              <a:rPr lang="en-US" sz="2800" dirty="0" smtClean="0"/>
              <a:t>, </a:t>
            </a:r>
            <a:r>
              <a:rPr lang="en-US" sz="2800" dirty="0" err="1" smtClean="0"/>
              <a:t>peta</a:t>
            </a:r>
            <a:r>
              <a:rPr lang="en-US" sz="2800" dirty="0" smtClean="0"/>
              <a:t>, </a:t>
            </a:r>
            <a:r>
              <a:rPr lang="en-US" sz="2800" dirty="0" err="1" smtClean="0"/>
              <a:t>zetta</a:t>
            </a:r>
            <a:r>
              <a:rPr lang="en-US" sz="2800" dirty="0" smtClean="0"/>
              <a:t> , </a:t>
            </a:r>
            <a:r>
              <a:rPr lang="en-US" sz="2800" dirty="0" err="1" smtClean="0"/>
              <a:t>yotta</a:t>
            </a:r>
            <a:endParaRPr lang="en-US" sz="2800" dirty="0"/>
          </a:p>
        </p:txBody>
      </p:sp>
      <p:grpSp>
        <p:nvGrpSpPr>
          <p:cNvPr id="69" name="Premise"/>
          <p:cNvGrpSpPr/>
          <p:nvPr/>
        </p:nvGrpSpPr>
        <p:grpSpPr>
          <a:xfrm>
            <a:off x="598261" y="5102735"/>
            <a:ext cx="5910146" cy="1133533"/>
            <a:chOff x="598261" y="5426827"/>
            <a:chExt cx="5910146" cy="1133533"/>
          </a:xfrm>
        </p:grpSpPr>
        <p:sp>
          <p:nvSpPr>
            <p:cNvPr id="9" name="TextBox 8"/>
            <p:cNvSpPr txBox="1"/>
            <p:nvPr/>
          </p:nvSpPr>
          <p:spPr>
            <a:xfrm>
              <a:off x="1214970" y="6082007"/>
              <a:ext cx="5293437" cy="369332"/>
            </a:xfrm>
            <a:prstGeom prst="rect">
              <a:avLst/>
            </a:prstGeom>
            <a:noFill/>
          </p:spPr>
          <p:txBody>
            <a:bodyPr wrap="none" rtlCol="0">
              <a:spAutoFit/>
            </a:bodyPr>
            <a:lstStyle/>
            <a:p>
              <a:r>
                <a:rPr lang="en-US" dirty="0" smtClean="0">
                  <a:latin typeface="Segoe Light" panose="020B0302040504020203" pitchFamily="34" charset="0"/>
                </a:rPr>
                <a:t>If a one minute mp3 music file is about 1.1MB then…</a:t>
              </a:r>
            </a:p>
          </p:txBody>
        </p:sp>
        <p:grpSp>
          <p:nvGrpSpPr>
            <p:cNvPr id="60" name="MP3 on Win Phone"/>
            <p:cNvGrpSpPr/>
            <p:nvPr/>
          </p:nvGrpSpPr>
          <p:grpSpPr>
            <a:xfrm>
              <a:off x="598261" y="5426827"/>
              <a:ext cx="857677" cy="1133533"/>
              <a:chOff x="598261" y="4695619"/>
              <a:chExt cx="1410938" cy="1864741"/>
            </a:xfrm>
          </p:grpSpPr>
          <p:sp>
            <p:nvSpPr>
              <p:cNvPr id="31" name="Freeform 30"/>
              <p:cNvSpPr/>
              <p:nvPr/>
            </p:nvSpPr>
            <p:spPr>
              <a:xfrm>
                <a:off x="924863" y="5145623"/>
                <a:ext cx="762573" cy="1414737"/>
              </a:xfrm>
              <a:custGeom>
                <a:avLst/>
                <a:gdLst>
                  <a:gd name="connsiteX0" fmla="*/ 561084 w 1138023"/>
                  <a:gd name="connsiteY0" fmla="*/ 1932654 h 2111277"/>
                  <a:gd name="connsiteX1" fmla="*/ 561084 w 1138023"/>
                  <a:gd name="connsiteY1" fmla="*/ 1979086 h 2111277"/>
                  <a:gd name="connsiteX2" fmla="*/ 623789 w 1138023"/>
                  <a:gd name="connsiteY2" fmla="*/ 1987739 h 2111277"/>
                  <a:gd name="connsiteX3" fmla="*/ 623696 w 1138023"/>
                  <a:gd name="connsiteY3" fmla="*/ 1932654 h 2111277"/>
                  <a:gd name="connsiteX4" fmla="*/ 507749 w 1138023"/>
                  <a:gd name="connsiteY4" fmla="*/ 1932654 h 2111277"/>
                  <a:gd name="connsiteX5" fmla="*/ 507753 w 1138023"/>
                  <a:gd name="connsiteY5" fmla="*/ 1971724 h 2111277"/>
                  <a:gd name="connsiteX6" fmla="*/ 555223 w 1138023"/>
                  <a:gd name="connsiteY6" fmla="*/ 1978278 h 2111277"/>
                  <a:gd name="connsiteX7" fmla="*/ 555223 w 1138023"/>
                  <a:gd name="connsiteY7" fmla="*/ 1932654 h 2111277"/>
                  <a:gd name="connsiteX8" fmla="*/ 958702 w 1138023"/>
                  <a:gd name="connsiteY8" fmla="*/ 1893570 h 2111277"/>
                  <a:gd name="connsiteX9" fmla="*/ 984472 w 1138023"/>
                  <a:gd name="connsiteY9" fmla="*/ 1919341 h 2111277"/>
                  <a:gd name="connsiteX10" fmla="*/ 958702 w 1138023"/>
                  <a:gd name="connsiteY10" fmla="*/ 1945114 h 2111277"/>
                  <a:gd name="connsiteX11" fmla="*/ 932928 w 1138023"/>
                  <a:gd name="connsiteY11" fmla="*/ 1919341 h 2111277"/>
                  <a:gd name="connsiteX12" fmla="*/ 958702 w 1138023"/>
                  <a:gd name="connsiteY12" fmla="*/ 1893570 h 2111277"/>
                  <a:gd name="connsiteX13" fmla="*/ 184550 w 1138023"/>
                  <a:gd name="connsiteY13" fmla="*/ 1883618 h 2111277"/>
                  <a:gd name="connsiteX14" fmla="*/ 146907 w 1138023"/>
                  <a:gd name="connsiteY14" fmla="*/ 1926968 h 2111277"/>
                  <a:gd name="connsiteX15" fmla="*/ 184550 w 1138023"/>
                  <a:gd name="connsiteY15" fmla="*/ 1972161 h 2111277"/>
                  <a:gd name="connsiteX16" fmla="*/ 208167 w 1138023"/>
                  <a:gd name="connsiteY16" fmla="*/ 1972161 h 2111277"/>
                  <a:gd name="connsiteX17" fmla="*/ 180121 w 1138023"/>
                  <a:gd name="connsiteY17" fmla="*/ 1938957 h 2111277"/>
                  <a:gd name="connsiteX18" fmla="*/ 243597 w 1138023"/>
                  <a:gd name="connsiteY18" fmla="*/ 1938957 h 2111277"/>
                  <a:gd name="connsiteX19" fmla="*/ 243597 w 1138023"/>
                  <a:gd name="connsiteY19" fmla="*/ 1915901 h 2111277"/>
                  <a:gd name="connsiteX20" fmla="*/ 180121 w 1138023"/>
                  <a:gd name="connsiteY20" fmla="*/ 1915901 h 2111277"/>
                  <a:gd name="connsiteX21" fmla="*/ 208167 w 1138023"/>
                  <a:gd name="connsiteY21" fmla="*/ 1883618 h 2111277"/>
                  <a:gd name="connsiteX22" fmla="*/ 555223 w 1138023"/>
                  <a:gd name="connsiteY22" fmla="*/ 1881082 h 2111277"/>
                  <a:gd name="connsiteX23" fmla="*/ 507753 w 1138023"/>
                  <a:gd name="connsiteY23" fmla="*/ 1887725 h 2111277"/>
                  <a:gd name="connsiteX24" fmla="*/ 507761 w 1138023"/>
                  <a:gd name="connsiteY24" fmla="*/ 1926797 h 2111277"/>
                  <a:gd name="connsiteX25" fmla="*/ 555223 w 1138023"/>
                  <a:gd name="connsiteY25" fmla="*/ 1926797 h 2111277"/>
                  <a:gd name="connsiteX26" fmla="*/ 958566 w 1138023"/>
                  <a:gd name="connsiteY26" fmla="*/ 1880684 h 2111277"/>
                  <a:gd name="connsiteX27" fmla="*/ 919911 w 1138023"/>
                  <a:gd name="connsiteY27" fmla="*/ 1919341 h 2111277"/>
                  <a:gd name="connsiteX28" fmla="*/ 924574 w 1138023"/>
                  <a:gd name="connsiteY28" fmla="*/ 1937385 h 2111277"/>
                  <a:gd name="connsiteX29" fmla="*/ 889199 w 1138023"/>
                  <a:gd name="connsiteY29" fmla="*/ 1972758 h 2111277"/>
                  <a:gd name="connsiteX30" fmla="*/ 889199 w 1138023"/>
                  <a:gd name="connsiteY30" fmla="*/ 1978832 h 2111277"/>
                  <a:gd name="connsiteX31" fmla="*/ 901347 w 1138023"/>
                  <a:gd name="connsiteY31" fmla="*/ 1990981 h 2111277"/>
                  <a:gd name="connsiteX32" fmla="*/ 907425 w 1138023"/>
                  <a:gd name="connsiteY32" fmla="*/ 1990981 h 2111277"/>
                  <a:gd name="connsiteX33" fmla="*/ 943471 w 1138023"/>
                  <a:gd name="connsiteY33" fmla="*/ 1954935 h 2111277"/>
                  <a:gd name="connsiteX34" fmla="*/ 958566 w 1138023"/>
                  <a:gd name="connsiteY34" fmla="*/ 1958000 h 2111277"/>
                  <a:gd name="connsiteX35" fmla="*/ 997226 w 1138023"/>
                  <a:gd name="connsiteY35" fmla="*/ 1919341 h 2111277"/>
                  <a:gd name="connsiteX36" fmla="*/ 958566 w 1138023"/>
                  <a:gd name="connsiteY36" fmla="*/ 1880684 h 2111277"/>
                  <a:gd name="connsiteX37" fmla="*/ 623594 w 1138023"/>
                  <a:gd name="connsiteY37" fmla="*/ 1871513 h 2111277"/>
                  <a:gd name="connsiteX38" fmla="*/ 561084 w 1138023"/>
                  <a:gd name="connsiteY38" fmla="*/ 1880261 h 2111277"/>
                  <a:gd name="connsiteX39" fmla="*/ 561084 w 1138023"/>
                  <a:gd name="connsiteY39" fmla="*/ 1926797 h 2111277"/>
                  <a:gd name="connsiteX40" fmla="*/ 623688 w 1138023"/>
                  <a:gd name="connsiteY40" fmla="*/ 1926797 h 2111277"/>
                  <a:gd name="connsiteX41" fmla="*/ 113008 w 1138023"/>
                  <a:gd name="connsiteY41" fmla="*/ 153172 h 2111277"/>
                  <a:gd name="connsiteX42" fmla="*/ 56991 w 1138023"/>
                  <a:gd name="connsiteY42" fmla="*/ 209189 h 2111277"/>
                  <a:gd name="connsiteX43" fmla="*/ 56991 w 1138023"/>
                  <a:gd name="connsiteY43" fmla="*/ 1742854 h 2111277"/>
                  <a:gd name="connsiteX44" fmla="*/ 113008 w 1138023"/>
                  <a:gd name="connsiteY44" fmla="*/ 1798870 h 2111277"/>
                  <a:gd name="connsiteX45" fmla="*/ 1026548 w 1138023"/>
                  <a:gd name="connsiteY45" fmla="*/ 1798870 h 2111277"/>
                  <a:gd name="connsiteX46" fmla="*/ 1082565 w 1138023"/>
                  <a:gd name="connsiteY46" fmla="*/ 1742854 h 2111277"/>
                  <a:gd name="connsiteX47" fmla="*/ 1082565 w 1138023"/>
                  <a:gd name="connsiteY47" fmla="*/ 209189 h 2111277"/>
                  <a:gd name="connsiteX48" fmla="*/ 1026548 w 1138023"/>
                  <a:gd name="connsiteY48" fmla="*/ 153172 h 2111277"/>
                  <a:gd name="connsiteX49" fmla="*/ 497167 w 1138023"/>
                  <a:gd name="connsiteY49" fmla="*/ 93324 h 2111277"/>
                  <a:gd name="connsiteX50" fmla="*/ 491071 w 1138023"/>
                  <a:gd name="connsiteY50" fmla="*/ 95850 h 2111277"/>
                  <a:gd name="connsiteX51" fmla="*/ 488545 w 1138023"/>
                  <a:gd name="connsiteY51" fmla="*/ 101946 h 2111277"/>
                  <a:gd name="connsiteX52" fmla="*/ 491071 w 1138023"/>
                  <a:gd name="connsiteY52" fmla="*/ 108042 h 2111277"/>
                  <a:gd name="connsiteX53" fmla="*/ 497167 w 1138023"/>
                  <a:gd name="connsiteY53" fmla="*/ 110567 h 2111277"/>
                  <a:gd name="connsiteX54" fmla="*/ 640857 w 1138023"/>
                  <a:gd name="connsiteY54" fmla="*/ 110567 h 2111277"/>
                  <a:gd name="connsiteX55" fmla="*/ 649478 w 1138023"/>
                  <a:gd name="connsiteY55" fmla="*/ 101946 h 2111277"/>
                  <a:gd name="connsiteX56" fmla="*/ 649478 w 1138023"/>
                  <a:gd name="connsiteY56" fmla="*/ 101946 h 2111277"/>
                  <a:gd name="connsiteX57" fmla="*/ 640857 w 1138023"/>
                  <a:gd name="connsiteY57" fmla="*/ 93324 h 2111277"/>
                  <a:gd name="connsiteX58" fmla="*/ 0 w 1138023"/>
                  <a:gd name="connsiteY58" fmla="*/ 0 h 2111277"/>
                  <a:gd name="connsiteX59" fmla="*/ 1138023 w 1138023"/>
                  <a:gd name="connsiteY59" fmla="*/ 0 h 2111277"/>
                  <a:gd name="connsiteX60" fmla="*/ 1138023 w 1138023"/>
                  <a:gd name="connsiteY60" fmla="*/ 2111277 h 2111277"/>
                  <a:gd name="connsiteX61" fmla="*/ 0 w 1138023"/>
                  <a:gd name="connsiteY61" fmla="*/ 2111277 h 211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38023" h="2111277">
                    <a:moveTo>
                      <a:pt x="561084" y="1932654"/>
                    </a:moveTo>
                    <a:lnTo>
                      <a:pt x="561084" y="1979086"/>
                    </a:lnTo>
                    <a:lnTo>
                      <a:pt x="623789" y="1987739"/>
                    </a:lnTo>
                    <a:cubicBezTo>
                      <a:pt x="623759" y="1969379"/>
                      <a:pt x="623728" y="1951020"/>
                      <a:pt x="623696" y="1932654"/>
                    </a:cubicBezTo>
                    <a:close/>
                    <a:moveTo>
                      <a:pt x="507749" y="1932654"/>
                    </a:moveTo>
                    <a:lnTo>
                      <a:pt x="507753" y="1971724"/>
                    </a:lnTo>
                    <a:lnTo>
                      <a:pt x="555223" y="1978278"/>
                    </a:lnTo>
                    <a:lnTo>
                      <a:pt x="555223" y="1932654"/>
                    </a:lnTo>
                    <a:close/>
                    <a:moveTo>
                      <a:pt x="958702" y="1893570"/>
                    </a:moveTo>
                    <a:cubicBezTo>
                      <a:pt x="972934" y="1893570"/>
                      <a:pt x="984472" y="1905109"/>
                      <a:pt x="984472" y="1919341"/>
                    </a:cubicBezTo>
                    <a:cubicBezTo>
                      <a:pt x="984472" y="1933573"/>
                      <a:pt x="972934" y="1945114"/>
                      <a:pt x="958702" y="1945114"/>
                    </a:cubicBezTo>
                    <a:cubicBezTo>
                      <a:pt x="944466" y="1945114"/>
                      <a:pt x="932928" y="1933573"/>
                      <a:pt x="932928" y="1919341"/>
                    </a:cubicBezTo>
                    <a:cubicBezTo>
                      <a:pt x="932928" y="1905109"/>
                      <a:pt x="944466" y="1893570"/>
                      <a:pt x="958702" y="1893570"/>
                    </a:cubicBezTo>
                    <a:close/>
                    <a:moveTo>
                      <a:pt x="184550" y="1883618"/>
                    </a:moveTo>
                    <a:lnTo>
                      <a:pt x="146907" y="1926968"/>
                    </a:lnTo>
                    <a:lnTo>
                      <a:pt x="184550" y="1972161"/>
                    </a:lnTo>
                    <a:lnTo>
                      <a:pt x="208167" y="1972161"/>
                    </a:lnTo>
                    <a:lnTo>
                      <a:pt x="180121" y="1938957"/>
                    </a:lnTo>
                    <a:lnTo>
                      <a:pt x="243597" y="1938957"/>
                    </a:lnTo>
                    <a:lnTo>
                      <a:pt x="243597" y="1915901"/>
                    </a:lnTo>
                    <a:lnTo>
                      <a:pt x="180121" y="1915901"/>
                    </a:lnTo>
                    <a:lnTo>
                      <a:pt x="208167" y="1883618"/>
                    </a:lnTo>
                    <a:close/>
                    <a:moveTo>
                      <a:pt x="555223" y="1881082"/>
                    </a:moveTo>
                    <a:lnTo>
                      <a:pt x="507753" y="1887725"/>
                    </a:lnTo>
                    <a:cubicBezTo>
                      <a:pt x="507816" y="1893912"/>
                      <a:pt x="507791" y="1910078"/>
                      <a:pt x="507761" y="1926797"/>
                    </a:cubicBezTo>
                    <a:lnTo>
                      <a:pt x="555223" y="1926797"/>
                    </a:lnTo>
                    <a:close/>
                    <a:moveTo>
                      <a:pt x="958566" y="1880684"/>
                    </a:moveTo>
                    <a:cubicBezTo>
                      <a:pt x="937219" y="1880684"/>
                      <a:pt x="919911" y="1897991"/>
                      <a:pt x="919911" y="1919341"/>
                    </a:cubicBezTo>
                    <a:cubicBezTo>
                      <a:pt x="919911" y="1925891"/>
                      <a:pt x="921539" y="1932063"/>
                      <a:pt x="924574" y="1937385"/>
                    </a:cubicBezTo>
                    <a:lnTo>
                      <a:pt x="889199" y="1972758"/>
                    </a:lnTo>
                    <a:cubicBezTo>
                      <a:pt x="887522" y="1974434"/>
                      <a:pt x="887522" y="1977153"/>
                      <a:pt x="889199" y="1978832"/>
                    </a:cubicBezTo>
                    <a:lnTo>
                      <a:pt x="901347" y="1990981"/>
                    </a:lnTo>
                    <a:cubicBezTo>
                      <a:pt x="903028" y="1992659"/>
                      <a:pt x="905745" y="1992659"/>
                      <a:pt x="907425" y="1990981"/>
                    </a:cubicBezTo>
                    <a:lnTo>
                      <a:pt x="943471" y="1954935"/>
                    </a:lnTo>
                    <a:cubicBezTo>
                      <a:pt x="948108" y="1956907"/>
                      <a:pt x="953209" y="1958000"/>
                      <a:pt x="958566" y="1958000"/>
                    </a:cubicBezTo>
                    <a:cubicBezTo>
                      <a:pt x="979917" y="1958000"/>
                      <a:pt x="997226" y="1940691"/>
                      <a:pt x="997226" y="1919341"/>
                    </a:cubicBezTo>
                    <a:cubicBezTo>
                      <a:pt x="997226" y="1897991"/>
                      <a:pt x="979917" y="1880684"/>
                      <a:pt x="958566" y="1880684"/>
                    </a:cubicBezTo>
                    <a:close/>
                    <a:moveTo>
                      <a:pt x="623594" y="1871513"/>
                    </a:moveTo>
                    <a:lnTo>
                      <a:pt x="561084" y="1880261"/>
                    </a:lnTo>
                    <a:lnTo>
                      <a:pt x="561084" y="1926797"/>
                    </a:lnTo>
                    <a:lnTo>
                      <a:pt x="623688" y="1926797"/>
                    </a:lnTo>
                    <a:close/>
                    <a:moveTo>
                      <a:pt x="113008" y="153172"/>
                    </a:moveTo>
                    <a:cubicBezTo>
                      <a:pt x="82071" y="153172"/>
                      <a:pt x="56991" y="178252"/>
                      <a:pt x="56991" y="209189"/>
                    </a:cubicBezTo>
                    <a:lnTo>
                      <a:pt x="56991" y="1742854"/>
                    </a:lnTo>
                    <a:cubicBezTo>
                      <a:pt x="56991" y="1773791"/>
                      <a:pt x="82071" y="1798870"/>
                      <a:pt x="113008" y="1798870"/>
                    </a:cubicBezTo>
                    <a:lnTo>
                      <a:pt x="1026548" y="1798870"/>
                    </a:lnTo>
                    <a:cubicBezTo>
                      <a:pt x="1057485" y="1798870"/>
                      <a:pt x="1082565" y="1773791"/>
                      <a:pt x="1082565" y="1742854"/>
                    </a:cubicBezTo>
                    <a:lnTo>
                      <a:pt x="1082565" y="209189"/>
                    </a:lnTo>
                    <a:cubicBezTo>
                      <a:pt x="1082565" y="178252"/>
                      <a:pt x="1057485" y="153172"/>
                      <a:pt x="1026548" y="153172"/>
                    </a:cubicBezTo>
                    <a:close/>
                    <a:moveTo>
                      <a:pt x="497167" y="93324"/>
                    </a:moveTo>
                    <a:cubicBezTo>
                      <a:pt x="494786" y="93324"/>
                      <a:pt x="492631" y="94290"/>
                      <a:pt x="491071" y="95850"/>
                    </a:cubicBezTo>
                    <a:lnTo>
                      <a:pt x="488545" y="101946"/>
                    </a:lnTo>
                    <a:lnTo>
                      <a:pt x="491071" y="108042"/>
                    </a:lnTo>
                    <a:cubicBezTo>
                      <a:pt x="492631" y="109601"/>
                      <a:pt x="494786" y="110567"/>
                      <a:pt x="497167" y="110567"/>
                    </a:cubicBezTo>
                    <a:lnTo>
                      <a:pt x="640857" y="110567"/>
                    </a:lnTo>
                    <a:cubicBezTo>
                      <a:pt x="645618" y="110567"/>
                      <a:pt x="649478" y="106707"/>
                      <a:pt x="649478" y="101946"/>
                    </a:cubicBezTo>
                    <a:lnTo>
                      <a:pt x="649478" y="101946"/>
                    </a:lnTo>
                    <a:cubicBezTo>
                      <a:pt x="649478" y="97184"/>
                      <a:pt x="645618" y="93324"/>
                      <a:pt x="640857" y="93324"/>
                    </a:cubicBezTo>
                    <a:close/>
                    <a:moveTo>
                      <a:pt x="0" y="0"/>
                    </a:moveTo>
                    <a:lnTo>
                      <a:pt x="1138023" y="0"/>
                    </a:lnTo>
                    <a:lnTo>
                      <a:pt x="1138023" y="2111277"/>
                    </a:lnTo>
                    <a:lnTo>
                      <a:pt x="0" y="2111277"/>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999507" y="5433446"/>
                <a:ext cx="613284" cy="643779"/>
              </a:xfrm>
              <a:custGeom>
                <a:avLst/>
                <a:gdLst>
                  <a:gd name="connsiteX0" fmla="*/ 258697 w 613284"/>
                  <a:gd name="connsiteY0" fmla="*/ 0 h 643779"/>
                  <a:gd name="connsiteX1" fmla="*/ 326212 w 613284"/>
                  <a:gd name="connsiteY1" fmla="*/ 0 h 643779"/>
                  <a:gd name="connsiteX2" fmla="*/ 326213 w 613284"/>
                  <a:gd name="connsiteY2" fmla="*/ 85441 h 643779"/>
                  <a:gd name="connsiteX3" fmla="*/ 332918 w 613284"/>
                  <a:gd name="connsiteY3" fmla="*/ 98844 h 643779"/>
                  <a:gd name="connsiteX4" fmla="*/ 409107 w 613284"/>
                  <a:gd name="connsiteY4" fmla="*/ 171259 h 643779"/>
                  <a:gd name="connsiteX5" fmla="*/ 613284 w 613284"/>
                  <a:gd name="connsiteY5" fmla="*/ 184455 h 643779"/>
                  <a:gd name="connsiteX6" fmla="*/ 362993 w 613284"/>
                  <a:gd name="connsiteY6" fmla="*/ 250291 h 643779"/>
                  <a:gd name="connsiteX7" fmla="*/ 333012 w 613284"/>
                  <a:gd name="connsiteY7" fmla="*/ 228492 h 643779"/>
                  <a:gd name="connsiteX8" fmla="*/ 326213 w 613284"/>
                  <a:gd name="connsiteY8" fmla="*/ 221071 h 643779"/>
                  <a:gd name="connsiteX9" fmla="*/ 326213 w 613284"/>
                  <a:gd name="connsiteY9" fmla="*/ 492966 h 643779"/>
                  <a:gd name="connsiteX10" fmla="*/ 326651 w 613284"/>
                  <a:gd name="connsiteY10" fmla="*/ 495749 h 643779"/>
                  <a:gd name="connsiteX11" fmla="*/ 326213 w 613284"/>
                  <a:gd name="connsiteY11" fmla="*/ 499473 h 643779"/>
                  <a:gd name="connsiteX12" fmla="*/ 326213 w 613284"/>
                  <a:gd name="connsiteY12" fmla="*/ 504884 h 643779"/>
                  <a:gd name="connsiteX13" fmla="*/ 325576 w 613284"/>
                  <a:gd name="connsiteY13" fmla="*/ 504884 h 643779"/>
                  <a:gd name="connsiteX14" fmla="*/ 323836 w 613284"/>
                  <a:gd name="connsiteY14" fmla="*/ 519650 h 643779"/>
                  <a:gd name="connsiteX15" fmla="*/ 197875 w 613284"/>
                  <a:gd name="connsiteY15" fmla="*/ 633424 h 643779"/>
                  <a:gd name="connsiteX16" fmla="*/ 3730 w 613284"/>
                  <a:gd name="connsiteY16" fmla="*/ 570562 h 643779"/>
                  <a:gd name="connsiteX17" fmla="*/ 128787 w 613284"/>
                  <a:gd name="connsiteY17" fmla="*/ 409303 h 643779"/>
                  <a:gd name="connsiteX18" fmla="*/ 251760 w 613284"/>
                  <a:gd name="connsiteY18" fmla="*/ 407336 h 643779"/>
                  <a:gd name="connsiteX19" fmla="*/ 258697 w 613284"/>
                  <a:gd name="connsiteY19" fmla="*/ 410319 h 6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3284" h="643779">
                    <a:moveTo>
                      <a:pt x="258697" y="0"/>
                    </a:moveTo>
                    <a:lnTo>
                      <a:pt x="326212" y="0"/>
                    </a:lnTo>
                    <a:lnTo>
                      <a:pt x="326213" y="85441"/>
                    </a:lnTo>
                    <a:lnTo>
                      <a:pt x="332918" y="98844"/>
                    </a:lnTo>
                    <a:cubicBezTo>
                      <a:pt x="352096" y="128182"/>
                      <a:pt x="378012" y="153116"/>
                      <a:pt x="409107" y="171259"/>
                    </a:cubicBezTo>
                    <a:cubicBezTo>
                      <a:pt x="471297" y="207546"/>
                      <a:pt x="546941" y="212434"/>
                      <a:pt x="613284" y="184455"/>
                    </a:cubicBezTo>
                    <a:cubicBezTo>
                      <a:pt x="562348" y="271751"/>
                      <a:pt x="450290" y="301227"/>
                      <a:pt x="362993" y="250291"/>
                    </a:cubicBezTo>
                    <a:cubicBezTo>
                      <a:pt x="352081" y="243924"/>
                      <a:pt x="342073" y="236602"/>
                      <a:pt x="333012" y="228492"/>
                    </a:cubicBezTo>
                    <a:lnTo>
                      <a:pt x="326213" y="221071"/>
                    </a:lnTo>
                    <a:lnTo>
                      <a:pt x="326213" y="492966"/>
                    </a:lnTo>
                    <a:lnTo>
                      <a:pt x="326651" y="495749"/>
                    </a:lnTo>
                    <a:lnTo>
                      <a:pt x="326213" y="499473"/>
                    </a:lnTo>
                    <a:lnTo>
                      <a:pt x="326213" y="504884"/>
                    </a:lnTo>
                    <a:lnTo>
                      <a:pt x="325576" y="504884"/>
                    </a:lnTo>
                    <a:lnTo>
                      <a:pt x="323836" y="519650"/>
                    </a:lnTo>
                    <a:cubicBezTo>
                      <a:pt x="312006" y="567339"/>
                      <a:pt x="263984" y="613045"/>
                      <a:pt x="197875" y="633424"/>
                    </a:cubicBezTo>
                    <a:cubicBezTo>
                      <a:pt x="109729" y="660596"/>
                      <a:pt x="22808" y="632452"/>
                      <a:pt x="3730" y="570562"/>
                    </a:cubicBezTo>
                    <a:cubicBezTo>
                      <a:pt x="-15348" y="508673"/>
                      <a:pt x="40642" y="436475"/>
                      <a:pt x="128787" y="409303"/>
                    </a:cubicBezTo>
                    <a:cubicBezTo>
                      <a:pt x="172860" y="395717"/>
                      <a:pt x="216627" y="395960"/>
                      <a:pt x="251760" y="407336"/>
                    </a:cubicBezTo>
                    <a:lnTo>
                      <a:pt x="258697" y="410319"/>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flipH="1">
                <a:off x="598261" y="4695619"/>
                <a:ext cx="1410938" cy="890349"/>
              </a:xfrm>
              <a:custGeom>
                <a:avLst/>
                <a:gdLst>
                  <a:gd name="connsiteX0" fmla="*/ 1298518 w 1410938"/>
                  <a:gd name="connsiteY0" fmla="*/ 587503 h 890349"/>
                  <a:gd name="connsiteX1" fmla="*/ 1291625 w 1410938"/>
                  <a:gd name="connsiteY1" fmla="*/ 588439 h 890349"/>
                  <a:gd name="connsiteX2" fmla="*/ 1291625 w 1410938"/>
                  <a:gd name="connsiteY2" fmla="*/ 889413 h 890349"/>
                  <a:gd name="connsiteX3" fmla="*/ 1298518 w 1410938"/>
                  <a:gd name="connsiteY3" fmla="*/ 890349 h 890349"/>
                  <a:gd name="connsiteX4" fmla="*/ 1410938 w 1410938"/>
                  <a:gd name="connsiteY4" fmla="*/ 738926 h 890349"/>
                  <a:gd name="connsiteX5" fmla="*/ 1298518 w 1410938"/>
                  <a:gd name="connsiteY5" fmla="*/ 587503 h 890349"/>
                  <a:gd name="connsiteX6" fmla="*/ 110152 w 1410938"/>
                  <a:gd name="connsiteY6" fmla="*/ 587502 h 890349"/>
                  <a:gd name="connsiteX7" fmla="*/ 0 w 1410938"/>
                  <a:gd name="connsiteY7" fmla="*/ 735870 h 890349"/>
                  <a:gd name="connsiteX8" fmla="*/ 110152 w 1410938"/>
                  <a:gd name="connsiteY8" fmla="*/ 884237 h 890349"/>
                  <a:gd name="connsiteX9" fmla="*/ 116906 w 1410938"/>
                  <a:gd name="connsiteY9" fmla="*/ 883320 h 890349"/>
                  <a:gd name="connsiteX10" fmla="*/ 116906 w 1410938"/>
                  <a:gd name="connsiteY10" fmla="*/ 588419 h 890349"/>
                  <a:gd name="connsiteX11" fmla="*/ 704265 w 1410938"/>
                  <a:gd name="connsiteY11" fmla="*/ 0 h 890349"/>
                  <a:gd name="connsiteX12" fmla="*/ 161091 w 1410938"/>
                  <a:gd name="connsiteY12" fmla="*/ 472113 h 890349"/>
                  <a:gd name="connsiteX13" fmla="*/ 150118 w 1410938"/>
                  <a:gd name="connsiteY13" fmla="*/ 588190 h 890349"/>
                  <a:gd name="connsiteX14" fmla="*/ 149828 w 1410938"/>
                  <a:gd name="connsiteY14" fmla="*/ 588190 h 890349"/>
                  <a:gd name="connsiteX15" fmla="*/ 149828 w 1410938"/>
                  <a:gd name="connsiteY15" fmla="*/ 884238 h 890349"/>
                  <a:gd name="connsiteX16" fmla="*/ 241433 w 1410938"/>
                  <a:gd name="connsiteY16" fmla="*/ 884238 h 890349"/>
                  <a:gd name="connsiteX17" fmla="*/ 241433 w 1410938"/>
                  <a:gd name="connsiteY17" fmla="*/ 588190 h 890349"/>
                  <a:gd name="connsiteX18" fmla="*/ 243006 w 1410938"/>
                  <a:gd name="connsiteY18" fmla="*/ 588190 h 890349"/>
                  <a:gd name="connsiteX19" fmla="*/ 252092 w 1410938"/>
                  <a:gd name="connsiteY19" fmla="*/ 492077 h 890349"/>
                  <a:gd name="connsiteX20" fmla="*/ 704265 w 1410938"/>
                  <a:gd name="connsiteY20" fmla="*/ 99060 h 890349"/>
                  <a:gd name="connsiteX21" fmla="*/ 1156438 w 1410938"/>
                  <a:gd name="connsiteY21" fmla="*/ 492077 h 890349"/>
                  <a:gd name="connsiteX22" fmla="*/ 1165523 w 1410938"/>
                  <a:gd name="connsiteY22" fmla="*/ 588190 h 890349"/>
                  <a:gd name="connsiteX23" fmla="*/ 1167098 w 1410938"/>
                  <a:gd name="connsiteY23" fmla="*/ 588190 h 890349"/>
                  <a:gd name="connsiteX24" fmla="*/ 1167098 w 1410938"/>
                  <a:gd name="connsiteY24" fmla="*/ 884238 h 890349"/>
                  <a:gd name="connsiteX25" fmla="*/ 1258703 w 1410938"/>
                  <a:gd name="connsiteY25" fmla="*/ 884238 h 890349"/>
                  <a:gd name="connsiteX26" fmla="*/ 1258703 w 1410938"/>
                  <a:gd name="connsiteY26" fmla="*/ 588190 h 890349"/>
                  <a:gd name="connsiteX27" fmla="*/ 1258411 w 1410938"/>
                  <a:gd name="connsiteY27" fmla="*/ 588190 h 890349"/>
                  <a:gd name="connsiteX28" fmla="*/ 1247439 w 1410938"/>
                  <a:gd name="connsiteY28" fmla="*/ 472113 h 890349"/>
                  <a:gd name="connsiteX29" fmla="*/ 704265 w 1410938"/>
                  <a:gd name="connsiteY29" fmla="*/ 0 h 89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10938" h="890349">
                    <a:moveTo>
                      <a:pt x="1298518" y="587503"/>
                    </a:moveTo>
                    <a:lnTo>
                      <a:pt x="1291625" y="588439"/>
                    </a:lnTo>
                    <a:lnTo>
                      <a:pt x="1291625" y="889413"/>
                    </a:lnTo>
                    <a:lnTo>
                      <a:pt x="1298518" y="890349"/>
                    </a:lnTo>
                    <a:cubicBezTo>
                      <a:pt x="1360606" y="890349"/>
                      <a:pt x="1410938" y="822555"/>
                      <a:pt x="1410938" y="738926"/>
                    </a:cubicBezTo>
                    <a:cubicBezTo>
                      <a:pt x="1410938" y="655298"/>
                      <a:pt x="1360606" y="587503"/>
                      <a:pt x="1298518" y="587503"/>
                    </a:cubicBezTo>
                    <a:close/>
                    <a:moveTo>
                      <a:pt x="110152" y="587502"/>
                    </a:moveTo>
                    <a:cubicBezTo>
                      <a:pt x="49317" y="587502"/>
                      <a:pt x="0" y="653929"/>
                      <a:pt x="0" y="735870"/>
                    </a:cubicBezTo>
                    <a:cubicBezTo>
                      <a:pt x="0" y="817811"/>
                      <a:pt x="49317" y="884237"/>
                      <a:pt x="110152" y="884237"/>
                    </a:cubicBezTo>
                    <a:lnTo>
                      <a:pt x="116906" y="883320"/>
                    </a:lnTo>
                    <a:lnTo>
                      <a:pt x="116906" y="588419"/>
                    </a:lnTo>
                    <a:close/>
                    <a:moveTo>
                      <a:pt x="704265" y="0"/>
                    </a:moveTo>
                    <a:cubicBezTo>
                      <a:pt x="436333" y="0"/>
                      <a:pt x="212790" y="202679"/>
                      <a:pt x="161091" y="472113"/>
                    </a:cubicBezTo>
                    <a:lnTo>
                      <a:pt x="150118" y="588190"/>
                    </a:lnTo>
                    <a:lnTo>
                      <a:pt x="149828" y="588190"/>
                    </a:lnTo>
                    <a:lnTo>
                      <a:pt x="149828" y="884238"/>
                    </a:lnTo>
                    <a:lnTo>
                      <a:pt x="241433" y="884238"/>
                    </a:lnTo>
                    <a:lnTo>
                      <a:pt x="241433" y="588190"/>
                    </a:lnTo>
                    <a:lnTo>
                      <a:pt x="243006" y="588190"/>
                    </a:lnTo>
                    <a:lnTo>
                      <a:pt x="252092" y="492077"/>
                    </a:lnTo>
                    <a:cubicBezTo>
                      <a:pt x="295130" y="267783"/>
                      <a:pt x="481221" y="99060"/>
                      <a:pt x="704265" y="99060"/>
                    </a:cubicBezTo>
                    <a:cubicBezTo>
                      <a:pt x="927308" y="99060"/>
                      <a:pt x="1113400" y="267783"/>
                      <a:pt x="1156438" y="492077"/>
                    </a:cubicBezTo>
                    <a:lnTo>
                      <a:pt x="1165523" y="588190"/>
                    </a:lnTo>
                    <a:lnTo>
                      <a:pt x="1167098" y="588190"/>
                    </a:lnTo>
                    <a:lnTo>
                      <a:pt x="1167098" y="884238"/>
                    </a:lnTo>
                    <a:lnTo>
                      <a:pt x="1258703" y="884238"/>
                    </a:lnTo>
                    <a:lnTo>
                      <a:pt x="1258703" y="588190"/>
                    </a:lnTo>
                    <a:lnTo>
                      <a:pt x="1258411" y="588190"/>
                    </a:lnTo>
                    <a:lnTo>
                      <a:pt x="1247439" y="472113"/>
                    </a:lnTo>
                    <a:cubicBezTo>
                      <a:pt x="1195739" y="202679"/>
                      <a:pt x="972197" y="0"/>
                      <a:pt x="704265" y="0"/>
                    </a:cubicBez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3" name="Giga"/>
          <p:cNvGrpSpPr/>
          <p:nvPr/>
        </p:nvGrpSpPr>
        <p:grpSpPr>
          <a:xfrm>
            <a:off x="924864" y="1482571"/>
            <a:ext cx="1062150" cy="1816392"/>
            <a:chOff x="924864" y="1482571"/>
            <a:chExt cx="1062150" cy="1816392"/>
          </a:xfrm>
        </p:grpSpPr>
        <p:cxnSp>
          <p:nvCxnSpPr>
            <p:cNvPr id="7" name="Straight Connector 6"/>
            <p:cNvCxnSpPr>
              <a:endCxn id="61" idx="0"/>
            </p:cNvCxnSpPr>
            <p:nvPr/>
          </p:nvCxnSpPr>
          <p:spPr>
            <a:xfrm>
              <a:off x="1455938" y="1482571"/>
              <a:ext cx="1" cy="144706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924864" y="2929631"/>
              <a:ext cx="1062150" cy="369332"/>
            </a:xfrm>
            <a:prstGeom prst="rect">
              <a:avLst/>
            </a:prstGeom>
            <a:noFill/>
          </p:spPr>
          <p:txBody>
            <a:bodyPr wrap="none" rtlCol="0">
              <a:spAutoFit/>
            </a:bodyPr>
            <a:lstStyle/>
            <a:p>
              <a:pPr algn="ctr"/>
              <a:r>
                <a:rPr lang="en-US" dirty="0" smtClean="0">
                  <a:latin typeface="Segoe Light" panose="020B0302040504020203" pitchFamily="34" charset="0"/>
                </a:rPr>
                <a:t>16 Hours</a:t>
              </a:r>
            </a:p>
          </p:txBody>
        </p:sp>
      </p:grpSp>
      <p:grpSp>
        <p:nvGrpSpPr>
          <p:cNvPr id="64" name="Tera"/>
          <p:cNvGrpSpPr/>
          <p:nvPr/>
        </p:nvGrpSpPr>
        <p:grpSpPr>
          <a:xfrm>
            <a:off x="2601243" y="1482571"/>
            <a:ext cx="1029642" cy="2185724"/>
            <a:chOff x="2601243" y="1482571"/>
            <a:chExt cx="1029642" cy="2185724"/>
          </a:xfrm>
        </p:grpSpPr>
        <p:cxnSp>
          <p:nvCxnSpPr>
            <p:cNvPr id="10" name="Straight Connector 9"/>
            <p:cNvCxnSpPr>
              <a:endCxn id="11" idx="0"/>
            </p:cNvCxnSpPr>
            <p:nvPr/>
          </p:nvCxnSpPr>
          <p:spPr>
            <a:xfrm>
              <a:off x="3116062" y="1482571"/>
              <a:ext cx="2" cy="1816392"/>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01243" y="3298963"/>
              <a:ext cx="1029642" cy="369332"/>
            </a:xfrm>
            <a:prstGeom prst="rect">
              <a:avLst/>
            </a:prstGeom>
            <a:noFill/>
          </p:spPr>
          <p:txBody>
            <a:bodyPr wrap="none" rtlCol="0">
              <a:spAutoFit/>
            </a:bodyPr>
            <a:lstStyle/>
            <a:p>
              <a:pPr algn="ctr"/>
              <a:r>
                <a:rPr lang="en-US" dirty="0" smtClean="0">
                  <a:latin typeface="Segoe Light" panose="020B0302040504020203" pitchFamily="34" charset="0"/>
                </a:rPr>
                <a:t>1.8 Years</a:t>
              </a:r>
            </a:p>
          </p:txBody>
        </p:sp>
      </p:grpSp>
      <p:grpSp>
        <p:nvGrpSpPr>
          <p:cNvPr id="65" name="Exa"/>
          <p:cNvGrpSpPr/>
          <p:nvPr/>
        </p:nvGrpSpPr>
        <p:grpSpPr>
          <a:xfrm>
            <a:off x="3929753" y="1482571"/>
            <a:ext cx="1215590" cy="2555056"/>
            <a:chOff x="3929753" y="1482571"/>
            <a:chExt cx="1215590" cy="2555056"/>
          </a:xfrm>
        </p:grpSpPr>
        <p:cxnSp>
          <p:nvCxnSpPr>
            <p:cNvPr id="14" name="Straight Connector 13"/>
            <p:cNvCxnSpPr>
              <a:endCxn id="15" idx="0"/>
            </p:cNvCxnSpPr>
            <p:nvPr/>
          </p:nvCxnSpPr>
          <p:spPr>
            <a:xfrm>
              <a:off x="4537545" y="1482571"/>
              <a:ext cx="3" cy="218572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929753" y="3668295"/>
              <a:ext cx="1215590" cy="369332"/>
            </a:xfrm>
            <a:prstGeom prst="rect">
              <a:avLst/>
            </a:prstGeom>
            <a:noFill/>
          </p:spPr>
          <p:txBody>
            <a:bodyPr wrap="none" rtlCol="0">
              <a:spAutoFit/>
            </a:bodyPr>
            <a:lstStyle/>
            <a:p>
              <a:pPr algn="ctr"/>
              <a:r>
                <a:rPr lang="en-US" dirty="0" smtClean="0">
                  <a:latin typeface="Segoe Light" panose="020B0302040504020203" pitchFamily="34" charset="0"/>
                </a:rPr>
                <a:t>1913 Years</a:t>
              </a:r>
            </a:p>
          </p:txBody>
        </p:sp>
      </p:grpSp>
      <p:grpSp>
        <p:nvGrpSpPr>
          <p:cNvPr id="66" name="Peta"/>
          <p:cNvGrpSpPr/>
          <p:nvPr/>
        </p:nvGrpSpPr>
        <p:grpSpPr>
          <a:xfrm>
            <a:off x="5147228" y="1482571"/>
            <a:ext cx="1730154" cy="2924388"/>
            <a:chOff x="5147228" y="1482571"/>
            <a:chExt cx="1730154" cy="2924388"/>
          </a:xfrm>
        </p:grpSpPr>
        <p:cxnSp>
          <p:nvCxnSpPr>
            <p:cNvPr id="19" name="Straight Connector 18"/>
            <p:cNvCxnSpPr>
              <a:endCxn id="20" idx="0"/>
            </p:cNvCxnSpPr>
            <p:nvPr/>
          </p:nvCxnSpPr>
          <p:spPr>
            <a:xfrm>
              <a:off x="6012297" y="1482571"/>
              <a:ext cx="8" cy="2555056"/>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147228" y="4037627"/>
              <a:ext cx="1730154" cy="369332"/>
            </a:xfrm>
            <a:prstGeom prst="rect">
              <a:avLst/>
            </a:prstGeom>
            <a:noFill/>
          </p:spPr>
          <p:txBody>
            <a:bodyPr wrap="none" rtlCol="0">
              <a:spAutoFit/>
            </a:bodyPr>
            <a:lstStyle/>
            <a:p>
              <a:pPr algn="ctr"/>
              <a:r>
                <a:rPr lang="en-US" dirty="0" smtClean="0">
                  <a:latin typeface="Segoe Light" panose="020B0302040504020203" pitchFamily="34" charset="0"/>
                </a:rPr>
                <a:t>1.9 Million Years</a:t>
              </a:r>
            </a:p>
          </p:txBody>
        </p:sp>
      </p:grpSp>
      <p:grpSp>
        <p:nvGrpSpPr>
          <p:cNvPr id="67" name="Zetta"/>
          <p:cNvGrpSpPr/>
          <p:nvPr/>
        </p:nvGrpSpPr>
        <p:grpSpPr>
          <a:xfrm>
            <a:off x="6995999" y="1482571"/>
            <a:ext cx="1492909" cy="3293720"/>
            <a:chOff x="6995999" y="1482571"/>
            <a:chExt cx="1492909" cy="3293720"/>
          </a:xfrm>
        </p:grpSpPr>
        <p:cxnSp>
          <p:nvCxnSpPr>
            <p:cNvPr id="23" name="Straight Connector 22"/>
            <p:cNvCxnSpPr>
              <a:endCxn id="24" idx="0"/>
            </p:cNvCxnSpPr>
            <p:nvPr/>
          </p:nvCxnSpPr>
          <p:spPr>
            <a:xfrm>
              <a:off x="7742443" y="1482571"/>
              <a:ext cx="11" cy="2924388"/>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995999" y="4406959"/>
              <a:ext cx="1492909" cy="369332"/>
            </a:xfrm>
            <a:prstGeom prst="rect">
              <a:avLst/>
            </a:prstGeom>
            <a:noFill/>
          </p:spPr>
          <p:txBody>
            <a:bodyPr wrap="none" rtlCol="0">
              <a:spAutoFit/>
            </a:bodyPr>
            <a:lstStyle/>
            <a:p>
              <a:pPr algn="ctr"/>
              <a:r>
                <a:rPr lang="en-US" dirty="0" smtClean="0">
                  <a:latin typeface="Segoe Light" panose="020B0302040504020203" pitchFamily="34" charset="0"/>
                </a:rPr>
                <a:t>2 Billion Years</a:t>
              </a:r>
            </a:p>
          </p:txBody>
        </p:sp>
      </p:grpSp>
      <p:grpSp>
        <p:nvGrpSpPr>
          <p:cNvPr id="68" name="Yotta"/>
          <p:cNvGrpSpPr/>
          <p:nvPr/>
        </p:nvGrpSpPr>
        <p:grpSpPr>
          <a:xfrm>
            <a:off x="8681043" y="1482571"/>
            <a:ext cx="2351093" cy="3663052"/>
            <a:chOff x="8681043" y="1482571"/>
            <a:chExt cx="2351093" cy="3663052"/>
          </a:xfrm>
        </p:grpSpPr>
        <p:cxnSp>
          <p:nvCxnSpPr>
            <p:cNvPr id="27" name="Straight Connector 26"/>
            <p:cNvCxnSpPr>
              <a:endCxn id="28" idx="0"/>
            </p:cNvCxnSpPr>
            <p:nvPr/>
          </p:nvCxnSpPr>
          <p:spPr>
            <a:xfrm flipH="1">
              <a:off x="9856590" y="1482571"/>
              <a:ext cx="1" cy="329372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681043" y="4776291"/>
              <a:ext cx="2351093" cy="369332"/>
            </a:xfrm>
            <a:prstGeom prst="rect">
              <a:avLst/>
            </a:prstGeom>
            <a:noFill/>
          </p:spPr>
          <p:txBody>
            <a:bodyPr wrap="none" rtlCol="0">
              <a:spAutoFit/>
            </a:bodyPr>
            <a:lstStyle/>
            <a:p>
              <a:pPr algn="ctr"/>
              <a:r>
                <a:rPr lang="en-US" dirty="0" smtClean="0">
                  <a:latin typeface="Segoe Light" panose="020B0302040504020203" pitchFamily="34" charset="0"/>
                </a:rPr>
                <a:t>That’s a “</a:t>
              </a:r>
              <a:r>
                <a:rPr lang="en-US" dirty="0" err="1" smtClean="0">
                  <a:latin typeface="Segoe Light" panose="020B0302040504020203" pitchFamily="34" charset="0"/>
                </a:rPr>
                <a:t>yotta</a:t>
              </a:r>
              <a:r>
                <a:rPr lang="en-US" dirty="0" smtClean="0">
                  <a:latin typeface="Segoe Light" panose="020B0302040504020203" pitchFamily="34" charset="0"/>
                </a:rPr>
                <a:t>” music! </a:t>
              </a:r>
            </a:p>
          </p:txBody>
        </p:sp>
      </p:grpSp>
      <p:grpSp>
        <p:nvGrpSpPr>
          <p:cNvPr id="76" name="Prediction"/>
          <p:cNvGrpSpPr/>
          <p:nvPr/>
        </p:nvGrpSpPr>
        <p:grpSpPr>
          <a:xfrm>
            <a:off x="6877374" y="528320"/>
            <a:ext cx="4811707" cy="5821681"/>
            <a:chOff x="6877374" y="528320"/>
            <a:chExt cx="4811707" cy="5821681"/>
          </a:xfrm>
        </p:grpSpPr>
        <p:sp>
          <p:nvSpPr>
            <p:cNvPr id="74" name="Freeform 73"/>
            <p:cNvSpPr/>
            <p:nvPr/>
          </p:nvSpPr>
          <p:spPr>
            <a:xfrm rot="5400000">
              <a:off x="6372387" y="1033307"/>
              <a:ext cx="5821681" cy="4811707"/>
            </a:xfrm>
            <a:custGeom>
              <a:avLst/>
              <a:gdLst>
                <a:gd name="connsiteX0" fmla="*/ 0 w 5821681"/>
                <a:gd name="connsiteY0" fmla="*/ 4520839 h 4811707"/>
                <a:gd name="connsiteX1" fmla="*/ 0 w 5821681"/>
                <a:gd name="connsiteY1" fmla="*/ 3357405 h 4811707"/>
                <a:gd name="connsiteX2" fmla="*/ 290867 w 5821681"/>
                <a:gd name="connsiteY2" fmla="*/ 3066538 h 4811707"/>
                <a:gd name="connsiteX3" fmla="*/ 4714243 w 5821681"/>
                <a:gd name="connsiteY3" fmla="*/ 3066538 h 4811707"/>
                <a:gd name="connsiteX4" fmla="*/ 4714243 w 5821681"/>
                <a:gd name="connsiteY4" fmla="*/ 314115 h 4811707"/>
                <a:gd name="connsiteX5" fmla="*/ 5028356 w 5821681"/>
                <a:gd name="connsiteY5" fmla="*/ 0 h 4811707"/>
                <a:gd name="connsiteX6" fmla="*/ 5507567 w 5821681"/>
                <a:gd name="connsiteY6" fmla="*/ 0 h 4811707"/>
                <a:gd name="connsiteX7" fmla="*/ 5821680 w 5821681"/>
                <a:gd name="connsiteY7" fmla="*/ 314115 h 4811707"/>
                <a:gd name="connsiteX8" fmla="*/ 5821680 w 5821681"/>
                <a:gd name="connsiteY8" fmla="*/ 3357400 h 4811707"/>
                <a:gd name="connsiteX9" fmla="*/ 5821681 w 5821681"/>
                <a:gd name="connsiteY9" fmla="*/ 3357405 h 4811707"/>
                <a:gd name="connsiteX10" fmla="*/ 5821681 w 5821681"/>
                <a:gd name="connsiteY10" fmla="*/ 4520839 h 4811707"/>
                <a:gd name="connsiteX11" fmla="*/ 5530814 w 5821681"/>
                <a:gd name="connsiteY11" fmla="*/ 4811706 h 4811707"/>
                <a:gd name="connsiteX12" fmla="*/ 5507582 w 5821681"/>
                <a:gd name="connsiteY12" fmla="*/ 4811706 h 4811707"/>
                <a:gd name="connsiteX13" fmla="*/ 5507567 w 5821681"/>
                <a:gd name="connsiteY13" fmla="*/ 4811707 h 4811707"/>
                <a:gd name="connsiteX14" fmla="*/ 5028356 w 5821681"/>
                <a:gd name="connsiteY14" fmla="*/ 4811707 h 4811707"/>
                <a:gd name="connsiteX15" fmla="*/ 5028341 w 5821681"/>
                <a:gd name="connsiteY15" fmla="*/ 4811706 h 4811707"/>
                <a:gd name="connsiteX16" fmla="*/ 290867 w 5821681"/>
                <a:gd name="connsiteY16" fmla="*/ 4811706 h 4811707"/>
                <a:gd name="connsiteX17" fmla="*/ 0 w 5821681"/>
                <a:gd name="connsiteY17" fmla="*/ 4520839 h 48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1681" h="4811707">
                  <a:moveTo>
                    <a:pt x="0" y="4520839"/>
                  </a:moveTo>
                  <a:lnTo>
                    <a:pt x="0" y="3357405"/>
                  </a:lnTo>
                  <a:cubicBezTo>
                    <a:pt x="0" y="3196764"/>
                    <a:pt x="130226" y="3066538"/>
                    <a:pt x="290867" y="3066538"/>
                  </a:cubicBezTo>
                  <a:lnTo>
                    <a:pt x="4714243" y="3066538"/>
                  </a:lnTo>
                  <a:lnTo>
                    <a:pt x="4714243" y="314115"/>
                  </a:lnTo>
                  <a:cubicBezTo>
                    <a:pt x="4714243" y="140635"/>
                    <a:pt x="4854876" y="0"/>
                    <a:pt x="5028356" y="0"/>
                  </a:cubicBezTo>
                  <a:lnTo>
                    <a:pt x="5507567" y="0"/>
                  </a:lnTo>
                  <a:cubicBezTo>
                    <a:pt x="5681047" y="0"/>
                    <a:pt x="5821680" y="140635"/>
                    <a:pt x="5821680" y="314115"/>
                  </a:cubicBezTo>
                  <a:lnTo>
                    <a:pt x="5821680" y="3357400"/>
                  </a:lnTo>
                  <a:lnTo>
                    <a:pt x="5821681" y="3357405"/>
                  </a:lnTo>
                  <a:lnTo>
                    <a:pt x="5821681" y="4520839"/>
                  </a:lnTo>
                  <a:cubicBezTo>
                    <a:pt x="5821681" y="4681480"/>
                    <a:pt x="5691455" y="4811706"/>
                    <a:pt x="5530814" y="4811706"/>
                  </a:cubicBezTo>
                  <a:lnTo>
                    <a:pt x="5507582" y="4811706"/>
                  </a:lnTo>
                  <a:lnTo>
                    <a:pt x="5507567" y="4811707"/>
                  </a:lnTo>
                  <a:lnTo>
                    <a:pt x="5028356" y="4811707"/>
                  </a:lnTo>
                  <a:lnTo>
                    <a:pt x="5028341" y="4811706"/>
                  </a:lnTo>
                  <a:lnTo>
                    <a:pt x="290867" y="4811706"/>
                  </a:lnTo>
                  <a:cubicBezTo>
                    <a:pt x="130226" y="4811706"/>
                    <a:pt x="0" y="4681480"/>
                    <a:pt x="0" y="4520839"/>
                  </a:cubicBezTo>
                  <a:close/>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6995999" y="5602147"/>
              <a:ext cx="4592732" cy="646331"/>
            </a:xfrm>
            <a:prstGeom prst="rect">
              <a:avLst/>
            </a:prstGeom>
            <a:noFill/>
          </p:spPr>
          <p:txBody>
            <a:bodyPr wrap="none" rtlCol="0">
              <a:spAutoFit/>
            </a:bodyPr>
            <a:lstStyle/>
            <a:p>
              <a:r>
                <a:rPr lang="en-US" i="1" dirty="0" smtClean="0">
                  <a:latin typeface="Segoe Light" panose="020B0302040504020203" pitchFamily="34" charset="0"/>
                </a:rPr>
                <a:t>Cisco predicts that annual internet traffic </a:t>
              </a:r>
              <a:br>
                <a:rPr lang="en-US" i="1" dirty="0" smtClean="0">
                  <a:latin typeface="Segoe Light" panose="020B0302040504020203" pitchFamily="34" charset="0"/>
                </a:rPr>
              </a:br>
              <a:r>
                <a:rPr lang="en-US" i="1" dirty="0" smtClean="0">
                  <a:latin typeface="Segoe Light" panose="020B0302040504020203" pitchFamily="34" charset="0"/>
                </a:rPr>
                <a:t>volume will hit 1.3 </a:t>
              </a:r>
              <a:r>
                <a:rPr lang="en-US" i="1" dirty="0" err="1" smtClean="0">
                  <a:latin typeface="Segoe Light" panose="020B0302040504020203" pitchFamily="34" charset="0"/>
                </a:rPr>
                <a:t>Zettabytes</a:t>
              </a:r>
              <a:r>
                <a:rPr lang="en-US" i="1" dirty="0" smtClean="0">
                  <a:latin typeface="Segoe Light" panose="020B0302040504020203" pitchFamily="34" charset="0"/>
                </a:rPr>
                <a:t> by 2016 </a:t>
              </a:r>
              <a:r>
                <a:rPr lang="en-US" dirty="0" smtClean="0">
                  <a:latin typeface="Segoe Light" panose="020B0302040504020203" pitchFamily="34" charset="0"/>
                </a:rPr>
                <a:t>(</a:t>
              </a:r>
              <a:r>
                <a:rPr lang="en-US" dirty="0" smtClean="0">
                  <a:latin typeface="Segoe Light" panose="020B0302040504020203" pitchFamily="34" charset="0"/>
                  <a:hlinkClick r:id="rId2"/>
                </a:rPr>
                <a:t>source</a:t>
              </a:r>
              <a:r>
                <a:rPr lang="en-US" dirty="0" smtClean="0">
                  <a:latin typeface="Segoe Light" panose="020B0302040504020203" pitchFamily="34" charset="0"/>
                </a:rPr>
                <a:t>)</a:t>
              </a:r>
              <a:endParaRPr lang="en-US" dirty="0">
                <a:latin typeface="Segoe Light" panose="020B0302040504020203" pitchFamily="34" charset="0"/>
              </a:endParaRPr>
            </a:p>
          </p:txBody>
        </p:sp>
      </p:grpSp>
    </p:spTree>
    <p:extLst>
      <p:ext uri="{BB962C8B-B14F-4D97-AF65-F5344CB8AC3E}">
        <p14:creationId xmlns:p14="http://schemas.microsoft.com/office/powerpoint/2010/main" val="104218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4187" t="7655" b="20575"/>
          <a:stretch/>
        </p:blipFill>
        <p:spPr>
          <a:xfrm>
            <a:off x="-15240" y="1"/>
            <a:ext cx="12207240" cy="6857999"/>
          </a:xfrm>
          <a:prstGeom prst="rect">
            <a:avLst/>
          </a:prstGeom>
        </p:spPr>
      </p:pic>
      <p:sp>
        <p:nvSpPr>
          <p:cNvPr id="2" name="Title 1"/>
          <p:cNvSpPr>
            <a:spLocks noGrp="1"/>
          </p:cNvSpPr>
          <p:nvPr>
            <p:ph type="title"/>
          </p:nvPr>
        </p:nvSpPr>
        <p:spPr/>
        <p:txBody>
          <a:bodyPr/>
          <a:lstStyle/>
          <a:p>
            <a:r>
              <a:rPr lang="en-US" dirty="0" smtClean="0">
                <a:solidFill>
                  <a:schemeClr val="bg1"/>
                </a:solidFill>
              </a:rPr>
              <a:t>OUCH. THAT HURTS MY BRAIN</a:t>
            </a:r>
            <a:endParaRPr lang="en-US" dirty="0">
              <a:solidFill>
                <a:schemeClr val="bg1"/>
              </a:solidFill>
            </a:endParaRPr>
          </a:p>
        </p:txBody>
      </p:sp>
      <p:sp>
        <p:nvSpPr>
          <p:cNvPr id="4" name="TextBox 3"/>
          <p:cNvSpPr txBox="1"/>
          <p:nvPr/>
        </p:nvSpPr>
        <p:spPr>
          <a:xfrm>
            <a:off x="-15240" y="6550223"/>
            <a:ext cx="2969980" cy="307777"/>
          </a:xfrm>
          <a:prstGeom prst="rect">
            <a:avLst/>
          </a:prstGeom>
          <a:noFill/>
        </p:spPr>
        <p:txBody>
          <a:bodyPr wrap="none" rtlCol="0">
            <a:spAutoFit/>
          </a:bodyPr>
          <a:lstStyle/>
          <a:p>
            <a:r>
              <a:rPr lang="en-US" sz="1400" dirty="0" smtClean="0"/>
              <a:t>Image courtesy </a:t>
            </a:r>
            <a:r>
              <a:rPr lang="en-US" sz="1400" dirty="0"/>
              <a:t>of </a:t>
            </a:r>
            <a:r>
              <a:rPr lang="en-US" sz="1400" dirty="0">
                <a:hlinkClick r:id="rId3"/>
              </a:rPr>
              <a:t>Jack Germsheid</a:t>
            </a:r>
            <a:endParaRPr lang="en-US" sz="1400" dirty="0"/>
          </a:p>
        </p:txBody>
      </p:sp>
    </p:spTree>
    <p:extLst>
      <p:ext uri="{BB962C8B-B14F-4D97-AF65-F5344CB8AC3E}">
        <p14:creationId xmlns:p14="http://schemas.microsoft.com/office/powerpoint/2010/main" val="25816010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computing</a:t>
            </a:r>
            <a:endParaRPr lang="en-US" dirty="0"/>
          </a:p>
        </p:txBody>
      </p:sp>
      <p:pic>
        <p:nvPicPr>
          <p:cNvPr id="5" name="Picture 4"/>
          <p:cNvPicPr>
            <a:picLocks noChangeAspect="1"/>
          </p:cNvPicPr>
          <p:nvPr/>
        </p:nvPicPr>
        <p:blipFill>
          <a:blip r:embed="rId2"/>
          <a:stretch>
            <a:fillRect/>
          </a:stretch>
        </p:blipFill>
        <p:spPr>
          <a:xfrm>
            <a:off x="10356874" y="0"/>
            <a:ext cx="1835126" cy="6883877"/>
          </a:xfrm>
          <a:prstGeom prst="rect">
            <a:avLst/>
          </a:prstGeom>
        </p:spPr>
      </p:pic>
      <p:grpSp>
        <p:nvGrpSpPr>
          <p:cNvPr id="56" name="Compute Services"/>
          <p:cNvGrpSpPr/>
          <p:nvPr/>
        </p:nvGrpSpPr>
        <p:grpSpPr>
          <a:xfrm>
            <a:off x="822960" y="1561147"/>
            <a:ext cx="2340431" cy="2340431"/>
            <a:chOff x="968829" y="1675448"/>
            <a:chExt cx="1371600" cy="1371600"/>
          </a:xfrm>
        </p:grpSpPr>
        <p:sp>
          <p:nvSpPr>
            <p:cNvPr id="8" name="Green Square Tile"/>
            <p:cNvSpPr>
              <a:spLocks noChangeAspect="1"/>
            </p:cNvSpPr>
            <p:nvPr/>
          </p:nvSpPr>
          <p:spPr>
            <a:xfrm>
              <a:off x="968829" y="1675448"/>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Compute Services</a:t>
              </a:r>
              <a:endParaRPr lang="en-US" sz="2400" dirty="0"/>
            </a:p>
          </p:txBody>
        </p:sp>
        <p:sp>
          <p:nvSpPr>
            <p:cNvPr id="27" name="Freeform 26"/>
            <p:cNvSpPr/>
            <p:nvPr/>
          </p:nvSpPr>
          <p:spPr>
            <a:xfrm>
              <a:off x="1343295" y="1862414"/>
              <a:ext cx="622664" cy="5784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grpSp>
        <p:nvGrpSpPr>
          <p:cNvPr id="55" name="Application Services"/>
          <p:cNvGrpSpPr/>
          <p:nvPr/>
        </p:nvGrpSpPr>
        <p:grpSpPr>
          <a:xfrm>
            <a:off x="822960" y="4182842"/>
            <a:ext cx="2340431" cy="2340431"/>
            <a:chOff x="968829" y="3441938"/>
            <a:chExt cx="1371600" cy="1371600"/>
          </a:xfrm>
        </p:grpSpPr>
        <p:sp>
          <p:nvSpPr>
            <p:cNvPr id="6" name="Pink Square Tile"/>
            <p:cNvSpPr>
              <a:spLocks noChangeAspect="1"/>
            </p:cNvSpPr>
            <p:nvPr/>
          </p:nvSpPr>
          <p:spPr>
            <a:xfrm>
              <a:off x="968829" y="3441938"/>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Application Services</a:t>
              </a:r>
              <a:endParaRPr lang="en-US" sz="2400" dirty="0"/>
            </a:p>
          </p:txBody>
        </p:sp>
        <p:sp>
          <p:nvSpPr>
            <p:cNvPr id="52" name="Freeform 51"/>
            <p:cNvSpPr/>
            <p:nvPr/>
          </p:nvSpPr>
          <p:spPr>
            <a:xfrm>
              <a:off x="1244531" y="3592514"/>
              <a:ext cx="820192" cy="687148"/>
            </a:xfrm>
            <a:custGeom>
              <a:avLst/>
              <a:gdLst>
                <a:gd name="connsiteX0" fmla="*/ 444474 w 1138077"/>
                <a:gd name="connsiteY0" fmla="*/ 485528 h 953468"/>
                <a:gd name="connsiteX1" fmla="*/ 472979 w 1138077"/>
                <a:gd name="connsiteY1" fmla="*/ 487315 h 953468"/>
                <a:gd name="connsiteX2" fmla="*/ 523837 w 1138077"/>
                <a:gd name="connsiteY2" fmla="*/ 575404 h 953468"/>
                <a:gd name="connsiteX3" fmla="*/ 435748 w 1138077"/>
                <a:gd name="connsiteY3" fmla="*/ 626262 h 953468"/>
                <a:gd name="connsiteX4" fmla="*/ 384890 w 1138077"/>
                <a:gd name="connsiteY4" fmla="*/ 538173 h 953468"/>
                <a:gd name="connsiteX5" fmla="*/ 444474 w 1138077"/>
                <a:gd name="connsiteY5" fmla="*/ 485528 h 953468"/>
                <a:gd name="connsiteX6" fmla="*/ 427497 w 1138077"/>
                <a:gd name="connsiteY6" fmla="*/ 404407 h 953468"/>
                <a:gd name="connsiteX7" fmla="*/ 420675 w 1138077"/>
                <a:gd name="connsiteY7" fmla="*/ 446007 h 953468"/>
                <a:gd name="connsiteX8" fmla="*/ 422200 w 1138077"/>
                <a:gd name="connsiteY8" fmla="*/ 446007 h 953468"/>
                <a:gd name="connsiteX9" fmla="*/ 397585 w 1138077"/>
                <a:gd name="connsiteY9" fmla="*/ 456046 h 953468"/>
                <a:gd name="connsiteX10" fmla="*/ 363643 w 1138077"/>
                <a:gd name="connsiteY10" fmla="*/ 431668 h 953468"/>
                <a:gd name="connsiteX11" fmla="*/ 329693 w 1138077"/>
                <a:gd name="connsiteY11" fmla="*/ 465618 h 953468"/>
                <a:gd name="connsiteX12" fmla="*/ 354160 w 1138077"/>
                <a:gd name="connsiteY12" fmla="*/ 499685 h 953468"/>
                <a:gd name="connsiteX13" fmla="*/ 342558 w 1138077"/>
                <a:gd name="connsiteY13" fmla="*/ 526831 h 953468"/>
                <a:gd name="connsiteX14" fmla="*/ 342329 w 1138077"/>
                <a:gd name="connsiteY14" fmla="*/ 527894 h 953468"/>
                <a:gd name="connsiteX15" fmla="*/ 342330 w 1138077"/>
                <a:gd name="connsiteY15" fmla="*/ 525047 h 953468"/>
                <a:gd name="connsiteX16" fmla="*/ 300730 w 1138077"/>
                <a:gd name="connsiteY16" fmla="*/ 531869 h 953468"/>
                <a:gd name="connsiteX17" fmla="*/ 300730 w 1138077"/>
                <a:gd name="connsiteY17" fmla="*/ 579882 h 953468"/>
                <a:gd name="connsiteX18" fmla="*/ 342330 w 1138077"/>
                <a:gd name="connsiteY18" fmla="*/ 586705 h 953468"/>
                <a:gd name="connsiteX19" fmla="*/ 342329 w 1138077"/>
                <a:gd name="connsiteY19" fmla="*/ 583735 h 953468"/>
                <a:gd name="connsiteX20" fmla="*/ 354002 w 1138077"/>
                <a:gd name="connsiteY20" fmla="*/ 614402 h 953468"/>
                <a:gd name="connsiteX21" fmla="*/ 329795 w 1138077"/>
                <a:gd name="connsiteY21" fmla="*/ 648106 h 953468"/>
                <a:gd name="connsiteX22" fmla="*/ 363746 w 1138077"/>
                <a:gd name="connsiteY22" fmla="*/ 682056 h 953468"/>
                <a:gd name="connsiteX23" fmla="*/ 397985 w 1138077"/>
                <a:gd name="connsiteY23" fmla="*/ 657465 h 953468"/>
                <a:gd name="connsiteX24" fmla="*/ 397941 w 1138077"/>
                <a:gd name="connsiteY24" fmla="*/ 657420 h 953468"/>
                <a:gd name="connsiteX25" fmla="*/ 423510 w 1138077"/>
                <a:gd name="connsiteY25" fmla="*/ 668305 h 953468"/>
                <a:gd name="connsiteX26" fmla="*/ 430188 w 1138077"/>
                <a:gd name="connsiteY26" fmla="*/ 709023 h 953468"/>
                <a:gd name="connsiteX27" fmla="*/ 478201 w 1138077"/>
                <a:gd name="connsiteY27" fmla="*/ 709023 h 953468"/>
                <a:gd name="connsiteX28" fmla="*/ 484937 w 1138077"/>
                <a:gd name="connsiteY28" fmla="*/ 667952 h 953468"/>
                <a:gd name="connsiteX29" fmla="*/ 511043 w 1138077"/>
                <a:gd name="connsiteY29" fmla="*/ 657576 h 953468"/>
                <a:gd name="connsiteX30" fmla="*/ 544050 w 1138077"/>
                <a:gd name="connsiteY30" fmla="*/ 681282 h 953468"/>
                <a:gd name="connsiteX31" fmla="*/ 578000 w 1138077"/>
                <a:gd name="connsiteY31" fmla="*/ 647332 h 953468"/>
                <a:gd name="connsiteX32" fmla="*/ 554294 w 1138077"/>
                <a:gd name="connsiteY32" fmla="*/ 614325 h 953468"/>
                <a:gd name="connsiteX33" fmla="*/ 565687 w 1138077"/>
                <a:gd name="connsiteY33" fmla="*/ 588239 h 953468"/>
                <a:gd name="connsiteX34" fmla="*/ 607111 w 1138077"/>
                <a:gd name="connsiteY34" fmla="*/ 581446 h 953468"/>
                <a:gd name="connsiteX35" fmla="*/ 607111 w 1138077"/>
                <a:gd name="connsiteY35" fmla="*/ 533433 h 953468"/>
                <a:gd name="connsiteX36" fmla="*/ 565627 w 1138077"/>
                <a:gd name="connsiteY36" fmla="*/ 526630 h 953468"/>
                <a:gd name="connsiteX37" fmla="*/ 554970 w 1138077"/>
                <a:gd name="connsiteY37" fmla="*/ 499712 h 953468"/>
                <a:gd name="connsiteX38" fmla="*/ 578901 w 1138077"/>
                <a:gd name="connsiteY38" fmla="*/ 466392 h 953468"/>
                <a:gd name="connsiteX39" fmla="*/ 544951 w 1138077"/>
                <a:gd name="connsiteY39" fmla="*/ 432442 h 953468"/>
                <a:gd name="connsiteX40" fmla="*/ 511396 w 1138077"/>
                <a:gd name="connsiteY40" fmla="*/ 456541 h 953468"/>
                <a:gd name="connsiteX41" fmla="*/ 484322 w 1138077"/>
                <a:gd name="connsiteY41" fmla="*/ 444983 h 953468"/>
                <a:gd name="connsiteX42" fmla="*/ 482086 w 1138077"/>
                <a:gd name="connsiteY42" fmla="*/ 444504 h 953468"/>
                <a:gd name="connsiteX43" fmla="*/ 475510 w 1138077"/>
                <a:gd name="connsiteY43" fmla="*/ 404408 h 953468"/>
                <a:gd name="connsiteX44" fmla="*/ 728445 w 1138077"/>
                <a:gd name="connsiteY44" fmla="*/ 307729 h 953468"/>
                <a:gd name="connsiteX45" fmla="*/ 756950 w 1138077"/>
                <a:gd name="connsiteY45" fmla="*/ 309516 h 953468"/>
                <a:gd name="connsiteX46" fmla="*/ 807808 w 1138077"/>
                <a:gd name="connsiteY46" fmla="*/ 397605 h 953468"/>
                <a:gd name="connsiteX47" fmla="*/ 719719 w 1138077"/>
                <a:gd name="connsiteY47" fmla="*/ 448463 h 953468"/>
                <a:gd name="connsiteX48" fmla="*/ 668861 w 1138077"/>
                <a:gd name="connsiteY48" fmla="*/ 360374 h 953468"/>
                <a:gd name="connsiteX49" fmla="*/ 728445 w 1138077"/>
                <a:gd name="connsiteY49" fmla="*/ 307729 h 953468"/>
                <a:gd name="connsiteX50" fmla="*/ 711468 w 1138077"/>
                <a:gd name="connsiteY50" fmla="*/ 226608 h 953468"/>
                <a:gd name="connsiteX51" fmla="*/ 704646 w 1138077"/>
                <a:gd name="connsiteY51" fmla="*/ 268208 h 953468"/>
                <a:gd name="connsiteX52" fmla="*/ 706171 w 1138077"/>
                <a:gd name="connsiteY52" fmla="*/ 268208 h 953468"/>
                <a:gd name="connsiteX53" fmla="*/ 681556 w 1138077"/>
                <a:gd name="connsiteY53" fmla="*/ 278247 h 953468"/>
                <a:gd name="connsiteX54" fmla="*/ 647614 w 1138077"/>
                <a:gd name="connsiteY54" fmla="*/ 253869 h 953468"/>
                <a:gd name="connsiteX55" fmla="*/ 613664 w 1138077"/>
                <a:gd name="connsiteY55" fmla="*/ 287819 h 953468"/>
                <a:gd name="connsiteX56" fmla="*/ 638131 w 1138077"/>
                <a:gd name="connsiteY56" fmla="*/ 321886 h 953468"/>
                <a:gd name="connsiteX57" fmla="*/ 626529 w 1138077"/>
                <a:gd name="connsiteY57" fmla="*/ 349032 h 953468"/>
                <a:gd name="connsiteX58" fmla="*/ 626300 w 1138077"/>
                <a:gd name="connsiteY58" fmla="*/ 350095 h 953468"/>
                <a:gd name="connsiteX59" fmla="*/ 626301 w 1138077"/>
                <a:gd name="connsiteY59" fmla="*/ 347248 h 953468"/>
                <a:gd name="connsiteX60" fmla="*/ 584701 w 1138077"/>
                <a:gd name="connsiteY60" fmla="*/ 354070 h 953468"/>
                <a:gd name="connsiteX61" fmla="*/ 584701 w 1138077"/>
                <a:gd name="connsiteY61" fmla="*/ 402083 h 953468"/>
                <a:gd name="connsiteX62" fmla="*/ 626301 w 1138077"/>
                <a:gd name="connsiteY62" fmla="*/ 408906 h 953468"/>
                <a:gd name="connsiteX63" fmla="*/ 626300 w 1138077"/>
                <a:gd name="connsiteY63" fmla="*/ 405936 h 953468"/>
                <a:gd name="connsiteX64" fmla="*/ 637973 w 1138077"/>
                <a:gd name="connsiteY64" fmla="*/ 436603 h 953468"/>
                <a:gd name="connsiteX65" fmla="*/ 613766 w 1138077"/>
                <a:gd name="connsiteY65" fmla="*/ 470307 h 953468"/>
                <a:gd name="connsiteX66" fmla="*/ 647717 w 1138077"/>
                <a:gd name="connsiteY66" fmla="*/ 504257 h 953468"/>
                <a:gd name="connsiteX67" fmla="*/ 681956 w 1138077"/>
                <a:gd name="connsiteY67" fmla="*/ 479666 h 953468"/>
                <a:gd name="connsiteX68" fmla="*/ 681912 w 1138077"/>
                <a:gd name="connsiteY68" fmla="*/ 479621 h 953468"/>
                <a:gd name="connsiteX69" fmla="*/ 707481 w 1138077"/>
                <a:gd name="connsiteY69" fmla="*/ 490506 h 953468"/>
                <a:gd name="connsiteX70" fmla="*/ 714159 w 1138077"/>
                <a:gd name="connsiteY70" fmla="*/ 531224 h 953468"/>
                <a:gd name="connsiteX71" fmla="*/ 762172 w 1138077"/>
                <a:gd name="connsiteY71" fmla="*/ 531224 h 953468"/>
                <a:gd name="connsiteX72" fmla="*/ 768908 w 1138077"/>
                <a:gd name="connsiteY72" fmla="*/ 490153 h 953468"/>
                <a:gd name="connsiteX73" fmla="*/ 795014 w 1138077"/>
                <a:gd name="connsiteY73" fmla="*/ 479777 h 953468"/>
                <a:gd name="connsiteX74" fmla="*/ 828021 w 1138077"/>
                <a:gd name="connsiteY74" fmla="*/ 503483 h 953468"/>
                <a:gd name="connsiteX75" fmla="*/ 861971 w 1138077"/>
                <a:gd name="connsiteY75" fmla="*/ 469533 h 953468"/>
                <a:gd name="connsiteX76" fmla="*/ 838265 w 1138077"/>
                <a:gd name="connsiteY76" fmla="*/ 436526 h 953468"/>
                <a:gd name="connsiteX77" fmla="*/ 849658 w 1138077"/>
                <a:gd name="connsiteY77" fmla="*/ 410440 h 953468"/>
                <a:gd name="connsiteX78" fmla="*/ 891082 w 1138077"/>
                <a:gd name="connsiteY78" fmla="*/ 403647 h 953468"/>
                <a:gd name="connsiteX79" fmla="*/ 891082 w 1138077"/>
                <a:gd name="connsiteY79" fmla="*/ 355634 h 953468"/>
                <a:gd name="connsiteX80" fmla="*/ 849598 w 1138077"/>
                <a:gd name="connsiteY80" fmla="*/ 348831 h 953468"/>
                <a:gd name="connsiteX81" fmla="*/ 838941 w 1138077"/>
                <a:gd name="connsiteY81" fmla="*/ 321913 h 953468"/>
                <a:gd name="connsiteX82" fmla="*/ 862872 w 1138077"/>
                <a:gd name="connsiteY82" fmla="*/ 288593 h 953468"/>
                <a:gd name="connsiteX83" fmla="*/ 828922 w 1138077"/>
                <a:gd name="connsiteY83" fmla="*/ 254643 h 953468"/>
                <a:gd name="connsiteX84" fmla="*/ 795367 w 1138077"/>
                <a:gd name="connsiteY84" fmla="*/ 278742 h 953468"/>
                <a:gd name="connsiteX85" fmla="*/ 768293 w 1138077"/>
                <a:gd name="connsiteY85" fmla="*/ 267184 h 953468"/>
                <a:gd name="connsiteX86" fmla="*/ 766057 w 1138077"/>
                <a:gd name="connsiteY86" fmla="*/ 266705 h 953468"/>
                <a:gd name="connsiteX87" fmla="*/ 759481 w 1138077"/>
                <a:gd name="connsiteY87" fmla="*/ 226609 h 953468"/>
                <a:gd name="connsiteX88" fmla="*/ 733589 w 1138077"/>
                <a:gd name="connsiteY88" fmla="*/ 0 h 953468"/>
                <a:gd name="connsiteX89" fmla="*/ 1002829 w 1138077"/>
                <a:gd name="connsiteY89" fmla="*/ 269240 h 953468"/>
                <a:gd name="connsiteX90" fmla="*/ 992195 w 1138077"/>
                <a:gd name="connsiteY90" fmla="*/ 339582 h 953468"/>
                <a:gd name="connsiteX91" fmla="*/ 1009998 w 1138077"/>
                <a:gd name="connsiteY91" fmla="*/ 345108 h 953468"/>
                <a:gd name="connsiteX92" fmla="*/ 1138077 w 1138077"/>
                <a:gd name="connsiteY92" fmla="*/ 538335 h 953468"/>
                <a:gd name="connsiteX93" fmla="*/ 928370 w 1138077"/>
                <a:gd name="connsiteY93" fmla="*/ 748042 h 953468"/>
                <a:gd name="connsiteX94" fmla="*/ 896293 w 1138077"/>
                <a:gd name="connsiteY94" fmla="*/ 744809 h 953468"/>
                <a:gd name="connsiteX95" fmla="*/ 887006 w 1138077"/>
                <a:gd name="connsiteY95" fmla="*/ 790809 h 953468"/>
                <a:gd name="connsiteX96" fmla="*/ 740803 w 1138077"/>
                <a:gd name="connsiteY96" fmla="*/ 887718 h 953468"/>
                <a:gd name="connsiteX97" fmla="*/ 652088 w 1138077"/>
                <a:gd name="connsiteY97" fmla="*/ 860620 h 953468"/>
                <a:gd name="connsiteX98" fmla="*/ 634400 w 1138077"/>
                <a:gd name="connsiteY98" fmla="*/ 844547 h 953468"/>
                <a:gd name="connsiteX99" fmla="*/ 602094 w 1138077"/>
                <a:gd name="connsiteY99" fmla="*/ 892465 h 953468"/>
                <a:gd name="connsiteX100" fmla="*/ 454817 w 1138077"/>
                <a:gd name="connsiteY100" fmla="*/ 953468 h 953468"/>
                <a:gd name="connsiteX101" fmla="*/ 246537 w 1138077"/>
                <a:gd name="connsiteY101" fmla="*/ 745188 h 953468"/>
                <a:gd name="connsiteX102" fmla="*/ 247332 w 1138077"/>
                <a:gd name="connsiteY102" fmla="*/ 741252 h 953468"/>
                <a:gd name="connsiteX103" fmla="*/ 208280 w 1138077"/>
                <a:gd name="connsiteY103" fmla="*/ 745188 h 953468"/>
                <a:gd name="connsiteX104" fmla="*/ 0 w 1138077"/>
                <a:gd name="connsiteY104" fmla="*/ 536908 h 953468"/>
                <a:gd name="connsiteX105" fmla="*/ 166304 w 1138077"/>
                <a:gd name="connsiteY105" fmla="*/ 332860 h 953468"/>
                <a:gd name="connsiteX106" fmla="*/ 168308 w 1138077"/>
                <a:gd name="connsiteY106" fmla="*/ 332658 h 953468"/>
                <a:gd name="connsiteX107" fmla="*/ 155097 w 1138077"/>
                <a:gd name="connsiteY107" fmla="*/ 267222 h 953468"/>
                <a:gd name="connsiteX108" fmla="*/ 330357 w 1138077"/>
                <a:gd name="connsiteY108" fmla="*/ 91962 h 953468"/>
                <a:gd name="connsiteX109" fmla="*/ 454285 w 1138077"/>
                <a:gd name="connsiteY109" fmla="*/ 143294 h 953468"/>
                <a:gd name="connsiteX110" fmla="*/ 481889 w 1138077"/>
                <a:gd name="connsiteY110" fmla="*/ 184237 h 953468"/>
                <a:gd name="connsiteX111" fmla="*/ 503328 w 1138077"/>
                <a:gd name="connsiteY111" fmla="*/ 129629 h 953468"/>
                <a:gd name="connsiteX112" fmla="*/ 733589 w 1138077"/>
                <a:gd name="connsiteY112" fmla="*/ 0 h 95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38077" h="953468">
                  <a:moveTo>
                    <a:pt x="444474" y="485528"/>
                  </a:moveTo>
                  <a:cubicBezTo>
                    <a:pt x="453727" y="484240"/>
                    <a:pt x="463387" y="484744"/>
                    <a:pt x="472979" y="487315"/>
                  </a:cubicBezTo>
                  <a:cubicBezTo>
                    <a:pt x="511348" y="497596"/>
                    <a:pt x="534118" y="537035"/>
                    <a:pt x="523837" y="575404"/>
                  </a:cubicBezTo>
                  <a:cubicBezTo>
                    <a:pt x="513556" y="613773"/>
                    <a:pt x="474117" y="636544"/>
                    <a:pt x="435748" y="626262"/>
                  </a:cubicBezTo>
                  <a:cubicBezTo>
                    <a:pt x="397379" y="615981"/>
                    <a:pt x="374609" y="576542"/>
                    <a:pt x="384890" y="538173"/>
                  </a:cubicBezTo>
                  <a:cubicBezTo>
                    <a:pt x="392601" y="509396"/>
                    <a:pt x="416713" y="489394"/>
                    <a:pt x="444474" y="485528"/>
                  </a:cubicBezTo>
                  <a:close/>
                  <a:moveTo>
                    <a:pt x="427497" y="404407"/>
                  </a:moveTo>
                  <a:lnTo>
                    <a:pt x="420675" y="446007"/>
                  </a:lnTo>
                  <a:lnTo>
                    <a:pt x="422200" y="446007"/>
                  </a:lnTo>
                  <a:cubicBezTo>
                    <a:pt x="413509" y="448112"/>
                    <a:pt x="405270" y="451589"/>
                    <a:pt x="397585" y="456046"/>
                  </a:cubicBezTo>
                  <a:lnTo>
                    <a:pt x="363643" y="431668"/>
                  </a:lnTo>
                  <a:lnTo>
                    <a:pt x="329693" y="465618"/>
                  </a:lnTo>
                  <a:lnTo>
                    <a:pt x="354160" y="499685"/>
                  </a:lnTo>
                  <a:cubicBezTo>
                    <a:pt x="348984" y="507881"/>
                    <a:pt x="345181" y="517040"/>
                    <a:pt x="342558" y="526831"/>
                  </a:cubicBezTo>
                  <a:cubicBezTo>
                    <a:pt x="342464" y="527181"/>
                    <a:pt x="342372" y="527531"/>
                    <a:pt x="342329" y="527894"/>
                  </a:cubicBezTo>
                  <a:lnTo>
                    <a:pt x="342330" y="525047"/>
                  </a:lnTo>
                  <a:lnTo>
                    <a:pt x="300730" y="531869"/>
                  </a:lnTo>
                  <a:lnTo>
                    <a:pt x="300730" y="579882"/>
                  </a:lnTo>
                  <a:lnTo>
                    <a:pt x="342330" y="586705"/>
                  </a:lnTo>
                  <a:lnTo>
                    <a:pt x="342329" y="583735"/>
                  </a:lnTo>
                  <a:cubicBezTo>
                    <a:pt x="344398" y="594613"/>
                    <a:pt x="348516" y="604901"/>
                    <a:pt x="354002" y="614402"/>
                  </a:cubicBezTo>
                  <a:lnTo>
                    <a:pt x="329795" y="648106"/>
                  </a:lnTo>
                  <a:lnTo>
                    <a:pt x="363746" y="682056"/>
                  </a:lnTo>
                  <a:lnTo>
                    <a:pt x="397985" y="657465"/>
                  </a:lnTo>
                  <a:lnTo>
                    <a:pt x="397941" y="657420"/>
                  </a:lnTo>
                  <a:cubicBezTo>
                    <a:pt x="405703" y="662231"/>
                    <a:pt x="414320" y="665809"/>
                    <a:pt x="423510" y="668305"/>
                  </a:cubicBezTo>
                  <a:lnTo>
                    <a:pt x="430188" y="709023"/>
                  </a:lnTo>
                  <a:lnTo>
                    <a:pt x="478201" y="709023"/>
                  </a:lnTo>
                  <a:lnTo>
                    <a:pt x="484937" y="667952"/>
                  </a:lnTo>
                  <a:cubicBezTo>
                    <a:pt x="494172" y="665898"/>
                    <a:pt x="502916" y="662283"/>
                    <a:pt x="511043" y="657576"/>
                  </a:cubicBezTo>
                  <a:lnTo>
                    <a:pt x="544050" y="681282"/>
                  </a:lnTo>
                  <a:lnTo>
                    <a:pt x="578000" y="647332"/>
                  </a:lnTo>
                  <a:lnTo>
                    <a:pt x="554294" y="614325"/>
                  </a:lnTo>
                  <a:cubicBezTo>
                    <a:pt x="559360" y="606453"/>
                    <a:pt x="563102" y="597653"/>
                    <a:pt x="565687" y="588239"/>
                  </a:cubicBezTo>
                  <a:lnTo>
                    <a:pt x="607111" y="581446"/>
                  </a:lnTo>
                  <a:lnTo>
                    <a:pt x="607111" y="533433"/>
                  </a:lnTo>
                  <a:lnTo>
                    <a:pt x="565627" y="526630"/>
                  </a:lnTo>
                  <a:cubicBezTo>
                    <a:pt x="563543" y="517103"/>
                    <a:pt x="559815" y="508089"/>
                    <a:pt x="554970" y="499712"/>
                  </a:cubicBezTo>
                  <a:lnTo>
                    <a:pt x="578901" y="466392"/>
                  </a:lnTo>
                  <a:lnTo>
                    <a:pt x="544951" y="432442"/>
                  </a:lnTo>
                  <a:lnTo>
                    <a:pt x="511396" y="456541"/>
                  </a:lnTo>
                  <a:cubicBezTo>
                    <a:pt x="503218" y="451387"/>
                    <a:pt x="494084" y="447599"/>
                    <a:pt x="484322" y="444983"/>
                  </a:cubicBezTo>
                  <a:cubicBezTo>
                    <a:pt x="483584" y="444785"/>
                    <a:pt x="482847" y="444595"/>
                    <a:pt x="482086" y="444504"/>
                  </a:cubicBezTo>
                  <a:lnTo>
                    <a:pt x="475510" y="404408"/>
                  </a:lnTo>
                  <a:close/>
                  <a:moveTo>
                    <a:pt x="728445" y="307729"/>
                  </a:moveTo>
                  <a:cubicBezTo>
                    <a:pt x="737698" y="306441"/>
                    <a:pt x="747357" y="306946"/>
                    <a:pt x="756950" y="309516"/>
                  </a:cubicBezTo>
                  <a:cubicBezTo>
                    <a:pt x="795319" y="319797"/>
                    <a:pt x="818089" y="359236"/>
                    <a:pt x="807808" y="397605"/>
                  </a:cubicBezTo>
                  <a:cubicBezTo>
                    <a:pt x="797527" y="435974"/>
                    <a:pt x="758088" y="458745"/>
                    <a:pt x="719719" y="448463"/>
                  </a:cubicBezTo>
                  <a:cubicBezTo>
                    <a:pt x="681350" y="438182"/>
                    <a:pt x="658580" y="398743"/>
                    <a:pt x="668861" y="360374"/>
                  </a:cubicBezTo>
                  <a:cubicBezTo>
                    <a:pt x="676571" y="331597"/>
                    <a:pt x="700684" y="311595"/>
                    <a:pt x="728445" y="307729"/>
                  </a:cubicBezTo>
                  <a:close/>
                  <a:moveTo>
                    <a:pt x="711468" y="226608"/>
                  </a:moveTo>
                  <a:lnTo>
                    <a:pt x="704646" y="268208"/>
                  </a:lnTo>
                  <a:lnTo>
                    <a:pt x="706171" y="268208"/>
                  </a:lnTo>
                  <a:cubicBezTo>
                    <a:pt x="697480" y="270313"/>
                    <a:pt x="689241" y="273790"/>
                    <a:pt x="681556" y="278247"/>
                  </a:cubicBezTo>
                  <a:lnTo>
                    <a:pt x="647614" y="253869"/>
                  </a:lnTo>
                  <a:lnTo>
                    <a:pt x="613664" y="287819"/>
                  </a:lnTo>
                  <a:lnTo>
                    <a:pt x="638131" y="321886"/>
                  </a:lnTo>
                  <a:cubicBezTo>
                    <a:pt x="632955" y="330082"/>
                    <a:pt x="629152" y="339241"/>
                    <a:pt x="626529" y="349032"/>
                  </a:cubicBezTo>
                  <a:cubicBezTo>
                    <a:pt x="626435" y="349382"/>
                    <a:pt x="626343" y="349732"/>
                    <a:pt x="626300" y="350095"/>
                  </a:cubicBezTo>
                  <a:lnTo>
                    <a:pt x="626301" y="347248"/>
                  </a:lnTo>
                  <a:lnTo>
                    <a:pt x="584701" y="354070"/>
                  </a:lnTo>
                  <a:lnTo>
                    <a:pt x="584701" y="402083"/>
                  </a:lnTo>
                  <a:lnTo>
                    <a:pt x="626301" y="408906"/>
                  </a:lnTo>
                  <a:lnTo>
                    <a:pt x="626300" y="405936"/>
                  </a:lnTo>
                  <a:cubicBezTo>
                    <a:pt x="628369" y="416814"/>
                    <a:pt x="632487" y="427102"/>
                    <a:pt x="637973" y="436603"/>
                  </a:cubicBezTo>
                  <a:lnTo>
                    <a:pt x="613766" y="470307"/>
                  </a:lnTo>
                  <a:lnTo>
                    <a:pt x="647717" y="504257"/>
                  </a:lnTo>
                  <a:lnTo>
                    <a:pt x="681956" y="479666"/>
                  </a:lnTo>
                  <a:lnTo>
                    <a:pt x="681912" y="479621"/>
                  </a:lnTo>
                  <a:cubicBezTo>
                    <a:pt x="689674" y="484432"/>
                    <a:pt x="698291" y="488010"/>
                    <a:pt x="707481" y="490506"/>
                  </a:cubicBezTo>
                  <a:lnTo>
                    <a:pt x="714159" y="531224"/>
                  </a:lnTo>
                  <a:lnTo>
                    <a:pt x="762172" y="531224"/>
                  </a:lnTo>
                  <a:lnTo>
                    <a:pt x="768908" y="490153"/>
                  </a:lnTo>
                  <a:cubicBezTo>
                    <a:pt x="778143" y="488099"/>
                    <a:pt x="786887" y="484484"/>
                    <a:pt x="795014" y="479777"/>
                  </a:cubicBezTo>
                  <a:lnTo>
                    <a:pt x="828021" y="503483"/>
                  </a:lnTo>
                  <a:lnTo>
                    <a:pt x="861971" y="469533"/>
                  </a:lnTo>
                  <a:lnTo>
                    <a:pt x="838265" y="436526"/>
                  </a:lnTo>
                  <a:cubicBezTo>
                    <a:pt x="843331" y="428654"/>
                    <a:pt x="847073" y="419854"/>
                    <a:pt x="849658" y="410440"/>
                  </a:cubicBezTo>
                  <a:lnTo>
                    <a:pt x="891082" y="403647"/>
                  </a:lnTo>
                  <a:lnTo>
                    <a:pt x="891082" y="355634"/>
                  </a:lnTo>
                  <a:lnTo>
                    <a:pt x="849598" y="348831"/>
                  </a:lnTo>
                  <a:cubicBezTo>
                    <a:pt x="847514" y="339304"/>
                    <a:pt x="843786" y="330290"/>
                    <a:pt x="838941" y="321913"/>
                  </a:cubicBezTo>
                  <a:lnTo>
                    <a:pt x="862872" y="288593"/>
                  </a:lnTo>
                  <a:lnTo>
                    <a:pt x="828922" y="254643"/>
                  </a:lnTo>
                  <a:lnTo>
                    <a:pt x="795367" y="278742"/>
                  </a:lnTo>
                  <a:cubicBezTo>
                    <a:pt x="787189" y="273588"/>
                    <a:pt x="778055" y="269800"/>
                    <a:pt x="768293" y="267184"/>
                  </a:cubicBezTo>
                  <a:cubicBezTo>
                    <a:pt x="767555" y="266986"/>
                    <a:pt x="766818" y="266796"/>
                    <a:pt x="766057" y="266705"/>
                  </a:cubicBezTo>
                  <a:lnTo>
                    <a:pt x="759481" y="226609"/>
                  </a:lnTo>
                  <a:close/>
                  <a:moveTo>
                    <a:pt x="733589" y="0"/>
                  </a:moveTo>
                  <a:cubicBezTo>
                    <a:pt x="882286" y="0"/>
                    <a:pt x="1002829" y="120543"/>
                    <a:pt x="1002829" y="269240"/>
                  </a:cubicBezTo>
                  <a:lnTo>
                    <a:pt x="992195" y="339582"/>
                  </a:lnTo>
                  <a:lnTo>
                    <a:pt x="1009998" y="345108"/>
                  </a:lnTo>
                  <a:cubicBezTo>
                    <a:pt x="1085265" y="376943"/>
                    <a:pt x="1138077" y="451472"/>
                    <a:pt x="1138077" y="538335"/>
                  </a:cubicBezTo>
                  <a:cubicBezTo>
                    <a:pt x="1138077" y="654153"/>
                    <a:pt x="1044188" y="748042"/>
                    <a:pt x="928370" y="748042"/>
                  </a:cubicBezTo>
                  <a:lnTo>
                    <a:pt x="896293" y="744809"/>
                  </a:lnTo>
                  <a:lnTo>
                    <a:pt x="887006" y="790809"/>
                  </a:lnTo>
                  <a:cubicBezTo>
                    <a:pt x="862918" y="847758"/>
                    <a:pt x="806527" y="887718"/>
                    <a:pt x="740803" y="887718"/>
                  </a:cubicBezTo>
                  <a:cubicBezTo>
                    <a:pt x="707941" y="887718"/>
                    <a:pt x="677413" y="877728"/>
                    <a:pt x="652088" y="860620"/>
                  </a:cubicBezTo>
                  <a:lnTo>
                    <a:pt x="634400" y="844547"/>
                  </a:lnTo>
                  <a:lnTo>
                    <a:pt x="602094" y="892465"/>
                  </a:lnTo>
                  <a:cubicBezTo>
                    <a:pt x="564402" y="930156"/>
                    <a:pt x="512332" y="953468"/>
                    <a:pt x="454817" y="953468"/>
                  </a:cubicBezTo>
                  <a:cubicBezTo>
                    <a:pt x="339787" y="953468"/>
                    <a:pt x="246537" y="860218"/>
                    <a:pt x="246537" y="745188"/>
                  </a:cubicBezTo>
                  <a:lnTo>
                    <a:pt x="247332" y="741252"/>
                  </a:lnTo>
                  <a:lnTo>
                    <a:pt x="208280" y="745188"/>
                  </a:lnTo>
                  <a:cubicBezTo>
                    <a:pt x="93250" y="745188"/>
                    <a:pt x="0" y="651938"/>
                    <a:pt x="0" y="536908"/>
                  </a:cubicBezTo>
                  <a:cubicBezTo>
                    <a:pt x="0" y="436257"/>
                    <a:pt x="71394" y="352281"/>
                    <a:pt x="166304" y="332860"/>
                  </a:cubicBezTo>
                  <a:lnTo>
                    <a:pt x="168308" y="332658"/>
                  </a:lnTo>
                  <a:lnTo>
                    <a:pt x="155097" y="267222"/>
                  </a:lnTo>
                  <a:cubicBezTo>
                    <a:pt x="155097" y="170429"/>
                    <a:pt x="233564" y="91962"/>
                    <a:pt x="330357" y="91962"/>
                  </a:cubicBezTo>
                  <a:cubicBezTo>
                    <a:pt x="378754" y="91962"/>
                    <a:pt x="422569" y="111579"/>
                    <a:pt x="454285" y="143294"/>
                  </a:cubicBezTo>
                  <a:lnTo>
                    <a:pt x="481889" y="184237"/>
                  </a:lnTo>
                  <a:lnTo>
                    <a:pt x="503328" y="129629"/>
                  </a:lnTo>
                  <a:cubicBezTo>
                    <a:pt x="550549" y="51913"/>
                    <a:pt x="636007" y="0"/>
                    <a:pt x="73358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sp>
        <p:nvSpPr>
          <p:cNvPr id="53" name="TextBox 52"/>
          <p:cNvSpPr txBox="1"/>
          <p:nvPr/>
        </p:nvSpPr>
        <p:spPr>
          <a:xfrm>
            <a:off x="3335381" y="1675448"/>
            <a:ext cx="6382515" cy="1815882"/>
          </a:xfrm>
          <a:prstGeom prst="rect">
            <a:avLst/>
          </a:prstGeom>
          <a:noFill/>
        </p:spPr>
        <p:txBody>
          <a:bodyPr wrap="square" rtlCol="0">
            <a:spAutoFit/>
          </a:bodyPr>
          <a:lstStyle/>
          <a:p>
            <a:r>
              <a:rPr lang="en-US" sz="2800" dirty="0" smtClean="0">
                <a:latin typeface="Segoe Light" panose="020B0302040504020203" pitchFamily="34" charset="0"/>
              </a:rPr>
              <a:t>The current state of cloud computing revolves mainly around the running of Virtual Machines (</a:t>
            </a:r>
            <a:r>
              <a:rPr lang="en-US" sz="2800" dirty="0" err="1" smtClean="0">
                <a:latin typeface="Segoe Light" panose="020B0302040504020203" pitchFamily="34" charset="0"/>
              </a:rPr>
              <a:t>IaaS</a:t>
            </a:r>
            <a:r>
              <a:rPr lang="en-US" sz="2800" dirty="0" smtClean="0">
                <a:latin typeface="Segoe Light" panose="020B0302040504020203" pitchFamily="34" charset="0"/>
              </a:rPr>
              <a:t>) or applications (</a:t>
            </a:r>
            <a:r>
              <a:rPr lang="en-US" sz="2800" dirty="0" err="1" smtClean="0">
                <a:latin typeface="Segoe Light" panose="020B0302040504020203" pitchFamily="34" charset="0"/>
              </a:rPr>
              <a:t>PaaS</a:t>
            </a:r>
            <a:r>
              <a:rPr lang="en-US" sz="2800" dirty="0" smtClean="0">
                <a:latin typeface="Segoe Light" panose="020B0302040504020203" pitchFamily="34" charset="0"/>
              </a:rPr>
              <a:t>) in the cloud vendor’s data centers.</a:t>
            </a:r>
            <a:endParaRPr lang="en-US" sz="2800" dirty="0">
              <a:latin typeface="Segoe Light" panose="020B0302040504020203" pitchFamily="34" charset="0"/>
            </a:endParaRPr>
          </a:p>
        </p:txBody>
      </p:sp>
      <p:sp>
        <p:nvSpPr>
          <p:cNvPr id="54" name="TextBox 53"/>
          <p:cNvSpPr txBox="1"/>
          <p:nvPr/>
        </p:nvSpPr>
        <p:spPr>
          <a:xfrm>
            <a:off x="3335381" y="4247043"/>
            <a:ext cx="6347462" cy="2246769"/>
          </a:xfrm>
          <a:prstGeom prst="rect">
            <a:avLst/>
          </a:prstGeom>
          <a:noFill/>
        </p:spPr>
        <p:txBody>
          <a:bodyPr wrap="square" rtlCol="0">
            <a:spAutoFit/>
          </a:bodyPr>
          <a:lstStyle/>
          <a:p>
            <a:r>
              <a:rPr lang="en-US" sz="2800" dirty="0" smtClean="0">
                <a:latin typeface="Segoe Light" panose="020B0302040504020203" pitchFamily="34" charset="0"/>
              </a:rPr>
              <a:t>In addition to running your code, cloud services can store your files &amp; data, help authenticate your users, route data between your networks, stream your videos, and much more.</a:t>
            </a:r>
            <a:endParaRPr lang="en-US" sz="2800" dirty="0">
              <a:latin typeface="Segoe Light" panose="020B0302040504020203" pitchFamily="34" charset="0"/>
            </a:endParaRPr>
          </a:p>
        </p:txBody>
      </p:sp>
    </p:spTree>
    <p:extLst>
      <p:ext uri="{BB962C8B-B14F-4D97-AF65-F5344CB8AC3E}">
        <p14:creationId xmlns:p14="http://schemas.microsoft.com/office/powerpoint/2010/main" val="11753096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and </a:t>
            </a:r>
            <a:r>
              <a:rPr lang="en-US" dirty="0" smtClean="0"/>
              <a:t/>
            </a:r>
            <a:br>
              <a:rPr lang="en-US" dirty="0" smtClean="0"/>
            </a:br>
            <a:r>
              <a:rPr lang="en-US" dirty="0" smtClean="0"/>
              <a:t>The </a:t>
            </a:r>
            <a:r>
              <a:rPr lang="en-US" dirty="0" smtClean="0"/>
              <a:t>Internet of your things</a:t>
            </a:r>
            <a:endParaRPr lang="en-US" dirty="0"/>
          </a:p>
        </p:txBody>
      </p:sp>
      <p:sp>
        <p:nvSpPr>
          <p:cNvPr id="5" name="Text Placeholder 4"/>
          <p:cNvSpPr>
            <a:spLocks noGrp="1"/>
          </p:cNvSpPr>
          <p:nvPr>
            <p:ph type="body" idx="1"/>
          </p:nvPr>
        </p:nvSpPr>
        <p:spPr/>
        <p:txBody>
          <a:bodyPr/>
          <a:lstStyle/>
          <a:p>
            <a:r>
              <a:rPr lang="en-US" dirty="0" smtClean="0"/>
              <a:t>We’re not just “on the bandwagon”, we’re driving it! </a:t>
            </a:r>
            <a:endParaRPr lang="en-US" dirty="0"/>
          </a:p>
        </p:txBody>
      </p:sp>
    </p:spTree>
    <p:extLst>
      <p:ext uri="{BB962C8B-B14F-4D97-AF65-F5344CB8AC3E}">
        <p14:creationId xmlns:p14="http://schemas.microsoft.com/office/powerpoint/2010/main" val="61813327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s it “Internet of things” or…</a:t>
            </a:r>
            <a:br>
              <a:rPr lang="en-US" dirty="0" smtClean="0"/>
            </a:br>
            <a:r>
              <a:rPr lang="en-US" dirty="0" smtClean="0"/>
              <a:t>“thing on the internet”?</a:t>
            </a:r>
            <a:endParaRPr lang="en-US" dirty="0"/>
          </a:p>
        </p:txBody>
      </p:sp>
      <p:pic>
        <p:nvPicPr>
          <p:cNvPr id="6146" name="Picture 2" descr="C:\Users\brets\AppData\Local\Temp\SNAGHTML11c1c0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6826" y="1875075"/>
            <a:ext cx="5787867" cy="424443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595729" y="6319138"/>
            <a:ext cx="6970059" cy="369332"/>
          </a:xfrm>
          <a:prstGeom prst="rect">
            <a:avLst/>
          </a:prstGeom>
        </p:spPr>
        <p:txBody>
          <a:bodyPr wrap="square">
            <a:spAutoFit/>
          </a:bodyPr>
          <a:lstStyle/>
          <a:p>
            <a:r>
              <a:rPr lang="en-US" dirty="0">
                <a:hlinkClick r:id="rId3"/>
              </a:rPr>
              <a:t>https://</a:t>
            </a:r>
            <a:r>
              <a:rPr lang="en-US" dirty="0" smtClean="0">
                <a:hlinkClick r:id="rId3"/>
              </a:rPr>
              <a:t>www.linkedin.com/pulse/internet-things-thing-clemens-vasters</a:t>
            </a:r>
            <a:r>
              <a:rPr lang="en-US" dirty="0" smtClean="0"/>
              <a:t> </a:t>
            </a:r>
            <a:endParaRPr lang="en-US" dirty="0"/>
          </a:p>
        </p:txBody>
      </p:sp>
    </p:spTree>
    <p:extLst>
      <p:ext uri="{BB962C8B-B14F-4D97-AF65-F5344CB8AC3E}">
        <p14:creationId xmlns:p14="http://schemas.microsoft.com/office/powerpoint/2010/main" val="22243334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Based IoT Solutions</a:t>
            </a:r>
            <a:endParaRPr lang="en-US" dirty="0"/>
          </a:p>
        </p:txBody>
      </p:sp>
      <p:graphicFrame>
        <p:nvGraphicFramePr>
          <p:cNvPr id="5" name="Table 1"/>
          <p:cNvGraphicFramePr>
            <a:graphicFrameLocks noGrp="1"/>
          </p:cNvGraphicFramePr>
          <p:nvPr>
            <p:extLst/>
          </p:nvPr>
        </p:nvGraphicFramePr>
        <p:xfrm>
          <a:off x="6544096" y="2082989"/>
          <a:ext cx="5108498" cy="4317433"/>
        </p:xfrm>
        <a:graphic>
          <a:graphicData uri="http://schemas.openxmlformats.org/drawingml/2006/table">
            <a:tbl>
              <a:tblPr firstRow="1" bandRow="1">
                <a:tableStyleId>{5C22544A-7EE6-4342-B048-85BDC9FD1C3A}</a:tableStyleId>
              </a:tblPr>
              <a:tblGrid>
                <a:gridCol w="522777"/>
                <a:gridCol w="4585721"/>
              </a:tblGrid>
              <a:tr h="119492">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r>
              <a:tr h="1045557">
                <a:tc gridSpan="2">
                  <a:txBody>
                    <a:bodyPr/>
                    <a:lstStyle/>
                    <a:p>
                      <a:pPr marL="0" indent="0">
                        <a:buNone/>
                      </a:pPr>
                      <a:r>
                        <a:rPr lang="en-US" sz="3100" kern="1200" dirty="0" smtClean="0">
                          <a:solidFill>
                            <a:schemeClr val="tx2"/>
                          </a:solidFill>
                          <a:latin typeface="+mj-lt"/>
                          <a:ea typeface="+mn-ea"/>
                          <a:cs typeface="+mn-cs"/>
                        </a:rPr>
                        <a:t>Three parts of an</a:t>
                      </a:r>
                      <a:r>
                        <a:rPr lang="en-US" sz="3100" kern="1200" baseline="0" dirty="0" smtClean="0">
                          <a:solidFill>
                            <a:schemeClr val="tx2"/>
                          </a:solidFill>
                          <a:latin typeface="+mj-lt"/>
                          <a:ea typeface="+mn-ea"/>
                          <a:cs typeface="+mn-cs"/>
                        </a:rPr>
                        <a:t> </a:t>
                      </a:r>
                      <a:r>
                        <a:rPr lang="en-US" sz="3100" kern="1200" dirty="0" smtClean="0">
                          <a:solidFill>
                            <a:schemeClr val="tx2"/>
                          </a:solidFill>
                          <a:latin typeface="+mj-lt"/>
                          <a:ea typeface="+mn-ea"/>
                          <a:cs typeface="+mn-cs"/>
                        </a:rPr>
                        <a:t>IoT solution</a:t>
                      </a:r>
                    </a:p>
                    <a:p>
                      <a:pPr marL="0" indent="0">
                        <a:buNone/>
                      </a:pPr>
                      <a:endParaRPr lang="en-US" sz="3100" kern="1200" dirty="0" smtClean="0">
                        <a:solidFill>
                          <a:schemeClr val="tx2"/>
                        </a:solidFill>
                        <a:latin typeface="+mj-lt"/>
                        <a:ea typeface="+mn-ea"/>
                        <a:cs typeface="+mn-cs"/>
                      </a:endParaRPr>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1</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Device connectivity &amp; management</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2</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Analytics &amp; operationalized insights</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3</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Presentation &amp; business connectivit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68217" y="2084714"/>
          <a:ext cx="5108498" cy="3862230"/>
        </p:xfrm>
        <a:graphic>
          <a:graphicData uri="http://schemas.openxmlformats.org/drawingml/2006/table">
            <a:tbl>
              <a:tblPr firstRow="1" bandRow="1">
                <a:tableStyleId>{5C22544A-7EE6-4342-B048-85BDC9FD1C3A}</a:tableStyleId>
              </a:tblPr>
              <a:tblGrid>
                <a:gridCol w="5108498"/>
              </a:tblGrid>
              <a:tr h="13057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tr>
              <a:tr h="989667">
                <a:tc>
                  <a:txBody>
                    <a:bodyPr/>
                    <a:lstStyle/>
                    <a:p>
                      <a:endParaRPr lang="en-US" sz="1700" dirty="0"/>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asy to provision, use and manag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Pay as you go, scale as you need</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Global reach, hyper scal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nd to end security &amp; privac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8" name="Group 7"/>
          <p:cNvGrpSpPr>
            <a:grpSpLocks noChangeAspect="1"/>
          </p:cNvGrpSpPr>
          <p:nvPr/>
        </p:nvGrpSpPr>
        <p:grpSpPr>
          <a:xfrm>
            <a:off x="449684" y="1188523"/>
            <a:ext cx="2877534" cy="1932060"/>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r>
                <a:rPr lang="en-US" sz="4312" spc="-147" dirty="0">
                  <a:solidFill>
                    <a:srgbClr val="FFFFFF"/>
                  </a:solidFill>
                  <a:latin typeface="Segoe UI Light"/>
                </a:rPr>
                <a:t>Azure </a:t>
              </a:r>
              <a:r>
                <a:rPr lang="en-US" sz="4312" spc="-147" dirty="0" err="1">
                  <a:solidFill>
                    <a:srgbClr val="FFFFFF"/>
                  </a:solidFill>
                  <a:latin typeface="Segoe UI Light"/>
                </a:rPr>
                <a:t>IoT</a:t>
              </a:r>
              <a:endParaRPr lang="en-US" sz="4312" spc="-147" dirty="0">
                <a:solidFill>
                  <a:srgbClr val="FFFFFF"/>
                </a:solidFill>
                <a:latin typeface="Segoe UI Light"/>
              </a:endParaRPr>
            </a:p>
          </p:txBody>
        </p:sp>
      </p:grpSp>
    </p:spTree>
    <p:extLst>
      <p:ext uri="{BB962C8B-B14F-4D97-AF65-F5344CB8AC3E}">
        <p14:creationId xmlns:p14="http://schemas.microsoft.com/office/powerpoint/2010/main" val="2401603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cxnSp>
        <p:nvCxnSpPr>
          <p:cNvPr id="227"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0295" y="4860549"/>
            <a:ext cx="753776" cy="104242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28" name="Rectangle 2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grpSp>
        <p:nvGrpSpPr>
          <p:cNvPr id="228" name="1 Devices - sensors"/>
          <p:cNvGrpSpPr/>
          <p:nvPr/>
        </p:nvGrpSpPr>
        <p:grpSpPr>
          <a:xfrm>
            <a:off x="115195" y="2003773"/>
            <a:ext cx="853811" cy="3912100"/>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19410" y="1971262"/>
            <a:ext cx="1127755" cy="3897647"/>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38"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58365" y="3620508"/>
            <a:ext cx="753776" cy="104242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91" name="3 Protocol Adaptation"/>
          <p:cNvGrpSpPr/>
          <p:nvPr/>
        </p:nvGrpSpPr>
        <p:grpSpPr>
          <a:xfrm>
            <a:off x="2107987" y="3621857"/>
            <a:ext cx="792263" cy="1041078"/>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47905" y="1971260"/>
            <a:ext cx="5974609" cy="3824894"/>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Event Hub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igh scale telemetry ingestion service</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TTP/AMQP protocol support</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Each Event Hub support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 million publisher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GB/s ingres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Generally available worldwide</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8 Billion messages per day</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60+ TB ingested per day</a:t>
            </a:r>
          </a:p>
        </p:txBody>
      </p:sp>
    </p:spTree>
    <p:extLst>
      <p:ext uri="{BB962C8B-B14F-4D97-AF65-F5344CB8AC3E}">
        <p14:creationId xmlns:p14="http://schemas.microsoft.com/office/powerpoint/2010/main" val="3301186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3"/>
                                        </p:tgtEl>
                                        <p:attrNameLst>
                                          <p:attrName>style.visibility</p:attrName>
                                        </p:attrNameLst>
                                      </p:cBhvr>
                                      <p:to>
                                        <p:strVal val="visible"/>
                                      </p:to>
                                    </p:set>
                                    <p:animEffect transition="in" filter="fade">
                                      <p:cBhvr>
                                        <p:cTn id="12" dur="500"/>
                                        <p:tgtEl>
                                          <p:spTgt spid="233"/>
                                        </p:tgtEl>
                                      </p:cBhvr>
                                    </p:animEffect>
                                  </p:childTnLst>
                                </p:cTn>
                              </p:par>
                              <p:par>
                                <p:cTn id="13" presetID="10"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fade">
                                      <p:cBhvr>
                                        <p:cTn id="23" dur="500"/>
                                        <p:tgtEl>
                                          <p:spTgt spid="227"/>
                                        </p:tgtEl>
                                      </p:cBhvr>
                                    </p:animEffect>
                                  </p:childTnLst>
                                </p:cTn>
                              </p:par>
                              <p:par>
                                <p:cTn id="24" presetID="10" presetClass="entr" presetSubtype="0" fill="hold" nodeType="withEffect">
                                  <p:stCondLst>
                                    <p:cond delay="0"/>
                                  </p:stCondLst>
                                  <p:childTnLst>
                                    <p:set>
                                      <p:cBhvr>
                                        <p:cTn id="25" dur="1" fill="hold">
                                          <p:stCondLst>
                                            <p:cond delay="0"/>
                                          </p:stCondLst>
                                        </p:cTn>
                                        <p:tgtEl>
                                          <p:spTgt spid="138"/>
                                        </p:tgtEl>
                                        <p:attrNameLst>
                                          <p:attrName>style.visibility</p:attrName>
                                        </p:attrNameLst>
                                      </p:cBhvr>
                                      <p:to>
                                        <p:strVal val="visible"/>
                                      </p:to>
                                    </p:set>
                                    <p:animEffect transition="in" filter="fade">
                                      <p:cBhvr>
                                        <p:cTn id="26" dur="500"/>
                                        <p:tgtEl>
                                          <p:spTgt spid="138"/>
                                        </p:tgtEl>
                                      </p:cBhvr>
                                    </p:animEffect>
                                  </p:childTnLst>
                                </p:cTn>
                              </p:par>
                              <p:par>
                                <p:cTn id="27" presetID="10" presetClass="entr" presetSubtype="0" fill="hold" nodeType="with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29"/>
                                        </p:tgtEl>
                                        <p:attrNameLst>
                                          <p:attrName>style.visibility</p:attrName>
                                        </p:attrNameLst>
                                      </p:cBhvr>
                                      <p:to>
                                        <p:strVal val="visible"/>
                                      </p:to>
                                    </p:set>
                                    <p:animEffect transition="in" filter="fade">
                                      <p:cBhvr>
                                        <p:cTn id="35" dur="500"/>
                                        <p:tgtEl>
                                          <p:spTgt spid="2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217"/>
                                        </p:tgtEl>
                                        <p:attrNameLst>
                                          <p:attrName>style.visibility</p:attrName>
                                        </p:attrNameLst>
                                      </p:cBhvr>
                                      <p:to>
                                        <p:strVal val="visible"/>
                                      </p:to>
                                    </p:set>
                                    <p:animEffect transition="in" filter="fade">
                                      <p:cBhvr>
                                        <p:cTn id="43" dur="500"/>
                                        <p:tgtEl>
                                          <p:spTgt spid="217"/>
                                        </p:tgtEl>
                                      </p:cBhvr>
                                    </p:animEffect>
                                  </p:childTnLst>
                                </p:cTn>
                              </p:par>
                              <p:par>
                                <p:cTn id="44" presetID="10" presetClass="entr" presetSubtype="0" fill="hold" nodeType="withEffect">
                                  <p:stCondLst>
                                    <p:cond delay="0"/>
                                  </p:stCondLst>
                                  <p:childTnLst>
                                    <p:set>
                                      <p:cBhvr>
                                        <p:cTn id="45" dur="1" fill="hold">
                                          <p:stCondLst>
                                            <p:cond delay="0"/>
                                          </p:stCondLst>
                                        </p:cTn>
                                        <p:tgtEl>
                                          <p:spTgt spid="216"/>
                                        </p:tgtEl>
                                        <p:attrNameLst>
                                          <p:attrName>style.visibility</p:attrName>
                                        </p:attrNameLst>
                                      </p:cBhvr>
                                      <p:to>
                                        <p:strVal val="visible"/>
                                      </p:to>
                                    </p:set>
                                    <p:animEffect transition="in" filter="fade">
                                      <p:cBhvr>
                                        <p:cTn id="46" dur="500"/>
                                        <p:tgtEl>
                                          <p:spTgt spid="216"/>
                                        </p:tgtEl>
                                      </p:cBhvr>
                                    </p:animEffect>
                                  </p:childTnLst>
                                </p:cTn>
                              </p:par>
                              <p:par>
                                <p:cTn id="47" presetID="10" presetClass="entr" presetSubtype="0" fill="hold" nodeType="withEffect">
                                  <p:stCondLst>
                                    <p:cond delay="0"/>
                                  </p:stCondLst>
                                  <p:childTnLst>
                                    <p:set>
                                      <p:cBhvr>
                                        <p:cTn id="48" dur="1" fill="hold">
                                          <p:stCondLst>
                                            <p:cond delay="0"/>
                                          </p:stCondLst>
                                        </p:cTn>
                                        <p:tgtEl>
                                          <p:spTgt spid="215"/>
                                        </p:tgtEl>
                                        <p:attrNameLst>
                                          <p:attrName>style.visibility</p:attrName>
                                        </p:attrNameLst>
                                      </p:cBhvr>
                                      <p:to>
                                        <p:strVal val="visible"/>
                                      </p:to>
                                    </p:set>
                                    <p:animEffect transition="in" filter="fade">
                                      <p:cBhvr>
                                        <p:cTn id="49" dur="500"/>
                                        <p:tgtEl>
                                          <p:spTgt spid="215"/>
                                        </p:tgtEl>
                                      </p:cBhvr>
                                    </p:animEffect>
                                  </p:childTnLst>
                                </p:cTn>
                              </p:par>
                              <p:par>
                                <p:cTn id="50" presetID="10" presetClass="entr" presetSubtype="0" fill="hold" nodeType="withEffect">
                                  <p:stCondLst>
                                    <p:cond delay="0"/>
                                  </p:stCondLst>
                                  <p:childTnLst>
                                    <p:set>
                                      <p:cBhvr>
                                        <p:cTn id="51" dur="1" fill="hold">
                                          <p:stCondLst>
                                            <p:cond delay="0"/>
                                          </p:stCondLst>
                                        </p:cTn>
                                        <p:tgtEl>
                                          <p:spTgt spid="187"/>
                                        </p:tgtEl>
                                        <p:attrNameLst>
                                          <p:attrName>style.visibility</p:attrName>
                                        </p:attrNameLst>
                                      </p:cBhvr>
                                      <p:to>
                                        <p:strVal val="visible"/>
                                      </p:to>
                                    </p:set>
                                    <p:animEffect transition="in" filter="fade">
                                      <p:cBhvr>
                                        <p:cTn id="52" dur="500"/>
                                        <p:tgtEl>
                                          <p:spTgt spid="187"/>
                                        </p:tgtEl>
                                      </p:cBhvr>
                                    </p:animEffect>
                                  </p:childTnLst>
                                </p:cTn>
                              </p:par>
                              <p:par>
                                <p:cTn id="53" presetID="10" presetClass="entr" presetSubtype="0" fill="hold"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par>
                                <p:cTn id="56" presetID="10" presetClass="entr" presetSubtype="0" fill="hold" nodeType="withEffect">
                                  <p:stCondLst>
                                    <p:cond delay="0"/>
                                  </p:stCondLst>
                                  <p:childTnLst>
                                    <p:set>
                                      <p:cBhvr>
                                        <p:cTn id="57" dur="1" fill="hold">
                                          <p:stCondLst>
                                            <p:cond delay="0"/>
                                          </p:stCondLst>
                                        </p:cTn>
                                        <p:tgtEl>
                                          <p:spTgt spid="210"/>
                                        </p:tgtEl>
                                        <p:attrNameLst>
                                          <p:attrName>style.visibility</p:attrName>
                                        </p:attrNameLst>
                                      </p:cBhvr>
                                      <p:to>
                                        <p:strVal val="visible"/>
                                      </p:to>
                                    </p:set>
                                    <p:animEffect transition="in" filter="fade">
                                      <p:cBhvr>
                                        <p:cTn id="5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sp>
        <p:nvSpPr>
          <p:cNvPr id="2" name="TextBox 1"/>
          <p:cNvSpPr txBox="1"/>
          <p:nvPr/>
        </p:nvSpPr>
        <p:spPr>
          <a:xfrm>
            <a:off x="5647905" y="1971260"/>
            <a:ext cx="5974609" cy="2220128"/>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Additional IoT Need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Command &amp; control</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identit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registr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management</a:t>
            </a:r>
          </a:p>
        </p:txBody>
      </p:sp>
      <p:sp>
        <p:nvSpPr>
          <p:cNvPr id="70" name="TextBox 69"/>
          <p:cNvSpPr txBox="1"/>
          <p:nvPr/>
        </p:nvSpPr>
        <p:spPr>
          <a:xfrm>
            <a:off x="5647905" y="4374647"/>
            <a:ext cx="5974609" cy="615361"/>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Coming with the Azure IoT Suite…</a:t>
            </a:r>
          </a:p>
        </p:txBody>
      </p:sp>
      <p:cxnSp>
        <p:nvCxnSpPr>
          <p:cNvPr id="71"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4" name="2 Field Gateway"/>
          <p:cNvGrpSpPr/>
          <p:nvPr/>
        </p:nvGrpSpPr>
        <p:grpSpPr>
          <a:xfrm>
            <a:off x="1360295" y="4860549"/>
            <a:ext cx="753776" cy="1042429"/>
            <a:chOff x="1547306" y="5067599"/>
            <a:chExt cx="769091" cy="1063609"/>
          </a:xfrm>
        </p:grpSpPr>
        <p:sp>
          <p:nvSpPr>
            <p:cNvPr id="76" name="Rectangle 75"/>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7"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78" name="Rectangle 7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9"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80" name="1 Devices - sensors"/>
          <p:cNvGrpSpPr/>
          <p:nvPr/>
        </p:nvGrpSpPr>
        <p:grpSpPr>
          <a:xfrm>
            <a:off x="115195" y="2003773"/>
            <a:ext cx="853811" cy="3912100"/>
            <a:chOff x="276909" y="1995490"/>
            <a:chExt cx="871159" cy="3991585"/>
          </a:xfrm>
        </p:grpSpPr>
        <p:sp>
          <p:nvSpPr>
            <p:cNvPr id="81" name="Rectangle 80"/>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2" name="TextBox 8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3"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5"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7"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9"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1"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5"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7"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9"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1"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3"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2 Cloud Gateway"/>
          <p:cNvGrpSpPr/>
          <p:nvPr/>
        </p:nvGrpSpPr>
        <p:grpSpPr>
          <a:xfrm>
            <a:off x="3719410" y="1971262"/>
            <a:ext cx="1127755" cy="3897647"/>
            <a:chOff x="3791485" y="2035023"/>
            <a:chExt cx="1150668" cy="3976839"/>
          </a:xfrm>
        </p:grpSpPr>
        <p:sp>
          <p:nvSpPr>
            <p:cNvPr id="105" name="Rectangle 10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06" name="Group 105"/>
            <p:cNvGrpSpPr/>
            <p:nvPr/>
          </p:nvGrpSpPr>
          <p:grpSpPr>
            <a:xfrm>
              <a:off x="3937962" y="4220314"/>
              <a:ext cx="828566" cy="927456"/>
              <a:chOff x="3889804" y="5487538"/>
              <a:chExt cx="981581" cy="1503220"/>
            </a:xfrm>
          </p:grpSpPr>
          <p:grpSp>
            <p:nvGrpSpPr>
              <p:cNvPr id="107" name="Group 106"/>
              <p:cNvGrpSpPr/>
              <p:nvPr/>
            </p:nvGrpSpPr>
            <p:grpSpPr>
              <a:xfrm>
                <a:off x="4088812" y="5729791"/>
                <a:ext cx="640699" cy="978963"/>
                <a:chOff x="3994659" y="7008702"/>
                <a:chExt cx="745465" cy="1374671"/>
              </a:xfrm>
            </p:grpSpPr>
            <p:sp>
              <p:nvSpPr>
                <p:cNvPr id="110" name="Rectangle 109"/>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 name="Rectangle 110"/>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2" name="Rectangle 111"/>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3" name="Rectangle 112"/>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4" name="Rectangle 113"/>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5" name="Rectangle 114"/>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08" name="Freeform 10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09" name="Freeform 10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16"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9" name="2 Field Gateway"/>
          <p:cNvGrpSpPr/>
          <p:nvPr/>
        </p:nvGrpSpPr>
        <p:grpSpPr>
          <a:xfrm>
            <a:off x="1358365" y="3620508"/>
            <a:ext cx="753776" cy="1042429"/>
            <a:chOff x="1547306" y="5067599"/>
            <a:chExt cx="769091" cy="1063609"/>
          </a:xfrm>
        </p:grpSpPr>
        <p:sp>
          <p:nvSpPr>
            <p:cNvPr id="120" name="Rectangle 11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2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22" name="3 Protocol Adaptation"/>
          <p:cNvGrpSpPr/>
          <p:nvPr/>
        </p:nvGrpSpPr>
        <p:grpSpPr>
          <a:xfrm>
            <a:off x="2107987" y="3621857"/>
            <a:ext cx="792263" cy="1041078"/>
            <a:chOff x="2505117" y="3539000"/>
            <a:chExt cx="877565" cy="1062230"/>
          </a:xfrm>
        </p:grpSpPr>
        <p:sp>
          <p:nvSpPr>
            <p:cNvPr id="123" name="Rectangle 12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2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8"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129" name="Elbow Connector 128"/>
            <p:cNvCxnSpPr>
              <a:stCxn id="124" idx="3"/>
              <a:endCxn id="12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5" idx="3"/>
              <a:endCxn id="12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26" idx="3"/>
              <a:endCxn id="12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28" idx="3"/>
              <a:endCxn id="12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3"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75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the “internet of things”</a:t>
            </a: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sz="3600" b="1" dirty="0" smtClean="0">
                <a:solidFill>
                  <a:sysClr val="windowText" lastClr="000000"/>
                </a:solidFill>
              </a:rPr>
              <a:t>Internet of things</a:t>
            </a:r>
          </a:p>
          <a:p>
            <a:pPr marL="0" indent="0">
              <a:buNone/>
            </a:pPr>
            <a:r>
              <a:rPr lang="en-US" dirty="0" smtClean="0">
                <a:solidFill>
                  <a:sysClr val="windowText" lastClr="000000"/>
                </a:solidFill>
              </a:rPr>
              <a:t>Syllabification (</a:t>
            </a:r>
            <a:r>
              <a:rPr lang="en-US" dirty="0" err="1" smtClean="0">
                <a:solidFill>
                  <a:sysClr val="windowText" lastClr="000000"/>
                </a:solidFill>
              </a:rPr>
              <a:t>Inter•net</a:t>
            </a:r>
            <a:r>
              <a:rPr lang="en-US" dirty="0" smtClean="0">
                <a:solidFill>
                  <a:sysClr val="windowText" lastClr="000000"/>
                </a:solidFill>
              </a:rPr>
              <a:t> of things)</a:t>
            </a:r>
            <a:br>
              <a:rPr lang="en-US" dirty="0" smtClean="0">
                <a:solidFill>
                  <a:sysClr val="windowText" lastClr="000000"/>
                </a:solidFill>
              </a:rPr>
            </a:br>
            <a:r>
              <a:rPr lang="en-US" dirty="0" smtClean="0">
                <a:solidFill>
                  <a:sysClr val="windowText" lastClr="000000"/>
                </a:solidFill>
              </a:rPr>
              <a:t/>
            </a:r>
            <a:br>
              <a:rPr lang="en-US" dirty="0" smtClean="0">
                <a:solidFill>
                  <a:sysClr val="windowText" lastClr="000000"/>
                </a:solidFill>
              </a:rPr>
            </a:br>
            <a:r>
              <a:rPr lang="en-US" i="1" dirty="0" smtClean="0">
                <a:solidFill>
                  <a:sysClr val="windowText" lastClr="000000"/>
                </a:solidFill>
              </a:rPr>
              <a:t>noun</a:t>
            </a:r>
            <a:endParaRPr lang="en-US" dirty="0">
              <a:solidFill>
                <a:sysClr val="windowText" lastClr="000000"/>
              </a:solidFill>
            </a:endParaRPr>
          </a:p>
          <a:p>
            <a:pPr marL="0" indent="0">
              <a:buNone/>
            </a:pPr>
            <a:r>
              <a:rPr lang="en-US" i="1" dirty="0" smtClean="0">
                <a:solidFill>
                  <a:schemeClr val="bg2"/>
                </a:solidFill>
              </a:rPr>
              <a:t>	</a:t>
            </a:r>
            <a:r>
              <a:rPr lang="en-US" b="1" i="1" dirty="0" smtClean="0">
                <a:solidFill>
                  <a:schemeClr val="accent2"/>
                </a:solidFill>
              </a:rPr>
              <a:t>A proposed development of the Internet in which everyday objects have network connectivity, allowing them to send and receive data:</a:t>
            </a:r>
            <a:r>
              <a:rPr lang="en-US" dirty="0" smtClean="0">
                <a:solidFill>
                  <a:schemeClr val="bg2"/>
                </a:solidFill>
              </a:rPr>
              <a:t/>
            </a:r>
            <a:br>
              <a:rPr lang="en-US" dirty="0" smtClean="0">
                <a:solidFill>
                  <a:schemeClr val="bg2"/>
                </a:solidFill>
              </a:rPr>
            </a:br>
            <a:r>
              <a:rPr lang="en-US" dirty="0" smtClean="0">
                <a:solidFill>
                  <a:schemeClr val="bg2"/>
                </a:solidFill>
              </a:rPr>
              <a:t/>
            </a:r>
            <a:br>
              <a:rPr lang="en-US" dirty="0" smtClean="0">
                <a:solidFill>
                  <a:schemeClr val="bg2"/>
                </a:solidFill>
              </a:rPr>
            </a:br>
            <a:r>
              <a:rPr lang="en-US" dirty="0" smtClean="0">
                <a:solidFill>
                  <a:sysClr val="windowText" lastClr="000000"/>
                </a:solidFill>
              </a:rPr>
              <a:t>“</a:t>
            </a:r>
            <a:r>
              <a:rPr lang="en-US" i="1" dirty="0" smtClean="0">
                <a:solidFill>
                  <a:sysClr val="windowText" lastClr="000000"/>
                </a:solidFill>
              </a:rPr>
              <a:t>If one thing can prevent the Internet of things from transforming the way we live and work, it will be a breakdown in security.</a:t>
            </a:r>
            <a:r>
              <a:rPr lang="en-US" dirty="0" smtClean="0">
                <a:solidFill>
                  <a:sysClr val="windowText" lastClr="000000"/>
                </a:solidFill>
              </a:rPr>
              <a:t>”</a:t>
            </a:r>
            <a:r>
              <a:rPr lang="en-US" i="1" dirty="0" smtClean="0">
                <a:solidFill>
                  <a:schemeClr val="bg2"/>
                </a:solidFill>
              </a:rPr>
              <a:t/>
            </a:r>
            <a:br>
              <a:rPr lang="en-US" i="1" dirty="0" smtClean="0">
                <a:solidFill>
                  <a:schemeClr val="bg2"/>
                </a:solidFill>
              </a:rPr>
            </a:br>
            <a:endParaRPr lang="en-US" i="1" dirty="0">
              <a:solidFill>
                <a:schemeClr val="bg2"/>
              </a:solidFill>
            </a:endParaRPr>
          </a:p>
        </p:txBody>
      </p:sp>
      <p:sp>
        <p:nvSpPr>
          <p:cNvPr id="4" name="TextBox 3"/>
          <p:cNvSpPr txBox="1"/>
          <p:nvPr/>
        </p:nvSpPr>
        <p:spPr>
          <a:xfrm>
            <a:off x="2615143" y="6413404"/>
            <a:ext cx="6961714" cy="276999"/>
          </a:xfrm>
          <a:prstGeom prst="rect">
            <a:avLst/>
          </a:prstGeom>
          <a:noFill/>
        </p:spPr>
        <p:txBody>
          <a:bodyPr wrap="none" rtlCol="0">
            <a:spAutoFit/>
          </a:bodyPr>
          <a:lstStyle/>
          <a:p>
            <a:r>
              <a:rPr lang="en-US" sz="1200" dirty="0" smtClean="0"/>
              <a:t>Source: </a:t>
            </a:r>
            <a:r>
              <a:rPr lang="en-US" sz="1200" dirty="0" smtClean="0">
                <a:hlinkClick r:id="rId2"/>
              </a:rPr>
              <a:t>Oxford Dictionary</a:t>
            </a:r>
            <a:r>
              <a:rPr lang="en-US" sz="1200" dirty="0" smtClean="0"/>
              <a:t>, yep, it’s really in the Oxford Dictionary.  It got added at the end of August, 2013</a:t>
            </a:r>
          </a:p>
        </p:txBody>
      </p:sp>
    </p:spTree>
    <p:extLst>
      <p:ext uri="{BB962C8B-B14F-4D97-AF65-F5344CB8AC3E}">
        <p14:creationId xmlns:p14="http://schemas.microsoft.com/office/powerpoint/2010/main" val="37123090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E3EFF6"/>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6" name="3"/>
          <p:cNvSpPr txBox="1"/>
          <p:nvPr/>
        </p:nvSpPr>
        <p:spPr>
          <a:xfrm>
            <a:off x="5343476" y="5980626"/>
            <a:ext cx="3608123"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p>
            <a:pPr defTabSz="914038"/>
            <a:r>
              <a:rPr lang="en-US" sz="1568" dirty="0">
                <a:solidFill>
                  <a:srgbClr val="FFFFFF"/>
                </a:solidFill>
              </a:rPr>
              <a:t>Analytics &amp; </a:t>
            </a:r>
          </a:p>
          <a:p>
            <a:pPr defTabSz="914038"/>
            <a:r>
              <a:rPr lang="en-US" sz="1568" dirty="0">
                <a:solidFill>
                  <a:srgbClr val="FFFFFF"/>
                </a:solidFill>
              </a:rPr>
              <a:t>Operationalized Insights</a:t>
            </a:r>
          </a:p>
        </p:txBody>
      </p:sp>
      <p:sp>
        <p:nvSpPr>
          <p:cNvPr id="58" name="7 Presentation"/>
          <p:cNvSpPr txBox="1"/>
          <p:nvPr/>
        </p:nvSpPr>
        <p:spPr>
          <a:xfrm>
            <a:off x="9523606" y="5980626"/>
            <a:ext cx="2135970"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Presentation &amp; </a:t>
            </a:r>
          </a:p>
          <a:p>
            <a:r>
              <a:rPr lang="en-US" sz="1568" dirty="0">
                <a:solidFill>
                  <a:srgbClr val="FFFFFF"/>
                </a:solidFill>
              </a:rPr>
              <a:t>Business Connectivity</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854376" y="5025209"/>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854376" y="3759920"/>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854376" y="2569476"/>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071480" y="5025209"/>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071480" y="3891222"/>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071480" y="2569476"/>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1" name="4  Batch Analytics &amp; Visualizations"/>
          <p:cNvGrpSpPr/>
          <p:nvPr/>
        </p:nvGrpSpPr>
        <p:grpSpPr>
          <a:xfrm>
            <a:off x="5343476" y="1969633"/>
            <a:ext cx="3598985" cy="118031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1568" spc="-49"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343476" y="3263826"/>
            <a:ext cx="3608123" cy="1251710"/>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33611" bIns="33611" numCol="1" spcCol="0" rtlCol="0" fromWordArt="0" anchor="b" anchorCtr="0" forceAA="0" compatLnSpc="1">
                <a:prstTxWarp prst="textNoShape">
                  <a:avLst/>
                </a:prstTxWarp>
                <a:noAutofit/>
              </a:bodyPr>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grpSp>
      <p:grpSp>
        <p:nvGrpSpPr>
          <p:cNvPr id="337" name="8"/>
          <p:cNvGrpSpPr/>
          <p:nvPr/>
        </p:nvGrpSpPr>
        <p:grpSpPr>
          <a:xfrm>
            <a:off x="9523606" y="1971262"/>
            <a:ext cx="2142060" cy="3897647"/>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pic>
          <p:nvPicPr>
            <p:cNvPr id="225" name="Picture 224"/>
            <p:cNvPicPr>
              <a:picLocks noChangeAspect="1"/>
            </p:cNvPicPr>
            <p:nvPr/>
          </p:nvPicPr>
          <p:blipFill>
            <a:blip r:embed="rId12" cstate="screen">
              <a:biLevel thresh="50000"/>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grpSp>
        <p:nvGrpSpPr>
          <p:cNvPr id="336" name="6 Hot Path Business Logic"/>
          <p:cNvGrpSpPr/>
          <p:nvPr/>
        </p:nvGrpSpPr>
        <p:grpSpPr>
          <a:xfrm>
            <a:off x="5343475" y="4580546"/>
            <a:ext cx="3600540" cy="1296691"/>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99621" y="5292884"/>
            <a:ext cx="376594" cy="376594"/>
          </a:xfrm>
          <a:prstGeom prst="rect">
            <a:avLst/>
          </a:prstGeom>
        </p:spPr>
      </p:pic>
      <p:sp>
        <p:nvSpPr>
          <p:cNvPr id="2" name="Rounded Rectangle 1"/>
          <p:cNvSpPr/>
          <p:nvPr/>
        </p:nvSpPr>
        <p:spPr bwMode="auto">
          <a:xfrm>
            <a:off x="5175087" y="1734326"/>
            <a:ext cx="4010892" cy="5047474"/>
          </a:xfrm>
          <a:prstGeom prst="roundRect">
            <a:avLst>
              <a:gd name="adj" fmla="val 7342"/>
            </a:avLst>
          </a:pr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44"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7" name="2 Field Gateway"/>
          <p:cNvGrpSpPr/>
          <p:nvPr/>
        </p:nvGrpSpPr>
        <p:grpSpPr>
          <a:xfrm>
            <a:off x="1360295" y="4860549"/>
            <a:ext cx="753776" cy="1042429"/>
            <a:chOff x="1547306" y="5067599"/>
            <a:chExt cx="769091" cy="1063609"/>
          </a:xfrm>
        </p:grpSpPr>
        <p:sp>
          <p:nvSpPr>
            <p:cNvPr id="148" name="Rectangle 14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4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150" name="Rectangle 149"/>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51"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152" name="1 Devices - sensors"/>
          <p:cNvGrpSpPr/>
          <p:nvPr/>
        </p:nvGrpSpPr>
        <p:grpSpPr>
          <a:xfrm>
            <a:off x="115195" y="2003773"/>
            <a:ext cx="853811" cy="3912100"/>
            <a:chOff x="276909" y="1995490"/>
            <a:chExt cx="871159" cy="3991585"/>
          </a:xfrm>
        </p:grpSpPr>
        <p:sp>
          <p:nvSpPr>
            <p:cNvPr id="153" name="Rectangle 152"/>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4" name="TextBox 153"/>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155"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7"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6"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8"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0"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2"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4"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2 Cloud Gateway"/>
          <p:cNvGrpSpPr/>
          <p:nvPr/>
        </p:nvGrpSpPr>
        <p:grpSpPr>
          <a:xfrm>
            <a:off x="3719410" y="1971262"/>
            <a:ext cx="1127755" cy="3897647"/>
            <a:chOff x="3791485" y="2035023"/>
            <a:chExt cx="1150668" cy="3976839"/>
          </a:xfrm>
        </p:grpSpPr>
        <p:sp>
          <p:nvSpPr>
            <p:cNvPr id="186" name="Rectangle 185"/>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90" name="Group 189"/>
            <p:cNvGrpSpPr/>
            <p:nvPr/>
          </p:nvGrpSpPr>
          <p:grpSpPr>
            <a:xfrm>
              <a:off x="3937962" y="4220314"/>
              <a:ext cx="828566" cy="927456"/>
              <a:chOff x="3889804" y="5487538"/>
              <a:chExt cx="981581" cy="1503220"/>
            </a:xfrm>
          </p:grpSpPr>
          <p:grpSp>
            <p:nvGrpSpPr>
              <p:cNvPr id="202" name="Group 201"/>
              <p:cNvGrpSpPr/>
              <p:nvPr/>
            </p:nvGrpSpPr>
            <p:grpSpPr>
              <a:xfrm>
                <a:off x="4088812" y="5729791"/>
                <a:ext cx="640699" cy="978963"/>
                <a:chOff x="3994659" y="7008702"/>
                <a:chExt cx="745465" cy="1374671"/>
              </a:xfrm>
            </p:grpSpPr>
            <p:sp>
              <p:nvSpPr>
                <p:cNvPr id="219" name="Rectangle 218"/>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0" name="Rectangle 219"/>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1" name="Rectangle 220"/>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2" name="Rectangle 221"/>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6" name="Rectangle 22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31" name="Rectangle 230"/>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212" name="Freeform 211"/>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18" name="Freeform 21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263"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7" name="2 Field Gateway"/>
          <p:cNvGrpSpPr/>
          <p:nvPr/>
        </p:nvGrpSpPr>
        <p:grpSpPr>
          <a:xfrm>
            <a:off x="1358365" y="3620508"/>
            <a:ext cx="753776" cy="1042429"/>
            <a:chOff x="1547306" y="5067599"/>
            <a:chExt cx="769091" cy="1063609"/>
          </a:xfrm>
        </p:grpSpPr>
        <p:sp>
          <p:nvSpPr>
            <p:cNvPr id="268" name="Rectangle 26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26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270" name="3 Protocol Adaptation"/>
          <p:cNvGrpSpPr/>
          <p:nvPr/>
        </p:nvGrpSpPr>
        <p:grpSpPr>
          <a:xfrm>
            <a:off x="2107987" y="3621857"/>
            <a:ext cx="792263" cy="1041078"/>
            <a:chOff x="2505117" y="3539000"/>
            <a:chExt cx="877565" cy="1062230"/>
          </a:xfrm>
        </p:grpSpPr>
        <p:sp>
          <p:nvSpPr>
            <p:cNvPr id="271" name="Rectangle 270"/>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272"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3"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4"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5"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6"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77" name="Elbow Connector 276"/>
            <p:cNvCxnSpPr>
              <a:stCxn id="272" idx="3"/>
              <a:endCxn id="27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Elbow Connector 277"/>
            <p:cNvCxnSpPr>
              <a:stCxn id="273" idx="3"/>
              <a:endCxn id="27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Elbow Connector 278"/>
            <p:cNvCxnSpPr>
              <a:stCxn id="274" idx="3"/>
              <a:endCxn id="27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0" name="Elbow Connector 279"/>
            <p:cNvCxnSpPr>
              <a:stCxn id="276" idx="3"/>
              <a:endCxn id="27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4"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0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270759" y="290775"/>
            <a:ext cx="11652805" cy="899303"/>
          </a:xfrm>
        </p:spPr>
        <p:txBody>
          <a:bodyPr>
            <a:normAutofit fontScale="90000"/>
          </a:bodyPr>
          <a:lstStyle/>
          <a:p>
            <a:r>
              <a:rPr lang="en-US" dirty="0" smtClean="0"/>
              <a:t>Microsoft Azure </a:t>
            </a:r>
            <a:r>
              <a:rPr lang="en-US" dirty="0" err="1" smtClean="0"/>
              <a:t>IoT</a:t>
            </a:r>
            <a:r>
              <a:rPr lang="en-US" dirty="0" smtClean="0"/>
              <a:t> services</a:t>
            </a:r>
            <a:r>
              <a:rPr lang="en-US" smtClean="0"/>
              <a:t/>
            </a:r>
            <a:br>
              <a:rPr lang="en-US" smtClean="0"/>
            </a:br>
            <a:endParaRPr lang="en-US" sz="3528" dirty="0"/>
          </a:p>
        </p:txBody>
      </p:sp>
      <p:graphicFrame>
        <p:nvGraphicFramePr>
          <p:cNvPr id="32" name="Table 31"/>
          <p:cNvGraphicFramePr>
            <a:graphicFrameLocks noGrp="1"/>
          </p:cNvGraphicFramePr>
          <p:nvPr>
            <p:extLst>
              <p:ext uri="{D42A27DB-BD31-4B8C-83A1-F6EECF244321}">
                <p14:modId xmlns:p14="http://schemas.microsoft.com/office/powerpoint/2010/main" val="3493692145"/>
              </p:ext>
            </p:extLst>
          </p:nvPr>
        </p:nvGraphicFramePr>
        <p:xfrm>
          <a:off x="708222" y="1785984"/>
          <a:ext cx="10775558" cy="4708671"/>
        </p:xfrm>
        <a:graphic>
          <a:graphicData uri="http://schemas.openxmlformats.org/drawingml/2006/table">
            <a:tbl>
              <a:tblPr firstRow="1" bandRow="1">
                <a:tableStyleId>{5C22544A-7EE6-4342-B048-85BDC9FD1C3A}</a:tableStyleId>
              </a:tblPr>
              <a:tblGrid>
                <a:gridCol w="1506878">
                  <a:extLst>
                    <a:ext uri="{9D8B030D-6E8A-4147-A177-3AD203B41FA5}">
                      <a16:colId xmlns:a16="http://schemas.microsoft.com/office/drawing/2014/main" xmlns="" val="20000"/>
                    </a:ext>
                  </a:extLst>
                </a:gridCol>
                <a:gridCol w="2317170">
                  <a:extLst>
                    <a:ext uri="{9D8B030D-6E8A-4147-A177-3AD203B41FA5}">
                      <a16:colId xmlns:a16="http://schemas.microsoft.com/office/drawing/2014/main" xmlns="" val="20001"/>
                    </a:ext>
                  </a:extLst>
                </a:gridCol>
                <a:gridCol w="2317170">
                  <a:extLst>
                    <a:ext uri="{9D8B030D-6E8A-4147-A177-3AD203B41FA5}">
                      <a16:colId xmlns:a16="http://schemas.microsoft.com/office/drawing/2014/main" xmlns="" val="20002"/>
                    </a:ext>
                  </a:extLst>
                </a:gridCol>
                <a:gridCol w="2317170">
                  <a:extLst>
                    <a:ext uri="{9D8B030D-6E8A-4147-A177-3AD203B41FA5}">
                      <a16:colId xmlns:a16="http://schemas.microsoft.com/office/drawing/2014/main" xmlns="" val="20003"/>
                    </a:ext>
                  </a:extLst>
                </a:gridCol>
                <a:gridCol w="2317170">
                  <a:extLst>
                    <a:ext uri="{9D8B030D-6E8A-4147-A177-3AD203B41FA5}">
                      <a16:colId xmlns:a16="http://schemas.microsoft.com/office/drawing/2014/main" xmlns="" val="20004"/>
                    </a:ext>
                  </a:extLst>
                </a:gridCol>
              </a:tblGrid>
              <a:tr h="470005">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4449" marR="84449"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10000"/>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38722">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962170" y="2497760"/>
            <a:ext cx="840205" cy="606813"/>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183" tIns="33591" rIns="67183" bIns="33591" numCol="1" rtlCol="0" anchor="ctr" anchorCtr="0" compatLnSpc="1">
              <a:prstTxWarp prst="textNoShape">
                <a:avLst/>
              </a:prstTxWarp>
            </a:bodyPr>
            <a:lstStyle/>
            <a:p>
              <a:pPr algn="ctr" defTabSz="604290">
                <a:defRPr/>
              </a:pPr>
              <a:endParaRPr lang="en-US" sz="1323"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63" tIns="32932" rIns="65863" bIns="32932" numCol="1" rtlCol="0" anchor="ctr" anchorCtr="0" compatLnSpc="1">
              <a:prstTxWarp prst="textNoShape">
                <a:avLst/>
              </a:prstTxWarp>
            </a:bodyPr>
            <a:lstStyle/>
            <a:p>
              <a:pPr algn="ctr" defTabSz="657995"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090297" y="3404351"/>
            <a:ext cx="681551" cy="506305"/>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186" tIns="33592" rIns="67186" bIns="33592" numCol="1" anchor="t" anchorCtr="0" compatLnSpc="1">
              <a:prstTxWarp prst="textNoShape">
                <a:avLst/>
              </a:prstTxWarp>
            </a:bodyPr>
            <a:lstStyle/>
            <a:p>
              <a:pPr algn="ctr" defTabSz="684933">
                <a:defRPr/>
              </a:pPr>
              <a:endParaRPr lang="en-US" sz="1323"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65" tIns="32933" rIns="65865" bIns="32933" numCol="1" anchor="t" anchorCtr="0" compatLnSpc="1">
              <a:prstTxWarp prst="textNoShape">
                <a:avLst/>
              </a:prstTxWarp>
            </a:bodyPr>
            <a:lstStyle/>
            <a:p>
              <a:pPr algn="ctr" defTabSz="65821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806229" bIns="33592" numCol="1" spcCol="0" rtlCol="0" fromWordArt="0" anchor="b" anchorCtr="0" forceAA="0" compatLnSpc="1">
              <a:prstTxWarp prst="textNoShape">
                <a:avLst/>
              </a:prstTxWarp>
              <a:noAutofit/>
            </a:bodyPr>
            <a:lstStyle/>
            <a:p>
              <a:pPr defTabSz="671218" fontAlgn="base">
                <a:spcBef>
                  <a:spcPct val="0"/>
                </a:spcBef>
                <a:spcAft>
                  <a:spcPct val="0"/>
                </a:spcAft>
                <a:defRPr/>
              </a:pPr>
              <a:endParaRPr lang="en-US" sz="1617"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86" tIns="33592" rIns="67186" bIns="33592" numCol="1" anchor="t" anchorCtr="0" compatLnSpc="1">
              <a:prstTxWarp prst="textNoShape">
                <a:avLst/>
              </a:prstTxWarp>
            </a:bodyPr>
            <a:lstStyle/>
            <a:p>
              <a:pPr defTabSz="684907"/>
              <a:endParaRPr lang="en-US" sz="1544">
                <a:solidFill>
                  <a:srgbClr val="000000"/>
                </a:solidFill>
              </a:endParaRPr>
            </a:p>
          </p:txBody>
        </p:sp>
      </p:grpSp>
      <p:grpSp>
        <p:nvGrpSpPr>
          <p:cNvPr id="67" name="Group 66"/>
          <p:cNvGrpSpPr/>
          <p:nvPr/>
        </p:nvGrpSpPr>
        <p:grpSpPr>
          <a:xfrm>
            <a:off x="1406313" y="4178572"/>
            <a:ext cx="541284" cy="328996"/>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1323"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23" tIns="40312" rIns="40312" bIns="80623" numCol="1" spcCol="0" rtlCol="0" fromWordArt="0" anchor="b" anchorCtr="0" forceAA="0" compatLnSpc="1">
              <a:prstTxWarp prst="textNoShape">
                <a:avLst/>
              </a:prstTxWarp>
              <a:noAutofit/>
            </a:bodyPr>
            <a:lstStyle/>
            <a:p>
              <a:pPr algn="ctr" defTabSz="805462" fontAlgn="base">
                <a:spcBef>
                  <a:spcPct val="0"/>
                </a:spcBef>
                <a:spcAft>
                  <a:spcPct val="0"/>
                </a:spcAft>
                <a:defRPr/>
              </a:pPr>
              <a:endParaRPr lang="en-US" sz="1764"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0995" y="4127029"/>
            <a:ext cx="470434" cy="4704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46524" y="4182211"/>
            <a:ext cx="463024" cy="463024"/>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438" y="2506922"/>
            <a:ext cx="415301" cy="43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755" y="3397799"/>
            <a:ext cx="442671" cy="384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815" y="4011589"/>
            <a:ext cx="776547" cy="776547"/>
          </a:xfrm>
          <a:prstGeom prst="rect">
            <a:avLst/>
          </a:prstGeom>
        </p:spPr>
      </p:pic>
      <p:sp>
        <p:nvSpPr>
          <p:cNvPr id="89" name="TextBox 88"/>
          <p:cNvSpPr txBox="1"/>
          <p:nvPr/>
        </p:nvSpPr>
        <p:spPr>
          <a:xfrm>
            <a:off x="4701819" y="4343071"/>
            <a:ext cx="357583" cy="230832"/>
          </a:xfrm>
          <a:prstGeom prst="rect">
            <a:avLst/>
          </a:prstGeom>
          <a:noFill/>
          <a:ln>
            <a:noFill/>
            <a:headEnd type="none" w="med" len="med"/>
            <a:tailEnd type="none" w="med" len="med"/>
          </a:ln>
        </p:spPr>
        <p:txBody>
          <a:bodyPr wrap="square" lIns="0" tIns="0" rIns="0" bIns="0" rtlCol="0">
            <a:spAutoFit/>
          </a:bodyPr>
          <a:lstStyle/>
          <a:p>
            <a:pPr algn="ctr" defTabSz="685467"/>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37578" y="5083879"/>
            <a:ext cx="463024" cy="463024"/>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0814" y="2345377"/>
            <a:ext cx="738838" cy="738838"/>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7158" y="2517038"/>
            <a:ext cx="421251" cy="41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21528" y="5095280"/>
            <a:ext cx="272504" cy="44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086" y="4263894"/>
            <a:ext cx="366431" cy="366431"/>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367492" y="3391827"/>
            <a:ext cx="385026" cy="373648"/>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6985248" y="5038571"/>
            <a:ext cx="469972" cy="469972"/>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42037" y="3390642"/>
            <a:ext cx="398678" cy="3986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347155" y="5937985"/>
            <a:ext cx="478320" cy="478320"/>
          </a:xfrm>
          <a:prstGeom prst="rect">
            <a:avLst/>
          </a:prstGeom>
        </p:spPr>
      </p:pic>
      <p:pic>
        <p:nvPicPr>
          <p:cNvPr id="45" name="Picture 44"/>
          <p:cNvPicPr>
            <a:picLocks noChangeAspect="1"/>
          </p:cNvPicPr>
          <p:nvPr/>
        </p:nvPicPr>
        <p:blipFill>
          <a:blip r:embed="rId20"/>
          <a:stretch>
            <a:fillRect/>
          </a:stretch>
        </p:blipFill>
        <p:spPr>
          <a:xfrm>
            <a:off x="6960601" y="3286326"/>
            <a:ext cx="519269" cy="519269"/>
          </a:xfrm>
          <a:prstGeom prst="rect">
            <a:avLst/>
          </a:prstGeom>
        </p:spPr>
      </p:pic>
      <p:pic>
        <p:nvPicPr>
          <p:cNvPr id="46" name="Picture 45"/>
          <p:cNvPicPr>
            <a:picLocks noChangeAspect="1"/>
          </p:cNvPicPr>
          <p:nvPr/>
        </p:nvPicPr>
        <p:blipFill>
          <a:blip r:embed="rId21"/>
          <a:stretch>
            <a:fillRect/>
          </a:stretch>
        </p:blipFill>
        <p:spPr>
          <a:xfrm>
            <a:off x="2279585" y="2497759"/>
            <a:ext cx="546170" cy="546170"/>
          </a:xfrm>
          <a:prstGeom prst="rect">
            <a:avLst/>
          </a:prstGeom>
        </p:spPr>
      </p:pic>
      <p:pic>
        <p:nvPicPr>
          <p:cNvPr id="47" name="Picture 46"/>
          <p:cNvPicPr>
            <a:picLocks noChangeAspect="1"/>
          </p:cNvPicPr>
          <p:nvPr/>
        </p:nvPicPr>
        <p:blipFill>
          <a:blip r:embed="rId22"/>
          <a:stretch>
            <a:fillRect/>
          </a:stretch>
        </p:blipFill>
        <p:spPr>
          <a:xfrm>
            <a:off x="6921009" y="4051077"/>
            <a:ext cx="598451" cy="598451"/>
          </a:xfrm>
          <a:prstGeom prst="rect">
            <a:avLst/>
          </a:prstGeom>
        </p:spPr>
      </p:pic>
    </p:spTree>
    <p:extLst>
      <p:ext uri="{BB962C8B-B14F-4D97-AF65-F5344CB8AC3E}">
        <p14:creationId xmlns:p14="http://schemas.microsoft.com/office/powerpoint/2010/main" val="1028643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ices</a:t>
            </a:r>
            <a:endParaRPr lang="en-US" dirty="0"/>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99842161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30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822960" y="1406424"/>
            <a:ext cx="6586411"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Segoe UI Light"/>
              </a:rPr>
              <a:t>The Internet of Things </a:t>
            </a:r>
            <a:r>
              <a:rPr lang="en-US" sz="3529" dirty="0">
                <a:solidFill>
                  <a:prstClr val="white"/>
                </a:solidFill>
                <a:latin typeface="Segoe UI Light"/>
                <a:cs typeface="Segoe UI Semibold" panose="020B0702040204020203" pitchFamily="34" charset="0"/>
              </a:rPr>
              <a:t>starts </a:t>
            </a:r>
            <a:br>
              <a:rPr lang="en-US" sz="3529" dirty="0">
                <a:solidFill>
                  <a:prstClr val="white"/>
                </a:solidFill>
                <a:latin typeface="Segoe UI Light"/>
                <a:cs typeface="Segoe UI Semibold" panose="020B0702040204020203" pitchFamily="34" charset="0"/>
              </a:rPr>
            </a:br>
            <a:r>
              <a:rPr lang="en-US" sz="3529" dirty="0">
                <a:solidFill>
                  <a:prstClr val="white"/>
                </a:solidFill>
                <a:latin typeface="Segoe UI Light"/>
                <a:cs typeface="Segoe UI Semibold" panose="020B0702040204020203" pitchFamily="34" charset="0"/>
              </a:rPr>
              <a:t>with </a:t>
            </a:r>
            <a:r>
              <a:rPr lang="en-US" sz="3529" u="sng" dirty="0">
                <a:solidFill>
                  <a:prstClr val="white"/>
                </a:solidFill>
                <a:latin typeface="Segoe UI Light"/>
                <a:cs typeface="Segoe UI Semibold" panose="020B0702040204020203" pitchFamily="34" charset="0"/>
              </a:rPr>
              <a:t>your</a:t>
            </a:r>
            <a:r>
              <a:rPr lang="en-US" sz="3529" dirty="0">
                <a:solidFill>
                  <a:prstClr val="white"/>
                </a:solidFill>
                <a:latin typeface="Segoe UI Light"/>
                <a:cs typeface="Segoe UI Semibold" panose="020B0702040204020203" pitchFamily="34" charset="0"/>
              </a:rPr>
              <a:t> things.</a:t>
            </a:r>
          </a:p>
          <a:p>
            <a:pPr marL="793122" lvl="2" indent="-336145" defTabSz="878676" fontAlgn="base">
              <a:lnSpc>
                <a:spcPct val="90000"/>
              </a:lnSpc>
              <a:spcAft>
                <a:spcPts val="1176"/>
              </a:spcAft>
              <a:buFont typeface="Arial" panose="020B0604020202020204" pitchFamily="34" charset="0"/>
              <a:buChar char="•"/>
            </a:pPr>
            <a:r>
              <a:rPr lang="en-US" sz="1961" dirty="0">
                <a:solidFill>
                  <a:prstClr val="white"/>
                </a:solidFill>
                <a:latin typeface="Segoe UI Light"/>
              </a:rPr>
              <a:t>Build on the infrastructure </a:t>
            </a:r>
            <a:br>
              <a:rPr lang="en-US" sz="1961" dirty="0">
                <a:solidFill>
                  <a:prstClr val="white"/>
                </a:solidFill>
                <a:latin typeface="Segoe UI Light"/>
              </a:rPr>
            </a:br>
            <a:r>
              <a:rPr lang="en-US" sz="1961" dirty="0">
                <a:solidFill>
                  <a:prstClr val="white"/>
                </a:solidFill>
                <a:latin typeface="Segoe UI Light"/>
              </a:rPr>
              <a:t>you already have</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Add more devices to </a:t>
            </a:r>
            <a:br>
              <a:rPr lang="en-US" sz="1961" dirty="0">
                <a:solidFill>
                  <a:prstClr val="white"/>
                </a:solidFill>
                <a:latin typeface="Segoe UI Light"/>
              </a:rPr>
            </a:br>
            <a:r>
              <a:rPr lang="en-US" sz="1961" dirty="0">
                <a:solidFill>
                  <a:prstClr val="white"/>
                </a:solidFill>
                <a:latin typeface="Segoe UI Light"/>
              </a:rPr>
              <a:t>the ones you already own</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Get more from the data </a:t>
            </a:r>
            <a:br>
              <a:rPr lang="en-US" sz="1961" dirty="0">
                <a:solidFill>
                  <a:prstClr val="white"/>
                </a:solidFill>
                <a:latin typeface="Segoe UI Light"/>
              </a:rPr>
            </a:br>
            <a:r>
              <a:rPr lang="en-US" sz="1961" dirty="0">
                <a:solidFill>
                  <a:prstClr val="white"/>
                </a:solidFill>
                <a:latin typeface="Segoe UI Light"/>
              </a:rPr>
              <a:t>that already exists </a:t>
            </a:r>
          </a:p>
          <a:p>
            <a:pPr defTabSz="878676">
              <a:lnSpc>
                <a:spcPct val="90000"/>
              </a:lnSpc>
              <a:spcBef>
                <a:spcPts val="1730"/>
              </a:spcBef>
              <a:spcAft>
                <a:spcPts val="1176"/>
              </a:spcAft>
            </a:pPr>
            <a:r>
              <a:rPr lang="en-US" sz="1961" dirty="0">
                <a:solidFill>
                  <a:prstClr val="white"/>
                </a:solidFill>
                <a:latin typeface="Segoe UI Light"/>
              </a:rPr>
              <a:t>Stop just running your business. Start making it thrive. Start realizing the potential of the </a:t>
            </a:r>
            <a:r>
              <a:rPr lang="en-US" sz="1961" dirty="0">
                <a:solidFill>
                  <a:prstClr val="white"/>
                </a:solidFill>
                <a:effectLst>
                  <a:glow rad="25400">
                    <a:srgbClr val="F8F8F8">
                      <a:alpha val="30000"/>
                    </a:srgbClr>
                  </a:glow>
                </a:effectLst>
                <a:latin typeface="Segoe UI Light"/>
                <a:cs typeface="Segoe UI Light" panose="020B0502040204020203" pitchFamily="34" charset="0"/>
              </a:rPr>
              <a:t>Internet </a:t>
            </a:r>
            <a:r>
              <a:rPr lang="en-US" sz="1961" dirty="0" smtClean="0">
                <a:solidFill>
                  <a:prstClr val="white"/>
                </a:solidFill>
                <a:effectLst>
                  <a:glow rad="25400">
                    <a:srgbClr val="F8F8F8">
                      <a:alpha val="30000"/>
                    </a:srgbClr>
                  </a:glow>
                </a:effectLst>
                <a:latin typeface="Segoe UI Light"/>
                <a:cs typeface="Segoe UI Light" panose="020B0502040204020203" pitchFamily="34" charset="0"/>
              </a:rPr>
              <a:t>of </a:t>
            </a:r>
            <a:r>
              <a:rPr lang="en-US" sz="1961" dirty="0">
                <a:solidFill>
                  <a:prstClr val="white"/>
                </a:solidFill>
                <a:effectLst>
                  <a:glow rad="25400">
                    <a:srgbClr val="F8F8F8">
                      <a:alpha val="30000"/>
                    </a:srgbClr>
                  </a:glow>
                </a:effectLst>
                <a:latin typeface="Segoe UI Light"/>
                <a:cs typeface="Segoe UI Semibold" panose="020B0702040204020203" pitchFamily="34" charset="0"/>
              </a:rPr>
              <a:t>Your Things</a:t>
            </a:r>
            <a:r>
              <a:rPr lang="en-US" sz="1961" dirty="0">
                <a:solidFill>
                  <a:prstClr val="white"/>
                </a:solidFill>
                <a:latin typeface="Segoe UI Light"/>
              </a:rPr>
              <a:t>. </a:t>
            </a:r>
          </a:p>
          <a:p>
            <a:pPr defTabSz="895634"/>
            <a:r>
              <a:rPr lang="en-US" sz="2843" dirty="0" smtClean="0">
                <a:solidFill>
                  <a:prstClr val="white"/>
                </a:solidFill>
                <a:latin typeface="Segoe UI Semibold" panose="020B0702040204020203" pitchFamily="34" charset="0"/>
              </a:rPr>
              <a:t>.</a:t>
            </a:r>
            <a:r>
              <a:rPr lang="en-US" sz="2843" dirty="0" smtClean="0">
                <a:solidFill>
                  <a:prstClr val="white"/>
                </a:solidFill>
                <a:latin typeface="Segoe UI Light"/>
              </a:rPr>
              <a:t> </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2272554" y="6072064"/>
            <a:ext cx="8132696"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1683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 presetClass="entr" presetSubtype="8" fill="hold" grpId="0" nodeType="withEffect">
                                  <p:stCondLst>
                                    <p:cond delay="0"/>
                                  </p:stCondLst>
                                  <p:childTnLst>
                                    <p:set>
                                      <p:cBhvr>
                                        <p:cTn id="8" dur="1" fill="hold">
                                          <p:stCondLst>
                                            <p:cond delay="0"/>
                                          </p:stCondLst>
                                        </p:cTn>
                                        <p:tgtEl>
                                          <p:spTgt spid="167"/>
                                        </p:tgtEl>
                                        <p:attrNameLst>
                                          <p:attrName>style.visibility</p:attrName>
                                        </p:attrNameLst>
                                      </p:cBhvr>
                                      <p:to>
                                        <p:strVal val="visible"/>
                                      </p:to>
                                    </p:set>
                                    <p:anim calcmode="lin" valueType="num">
                                      <p:cBhvr additive="base">
                                        <p:cTn id="9" dur="500" fill="hold"/>
                                        <p:tgtEl>
                                          <p:spTgt spid="167"/>
                                        </p:tgtEl>
                                        <p:attrNameLst>
                                          <p:attrName>ppt_x</p:attrName>
                                        </p:attrNameLst>
                                      </p:cBhvr>
                                      <p:tavLst>
                                        <p:tav tm="0">
                                          <p:val>
                                            <p:strVal val="0-#ppt_w/2"/>
                                          </p:val>
                                        </p:tav>
                                        <p:tav tm="100000">
                                          <p:val>
                                            <p:strVal val="#ppt_x"/>
                                          </p:val>
                                        </p:tav>
                                      </p:tavLst>
                                    </p:anim>
                                    <p:anim calcmode="lin" valueType="num">
                                      <p:cBhvr additive="base">
                                        <p:cTn id="10" dur="500" fill="hold"/>
                                        <p:tgtEl>
                                          <p:spTgt spid="167"/>
                                        </p:tgtEl>
                                        <p:attrNameLst>
                                          <p:attrName>ppt_y</p:attrName>
                                        </p:attrNameLst>
                                      </p:cBhvr>
                                      <p:tavLst>
                                        <p:tav tm="0">
                                          <p:val>
                                            <p:strVal val="#ppt_y"/>
                                          </p:val>
                                        </p:tav>
                                        <p:tav tm="100000">
                                          <p:val>
                                            <p:strVal val="#ppt_y"/>
                                          </p:val>
                                        </p:tav>
                                      </p:tavLst>
                                    </p:anim>
                                  </p:childTnLst>
                                </p:cTn>
                              </p:par>
                              <p:par>
                                <p:cTn id="11" presetID="10" presetClass="entr" presetSubtype="0" fill="hold" nodeType="withEffect">
                                  <p:stCondLst>
                                    <p:cond delay="50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64" presetClass="path" presetSubtype="0" accel="50000" decel="50000" fill="hold" nodeType="withEffect">
                                  <p:stCondLst>
                                    <p:cond delay="0"/>
                                  </p:stCondLst>
                                  <p:childTnLst>
                                    <p:animMotion origin="layout" path="M 0.0875 -0.00046 L 1.66667E-6 3.7037E-7 " pathEditMode="relative" rAng="0" ptsTypes="AA">
                                      <p:cBhvr>
                                        <p:cTn id="15" dur="1000" fill="hold"/>
                                        <p:tgtEl>
                                          <p:spTgt spid="82"/>
                                        </p:tgtEl>
                                        <p:attrNameLst>
                                          <p:attrName>ppt_x</p:attrName>
                                          <p:attrName>ppt_y</p:attrName>
                                        </p:attrNameLst>
                                      </p:cBhvr>
                                      <p:rCtr x="-4375" y="23"/>
                                    </p:animMotion>
                                  </p:childTnLst>
                                </p:cTn>
                              </p:par>
                            </p:childTnLst>
                          </p:cTn>
                        </p:par>
                        <p:par>
                          <p:cTn id="16" fill="hold">
                            <p:stCondLst>
                              <p:cond delay="1000"/>
                            </p:stCondLst>
                            <p:childTnLst>
                              <p:par>
                                <p:cTn id="17" presetID="10" presetClass="entr" presetSubtype="0" fill="hold" grpId="1" nodeType="afterEffect">
                                  <p:stCondLst>
                                    <p:cond delay="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500"/>
                                        <p:tgtEl>
                                          <p:spTgt spid="165"/>
                                        </p:tgtEl>
                                      </p:cBhvr>
                                    </p:animEffect>
                                  </p:childTnLst>
                                </p:cTn>
                              </p:par>
                              <p:par>
                                <p:cTn id="20"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21" dur="2000" fill="hold"/>
                                        <p:tgtEl>
                                          <p:spTgt spid="165"/>
                                        </p:tgtEl>
                                        <p:attrNameLst>
                                          <p:attrName>ppt_x</p:attrName>
                                          <p:attrName>ppt_y</p:attrName>
                                        </p:attrNameLst>
                                      </p:cBhvr>
                                      <p:rCtr x="8138" y="-14792"/>
                                    </p:animMotion>
                                  </p:childTnLst>
                                </p:cTn>
                              </p:par>
                              <p:par>
                                <p:cTn id="22" presetID="10" presetClass="entr" presetSubtype="0" fill="hold" nodeType="withEffect">
                                  <p:stCondLst>
                                    <p:cond delay="25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par>
                                <p:cTn id="25"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6" dur="2000" fill="hold"/>
                                        <p:tgtEl>
                                          <p:spTgt spid="72"/>
                                        </p:tgtEl>
                                        <p:attrNameLst>
                                          <p:attrName>ppt_x</p:attrName>
                                          <p:attrName>ppt_y</p:attrName>
                                        </p:attrNameLst>
                                      </p:cBhvr>
                                      <p:rCtr x="6927" y="-14792"/>
                                    </p:animMotion>
                                  </p:childTnLst>
                                </p:cTn>
                              </p:par>
                              <p:par>
                                <p:cTn id="27" presetID="10" presetClass="entr" presetSubtype="0" fill="hold" nodeType="withEffect">
                                  <p:stCondLst>
                                    <p:cond delay="50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par>
                                <p:cTn id="30"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31" dur="2000" fill="hold"/>
                                        <p:tgtEl>
                                          <p:spTgt spid="71"/>
                                        </p:tgtEl>
                                        <p:attrNameLst>
                                          <p:attrName>ppt_x</p:attrName>
                                          <p:attrName>ppt_y</p:attrName>
                                        </p:attrNameLst>
                                      </p:cBhvr>
                                      <p:rCtr x="5937" y="-15069"/>
                                    </p:animMotion>
                                  </p:childTnLst>
                                </p:cTn>
                              </p:par>
                              <p:par>
                                <p:cTn id="32" presetID="10" presetClass="entr" presetSubtype="0" fill="hold" nodeType="withEffect">
                                  <p:stCondLst>
                                    <p:cond delay="75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6" dur="2000" fill="hold"/>
                                        <p:tgtEl>
                                          <p:spTgt spid="70"/>
                                        </p:tgtEl>
                                        <p:attrNameLst>
                                          <p:attrName>ppt_x</p:attrName>
                                          <p:attrName>ppt_y</p:attrName>
                                        </p:attrNameLst>
                                      </p:cBhvr>
                                      <p:rCtr x="4935" y="-13611"/>
                                    </p:animMotion>
                                  </p:childTnLst>
                                </p:cTn>
                              </p:par>
                              <p:par>
                                <p:cTn id="37" presetID="10" presetClass="entr" presetSubtype="0" fill="hold" nodeType="withEffect">
                                  <p:stCondLst>
                                    <p:cond delay="100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500"/>
                                        <p:tgtEl>
                                          <p:spTgt spid="69"/>
                                        </p:tgtEl>
                                      </p:cBhvr>
                                    </p:animEffect>
                                  </p:childTnLst>
                                </p:cTn>
                              </p:par>
                              <p:par>
                                <p:cTn id="40"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41" dur="2000" fill="hold"/>
                                        <p:tgtEl>
                                          <p:spTgt spid="69"/>
                                        </p:tgtEl>
                                        <p:attrNameLst>
                                          <p:attrName>ppt_x</p:attrName>
                                          <p:attrName>ppt_y</p:attrName>
                                        </p:attrNameLst>
                                      </p:cBhvr>
                                      <p:rCtr x="2760" y="-12454"/>
                                    </p:animMotion>
                                  </p:childTnLst>
                                </p:cTn>
                              </p:par>
                              <p:par>
                                <p:cTn id="42" presetID="10" presetClass="entr" presetSubtype="0" fill="hold" nodeType="withEffect">
                                  <p:stCondLst>
                                    <p:cond delay="100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6"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28725" y="2668579"/>
            <a:ext cx="3749040" cy="3749040"/>
          </a:xfrm>
          <a:prstGeom prst="rect">
            <a:avLst/>
          </a:prstGeom>
        </p:spPr>
      </p:pic>
      <p:pic>
        <p:nvPicPr>
          <p:cNvPr id="5" name="Picture 4"/>
          <p:cNvPicPr>
            <a:picLocks noChangeAspect="1"/>
          </p:cNvPicPr>
          <p:nvPr/>
        </p:nvPicPr>
        <p:blipFill>
          <a:blip r:embed="rId4"/>
          <a:stretch>
            <a:fillRect/>
          </a:stretch>
        </p:blipFill>
        <p:spPr>
          <a:xfrm>
            <a:off x="496568" y="2528570"/>
            <a:ext cx="3634014" cy="3634014"/>
          </a:xfrm>
          <a:prstGeom prst="rect">
            <a:avLst/>
          </a:prstGeom>
        </p:spPr>
      </p:pic>
      <p:pic>
        <p:nvPicPr>
          <p:cNvPr id="7" name="Picture 6"/>
          <p:cNvPicPr>
            <a:picLocks noChangeAspect="1"/>
          </p:cNvPicPr>
          <p:nvPr/>
        </p:nvPicPr>
        <p:blipFill>
          <a:blip r:embed="rId5"/>
          <a:stretch>
            <a:fillRect/>
          </a:stretch>
        </p:blipFill>
        <p:spPr>
          <a:xfrm>
            <a:off x="98425" y="222560"/>
            <a:ext cx="4109720" cy="2306010"/>
          </a:xfrm>
          <a:prstGeom prst="rect">
            <a:avLst/>
          </a:prstGeom>
        </p:spPr>
      </p:pic>
      <p:pic>
        <p:nvPicPr>
          <p:cNvPr id="8" name="Picture 7"/>
          <p:cNvPicPr>
            <a:picLocks noChangeAspect="1"/>
          </p:cNvPicPr>
          <p:nvPr/>
        </p:nvPicPr>
        <p:blipFill>
          <a:blip r:embed="rId6"/>
          <a:stretch>
            <a:fillRect/>
          </a:stretch>
        </p:blipFill>
        <p:spPr>
          <a:xfrm>
            <a:off x="4055681" y="-117987"/>
            <a:ext cx="5742783" cy="3361847"/>
          </a:xfrm>
          <a:prstGeom prst="rect">
            <a:avLst/>
          </a:prstGeom>
        </p:spPr>
      </p:pic>
      <p:sp>
        <p:nvSpPr>
          <p:cNvPr id="9" name="TextBox 8"/>
          <p:cNvSpPr txBox="1"/>
          <p:nvPr/>
        </p:nvSpPr>
        <p:spPr>
          <a:xfrm>
            <a:off x="0" y="5842337"/>
            <a:ext cx="12192000" cy="1015663"/>
          </a:xfrm>
          <a:prstGeom prst="rect">
            <a:avLst/>
          </a:prstGeom>
          <a:solidFill>
            <a:srgbClr val="0078D7"/>
          </a:solidFill>
          <a:ln>
            <a:noFill/>
            <a:headEnd type="none" w="med" len="med"/>
            <a:tailEnd type="none" w="med" len="med"/>
          </a:ln>
        </p:spPr>
        <p:txBody>
          <a:bodyPr wrap="square" lIns="182880" tIns="91440" rIns="182880" bIns="91440" rtlCol="0">
            <a:spAutoFit/>
          </a:bodyPr>
          <a:lstStyle/>
          <a:p>
            <a:pPr algn="r"/>
            <a:r>
              <a:rPr lang="en-US" sz="5400" spc="-38" dirty="0" smtClean="0">
                <a:solidFill>
                  <a:srgbClr val="FFFFFF"/>
                </a:solidFill>
                <a:latin typeface="Segoe UI Light" panose="020B0502040204020203" pitchFamily="34" charset="0"/>
                <a:ea typeface="Segoe UI" pitchFamily="34" charset="0"/>
                <a:cs typeface="Segoe UI Light" panose="020B0502040204020203" pitchFamily="34" charset="0"/>
              </a:rPr>
              <a:t>Linux and more</a:t>
            </a:r>
            <a:endParaRPr lang="en-US" sz="5400" spc="-38" dirty="0">
              <a:solidFill>
                <a:srgbClr val="FFFFFF"/>
              </a:solidFill>
              <a:latin typeface="Segoe UI Light" panose="020B0502040204020203" pitchFamily="34" charset="0"/>
              <a:ea typeface="Segoe UI" pitchFamily="34" charset="0"/>
              <a:cs typeface="Segoe UI Light" panose="020B0502040204020203" pitchFamily="34" charset="0"/>
            </a:endParaRPr>
          </a:p>
        </p:txBody>
      </p:sp>
      <p:pic>
        <p:nvPicPr>
          <p:cNvPr id="6" name="Picture 5"/>
          <p:cNvPicPr>
            <a:picLocks noChangeAspect="1"/>
          </p:cNvPicPr>
          <p:nvPr/>
        </p:nvPicPr>
        <p:blipFill>
          <a:blip r:embed="rId7"/>
          <a:stretch>
            <a:fillRect/>
          </a:stretch>
        </p:blipFill>
        <p:spPr>
          <a:xfrm rot="19800000">
            <a:off x="8834886" y="2435233"/>
            <a:ext cx="2773501" cy="2350425"/>
          </a:xfrm>
          <a:prstGeom prst="rect">
            <a:avLst/>
          </a:prstGeom>
        </p:spPr>
      </p:pic>
    </p:spTree>
    <p:extLst>
      <p:ext uri="{BB962C8B-B14F-4D97-AF65-F5344CB8AC3E}">
        <p14:creationId xmlns:p14="http://schemas.microsoft.com/office/powerpoint/2010/main" val="25924683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41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838200" y="1406424"/>
            <a:ext cx="6571171"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smtClean="0">
                <a:solidFill>
                  <a:prstClr val="white"/>
                </a:solidFill>
                <a:latin typeface="Segoe UI Light"/>
              </a:rPr>
              <a:t>We also provide device support to scale based on your need</a:t>
            </a:r>
            <a:endParaRPr lang="en-US" sz="3529" dirty="0">
              <a:solidFill>
                <a:prstClr val="white"/>
              </a:solidFill>
              <a:latin typeface="Segoe UI Light"/>
              <a:cs typeface="Segoe UI Semibold" panose="020B0702040204020203" pitchFamily="34" charset="0"/>
            </a:endParaRP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tart with sensors for low-volume</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Create gateway apps on tiny devices</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cale gateways and aggregation all the way up to powerful PCs as your needs require</a:t>
            </a:r>
            <a:endParaRPr lang="en-US" sz="1961" dirty="0">
              <a:solidFill>
                <a:prstClr val="white"/>
              </a:solidFill>
              <a:latin typeface="Segoe UI Light"/>
            </a:endParaRPr>
          </a:p>
          <a:p>
            <a:pPr defTabSz="895634"/>
            <a:r>
              <a:rPr lang="en-US" sz="2843" dirty="0" smtClean="0">
                <a:solidFill>
                  <a:prstClr val="white"/>
                </a:solidFill>
                <a:latin typeface="Segoe UI Light"/>
              </a:rPr>
              <a:t>Windows 10 IoT, NETMF</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Tree>
    <p:extLst>
      <p:ext uri="{BB962C8B-B14F-4D97-AF65-F5344CB8AC3E}">
        <p14:creationId xmlns:p14="http://schemas.microsoft.com/office/powerpoint/2010/main" val="26245837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536575" y="473075"/>
            <a:ext cx="11655425" cy="898525"/>
          </a:xfrm>
          <a:prstGeom prst="rect">
            <a:avLst/>
          </a:prstGeom>
        </p:spPr>
        <p:txBody>
          <a:bodyPr/>
          <a:lstStyle/>
          <a:p>
            <a:r>
              <a:rPr lang="en-US" dirty="0"/>
              <a:t>The journey to one Windows…</a:t>
            </a:r>
          </a:p>
        </p:txBody>
      </p:sp>
      <p:sp>
        <p:nvSpPr>
          <p:cNvPr id="3" name="Rectangle 2"/>
          <p:cNvSpPr/>
          <p:nvPr/>
        </p:nvSpPr>
        <p:spPr bwMode="auto">
          <a:xfrm>
            <a:off x="6610687" y="3261337"/>
            <a:ext cx="5581313"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4" name="Group 3"/>
          <p:cNvGrpSpPr/>
          <p:nvPr/>
        </p:nvGrpSpPr>
        <p:grpSpPr>
          <a:xfrm>
            <a:off x="4868178" y="3669719"/>
            <a:ext cx="2455644" cy="3190834"/>
            <a:chOff x="4868178" y="3669719"/>
            <a:chExt cx="2455644" cy="3190834"/>
          </a:xfrm>
        </p:grpSpPr>
        <p:sp>
          <p:nvSpPr>
            <p:cNvPr id="5" name="Isosceles Triangle 4"/>
            <p:cNvSpPr/>
            <p:nvPr/>
          </p:nvSpPr>
          <p:spPr>
            <a:xfrm>
              <a:off x="4868178" y="3669719"/>
              <a:ext cx="2455644" cy="179114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6" name="Group 5"/>
            <p:cNvGrpSpPr/>
            <p:nvPr/>
          </p:nvGrpSpPr>
          <p:grpSpPr>
            <a:xfrm>
              <a:off x="4868178" y="5538270"/>
              <a:ext cx="2455644" cy="1322283"/>
              <a:chOff x="4880706" y="5512870"/>
              <a:chExt cx="2455644" cy="1322283"/>
            </a:xfrm>
          </p:grpSpPr>
          <p:sp>
            <p:nvSpPr>
              <p:cNvPr id="7" name="Rectangle 6"/>
              <p:cNvSpPr/>
              <p:nvPr/>
            </p:nvSpPr>
            <p:spPr>
              <a:xfrm>
                <a:off x="4880706" y="5512870"/>
                <a:ext cx="2455644" cy="13222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8" name="TextBox 7"/>
              <p:cNvSpPr txBox="1"/>
              <p:nvPr/>
            </p:nvSpPr>
            <p:spPr>
              <a:xfrm>
                <a:off x="5062827" y="5530010"/>
                <a:ext cx="2091403" cy="1232795"/>
              </a:xfrm>
              <a:prstGeom prst="rect">
                <a:avLst/>
              </a:prstGeom>
              <a:solidFill>
                <a:schemeClr val="accent3"/>
              </a:solidFill>
            </p:spPr>
            <p:txBody>
              <a:bodyPr wrap="square" lIns="248695" tIns="198956" rIns="248695" bIns="198956" rtlCol="0">
                <a:spAutoFit/>
              </a:bodyPr>
              <a:lstStyle/>
              <a:p>
                <a:pPr algn="ctr" defTabSz="914377">
                  <a:lnSpc>
                    <a:spcPct val="90000"/>
                  </a:lnSpc>
                </a:pPr>
                <a:r>
                  <a:rPr lang="en-US" sz="2000" dirty="0" err="1" smtClean="0">
                    <a:solidFill>
                      <a:srgbClr val="FFFFFF"/>
                    </a:solidFill>
                  </a:rPr>
                  <a:t>IoT</a:t>
                </a:r>
                <a:endParaRPr lang="en-US" sz="2000" dirty="0">
                  <a:solidFill>
                    <a:srgbClr val="FFFFFF"/>
                  </a:solidFill>
                </a:endParaRPr>
              </a:p>
              <a:p>
                <a:pPr algn="ctr" defTabSz="914377">
                  <a:lnSpc>
                    <a:spcPct val="90000"/>
                  </a:lnSpc>
                </a:pPr>
                <a:r>
                  <a:rPr lang="en-US" sz="2000" dirty="0" err="1">
                    <a:solidFill>
                      <a:srgbClr val="FFFFFF"/>
                    </a:solidFill>
                  </a:rPr>
                  <a:t>HoloLens</a:t>
                </a:r>
                <a:endParaRPr lang="en-US" sz="2000" dirty="0">
                  <a:solidFill>
                    <a:srgbClr val="FFFFFF"/>
                  </a:solidFill>
                </a:endParaRPr>
              </a:p>
              <a:p>
                <a:pPr algn="ctr" defTabSz="914377">
                  <a:lnSpc>
                    <a:spcPct val="90000"/>
                  </a:lnSpc>
                </a:pPr>
                <a:r>
                  <a:rPr lang="en-US" sz="2000" dirty="0">
                    <a:solidFill>
                      <a:srgbClr val="FFFFFF"/>
                    </a:solidFill>
                  </a:rPr>
                  <a:t>Surface Hub</a:t>
                </a:r>
              </a:p>
            </p:txBody>
          </p:sp>
        </p:grpSp>
      </p:grpSp>
      <p:grpSp>
        <p:nvGrpSpPr>
          <p:cNvPr id="9" name="Group 8"/>
          <p:cNvGrpSpPr/>
          <p:nvPr/>
        </p:nvGrpSpPr>
        <p:grpSpPr>
          <a:xfrm>
            <a:off x="782689" y="2111904"/>
            <a:ext cx="5335363" cy="3204787"/>
            <a:chOff x="782689" y="1953277"/>
            <a:chExt cx="5335363" cy="3204787"/>
          </a:xfrm>
        </p:grpSpPr>
        <p:sp>
          <p:nvSpPr>
            <p:cNvPr id="10" name="Freeform 9"/>
            <p:cNvSpPr/>
            <p:nvPr/>
          </p:nvSpPr>
          <p:spPr>
            <a:xfrm rot="20641024" flipV="1">
              <a:off x="782689" y="3539231"/>
              <a:ext cx="5335363" cy="1618833"/>
            </a:xfrm>
            <a:custGeom>
              <a:avLst/>
              <a:gdLst>
                <a:gd name="connsiteX0" fmla="*/ 5335363 w 5335363"/>
                <a:gd name="connsiteY0" fmla="*/ 781903 h 1618833"/>
                <a:gd name="connsiteX1" fmla="*/ 3040974 w 5335363"/>
                <a:gd name="connsiteY1" fmla="*/ 8008 h 1618833"/>
                <a:gd name="connsiteX2" fmla="*/ 3038680 w 5335363"/>
                <a:gd name="connsiteY2" fmla="*/ 0 h 1618833"/>
                <a:gd name="connsiteX3" fmla="*/ 3027081 w 5335363"/>
                <a:gd name="connsiteY3" fmla="*/ 3322 h 1618833"/>
                <a:gd name="connsiteX4" fmla="*/ 3027078 w 5335363"/>
                <a:gd name="connsiteY4" fmla="*/ 3321 h 1618833"/>
                <a:gd name="connsiteX5" fmla="*/ 3027078 w 5335363"/>
                <a:gd name="connsiteY5" fmla="*/ 3323 h 1618833"/>
                <a:gd name="connsiteX6" fmla="*/ 0 w 5335363"/>
                <a:gd name="connsiteY6" fmla="*/ 870348 h 1618833"/>
                <a:gd name="connsiteX7" fmla="*/ 214383 w 5335363"/>
                <a:gd name="connsiteY7" fmla="*/ 1618833 h 1618833"/>
                <a:gd name="connsiteX8" fmla="*/ 3136389 w 5335363"/>
                <a:gd name="connsiteY8" fmla="*/ 781903 h 161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5363" h="1618833">
                  <a:moveTo>
                    <a:pt x="5335363" y="781903"/>
                  </a:moveTo>
                  <a:lnTo>
                    <a:pt x="3040974" y="8008"/>
                  </a:lnTo>
                  <a:lnTo>
                    <a:pt x="3038680" y="0"/>
                  </a:lnTo>
                  <a:lnTo>
                    <a:pt x="3027081" y="3322"/>
                  </a:lnTo>
                  <a:lnTo>
                    <a:pt x="3027078" y="3321"/>
                  </a:lnTo>
                  <a:lnTo>
                    <a:pt x="3027078" y="3323"/>
                  </a:lnTo>
                  <a:lnTo>
                    <a:pt x="0" y="870348"/>
                  </a:lnTo>
                  <a:lnTo>
                    <a:pt x="214383" y="1618833"/>
                  </a:lnTo>
                  <a:lnTo>
                    <a:pt x="3136389" y="781903"/>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11" name="Group 10"/>
            <p:cNvGrpSpPr/>
            <p:nvPr/>
          </p:nvGrpSpPr>
          <p:grpSpPr>
            <a:xfrm>
              <a:off x="869034" y="1953277"/>
              <a:ext cx="5153473" cy="3043644"/>
              <a:chOff x="869034" y="1953277"/>
              <a:chExt cx="5153473" cy="3043644"/>
            </a:xfrm>
          </p:grpSpPr>
          <p:sp>
            <p:nvSpPr>
              <p:cNvPr id="12" name="Freeform 11"/>
              <p:cNvSpPr/>
              <p:nvPr/>
            </p:nvSpPr>
            <p:spPr>
              <a:xfrm>
                <a:off x="869034" y="1953277"/>
                <a:ext cx="5153473" cy="1384074"/>
              </a:xfrm>
              <a:custGeom>
                <a:avLst/>
                <a:gdLst>
                  <a:gd name="connsiteX0" fmla="*/ 3148801 w 5153473"/>
                  <a:gd name="connsiteY0" fmla="*/ 0 h 1384074"/>
                  <a:gd name="connsiteX1" fmla="*/ 3150743 w 5153473"/>
                  <a:gd name="connsiteY1" fmla="*/ 1341 h 1384074"/>
                  <a:gd name="connsiteX2" fmla="*/ 3160868 w 5153473"/>
                  <a:gd name="connsiteY2" fmla="*/ 1341 h 1384074"/>
                  <a:gd name="connsiteX3" fmla="*/ 3160868 w 5153473"/>
                  <a:gd name="connsiteY3" fmla="*/ 8332 h 1384074"/>
                  <a:gd name="connsiteX4" fmla="*/ 5153473 w 5153473"/>
                  <a:gd name="connsiteY4" fmla="*/ 1384074 h 1384074"/>
                  <a:gd name="connsiteX5" fmla="*/ 3044177 w 5153473"/>
                  <a:gd name="connsiteY5" fmla="*/ 779923 h 1384074"/>
                  <a:gd name="connsiteX6" fmla="*/ 0 w 5153473"/>
                  <a:gd name="connsiteY6" fmla="*/ 779923 h 1384074"/>
                  <a:gd name="connsiteX7" fmla="*/ 0 w 5153473"/>
                  <a:gd name="connsiteY7" fmla="*/ 1341 h 1384074"/>
                  <a:gd name="connsiteX8" fmla="*/ 3148417 w 5153473"/>
                  <a:gd name="connsiteY8" fmla="*/ 1341 h 13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473" h="1384074">
                    <a:moveTo>
                      <a:pt x="3148801" y="0"/>
                    </a:moveTo>
                    <a:lnTo>
                      <a:pt x="3150743" y="1341"/>
                    </a:lnTo>
                    <a:lnTo>
                      <a:pt x="3160868" y="1341"/>
                    </a:lnTo>
                    <a:lnTo>
                      <a:pt x="3160868" y="8332"/>
                    </a:lnTo>
                    <a:lnTo>
                      <a:pt x="5153473" y="1384074"/>
                    </a:lnTo>
                    <a:lnTo>
                      <a:pt x="3044177" y="779923"/>
                    </a:lnTo>
                    <a:lnTo>
                      <a:pt x="0" y="779923"/>
                    </a:lnTo>
                    <a:lnTo>
                      <a:pt x="0" y="1341"/>
                    </a:lnTo>
                    <a:lnTo>
                      <a:pt x="3148417" y="1341"/>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grpSp>
            <p:nvGrpSpPr>
              <p:cNvPr id="13" name="Group 12"/>
              <p:cNvGrpSpPr/>
              <p:nvPr/>
            </p:nvGrpSpPr>
            <p:grpSpPr>
              <a:xfrm>
                <a:off x="869034" y="1996229"/>
                <a:ext cx="5113951" cy="3000692"/>
                <a:chOff x="869034" y="1996229"/>
                <a:chExt cx="5113951" cy="3000692"/>
              </a:xfrm>
            </p:grpSpPr>
            <p:sp>
              <p:nvSpPr>
                <p:cNvPr id="14" name="Freeform 13"/>
                <p:cNvSpPr/>
                <p:nvPr/>
              </p:nvSpPr>
              <p:spPr>
                <a:xfrm>
                  <a:off x="869034" y="3102710"/>
                  <a:ext cx="5113951" cy="778582"/>
                </a:xfrm>
                <a:custGeom>
                  <a:avLst/>
                  <a:gdLst>
                    <a:gd name="connsiteX0" fmla="*/ 0 w 5113951"/>
                    <a:gd name="connsiteY0" fmla="*/ 0 h 778582"/>
                    <a:gd name="connsiteX1" fmla="*/ 3160868 w 5113951"/>
                    <a:gd name="connsiteY1" fmla="*/ 0 h 778582"/>
                    <a:gd name="connsiteX2" fmla="*/ 3160868 w 5113951"/>
                    <a:gd name="connsiteY2" fmla="*/ 2115 h 778582"/>
                    <a:gd name="connsiteX3" fmla="*/ 5113951 w 5113951"/>
                    <a:gd name="connsiteY3" fmla="*/ 389292 h 778582"/>
                    <a:gd name="connsiteX4" fmla="*/ 3160868 w 5113951"/>
                    <a:gd name="connsiteY4" fmla="*/ 776469 h 778582"/>
                    <a:gd name="connsiteX5" fmla="*/ 3160868 w 5113951"/>
                    <a:gd name="connsiteY5" fmla="*/ 778582 h 778582"/>
                    <a:gd name="connsiteX6" fmla="*/ 0 w 5113951"/>
                    <a:gd name="connsiteY6" fmla="*/ 778582 h 77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3951" h="778582">
                      <a:moveTo>
                        <a:pt x="0" y="0"/>
                      </a:moveTo>
                      <a:lnTo>
                        <a:pt x="3160868" y="0"/>
                      </a:lnTo>
                      <a:lnTo>
                        <a:pt x="3160868" y="2115"/>
                      </a:lnTo>
                      <a:lnTo>
                        <a:pt x="5113951" y="389292"/>
                      </a:lnTo>
                      <a:lnTo>
                        <a:pt x="3160868" y="776469"/>
                      </a:lnTo>
                      <a:lnTo>
                        <a:pt x="3160868" y="778582"/>
                      </a:lnTo>
                      <a:lnTo>
                        <a:pt x="0" y="778582"/>
                      </a:lnTo>
                      <a:close/>
                    </a:path>
                  </a:pathLst>
                </a:cu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15" name="TextBox 14"/>
                <p:cNvSpPr txBox="1"/>
                <p:nvPr/>
              </p:nvSpPr>
              <p:spPr>
                <a:xfrm>
                  <a:off x="904596" y="1996229"/>
                  <a:ext cx="2779122" cy="697200"/>
                </a:xfrm>
                <a:prstGeom prst="rect">
                  <a:avLst/>
                </a:prstGeom>
                <a:solidFill>
                  <a:srgbClr val="0070C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Windows Desktop</a:t>
                  </a:r>
                  <a:endParaRPr lang="en-US" sz="2400" dirty="0">
                    <a:solidFill>
                      <a:srgbClr val="FFFFFF"/>
                    </a:solidFill>
                  </a:endParaRPr>
                </a:p>
              </p:txBody>
            </p:sp>
            <p:sp>
              <p:nvSpPr>
                <p:cNvPr id="16" name="TextBox 15"/>
                <p:cNvSpPr txBox="1"/>
                <p:nvPr/>
              </p:nvSpPr>
              <p:spPr>
                <a:xfrm>
                  <a:off x="904596" y="3154011"/>
                  <a:ext cx="2779122" cy="697200"/>
                </a:xfrm>
                <a:prstGeom prst="rect">
                  <a:avLst/>
                </a:prstGeom>
                <a:solidFill>
                  <a:srgbClr val="ED7D31"/>
                </a:solidFill>
              </p:spPr>
              <p:txBody>
                <a:bodyPr wrap="square" lIns="248695" tIns="198956" rIns="248695" bIns="198956" rtlCol="0">
                  <a:spAutoFit/>
                </a:bodyPr>
                <a:lstStyle/>
                <a:p>
                  <a:pPr defTabSz="914377">
                    <a:lnSpc>
                      <a:spcPct val="90000"/>
                    </a:lnSpc>
                    <a:spcBef>
                      <a:spcPts val="816"/>
                    </a:spcBef>
                  </a:pPr>
                  <a:r>
                    <a:rPr lang="en-US" sz="2133" dirty="0">
                      <a:solidFill>
                        <a:srgbClr val="FFFFFF"/>
                      </a:solidFill>
                    </a:rPr>
                    <a:t>Windows </a:t>
                  </a:r>
                  <a:r>
                    <a:rPr lang="en-US" sz="2133" dirty="0" smtClean="0">
                      <a:solidFill>
                        <a:srgbClr val="FFFFFF"/>
                      </a:solidFill>
                    </a:rPr>
                    <a:t>Phone</a:t>
                  </a:r>
                  <a:endParaRPr lang="en-US" sz="2133" dirty="0">
                    <a:solidFill>
                      <a:srgbClr val="FFFFFF"/>
                    </a:solidFill>
                  </a:endParaRPr>
                </a:p>
              </p:txBody>
            </p:sp>
            <p:sp>
              <p:nvSpPr>
                <p:cNvPr id="17" name="TextBox 16"/>
                <p:cNvSpPr txBox="1"/>
                <p:nvPr/>
              </p:nvSpPr>
              <p:spPr>
                <a:xfrm>
                  <a:off x="904596" y="4299721"/>
                  <a:ext cx="2779122" cy="697200"/>
                </a:xfrm>
                <a:prstGeom prst="rect">
                  <a:avLst/>
                </a:prstGeom>
                <a:solidFill>
                  <a:srgbClr val="00990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Xbox</a:t>
                  </a:r>
                  <a:endParaRPr lang="en-US" sz="2133" dirty="0">
                    <a:solidFill>
                      <a:srgbClr val="FFFFFF"/>
                    </a:solidFill>
                  </a:endParaRPr>
                </a:p>
              </p:txBody>
            </p:sp>
          </p:grpSp>
        </p:grpSp>
      </p:grpSp>
      <p:grpSp>
        <p:nvGrpSpPr>
          <p:cNvPr id="18" name="Group 17"/>
          <p:cNvGrpSpPr/>
          <p:nvPr/>
        </p:nvGrpSpPr>
        <p:grpSpPr>
          <a:xfrm>
            <a:off x="0" y="2113245"/>
            <a:ext cx="749300" cy="3070003"/>
            <a:chOff x="0" y="1954618"/>
            <a:chExt cx="749300" cy="3070003"/>
          </a:xfrm>
        </p:grpSpPr>
        <p:grpSp>
          <p:nvGrpSpPr>
            <p:cNvPr id="19" name="Group 18"/>
            <p:cNvGrpSpPr/>
            <p:nvPr/>
          </p:nvGrpSpPr>
          <p:grpSpPr>
            <a:xfrm>
              <a:off x="0" y="1954618"/>
              <a:ext cx="749300" cy="778582"/>
              <a:chOff x="0" y="1954618"/>
              <a:chExt cx="749300" cy="778582"/>
            </a:xfrm>
          </p:grpSpPr>
          <p:sp>
            <p:nvSpPr>
              <p:cNvPr id="26" name="Rectangle 25"/>
              <p:cNvSpPr/>
              <p:nvPr/>
            </p:nvSpPr>
            <p:spPr>
              <a:xfrm>
                <a:off x="0" y="1954618"/>
                <a:ext cx="749300" cy="77858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7" name="Freeform 67"/>
              <p:cNvSpPr>
                <a:spLocks noEditPoints="1"/>
              </p:cNvSpPr>
              <p:nvPr/>
            </p:nvSpPr>
            <p:spPr bwMode="auto">
              <a:xfrm>
                <a:off x="76254" y="2184400"/>
                <a:ext cx="587291" cy="371972"/>
              </a:xfrm>
              <a:custGeom>
                <a:avLst/>
                <a:gdLst>
                  <a:gd name="T0" fmla="*/ 12 w 1195"/>
                  <a:gd name="T1" fmla="*/ 0 h 757"/>
                  <a:gd name="T2" fmla="*/ 0 w 1195"/>
                  <a:gd name="T3" fmla="*/ 680 h 757"/>
                  <a:gd name="T4" fmla="*/ 555 w 1195"/>
                  <a:gd name="T5" fmla="*/ 692 h 757"/>
                  <a:gd name="T6" fmla="*/ 555 w 1195"/>
                  <a:gd name="T7" fmla="*/ 712 h 757"/>
                  <a:gd name="T8" fmla="*/ 304 w 1195"/>
                  <a:gd name="T9" fmla="*/ 724 h 757"/>
                  <a:gd name="T10" fmla="*/ 296 w 1195"/>
                  <a:gd name="T11" fmla="*/ 757 h 757"/>
                  <a:gd name="T12" fmla="*/ 894 w 1195"/>
                  <a:gd name="T13" fmla="*/ 745 h 757"/>
                  <a:gd name="T14" fmla="*/ 860 w 1195"/>
                  <a:gd name="T15" fmla="*/ 712 h 757"/>
                  <a:gd name="T16" fmla="*/ 620 w 1195"/>
                  <a:gd name="T17" fmla="*/ 693 h 757"/>
                  <a:gd name="T18" fmla="*/ 1182 w 1195"/>
                  <a:gd name="T19" fmla="*/ 692 h 757"/>
                  <a:gd name="T20" fmla="*/ 1195 w 1195"/>
                  <a:gd name="T21" fmla="*/ 13 h 757"/>
                  <a:gd name="T22" fmla="*/ 969 w 1195"/>
                  <a:gd name="T23" fmla="*/ 673 h 757"/>
                  <a:gd name="T24" fmla="*/ 952 w 1195"/>
                  <a:gd name="T25" fmla="*/ 670 h 757"/>
                  <a:gd name="T26" fmla="*/ 969 w 1195"/>
                  <a:gd name="T27" fmla="*/ 667 h 757"/>
                  <a:gd name="T28" fmla="*/ 969 w 1195"/>
                  <a:gd name="T29" fmla="*/ 673 h 757"/>
                  <a:gd name="T30" fmla="*/ 984 w 1195"/>
                  <a:gd name="T31" fmla="*/ 673 h 757"/>
                  <a:gd name="T32" fmla="*/ 984 w 1195"/>
                  <a:gd name="T33" fmla="*/ 667 h 757"/>
                  <a:gd name="T34" fmla="*/ 1001 w 1195"/>
                  <a:gd name="T35" fmla="*/ 670 h 757"/>
                  <a:gd name="T36" fmla="*/ 1027 w 1195"/>
                  <a:gd name="T37" fmla="*/ 673 h 757"/>
                  <a:gd name="T38" fmla="*/ 1009 w 1195"/>
                  <a:gd name="T39" fmla="*/ 670 h 757"/>
                  <a:gd name="T40" fmla="*/ 1027 w 1195"/>
                  <a:gd name="T41" fmla="*/ 667 h 757"/>
                  <a:gd name="T42" fmla="*/ 1027 w 1195"/>
                  <a:gd name="T43" fmla="*/ 673 h 757"/>
                  <a:gd name="T44" fmla="*/ 1041 w 1195"/>
                  <a:gd name="T45" fmla="*/ 673 h 757"/>
                  <a:gd name="T46" fmla="*/ 1041 w 1195"/>
                  <a:gd name="T47" fmla="*/ 667 h 757"/>
                  <a:gd name="T48" fmla="*/ 1059 w 1195"/>
                  <a:gd name="T49" fmla="*/ 670 h 757"/>
                  <a:gd name="T50" fmla="*/ 1085 w 1195"/>
                  <a:gd name="T51" fmla="*/ 673 h 757"/>
                  <a:gd name="T52" fmla="*/ 1067 w 1195"/>
                  <a:gd name="T53" fmla="*/ 670 h 757"/>
                  <a:gd name="T54" fmla="*/ 1085 w 1195"/>
                  <a:gd name="T55" fmla="*/ 667 h 757"/>
                  <a:gd name="T56" fmla="*/ 1085 w 1195"/>
                  <a:gd name="T57" fmla="*/ 673 h 757"/>
                  <a:gd name="T58" fmla="*/ 1099 w 1195"/>
                  <a:gd name="T59" fmla="*/ 673 h 757"/>
                  <a:gd name="T60" fmla="*/ 1099 w 1195"/>
                  <a:gd name="T61" fmla="*/ 667 h 757"/>
                  <a:gd name="T62" fmla="*/ 1117 w 1195"/>
                  <a:gd name="T63" fmla="*/ 670 h 757"/>
                  <a:gd name="T64" fmla="*/ 1132 w 1195"/>
                  <a:gd name="T65" fmla="*/ 678 h 757"/>
                  <a:gd name="T66" fmla="*/ 1132 w 1195"/>
                  <a:gd name="T67" fmla="*/ 662 h 757"/>
                  <a:gd name="T68" fmla="*/ 1132 w 1195"/>
                  <a:gd name="T69" fmla="*/ 678 h 757"/>
                  <a:gd name="T70" fmla="*/ 1140 w 1195"/>
                  <a:gd name="T71" fmla="*/ 650 h 757"/>
                  <a:gd name="T72" fmla="*/ 42 w 1195"/>
                  <a:gd name="T73" fmla="*/ 638 h 757"/>
                  <a:gd name="T74" fmla="*/ 54 w 1195"/>
                  <a:gd name="T75" fmla="*/ 42 h 757"/>
                  <a:gd name="T76" fmla="*/ 1153 w 1195"/>
                  <a:gd name="T77" fmla="*/ 5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5" h="757">
                    <a:moveTo>
                      <a:pt x="1182" y="0"/>
                    </a:moveTo>
                    <a:cubicBezTo>
                      <a:pt x="12" y="0"/>
                      <a:pt x="12" y="0"/>
                      <a:pt x="12" y="0"/>
                    </a:cubicBezTo>
                    <a:cubicBezTo>
                      <a:pt x="5" y="0"/>
                      <a:pt x="0" y="6"/>
                      <a:pt x="0" y="13"/>
                    </a:cubicBezTo>
                    <a:cubicBezTo>
                      <a:pt x="0" y="680"/>
                      <a:pt x="0" y="680"/>
                      <a:pt x="0" y="680"/>
                    </a:cubicBezTo>
                    <a:cubicBezTo>
                      <a:pt x="0" y="687"/>
                      <a:pt x="5" y="692"/>
                      <a:pt x="12" y="692"/>
                    </a:cubicBezTo>
                    <a:cubicBezTo>
                      <a:pt x="555" y="692"/>
                      <a:pt x="555" y="692"/>
                      <a:pt x="555" y="692"/>
                    </a:cubicBezTo>
                    <a:cubicBezTo>
                      <a:pt x="555" y="692"/>
                      <a:pt x="555" y="693"/>
                      <a:pt x="555" y="693"/>
                    </a:cubicBezTo>
                    <a:cubicBezTo>
                      <a:pt x="555" y="712"/>
                      <a:pt x="555" y="712"/>
                      <a:pt x="555" y="712"/>
                    </a:cubicBezTo>
                    <a:cubicBezTo>
                      <a:pt x="317" y="712"/>
                      <a:pt x="317" y="712"/>
                      <a:pt x="317" y="712"/>
                    </a:cubicBezTo>
                    <a:cubicBezTo>
                      <a:pt x="310" y="712"/>
                      <a:pt x="304" y="717"/>
                      <a:pt x="304" y="724"/>
                    </a:cubicBezTo>
                    <a:cubicBezTo>
                      <a:pt x="283" y="745"/>
                      <a:pt x="283" y="745"/>
                      <a:pt x="283" y="745"/>
                    </a:cubicBezTo>
                    <a:cubicBezTo>
                      <a:pt x="283" y="752"/>
                      <a:pt x="289" y="757"/>
                      <a:pt x="296" y="757"/>
                    </a:cubicBezTo>
                    <a:cubicBezTo>
                      <a:pt x="881" y="757"/>
                      <a:pt x="881" y="757"/>
                      <a:pt x="881" y="757"/>
                    </a:cubicBezTo>
                    <a:cubicBezTo>
                      <a:pt x="888" y="757"/>
                      <a:pt x="894" y="752"/>
                      <a:pt x="894" y="745"/>
                    </a:cubicBezTo>
                    <a:cubicBezTo>
                      <a:pt x="873" y="724"/>
                      <a:pt x="873" y="724"/>
                      <a:pt x="873" y="724"/>
                    </a:cubicBezTo>
                    <a:cubicBezTo>
                      <a:pt x="873" y="717"/>
                      <a:pt x="867" y="712"/>
                      <a:pt x="860" y="712"/>
                    </a:cubicBezTo>
                    <a:cubicBezTo>
                      <a:pt x="620" y="712"/>
                      <a:pt x="620" y="712"/>
                      <a:pt x="620" y="712"/>
                    </a:cubicBezTo>
                    <a:cubicBezTo>
                      <a:pt x="620" y="693"/>
                      <a:pt x="620" y="693"/>
                      <a:pt x="620" y="693"/>
                    </a:cubicBezTo>
                    <a:cubicBezTo>
                      <a:pt x="620" y="693"/>
                      <a:pt x="620" y="692"/>
                      <a:pt x="620" y="692"/>
                    </a:cubicBezTo>
                    <a:cubicBezTo>
                      <a:pt x="1182" y="692"/>
                      <a:pt x="1182" y="692"/>
                      <a:pt x="1182" y="692"/>
                    </a:cubicBezTo>
                    <a:cubicBezTo>
                      <a:pt x="1189" y="692"/>
                      <a:pt x="1195" y="687"/>
                      <a:pt x="1195" y="680"/>
                    </a:cubicBezTo>
                    <a:cubicBezTo>
                      <a:pt x="1195" y="13"/>
                      <a:pt x="1195" y="13"/>
                      <a:pt x="1195" y="13"/>
                    </a:cubicBezTo>
                    <a:cubicBezTo>
                      <a:pt x="1195" y="6"/>
                      <a:pt x="1189" y="0"/>
                      <a:pt x="1182" y="0"/>
                    </a:cubicBezTo>
                    <a:close/>
                    <a:moveTo>
                      <a:pt x="969" y="673"/>
                    </a:moveTo>
                    <a:cubicBezTo>
                      <a:pt x="955" y="673"/>
                      <a:pt x="955" y="673"/>
                      <a:pt x="955" y="673"/>
                    </a:cubicBezTo>
                    <a:cubicBezTo>
                      <a:pt x="953" y="673"/>
                      <a:pt x="952" y="672"/>
                      <a:pt x="952" y="670"/>
                    </a:cubicBezTo>
                    <a:cubicBezTo>
                      <a:pt x="952" y="669"/>
                      <a:pt x="953" y="667"/>
                      <a:pt x="955" y="667"/>
                    </a:cubicBezTo>
                    <a:cubicBezTo>
                      <a:pt x="969" y="667"/>
                      <a:pt x="969" y="667"/>
                      <a:pt x="969" y="667"/>
                    </a:cubicBezTo>
                    <a:cubicBezTo>
                      <a:pt x="971" y="667"/>
                      <a:pt x="972" y="669"/>
                      <a:pt x="972" y="670"/>
                    </a:cubicBezTo>
                    <a:cubicBezTo>
                      <a:pt x="972" y="672"/>
                      <a:pt x="971" y="673"/>
                      <a:pt x="969" y="673"/>
                    </a:cubicBezTo>
                    <a:close/>
                    <a:moveTo>
                      <a:pt x="998" y="673"/>
                    </a:moveTo>
                    <a:cubicBezTo>
                      <a:pt x="984" y="673"/>
                      <a:pt x="984" y="673"/>
                      <a:pt x="984" y="673"/>
                    </a:cubicBezTo>
                    <a:cubicBezTo>
                      <a:pt x="982" y="673"/>
                      <a:pt x="981" y="672"/>
                      <a:pt x="981" y="670"/>
                    </a:cubicBezTo>
                    <a:cubicBezTo>
                      <a:pt x="981" y="669"/>
                      <a:pt x="982" y="667"/>
                      <a:pt x="984" y="667"/>
                    </a:cubicBezTo>
                    <a:cubicBezTo>
                      <a:pt x="998" y="667"/>
                      <a:pt x="998" y="667"/>
                      <a:pt x="998" y="667"/>
                    </a:cubicBezTo>
                    <a:cubicBezTo>
                      <a:pt x="1000" y="667"/>
                      <a:pt x="1001" y="669"/>
                      <a:pt x="1001" y="670"/>
                    </a:cubicBezTo>
                    <a:cubicBezTo>
                      <a:pt x="1001" y="672"/>
                      <a:pt x="1000" y="673"/>
                      <a:pt x="998" y="673"/>
                    </a:cubicBezTo>
                    <a:close/>
                    <a:moveTo>
                      <a:pt x="1027" y="673"/>
                    </a:moveTo>
                    <a:cubicBezTo>
                      <a:pt x="1013" y="673"/>
                      <a:pt x="1013" y="673"/>
                      <a:pt x="1013" y="673"/>
                    </a:cubicBezTo>
                    <a:cubicBezTo>
                      <a:pt x="1011" y="673"/>
                      <a:pt x="1009" y="672"/>
                      <a:pt x="1009" y="670"/>
                    </a:cubicBezTo>
                    <a:cubicBezTo>
                      <a:pt x="1009" y="669"/>
                      <a:pt x="1011" y="667"/>
                      <a:pt x="1013" y="667"/>
                    </a:cubicBezTo>
                    <a:cubicBezTo>
                      <a:pt x="1027" y="667"/>
                      <a:pt x="1027" y="667"/>
                      <a:pt x="1027" y="667"/>
                    </a:cubicBezTo>
                    <a:cubicBezTo>
                      <a:pt x="1029" y="667"/>
                      <a:pt x="1030" y="669"/>
                      <a:pt x="1030" y="670"/>
                    </a:cubicBezTo>
                    <a:cubicBezTo>
                      <a:pt x="1030" y="672"/>
                      <a:pt x="1029" y="673"/>
                      <a:pt x="1027" y="673"/>
                    </a:cubicBezTo>
                    <a:close/>
                    <a:moveTo>
                      <a:pt x="1056" y="673"/>
                    </a:moveTo>
                    <a:cubicBezTo>
                      <a:pt x="1041" y="673"/>
                      <a:pt x="1041" y="673"/>
                      <a:pt x="1041" y="673"/>
                    </a:cubicBezTo>
                    <a:cubicBezTo>
                      <a:pt x="1040" y="673"/>
                      <a:pt x="1038" y="672"/>
                      <a:pt x="1038" y="670"/>
                    </a:cubicBezTo>
                    <a:cubicBezTo>
                      <a:pt x="1038" y="669"/>
                      <a:pt x="1040" y="667"/>
                      <a:pt x="1041" y="667"/>
                    </a:cubicBezTo>
                    <a:cubicBezTo>
                      <a:pt x="1056" y="667"/>
                      <a:pt x="1056" y="667"/>
                      <a:pt x="1056" y="667"/>
                    </a:cubicBezTo>
                    <a:cubicBezTo>
                      <a:pt x="1058" y="667"/>
                      <a:pt x="1059" y="669"/>
                      <a:pt x="1059" y="670"/>
                    </a:cubicBezTo>
                    <a:cubicBezTo>
                      <a:pt x="1059" y="672"/>
                      <a:pt x="1058" y="673"/>
                      <a:pt x="1056" y="673"/>
                    </a:cubicBezTo>
                    <a:close/>
                    <a:moveTo>
                      <a:pt x="1085" y="673"/>
                    </a:moveTo>
                    <a:cubicBezTo>
                      <a:pt x="1070" y="673"/>
                      <a:pt x="1070" y="673"/>
                      <a:pt x="1070" y="673"/>
                    </a:cubicBezTo>
                    <a:cubicBezTo>
                      <a:pt x="1069" y="673"/>
                      <a:pt x="1067" y="672"/>
                      <a:pt x="1067" y="670"/>
                    </a:cubicBezTo>
                    <a:cubicBezTo>
                      <a:pt x="1067" y="669"/>
                      <a:pt x="1069" y="667"/>
                      <a:pt x="1070" y="667"/>
                    </a:cubicBezTo>
                    <a:cubicBezTo>
                      <a:pt x="1085" y="667"/>
                      <a:pt x="1085" y="667"/>
                      <a:pt x="1085" y="667"/>
                    </a:cubicBezTo>
                    <a:cubicBezTo>
                      <a:pt x="1087" y="667"/>
                      <a:pt x="1088" y="669"/>
                      <a:pt x="1088" y="670"/>
                    </a:cubicBezTo>
                    <a:cubicBezTo>
                      <a:pt x="1088" y="672"/>
                      <a:pt x="1087" y="673"/>
                      <a:pt x="1085" y="673"/>
                    </a:cubicBezTo>
                    <a:close/>
                    <a:moveTo>
                      <a:pt x="1114" y="673"/>
                    </a:moveTo>
                    <a:cubicBezTo>
                      <a:pt x="1099" y="673"/>
                      <a:pt x="1099" y="673"/>
                      <a:pt x="1099" y="673"/>
                    </a:cubicBezTo>
                    <a:cubicBezTo>
                      <a:pt x="1098" y="673"/>
                      <a:pt x="1096" y="672"/>
                      <a:pt x="1096" y="670"/>
                    </a:cubicBezTo>
                    <a:cubicBezTo>
                      <a:pt x="1096" y="669"/>
                      <a:pt x="1098" y="667"/>
                      <a:pt x="1099" y="667"/>
                    </a:cubicBezTo>
                    <a:cubicBezTo>
                      <a:pt x="1114" y="667"/>
                      <a:pt x="1114" y="667"/>
                      <a:pt x="1114" y="667"/>
                    </a:cubicBezTo>
                    <a:cubicBezTo>
                      <a:pt x="1116" y="667"/>
                      <a:pt x="1117" y="669"/>
                      <a:pt x="1117" y="670"/>
                    </a:cubicBezTo>
                    <a:cubicBezTo>
                      <a:pt x="1117" y="672"/>
                      <a:pt x="1116" y="673"/>
                      <a:pt x="1114" y="673"/>
                    </a:cubicBezTo>
                    <a:close/>
                    <a:moveTo>
                      <a:pt x="1132" y="678"/>
                    </a:moveTo>
                    <a:cubicBezTo>
                      <a:pt x="1128" y="678"/>
                      <a:pt x="1124" y="675"/>
                      <a:pt x="1124" y="670"/>
                    </a:cubicBezTo>
                    <a:cubicBezTo>
                      <a:pt x="1124" y="666"/>
                      <a:pt x="1128" y="662"/>
                      <a:pt x="1132" y="662"/>
                    </a:cubicBezTo>
                    <a:cubicBezTo>
                      <a:pt x="1136" y="662"/>
                      <a:pt x="1140" y="666"/>
                      <a:pt x="1140" y="670"/>
                    </a:cubicBezTo>
                    <a:cubicBezTo>
                      <a:pt x="1140" y="675"/>
                      <a:pt x="1136" y="678"/>
                      <a:pt x="1132" y="678"/>
                    </a:cubicBezTo>
                    <a:close/>
                    <a:moveTo>
                      <a:pt x="1153" y="638"/>
                    </a:moveTo>
                    <a:cubicBezTo>
                      <a:pt x="1153" y="645"/>
                      <a:pt x="1147" y="650"/>
                      <a:pt x="1140" y="650"/>
                    </a:cubicBezTo>
                    <a:cubicBezTo>
                      <a:pt x="54" y="650"/>
                      <a:pt x="54" y="650"/>
                      <a:pt x="54" y="650"/>
                    </a:cubicBezTo>
                    <a:cubicBezTo>
                      <a:pt x="47" y="650"/>
                      <a:pt x="42" y="645"/>
                      <a:pt x="42" y="638"/>
                    </a:cubicBezTo>
                    <a:cubicBezTo>
                      <a:pt x="42" y="55"/>
                      <a:pt x="42" y="55"/>
                      <a:pt x="42" y="55"/>
                    </a:cubicBezTo>
                    <a:cubicBezTo>
                      <a:pt x="42" y="48"/>
                      <a:pt x="47" y="42"/>
                      <a:pt x="54" y="42"/>
                    </a:cubicBezTo>
                    <a:cubicBezTo>
                      <a:pt x="1140" y="42"/>
                      <a:pt x="1140" y="42"/>
                      <a:pt x="1140" y="42"/>
                    </a:cubicBezTo>
                    <a:cubicBezTo>
                      <a:pt x="1147" y="42"/>
                      <a:pt x="1153" y="48"/>
                      <a:pt x="1153" y="55"/>
                    </a:cubicBezTo>
                    <a:lnTo>
                      <a:pt x="1153" y="638"/>
                    </a:ln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defTabSz="896208">
                  <a:defRPr/>
                </a:pPr>
                <a:endParaRPr lang="en-US" kern="0">
                  <a:solidFill>
                    <a:sysClr val="windowText" lastClr="000000"/>
                  </a:solidFill>
                </a:endParaRPr>
              </a:p>
            </p:txBody>
          </p:sp>
        </p:grpSp>
        <p:grpSp>
          <p:nvGrpSpPr>
            <p:cNvPr id="20" name="Group 19"/>
            <p:cNvGrpSpPr/>
            <p:nvPr/>
          </p:nvGrpSpPr>
          <p:grpSpPr>
            <a:xfrm>
              <a:off x="0" y="3100328"/>
              <a:ext cx="749300" cy="778582"/>
              <a:chOff x="0" y="3100328"/>
              <a:chExt cx="749300" cy="778582"/>
            </a:xfrm>
          </p:grpSpPr>
          <p:sp>
            <p:nvSpPr>
              <p:cNvPr id="24" name="Rectangle 23"/>
              <p:cNvSpPr/>
              <p:nvPr/>
            </p:nvSpPr>
            <p:spPr>
              <a:xfrm>
                <a:off x="0" y="3100328"/>
                <a:ext cx="749300" cy="77858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5" name="Freeform 24"/>
              <p:cNvSpPr>
                <a:spLocks noEditPoints="1"/>
              </p:cNvSpPr>
              <p:nvPr/>
            </p:nvSpPr>
            <p:spPr bwMode="auto">
              <a:xfrm>
                <a:off x="205203" y="3240463"/>
                <a:ext cx="319748" cy="495210"/>
              </a:xfrm>
              <a:custGeom>
                <a:avLst/>
                <a:gdLst>
                  <a:gd name="T0" fmla="*/ 172 w 187"/>
                  <a:gd name="T1" fmla="*/ 0 h 289"/>
                  <a:gd name="T2" fmla="*/ 14 w 187"/>
                  <a:gd name="T3" fmla="*/ 0 h 289"/>
                  <a:gd name="T4" fmla="*/ 0 w 187"/>
                  <a:gd name="T5" fmla="*/ 14 h 289"/>
                  <a:gd name="T6" fmla="*/ 0 w 187"/>
                  <a:gd name="T7" fmla="*/ 274 h 289"/>
                  <a:gd name="T8" fmla="*/ 14 w 187"/>
                  <a:gd name="T9" fmla="*/ 289 h 289"/>
                  <a:gd name="T10" fmla="*/ 172 w 187"/>
                  <a:gd name="T11" fmla="*/ 289 h 289"/>
                  <a:gd name="T12" fmla="*/ 187 w 187"/>
                  <a:gd name="T13" fmla="*/ 274 h 289"/>
                  <a:gd name="T14" fmla="*/ 187 w 187"/>
                  <a:gd name="T15" fmla="*/ 14 h 289"/>
                  <a:gd name="T16" fmla="*/ 172 w 187"/>
                  <a:gd name="T17" fmla="*/ 0 h 289"/>
                  <a:gd name="T18" fmla="*/ 93 w 187"/>
                  <a:gd name="T19" fmla="*/ 276 h 289"/>
                  <a:gd name="T20" fmla="*/ 82 w 187"/>
                  <a:gd name="T21" fmla="*/ 265 h 289"/>
                  <a:gd name="T22" fmla="*/ 93 w 187"/>
                  <a:gd name="T23" fmla="*/ 254 h 289"/>
                  <a:gd name="T24" fmla="*/ 104 w 187"/>
                  <a:gd name="T25" fmla="*/ 265 h 289"/>
                  <a:gd name="T26" fmla="*/ 93 w 187"/>
                  <a:gd name="T27" fmla="*/ 276 h 289"/>
                  <a:gd name="T28" fmla="*/ 164 w 187"/>
                  <a:gd name="T29" fmla="*/ 237 h 289"/>
                  <a:gd name="T30" fmla="*/ 23 w 187"/>
                  <a:gd name="T31" fmla="*/ 237 h 289"/>
                  <a:gd name="T32" fmla="*/ 23 w 187"/>
                  <a:gd name="T33" fmla="*/ 24 h 289"/>
                  <a:gd name="T34" fmla="*/ 164 w 187"/>
                  <a:gd name="T35" fmla="*/ 24 h 289"/>
                  <a:gd name="T36" fmla="*/ 164 w 187"/>
                  <a:gd name="T37" fmla="*/ 2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89">
                    <a:moveTo>
                      <a:pt x="172" y="0"/>
                    </a:moveTo>
                    <a:cubicBezTo>
                      <a:pt x="14" y="0"/>
                      <a:pt x="14" y="0"/>
                      <a:pt x="14" y="0"/>
                    </a:cubicBezTo>
                    <a:cubicBezTo>
                      <a:pt x="6" y="0"/>
                      <a:pt x="0" y="6"/>
                      <a:pt x="0" y="14"/>
                    </a:cubicBezTo>
                    <a:cubicBezTo>
                      <a:pt x="0" y="274"/>
                      <a:pt x="0" y="274"/>
                      <a:pt x="0" y="274"/>
                    </a:cubicBezTo>
                    <a:cubicBezTo>
                      <a:pt x="0" y="282"/>
                      <a:pt x="6" y="289"/>
                      <a:pt x="14" y="289"/>
                    </a:cubicBezTo>
                    <a:cubicBezTo>
                      <a:pt x="172" y="289"/>
                      <a:pt x="172" y="289"/>
                      <a:pt x="172" y="289"/>
                    </a:cubicBezTo>
                    <a:cubicBezTo>
                      <a:pt x="180" y="289"/>
                      <a:pt x="187" y="282"/>
                      <a:pt x="187" y="274"/>
                    </a:cubicBezTo>
                    <a:cubicBezTo>
                      <a:pt x="187" y="14"/>
                      <a:pt x="187" y="14"/>
                      <a:pt x="187" y="14"/>
                    </a:cubicBezTo>
                    <a:cubicBezTo>
                      <a:pt x="187" y="6"/>
                      <a:pt x="180" y="0"/>
                      <a:pt x="172" y="0"/>
                    </a:cubicBezTo>
                    <a:close/>
                    <a:moveTo>
                      <a:pt x="93" y="276"/>
                    </a:moveTo>
                    <a:cubicBezTo>
                      <a:pt x="87" y="276"/>
                      <a:pt x="82" y="271"/>
                      <a:pt x="82" y="265"/>
                    </a:cubicBezTo>
                    <a:cubicBezTo>
                      <a:pt x="82" y="259"/>
                      <a:pt x="87" y="254"/>
                      <a:pt x="93" y="254"/>
                    </a:cubicBezTo>
                    <a:cubicBezTo>
                      <a:pt x="99" y="254"/>
                      <a:pt x="104" y="259"/>
                      <a:pt x="104" y="265"/>
                    </a:cubicBezTo>
                    <a:cubicBezTo>
                      <a:pt x="104" y="271"/>
                      <a:pt x="99" y="276"/>
                      <a:pt x="93" y="276"/>
                    </a:cubicBezTo>
                    <a:close/>
                    <a:moveTo>
                      <a:pt x="164" y="237"/>
                    </a:moveTo>
                    <a:cubicBezTo>
                      <a:pt x="23" y="237"/>
                      <a:pt x="23" y="237"/>
                      <a:pt x="23" y="237"/>
                    </a:cubicBezTo>
                    <a:cubicBezTo>
                      <a:pt x="23" y="24"/>
                      <a:pt x="23" y="24"/>
                      <a:pt x="23" y="24"/>
                    </a:cubicBezTo>
                    <a:cubicBezTo>
                      <a:pt x="164" y="24"/>
                      <a:pt x="164" y="24"/>
                      <a:pt x="164" y="24"/>
                    </a:cubicBezTo>
                    <a:lnTo>
                      <a:pt x="164" y="2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p:cNvGrpSpPr/>
            <p:nvPr/>
          </p:nvGrpSpPr>
          <p:grpSpPr>
            <a:xfrm>
              <a:off x="0" y="4246039"/>
              <a:ext cx="749300" cy="778582"/>
              <a:chOff x="0" y="4119039"/>
              <a:chExt cx="749300" cy="778582"/>
            </a:xfrm>
            <a:solidFill>
              <a:srgbClr val="009900"/>
            </a:solidFill>
          </p:grpSpPr>
          <p:sp>
            <p:nvSpPr>
              <p:cNvPr id="22" name="Rectangle 21"/>
              <p:cNvSpPr/>
              <p:nvPr/>
            </p:nvSpPr>
            <p:spPr>
              <a:xfrm>
                <a:off x="0" y="4119039"/>
                <a:ext cx="749300" cy="7785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pic>
            <p:nvPicPr>
              <p:cNvPr id="23" name="Picture 42" descr="C:\Users\sakuu\Documents\Ballmer WPC\PNGS\xboxpear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69658" y="4312340"/>
                <a:ext cx="390838" cy="391978"/>
              </a:xfrm>
              <a:prstGeom prst="rect">
                <a:avLst/>
              </a:prstGeom>
              <a:grpFill/>
              <a:extLst/>
            </p:spPr>
          </p:pic>
        </p:grpSp>
      </p:grpSp>
      <p:sp>
        <p:nvSpPr>
          <p:cNvPr id="28" name="Rectangle 27"/>
          <p:cNvSpPr/>
          <p:nvPr/>
        </p:nvSpPr>
        <p:spPr>
          <a:xfrm>
            <a:off x="7308402" y="3287238"/>
            <a:ext cx="4477198" cy="887422"/>
          </a:xfrm>
          <a:prstGeom prst="rect">
            <a:avLst/>
          </a:prstGeom>
        </p:spPr>
        <p:txBody>
          <a:bodyPr wrap="square" anchor="ctr">
            <a:spAutoFit/>
          </a:bodyPr>
          <a:lstStyle/>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CORE OS</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APP PLATFORM</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STORE</a:t>
            </a:r>
            <a:endParaRPr lang="en-US" sz="1600" dirty="0">
              <a:solidFill>
                <a:srgbClr val="FFFFFF"/>
              </a:solidFill>
              <a:ea typeface="Segoe UI" pitchFamily="34" charset="0"/>
              <a:cs typeface="Segoe UI" pitchFamily="34" charset="0"/>
            </a:endParaRP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Tree>
    <p:extLst>
      <p:ext uri="{BB962C8B-B14F-4D97-AF65-F5344CB8AC3E}">
        <p14:creationId xmlns:p14="http://schemas.microsoft.com/office/powerpoint/2010/main" val="62809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570" dirty="0">
              <a:gradFill>
                <a:gsLst>
                  <a:gs pos="0">
                    <a:srgbClr val="FFFFFF"/>
                  </a:gs>
                  <a:gs pos="100000">
                    <a:srgbClr val="FFFFFF"/>
                  </a:gs>
                </a:gsLst>
                <a:lin ang="5400000" scaled="0"/>
              </a:gradFill>
            </a:endParaRPr>
          </a:p>
        </p:txBody>
      </p:sp>
      <p:sp>
        <p:nvSpPr>
          <p:cNvPr id="63" name="Rectangle 62"/>
          <p:cNvSpPr/>
          <p:nvPr/>
        </p:nvSpPr>
        <p:spPr bwMode="auto">
          <a:xfrm>
            <a:off x="-100799" y="3261337"/>
            <a:ext cx="12292800"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1570" dirty="0" err="1">
              <a:gradFill>
                <a:gsLst>
                  <a:gs pos="2917">
                    <a:srgbClr val="737373"/>
                  </a:gs>
                  <a:gs pos="81000">
                    <a:srgbClr val="737373"/>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536575" y="473075"/>
            <a:ext cx="11655425" cy="898525"/>
          </a:xfrm>
        </p:spPr>
        <p:txBody>
          <a:bodyPr/>
          <a:lstStyle/>
          <a:p>
            <a:r>
              <a:rPr lang="en-US" dirty="0" smtClean="0"/>
              <a:t>on </a:t>
            </a:r>
            <a:r>
              <a:rPr lang="en-US" dirty="0"/>
              <a:t>a full range of devices…</a:t>
            </a: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57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570" dirty="0" err="1">
                <a:solidFill>
                  <a:srgbClr val="FFFFFF"/>
                </a:solidFill>
              </a:endParaRPr>
            </a:p>
          </p:txBody>
        </p:sp>
        <p:grpSp>
          <p:nvGrpSpPr>
            <p:cNvPr id="32" name="Group 31"/>
            <p:cNvGrpSpPr/>
            <p:nvPr/>
          </p:nvGrpSpPr>
          <p:grpSpPr>
            <a:xfrm>
              <a:off x="5052041" y="2836625"/>
              <a:ext cx="2087919" cy="1066676"/>
              <a:chOff x="5052041" y="2836625"/>
              <a:chExt cx="2087919" cy="1066676"/>
            </a:xfrm>
          </p:grpSpPr>
          <p:sp>
            <p:nvSpPr>
              <p:cNvPr id="33" name="TextBox 35"/>
              <p:cNvSpPr txBox="1"/>
              <p:nvPr/>
            </p:nvSpPr>
            <p:spPr>
              <a:xfrm>
                <a:off x="5052041" y="3644319"/>
                <a:ext cx="2087919" cy="258982"/>
              </a:xfrm>
              <a:prstGeom prst="rect">
                <a:avLst/>
              </a:prstGeom>
              <a:noFill/>
            </p:spPr>
            <p:txBody>
              <a:bodyPr wrap="square" lIns="0" tIns="0" rIns="0" bIns="0" rtlCol="0">
                <a:spAutoFit/>
              </a:bodyPr>
              <a:lstStyle/>
              <a:p>
                <a:pPr algn="ctr" defTabSz="914377">
                  <a:lnSpc>
                    <a:spcPct val="90000"/>
                  </a:lnSpc>
                </a:pPr>
                <a:r>
                  <a:rPr lang="en-US" sz="1870"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570">
                  <a:solidFill>
                    <a:srgbClr val="737373"/>
                  </a:solidFill>
                </a:endParaRPr>
              </a:p>
            </p:txBody>
          </p:sp>
        </p:grpSp>
      </p:grpSp>
      <p:sp>
        <p:nvSpPr>
          <p:cNvPr id="36" name="TextBox 35"/>
          <p:cNvSpPr txBox="1"/>
          <p:nvPr/>
        </p:nvSpPr>
        <p:spPr>
          <a:xfrm>
            <a:off x="297884" y="1758256"/>
            <a:ext cx="666429"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Phone</a:t>
            </a:r>
          </a:p>
        </p:txBody>
      </p:sp>
      <p:sp>
        <p:nvSpPr>
          <p:cNvPr id="37" name="TextBox 36"/>
          <p:cNvSpPr txBox="1"/>
          <p:nvPr/>
        </p:nvSpPr>
        <p:spPr>
          <a:xfrm>
            <a:off x="2055040" y="1758256"/>
            <a:ext cx="1165530"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Small </a:t>
            </a:r>
            <a:r>
              <a:rPr lang="en-US" sz="1570" dirty="0" smtClean="0">
                <a:solidFill>
                  <a:srgbClr val="4F4F4F"/>
                </a:solidFill>
                <a:cs typeface="Segoe UI" panose="020B0502040204020203" pitchFamily="34" charset="0"/>
              </a:rPr>
              <a:t>Tablet</a:t>
            </a:r>
            <a:endParaRPr lang="en-US" sz="1570" dirty="0">
              <a:solidFill>
                <a:srgbClr val="4F4F4F"/>
              </a:solidFill>
              <a:cs typeface="Segoe UI" panose="020B0502040204020203" pitchFamily="34" charset="0"/>
            </a:endParaRPr>
          </a:p>
        </p:txBody>
      </p:sp>
      <p:sp>
        <p:nvSpPr>
          <p:cNvPr id="38" name="TextBox 37"/>
          <p:cNvSpPr txBox="1"/>
          <p:nvPr/>
        </p:nvSpPr>
        <p:spPr>
          <a:xfrm>
            <a:off x="6825273" y="1541081"/>
            <a:ext cx="1968751" cy="443198"/>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570" dirty="0">
                <a:solidFill>
                  <a:srgbClr val="4F4F4F"/>
                </a:solidFill>
              </a:rPr>
              <a:t>2-in-1s</a:t>
            </a:r>
            <a:br>
              <a:rPr lang="en-US" sz="1570" dirty="0">
                <a:solidFill>
                  <a:srgbClr val="4F4F4F"/>
                </a:solidFill>
              </a:rPr>
            </a:br>
            <a:r>
              <a:rPr lang="en-US" sz="1570" dirty="0">
                <a:solidFill>
                  <a:srgbClr val="4F4F4F"/>
                </a:solidFill>
              </a:rPr>
              <a:t>(Tablet or Laptop)</a:t>
            </a:r>
          </a:p>
        </p:txBody>
      </p:sp>
      <p:sp>
        <p:nvSpPr>
          <p:cNvPr id="39" name="TextBox 38"/>
          <p:cNvSpPr txBox="1"/>
          <p:nvPr/>
        </p:nvSpPr>
        <p:spPr>
          <a:xfrm>
            <a:off x="10219754" y="1541081"/>
            <a:ext cx="1919945" cy="443198"/>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Desktops </a:t>
            </a:r>
            <a:br>
              <a:rPr lang="en-US" sz="1570" dirty="0">
                <a:solidFill>
                  <a:srgbClr val="4F4F4F"/>
                </a:solidFill>
                <a:cs typeface="Segoe UI" panose="020B0502040204020203" pitchFamily="34" charset="0"/>
              </a:rPr>
            </a:br>
            <a:r>
              <a:rPr lang="en-US" sz="1570" dirty="0">
                <a:solidFill>
                  <a:srgbClr val="4F4F4F"/>
                </a:solidFill>
                <a:cs typeface="Segoe UI" panose="020B0502040204020203" pitchFamily="34" charset="0"/>
              </a:rPr>
              <a:t>&amp; All-in-Ones</a:t>
            </a:r>
          </a:p>
        </p:txBody>
      </p:sp>
      <p:sp>
        <p:nvSpPr>
          <p:cNvPr id="40" name="TextBox 39"/>
          <p:cNvSpPr txBox="1"/>
          <p:nvPr/>
        </p:nvSpPr>
        <p:spPr>
          <a:xfrm>
            <a:off x="1139335" y="1758256"/>
            <a:ext cx="841789"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Phablet</a:t>
            </a:r>
          </a:p>
        </p:txBody>
      </p:sp>
      <p:sp>
        <p:nvSpPr>
          <p:cNvPr id="41" name="TextBox 40"/>
          <p:cNvSpPr txBox="1"/>
          <p:nvPr/>
        </p:nvSpPr>
        <p:spPr>
          <a:xfrm>
            <a:off x="3099054" y="1758256"/>
            <a:ext cx="1946060"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smtClean="0">
                <a:solidFill>
                  <a:srgbClr val="4F4F4F"/>
                </a:solidFill>
                <a:cs typeface="Segoe UI" panose="020B0502040204020203" pitchFamily="34" charset="0"/>
              </a:rPr>
              <a:t>Large Tablet</a:t>
            </a:r>
            <a:endParaRPr lang="en-US" sz="1570" dirty="0">
              <a:solidFill>
                <a:srgbClr val="4F4F4F"/>
              </a:solidFill>
              <a:cs typeface="Segoe UI" panose="020B0502040204020203" pitchFamily="34" charset="0"/>
            </a:endParaRPr>
          </a:p>
        </p:txBody>
      </p:sp>
      <p:sp>
        <p:nvSpPr>
          <p:cNvPr id="42" name="TextBox 41"/>
          <p:cNvSpPr txBox="1"/>
          <p:nvPr/>
        </p:nvSpPr>
        <p:spPr>
          <a:xfrm>
            <a:off x="9008626" y="1541081"/>
            <a:ext cx="954581" cy="443198"/>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Classic </a:t>
            </a:r>
            <a:br>
              <a:rPr lang="en-US" sz="1570" dirty="0">
                <a:solidFill>
                  <a:srgbClr val="4F4F4F"/>
                </a:solidFill>
                <a:cs typeface="Segoe UI" panose="020B0502040204020203" pitchFamily="34" charset="0"/>
              </a:rPr>
            </a:br>
            <a:r>
              <a:rPr lang="en-US" sz="1570" dirty="0">
                <a:solidFill>
                  <a:srgbClr val="4F4F4F"/>
                </a:solidFill>
                <a:cs typeface="Segoe UI" panose="020B0502040204020203" pitchFamily="34" charset="0"/>
              </a:rPr>
              <a:t>Laptop</a:t>
            </a: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7175442" y="2109017"/>
            <a:ext cx="1407775" cy="89542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51680" y="2064245"/>
            <a:ext cx="1526022" cy="1122656"/>
          </a:xfrm>
          <a:prstGeom prst="rect">
            <a:avLst/>
          </a:prstGeom>
        </p:spPr>
      </p:pic>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2784" y="2064245"/>
            <a:ext cx="1498600" cy="958121"/>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579" y="2064245"/>
            <a:ext cx="870079" cy="668096"/>
          </a:xfrm>
          <a:prstGeom prst="rect">
            <a:avLst/>
          </a:prstGeom>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993" y="2064245"/>
            <a:ext cx="595589" cy="580053"/>
          </a:xfrm>
          <a:prstGeom prst="rect">
            <a:avLst/>
          </a:prstGeom>
        </p:spPr>
      </p:pic>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2205674" y="2064245"/>
            <a:ext cx="853043" cy="849703"/>
          </a:xfrm>
          <a:prstGeom prst="rect">
            <a:avLst/>
          </a:prstGeom>
        </p:spPr>
      </p:pic>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8841939" y="2110461"/>
            <a:ext cx="1434768" cy="924319"/>
          </a:xfrm>
          <a:prstGeom prst="rect">
            <a:avLst/>
          </a:prstGeom>
        </p:spPr>
      </p:pic>
      <p:sp>
        <p:nvSpPr>
          <p:cNvPr id="50" name="TextBox 49"/>
          <p:cNvSpPr txBox="1"/>
          <p:nvPr/>
        </p:nvSpPr>
        <p:spPr>
          <a:xfrm>
            <a:off x="3649260" y="4708901"/>
            <a:ext cx="605845"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Xbox</a:t>
            </a:r>
          </a:p>
        </p:txBody>
      </p:sp>
      <p:sp>
        <p:nvSpPr>
          <p:cNvPr id="51" name="TextBox 50"/>
          <p:cNvSpPr txBox="1"/>
          <p:nvPr/>
        </p:nvSpPr>
        <p:spPr>
          <a:xfrm>
            <a:off x="10354681" y="4919094"/>
            <a:ext cx="1225835"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IoT</a:t>
            </a:r>
          </a:p>
        </p:txBody>
      </p:sp>
      <p:sp>
        <p:nvSpPr>
          <p:cNvPr id="52" name="TextBox 51"/>
          <p:cNvSpPr txBox="1"/>
          <p:nvPr/>
        </p:nvSpPr>
        <p:spPr>
          <a:xfrm>
            <a:off x="947583" y="4492890"/>
            <a:ext cx="1249914"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Surface Hub</a:t>
            </a:r>
          </a:p>
        </p:txBody>
      </p:sp>
      <p:grpSp>
        <p:nvGrpSpPr>
          <p:cNvPr id="53" name="Xbox"/>
          <p:cNvGrpSpPr/>
          <p:nvPr/>
        </p:nvGrpSpPr>
        <p:grpSpPr bwMode="ltGray">
          <a:xfrm>
            <a:off x="3051128" y="5028317"/>
            <a:ext cx="1810281" cy="1302398"/>
            <a:chOff x="8610991" y="1992417"/>
            <a:chExt cx="3186889" cy="2292792"/>
          </a:xfrm>
        </p:grpSpPr>
        <p:pic>
          <p:nvPicPr>
            <p:cNvPr id="54" name="Picture 5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5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437389" y="4842535"/>
            <a:ext cx="2374429" cy="1448608"/>
          </a:xfrm>
          <a:prstGeom prst="rect">
            <a:avLst/>
          </a:prstGeom>
        </p:spPr>
      </p:pic>
      <p:grpSp>
        <p:nvGrpSpPr>
          <p:cNvPr id="58" name="Group 57"/>
          <p:cNvGrpSpPr/>
          <p:nvPr/>
        </p:nvGrpSpPr>
        <p:grpSpPr>
          <a:xfrm>
            <a:off x="10413983" y="5270562"/>
            <a:ext cx="1094313" cy="620214"/>
            <a:chOff x="87532" y="3622341"/>
            <a:chExt cx="1116863" cy="632995"/>
          </a:xfrm>
        </p:grpSpPr>
        <p:sp>
          <p:nvSpPr>
            <p:cNvPr id="59" name="Rectangle 58"/>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algn="ctr" defTabSz="913634" fontAlgn="base">
                <a:lnSpc>
                  <a:spcPct val="90000"/>
                </a:lnSpc>
                <a:spcBef>
                  <a:spcPct val="0"/>
                </a:spcBef>
                <a:spcAft>
                  <a:spcPct val="0"/>
                </a:spcAft>
              </a:pPr>
              <a:endParaRPr lang="en-US" sz="157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pic>
        <p:nvPicPr>
          <p:cNvPr id="61" name="Picture 60"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752376" y="5202919"/>
            <a:ext cx="2197632" cy="867225"/>
          </a:xfrm>
          <a:prstGeom prst="rect">
            <a:avLst/>
          </a:prstGeom>
          <a:noFill/>
          <a:ln>
            <a:noFill/>
          </a:ln>
        </p:spPr>
      </p:pic>
      <p:sp>
        <p:nvSpPr>
          <p:cNvPr id="62" name="TextBox 61"/>
          <p:cNvSpPr txBox="1"/>
          <p:nvPr/>
        </p:nvSpPr>
        <p:spPr>
          <a:xfrm>
            <a:off x="8307589" y="4919094"/>
            <a:ext cx="1108471" cy="221599"/>
          </a:xfrm>
          <a:prstGeom prst="rect">
            <a:avLst/>
          </a:prstGeom>
          <a:noFill/>
        </p:spPr>
        <p:txBody>
          <a:bodyPr wrap="square" lIns="0" tIns="0" rIns="0" bIns="0" rtlCol="0">
            <a:spAutoFit/>
          </a:bodyPr>
          <a:lstStyle/>
          <a:p>
            <a:pPr algn="ctr" defTabSz="896068">
              <a:lnSpc>
                <a:spcPct val="90000"/>
              </a:lnSpc>
              <a:spcAft>
                <a:spcPts val="588"/>
              </a:spcAft>
            </a:pPr>
            <a:r>
              <a:rPr lang="en-US" sz="1570" dirty="0">
                <a:solidFill>
                  <a:srgbClr val="4F4F4F"/>
                </a:solidFill>
                <a:cs typeface="Segoe UI" panose="020B0502040204020203" pitchFamily="34" charset="0"/>
              </a:rPr>
              <a:t>Holographic</a:t>
            </a:r>
          </a:p>
        </p:txBody>
      </p:sp>
    </p:spTree>
    <p:extLst>
      <p:ext uri="{BB962C8B-B14F-4D97-AF65-F5344CB8AC3E}">
        <p14:creationId xmlns:p14="http://schemas.microsoft.com/office/powerpoint/2010/main" val="390845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0.03946 -0.00047 L 4.79167E-6 2.96296E-6 " pathEditMode="relative" rAng="0" ptsTypes="AA">
                                      <p:cBhvr>
                                        <p:cTn id="9" dur="600" fill="hold"/>
                                        <p:tgtEl>
                                          <p:spTgt spid="47"/>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100"/>
                                  </p:stCondLst>
                                  <p:childTnLst>
                                    <p:animMotion origin="layout" path="M -0.03945 -0.00047 L -2.91667E-6 2.96296E-6 " pathEditMode="relative" rAng="0" ptsTypes="AA">
                                      <p:cBhvr>
                                        <p:cTn id="17" dur="600" fill="hold"/>
                                        <p:tgtEl>
                                          <p:spTgt spid="46"/>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20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42" presetClass="path" presetSubtype="0" decel="100000" fill="hold" nodeType="withEffect">
                                  <p:stCondLst>
                                    <p:cond delay="200"/>
                                  </p:stCondLst>
                                  <p:childTnLst>
                                    <p:animMotion origin="layout" path="M -0.03946 -0.00046 L 4.58333E-6 -2.96296E-6 " pathEditMode="relative" rAng="0" ptsTypes="AA">
                                      <p:cBhvr>
                                        <p:cTn id="25" dur="600" fill="hold"/>
                                        <p:tgtEl>
                                          <p:spTgt spid="48"/>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4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42" presetClass="path" presetSubtype="0" decel="100000" fill="hold" nodeType="withEffect">
                                  <p:stCondLst>
                                    <p:cond delay="400"/>
                                  </p:stCondLst>
                                  <p:childTnLst>
                                    <p:animMotion origin="layout" path="M -0.03945 -0.00046 L -4.375E-6 -3.33333E-6 " pathEditMode="relative" rAng="0" ptsTypes="AA">
                                      <p:cBhvr>
                                        <p:cTn id="33" dur="600" fill="hold"/>
                                        <p:tgtEl>
                                          <p:spTgt spid="45"/>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50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42" presetClass="path" presetSubtype="0" decel="100000" fill="hold" nodeType="withEffect">
                                  <p:stCondLst>
                                    <p:cond delay="500"/>
                                  </p:stCondLst>
                                  <p:childTnLst>
                                    <p:animMotion origin="layout" path="M -0.03945 -0.00047 L -3.95833E-6 3.33333E-6 " pathEditMode="relative" rAng="0" ptsTypes="AA">
                                      <p:cBhvr>
                                        <p:cTn id="41" dur="600" fill="hold"/>
                                        <p:tgtEl>
                                          <p:spTgt spid="43"/>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6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nodeType="withEffect">
                                  <p:stCondLst>
                                    <p:cond delay="600"/>
                                  </p:stCondLst>
                                  <p:childTnLst>
                                    <p:animMotion origin="layout" path="M -0.03945 -0.00046 L -4.58333E-6 5.55112E-17 " pathEditMode="relative" rAng="0" ptsTypes="AA">
                                      <p:cBhvr>
                                        <p:cTn id="49" dur="600" fill="hold"/>
                                        <p:tgtEl>
                                          <p:spTgt spid="49"/>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7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42" presetClass="path" presetSubtype="0" decel="100000" fill="hold" nodeType="withEffect">
                                  <p:stCondLst>
                                    <p:cond delay="700"/>
                                  </p:stCondLst>
                                  <p:childTnLst>
                                    <p:animMotion origin="layout" path="M -0.03945 -0.00046 L -4.79167E-6 1.11111E-6 " pathEditMode="relative" rAng="0" ptsTypes="AA">
                                      <p:cBhvr>
                                        <p:cTn id="57" dur="600" fill="hold"/>
                                        <p:tgtEl>
                                          <p:spTgt spid="44"/>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nodeType="withEffect">
                                  <p:stCondLst>
                                    <p:cond delay="70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42" presetClass="path" presetSubtype="0" decel="30000" fill="hold" nodeType="withEffect">
                                  <p:stCondLst>
                                    <p:cond delay="500"/>
                                  </p:stCondLst>
                                  <p:childTnLst>
                                    <p:animMotion origin="layout" path="M -0.04909 0.00023 L 4.16667E-6 3.7037E-7 " pathEditMode="relative" rAng="0" ptsTypes="AA">
                                      <p:cBhvr>
                                        <p:cTn id="65" dur="600" fill="hold"/>
                                        <p:tgtEl>
                                          <p:spTgt spid="57"/>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nodeType="withEffect">
                                  <p:stCondLst>
                                    <p:cond delay="7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42" presetClass="path" presetSubtype="0" decel="100000" fill="hold" nodeType="withEffect">
                                  <p:stCondLst>
                                    <p:cond delay="700"/>
                                  </p:stCondLst>
                                  <p:childTnLst>
                                    <p:animMotion origin="layout" path="M -0.03946 -0.00023 L 2.5E-6 -2.59259E-6 " pathEditMode="relative" rAng="0" ptsTypes="AA">
                                      <p:cBhvr>
                                        <p:cTn id="73" dur="600" fill="hold"/>
                                        <p:tgtEl>
                                          <p:spTgt spid="53"/>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nodeType="withEffect">
                                  <p:stCondLst>
                                    <p:cond delay="70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42" presetClass="path" presetSubtype="0" decel="100000" fill="hold" nodeType="withEffect">
                                  <p:stCondLst>
                                    <p:cond delay="700"/>
                                  </p:stCondLst>
                                  <p:childTnLst>
                                    <p:animMotion origin="layout" path="M -0.03945 -0.00023 L 6.25E-7 2.22222E-6 " pathEditMode="relative" rAng="0" ptsTypes="AA">
                                      <p:cBhvr>
                                        <p:cTn id="84" dur="600" fill="hold"/>
                                        <p:tgtEl>
                                          <p:spTgt spid="58"/>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70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700"/>
                                  </p:stCondLst>
                                  <p:childTnLst>
                                    <p:animMotion origin="layout" path="M -0.03946 -0.00023 L 2.5E-6 -2.59259E-6 " pathEditMode="relative" rAng="0" ptsTypes="AA">
                                      <p:cBhvr>
                                        <p:cTn id="92" dur="600" fill="hold"/>
                                        <p:tgtEl>
                                          <p:spTgt spid="61"/>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2" grpId="0"/>
      <p:bldP spid="50" grpId="0"/>
      <p:bldP spid="51" grpId="0"/>
      <p:bldP spid="52" grpId="0"/>
      <p:bldP spid="6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536575" y="473075"/>
            <a:ext cx="11655425" cy="898525"/>
          </a:xfrm>
        </p:spPr>
        <p:txBody>
          <a:bodyPr/>
          <a:lstStyle/>
          <a:p>
            <a:r>
              <a:rPr lang="en-US" dirty="0" smtClean="0"/>
              <a:t>tuned </a:t>
            </a:r>
            <a:r>
              <a:rPr lang="en-US" dirty="0"/>
              <a:t>to each form factor…</a:t>
            </a:r>
          </a:p>
        </p:txBody>
      </p:sp>
      <p:sp>
        <p:nvSpPr>
          <p:cNvPr id="64" name="TextBox 63"/>
          <p:cNvSpPr txBox="1"/>
          <p:nvPr/>
        </p:nvSpPr>
        <p:spPr>
          <a:xfrm>
            <a:off x="754378" y="4900653"/>
            <a:ext cx="10830156" cy="1532386"/>
          </a:xfrm>
          <a:prstGeom prst="rect">
            <a:avLst/>
          </a:prstGeom>
          <a:solidFill>
            <a:schemeClr val="tx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One Core OS</a:t>
            </a:r>
          </a:p>
          <a:p>
            <a:pPr algn="ctr">
              <a:lnSpc>
                <a:spcPct val="90000"/>
              </a:lnSpc>
              <a:spcAft>
                <a:spcPts val="588"/>
              </a:spcAft>
            </a:pPr>
            <a:r>
              <a:rPr lang="en-US" sz="1372" i="1" dirty="0" smtClean="0">
                <a:solidFill>
                  <a:prstClr val="white"/>
                </a:solidFill>
              </a:rPr>
              <a:t>Base OS</a:t>
            </a:r>
          </a:p>
          <a:p>
            <a:pPr algn="ctr">
              <a:lnSpc>
                <a:spcPct val="90000"/>
              </a:lnSpc>
              <a:spcAft>
                <a:spcPts val="588"/>
              </a:spcAft>
            </a:pPr>
            <a:r>
              <a:rPr lang="en-US" sz="1372" i="1" dirty="0" smtClean="0">
                <a:solidFill>
                  <a:prstClr val="white"/>
                </a:solidFill>
              </a:rPr>
              <a:t>App  and Device platform</a:t>
            </a:r>
          </a:p>
          <a:p>
            <a:pPr algn="ctr">
              <a:lnSpc>
                <a:spcPct val="90000"/>
              </a:lnSpc>
              <a:spcAft>
                <a:spcPts val="588"/>
              </a:spcAft>
            </a:pPr>
            <a:r>
              <a:rPr lang="en-US" sz="1372" i="1" dirty="0" smtClean="0">
                <a:solidFill>
                  <a:prstClr val="white"/>
                </a:solidFill>
              </a:rPr>
              <a:t>Runtimes and frameworks</a:t>
            </a:r>
            <a:endParaRPr lang="en-US" sz="1372" i="1" dirty="0">
              <a:solidFill>
                <a:prstClr val="white"/>
              </a:solidFill>
            </a:endParaRPr>
          </a:p>
        </p:txBody>
      </p:sp>
      <p:sp>
        <p:nvSpPr>
          <p:cNvPr id="70" name="TextBox 69"/>
          <p:cNvSpPr txBox="1"/>
          <p:nvPr/>
        </p:nvSpPr>
        <p:spPr>
          <a:xfrm>
            <a:off x="9042433" y="1839394"/>
            <a:ext cx="2542032" cy="2935806"/>
          </a:xfrm>
          <a:prstGeom prst="rect">
            <a:avLst/>
          </a:prstGeom>
          <a:solidFill>
            <a:schemeClr val="accent3"/>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a:t>
            </a:r>
            <a:endParaRPr lang="en-US" sz="2353" dirty="0">
              <a:solidFill>
                <a:prstClr val="white"/>
              </a:solidFill>
            </a:endParaRPr>
          </a:p>
          <a:p>
            <a:pPr algn="ctr">
              <a:lnSpc>
                <a:spcPct val="90000"/>
              </a:lnSpc>
              <a:spcAft>
                <a:spcPts val="588"/>
              </a:spcAft>
            </a:pPr>
            <a:r>
              <a:rPr lang="en-US" sz="1372" i="1" dirty="0" smtClean="0">
                <a:solidFill>
                  <a:prstClr val="white"/>
                </a:solidFill>
              </a:rPr>
              <a:t>Form factor–appropriate</a:t>
            </a:r>
            <a:br>
              <a:rPr lang="en-US" sz="1372" i="1" dirty="0" smtClean="0">
                <a:solidFill>
                  <a:prstClr val="white"/>
                </a:solidFill>
              </a:rPr>
            </a:b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Device-specific scenario support</a:t>
            </a:r>
            <a:endParaRPr lang="en-US" sz="1372" i="1" dirty="0">
              <a:solidFill>
                <a:prstClr val="white"/>
              </a:solidFill>
            </a:endParaRPr>
          </a:p>
          <a:p>
            <a:pPr algn="ctr">
              <a:lnSpc>
                <a:spcPct val="90000"/>
              </a:lnSpc>
              <a:spcAft>
                <a:spcPts val="588"/>
              </a:spcAft>
            </a:pPr>
            <a:endParaRPr lang="en-US" sz="1067" i="1" dirty="0">
              <a:solidFill>
                <a:prstClr val="white"/>
              </a:solidFill>
            </a:endParaRPr>
          </a:p>
        </p:txBody>
      </p:sp>
      <p:grpSp>
        <p:nvGrpSpPr>
          <p:cNvPr id="6" name="Group 5"/>
          <p:cNvGrpSpPr/>
          <p:nvPr/>
        </p:nvGrpSpPr>
        <p:grpSpPr>
          <a:xfrm>
            <a:off x="3517063" y="1839392"/>
            <a:ext cx="2542032" cy="2935806"/>
            <a:chOff x="3512779" y="1839392"/>
            <a:chExt cx="2542032" cy="2935806"/>
          </a:xfrm>
        </p:grpSpPr>
        <p:sp>
          <p:nvSpPr>
            <p:cNvPr id="68" name="TextBox 67"/>
            <p:cNvSpPr txBox="1"/>
            <p:nvPr/>
          </p:nvSpPr>
          <p:spPr>
            <a:xfrm>
              <a:off x="3512779" y="1839392"/>
              <a:ext cx="2542032" cy="2935806"/>
            </a:xfrm>
            <a:prstGeom prst="rect">
              <a:avLst/>
            </a:prstGeom>
            <a:solidFill>
              <a:schemeClr val="accent5"/>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phone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mobile shell</a:t>
              </a:r>
            </a:p>
            <a:p>
              <a:pPr algn="ctr">
                <a:lnSpc>
                  <a:spcPct val="90000"/>
                </a:lnSpc>
                <a:spcAft>
                  <a:spcPts val="588"/>
                </a:spcAft>
              </a:pPr>
              <a:r>
                <a:rPr lang="en-US" sz="1372" i="1" dirty="0" smtClean="0">
                  <a:solidFill>
                    <a:prstClr val="white"/>
                  </a:solidFill>
                </a:rPr>
                <a:t>Rich telephony</a:t>
              </a:r>
            </a:p>
            <a:p>
              <a:pPr algn="ctr">
                <a:lnSpc>
                  <a:spcPct val="90000"/>
                </a:lnSpc>
                <a:spcAft>
                  <a:spcPts val="588"/>
                </a:spcAft>
              </a:pPr>
              <a:r>
                <a:rPr lang="en-US" sz="1372" i="1" dirty="0" smtClean="0">
                  <a:solidFill>
                    <a:prstClr val="white"/>
                  </a:solidFill>
                </a:rPr>
                <a:t>Windows phone app compatibility</a:t>
              </a:r>
            </a:p>
          </p:txBody>
        </p:sp>
        <p:sp>
          <p:nvSpPr>
            <p:cNvPr id="72" name="Rounded Rectangle 223"/>
            <p:cNvSpPr/>
            <p:nvPr/>
          </p:nvSpPr>
          <p:spPr bwMode="auto">
            <a:xfrm>
              <a:off x="3742163" y="3965068"/>
              <a:ext cx="368521"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5"/>
          <p:cNvSpPr>
            <a:spLocks noEditPoints="1"/>
          </p:cNvSpPr>
          <p:nvPr/>
        </p:nvSpPr>
        <p:spPr bwMode="auto">
          <a:xfrm>
            <a:off x="3657872" y="5294077"/>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nvGrpSpPr>
          <p:cNvPr id="7" name="Group 6"/>
          <p:cNvGrpSpPr/>
          <p:nvPr/>
        </p:nvGrpSpPr>
        <p:grpSpPr>
          <a:xfrm>
            <a:off x="754378" y="1839393"/>
            <a:ext cx="2542032" cy="2935806"/>
            <a:chOff x="754378" y="1839393"/>
            <a:chExt cx="2542032" cy="2935806"/>
          </a:xfrm>
        </p:grpSpPr>
        <p:sp>
          <p:nvSpPr>
            <p:cNvPr id="67" name="TextBox 66"/>
            <p:cNvSpPr txBox="1"/>
            <p:nvPr/>
          </p:nvSpPr>
          <p:spPr>
            <a:xfrm>
              <a:off x="754378" y="1839393"/>
              <a:ext cx="2542032" cy="2935806"/>
            </a:xfrm>
            <a:prstGeom prst="rect">
              <a:avLst/>
            </a:prstGeom>
            <a:solidFill>
              <a:schemeClr val="accent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for PC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desktop shell</a:t>
              </a:r>
            </a:p>
            <a:p>
              <a:pPr algn="ctr">
                <a:lnSpc>
                  <a:spcPct val="90000"/>
                </a:lnSpc>
                <a:spcAft>
                  <a:spcPts val="588"/>
                </a:spcAft>
              </a:pPr>
              <a:r>
                <a:rPr lang="en-US" sz="1372" i="1" dirty="0" smtClean="0">
                  <a:solidFill>
                    <a:prstClr val="white"/>
                  </a:solidFill>
                </a:rPr>
                <a:t>Broad hardware ecosystem</a:t>
              </a:r>
            </a:p>
            <a:p>
              <a:pPr algn="ctr">
                <a:lnSpc>
                  <a:spcPct val="90000"/>
                </a:lnSpc>
                <a:spcAft>
                  <a:spcPts val="588"/>
                </a:spcAft>
              </a:pPr>
              <a:r>
                <a:rPr lang="en-US" sz="1372" i="1" dirty="0" smtClean="0">
                  <a:solidFill>
                    <a:prstClr val="white"/>
                  </a:solidFill>
                </a:rPr>
                <a:t>Windows desktop application compatibility</a:t>
              </a:r>
            </a:p>
          </p:txBody>
        </p:sp>
        <p:sp>
          <p:nvSpPr>
            <p:cNvPr id="74" name="Round Same Side Corner Rectangle 11"/>
            <p:cNvSpPr/>
            <p:nvPr/>
          </p:nvSpPr>
          <p:spPr>
            <a:xfrm>
              <a:off x="925969" y="3892187"/>
              <a:ext cx="99782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kern="0" dirty="0">
                <a:solidFill>
                  <a:srgbClr val="00D8CC"/>
                </a:solidFill>
              </a:endParaRPr>
            </a:p>
          </p:txBody>
        </p:sp>
      </p:grpSp>
      <p:grpSp>
        <p:nvGrpSpPr>
          <p:cNvPr id="4" name="Group 3"/>
          <p:cNvGrpSpPr/>
          <p:nvPr/>
        </p:nvGrpSpPr>
        <p:grpSpPr>
          <a:xfrm>
            <a:off x="6279748" y="1839393"/>
            <a:ext cx="2542032" cy="2935806"/>
            <a:chOff x="6244425" y="1839393"/>
            <a:chExt cx="2542032" cy="2935806"/>
          </a:xfrm>
        </p:grpSpPr>
        <p:sp>
          <p:nvSpPr>
            <p:cNvPr id="69" name="TextBox 68"/>
            <p:cNvSpPr txBox="1"/>
            <p:nvPr/>
          </p:nvSpPr>
          <p:spPr>
            <a:xfrm>
              <a:off x="6244425" y="1839393"/>
              <a:ext cx="2542032" cy="2935806"/>
            </a:xfrm>
            <a:prstGeom prst="rect">
              <a:avLst/>
            </a:prstGeom>
            <a:solidFill>
              <a:srgbClr val="009900"/>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on Xbox</a:t>
              </a:r>
              <a:endParaRPr lang="en-US" sz="2353" dirty="0">
                <a:solidFill>
                  <a:prstClr val="white"/>
                </a:solidFill>
              </a:endParaRPr>
            </a:p>
            <a:p>
              <a:pPr algn="ctr">
                <a:lnSpc>
                  <a:spcPct val="90000"/>
                </a:lnSpc>
                <a:spcAft>
                  <a:spcPts val="588"/>
                </a:spcAft>
              </a:pPr>
              <a:r>
                <a:rPr lang="en-US" sz="1372" i="1" dirty="0" smtClean="0">
                  <a:solidFill>
                    <a:prstClr val="white"/>
                  </a:solidFill>
                </a:rPr>
                <a:t>10’ shell experience</a:t>
              </a:r>
            </a:p>
            <a:p>
              <a:pPr algn="ctr">
                <a:lnSpc>
                  <a:spcPct val="90000"/>
                </a:lnSpc>
                <a:spcAft>
                  <a:spcPts val="588"/>
                </a:spcAft>
              </a:pPr>
              <a:r>
                <a:rPr lang="en-US" sz="1372" i="1" dirty="0" smtClean="0">
                  <a:solidFill>
                    <a:prstClr val="white"/>
                  </a:solidFill>
                </a:rPr>
                <a:t>Shared gaming experiences</a:t>
              </a:r>
            </a:p>
            <a:p>
              <a:pPr algn="ctr">
                <a:lnSpc>
                  <a:spcPct val="90000"/>
                </a:lnSpc>
                <a:spcAft>
                  <a:spcPts val="588"/>
                </a:spcAft>
              </a:pPr>
              <a:r>
                <a:rPr lang="en-US" sz="1372" i="1" dirty="0" smtClean="0">
                  <a:solidFill>
                    <a:prstClr val="white"/>
                  </a:solidFill>
                </a:rPr>
                <a:t>Xbox One</a:t>
              </a:r>
              <a:br>
                <a:rPr lang="en-US" sz="1372" i="1" dirty="0" smtClean="0">
                  <a:solidFill>
                    <a:prstClr val="white"/>
                  </a:solidFill>
                </a:rPr>
              </a:br>
              <a:r>
                <a:rPr lang="en-US" sz="1372" i="1" dirty="0" smtClean="0">
                  <a:solidFill>
                    <a:prstClr val="white"/>
                  </a:solidFill>
                </a:rPr>
                <a:t>game and app compatibility</a:t>
              </a:r>
            </a:p>
            <a:p>
              <a:pPr algn="ctr">
                <a:lnSpc>
                  <a:spcPct val="90000"/>
                </a:lnSpc>
                <a:spcAft>
                  <a:spcPts val="588"/>
                </a:spcAft>
              </a:pPr>
              <a:endParaRPr lang="en-US" sz="1372" i="1" dirty="0">
                <a:solidFill>
                  <a:prstClr val="white"/>
                </a:solidFill>
              </a:endParaRPr>
            </a:p>
          </p:txBody>
        </p:sp>
        <p:pic>
          <p:nvPicPr>
            <p:cNvPr id="75" name="Picture 20"/>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6500149" y="4123552"/>
              <a:ext cx="630440" cy="47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73140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down)">
                                      <p:cBhvr>
                                        <p:cTn id="7" dur="500"/>
                                        <p:tgtEl>
                                          <p:spTgt spid="6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down)">
                                      <p:cBhvr>
                                        <p:cTn id="2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536575" y="473075"/>
            <a:ext cx="11655425" cy="898525"/>
          </a:xfrm>
        </p:spPr>
        <p:txBody>
          <a:bodyPr/>
          <a:lstStyle/>
          <a:p>
            <a:r>
              <a:rPr lang="en-US" dirty="0" smtClean="0"/>
              <a:t>with a universal app platform...</a:t>
            </a:r>
            <a:endParaRPr lang="en-US" dirty="0"/>
          </a:p>
        </p:txBody>
      </p:sp>
      <p:sp>
        <p:nvSpPr>
          <p:cNvPr id="16" name="Freeform 15"/>
          <p:cNvSpPr>
            <a:spLocks noChangeAspect="1"/>
          </p:cNvSpPr>
          <p:nvPr/>
        </p:nvSpPr>
        <p:spPr bwMode="black">
          <a:xfrm flipH="1">
            <a:off x="2634742" y="2193151"/>
            <a:ext cx="1148665" cy="73719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endParaRPr>
          </a:p>
        </p:txBody>
      </p:sp>
      <p:sp>
        <p:nvSpPr>
          <p:cNvPr id="17" name="Freeform 13"/>
          <p:cNvSpPr>
            <a:spLocks noChangeAspect="1" noEditPoints="1"/>
          </p:cNvSpPr>
          <p:nvPr/>
        </p:nvSpPr>
        <p:spPr bwMode="black">
          <a:xfrm>
            <a:off x="6138084" y="2239573"/>
            <a:ext cx="438805" cy="823901"/>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 name="Freeform 107"/>
          <p:cNvSpPr>
            <a:spLocks noChangeAspect="1" noEditPoints="1"/>
          </p:cNvSpPr>
          <p:nvPr/>
        </p:nvSpPr>
        <p:spPr bwMode="black">
          <a:xfrm>
            <a:off x="10187935" y="2361341"/>
            <a:ext cx="820475" cy="572306"/>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defTabSz="914367"/>
            <a:endParaRPr lang="en-US" sz="1765" dirty="0">
              <a:solidFill>
                <a:srgbClr val="000000"/>
              </a:solidFill>
            </a:endParaRPr>
          </a:p>
        </p:txBody>
      </p:sp>
      <p:sp>
        <p:nvSpPr>
          <p:cNvPr id="19" name="Freeform 18"/>
          <p:cNvSpPr>
            <a:spLocks noChangeAspect="1"/>
          </p:cNvSpPr>
          <p:nvPr/>
        </p:nvSpPr>
        <p:spPr bwMode="black">
          <a:xfrm>
            <a:off x="8711821" y="2372912"/>
            <a:ext cx="820475" cy="5299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noChangeAspect="1"/>
          </p:cNvSpPr>
          <p:nvPr/>
        </p:nvSpPr>
        <p:spPr bwMode="black">
          <a:xfrm>
            <a:off x="1165663" y="2188070"/>
            <a:ext cx="981568" cy="94912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9"/>
          <p:cNvSpPr>
            <a:spLocks noChangeAspect="1" noEditPoints="1"/>
          </p:cNvSpPr>
          <p:nvPr/>
        </p:nvSpPr>
        <p:spPr bwMode="black">
          <a:xfrm>
            <a:off x="4372182" y="2226032"/>
            <a:ext cx="1116788" cy="705487"/>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 name="Rectangle 21"/>
          <p:cNvSpPr/>
          <p:nvPr/>
        </p:nvSpPr>
        <p:spPr bwMode="auto">
          <a:xfrm>
            <a:off x="1165664" y="3308600"/>
            <a:ext cx="9935375" cy="8370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b="1" dirty="0">
                <a:gradFill>
                  <a:gsLst>
                    <a:gs pos="0">
                      <a:srgbClr val="FFFFFF"/>
                    </a:gs>
                    <a:gs pos="100000">
                      <a:srgbClr val="FFFFFF"/>
                    </a:gs>
                  </a:gsLst>
                  <a:lin ang="5400000" scaled="0"/>
                </a:gradFill>
              </a:rPr>
              <a:t>Windows Universal Platform</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Common &amp; Consistent APIs</a:t>
            </a:r>
          </a:p>
        </p:txBody>
      </p:sp>
      <p:sp>
        <p:nvSpPr>
          <p:cNvPr id="23" name="Rectangle 22"/>
          <p:cNvSpPr/>
          <p:nvPr/>
        </p:nvSpPr>
        <p:spPr>
          <a:xfrm>
            <a:off x="384730" y="4354827"/>
            <a:ext cx="2969348" cy="1450397"/>
          </a:xfrm>
          <a:prstGeom prst="rect">
            <a:avLst/>
          </a:prstGeom>
        </p:spPr>
        <p:txBody>
          <a:bodyPr wrap="square">
            <a:spAutoFit/>
          </a:bodyPr>
          <a:lstStyle/>
          <a:p>
            <a:pPr marL="731398" lvl="1" defTabSz="914367"/>
            <a:r>
              <a:rPr lang="en-US" sz="1765" b="1" dirty="0">
                <a:solidFill>
                  <a:srgbClr val="505050"/>
                </a:solidFill>
              </a:rPr>
              <a:t>Languages</a:t>
            </a:r>
          </a:p>
          <a:p>
            <a:pPr marL="1112334" lvl="1" indent="-380936" defTabSz="914367">
              <a:buFont typeface="Arial" panose="020B0604020202020204" pitchFamily="34" charset="0"/>
              <a:buChar char="•"/>
            </a:pPr>
            <a:r>
              <a:rPr lang="en-US" sz="1765" dirty="0">
                <a:solidFill>
                  <a:srgbClr val="505050"/>
                </a:solidFill>
              </a:rPr>
              <a:t>C++ /CX</a:t>
            </a:r>
          </a:p>
          <a:p>
            <a:pPr marL="1112334" lvl="1" indent="-380936" defTabSz="914367">
              <a:buFont typeface="Arial" panose="020B0604020202020204" pitchFamily="34" charset="0"/>
              <a:buChar char="•"/>
            </a:pPr>
            <a:r>
              <a:rPr lang="en-US" sz="1765" dirty="0">
                <a:solidFill>
                  <a:srgbClr val="505050"/>
                </a:solidFill>
              </a:rPr>
              <a:t>C#, VB</a:t>
            </a:r>
          </a:p>
          <a:p>
            <a:pPr marL="1112334" lvl="1" indent="-380936" defTabSz="914367">
              <a:buFont typeface="Arial" panose="020B0604020202020204" pitchFamily="34" charset="0"/>
              <a:buChar char="•"/>
            </a:pPr>
            <a:r>
              <a:rPr lang="en-US" sz="1765" dirty="0">
                <a:solidFill>
                  <a:srgbClr val="505050"/>
                </a:solidFill>
              </a:rPr>
              <a:t>JS</a:t>
            </a:r>
          </a:p>
          <a:p>
            <a:pPr marL="1112334" lvl="1" indent="-380936" defTabSz="914367">
              <a:buFont typeface="Arial" panose="020B0604020202020204" pitchFamily="34" charset="0"/>
              <a:buChar char="•"/>
            </a:pPr>
            <a:r>
              <a:rPr lang="en-US" sz="1765" dirty="0" smtClean="0">
                <a:solidFill>
                  <a:srgbClr val="505050"/>
                </a:solidFill>
              </a:rPr>
              <a:t>More</a:t>
            </a:r>
            <a:endParaRPr lang="en-US" sz="1765" dirty="0">
              <a:solidFill>
                <a:srgbClr val="505050"/>
              </a:solidFill>
            </a:endParaRPr>
          </a:p>
        </p:txBody>
      </p:sp>
      <p:sp>
        <p:nvSpPr>
          <p:cNvPr id="24" name="Rectangle 23"/>
          <p:cNvSpPr/>
          <p:nvPr/>
        </p:nvSpPr>
        <p:spPr>
          <a:xfrm>
            <a:off x="4545991" y="4373270"/>
            <a:ext cx="2969348" cy="1448287"/>
          </a:xfrm>
          <a:prstGeom prst="rect">
            <a:avLst/>
          </a:prstGeom>
        </p:spPr>
        <p:txBody>
          <a:bodyPr wrap="square">
            <a:spAutoFit/>
          </a:bodyPr>
          <a:lstStyle/>
          <a:p>
            <a:pPr marL="731398" lvl="1" defTabSz="914367"/>
            <a:r>
              <a:rPr lang="en-US" sz="1765" b="1" dirty="0">
                <a:solidFill>
                  <a:srgbClr val="505050"/>
                </a:solidFill>
              </a:rPr>
              <a:t>APIs</a:t>
            </a:r>
          </a:p>
          <a:p>
            <a:pPr marL="1112334" lvl="1" indent="-380936" defTabSz="914367">
              <a:buFont typeface="Arial" panose="020B0604020202020204" pitchFamily="34" charset="0"/>
              <a:buChar char="•"/>
            </a:pPr>
            <a:r>
              <a:rPr lang="en-US" sz="1765" dirty="0" err="1">
                <a:solidFill>
                  <a:srgbClr val="505050"/>
                </a:solidFill>
              </a:rPr>
              <a:t>WinRT</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Win32</a:t>
            </a:r>
          </a:p>
          <a:p>
            <a:pPr marL="1112334" lvl="1" indent="-380936" defTabSz="914367">
              <a:buFont typeface="Arial" panose="020B0604020202020204" pitchFamily="34" charset="0"/>
              <a:buChar char="•"/>
            </a:pPr>
            <a:r>
              <a:rPr lang="en-US" sz="1765" dirty="0">
                <a:solidFill>
                  <a:srgbClr val="505050"/>
                </a:solidFill>
              </a:rPr>
              <a:t>.NET</a:t>
            </a:r>
          </a:p>
          <a:p>
            <a:pPr marL="1112334" lvl="1" indent="-380936" defTabSz="914367">
              <a:buFont typeface="Arial" panose="020B0604020202020204" pitchFamily="34" charset="0"/>
              <a:buChar char="•"/>
            </a:pPr>
            <a:r>
              <a:rPr lang="en-US" sz="1765" dirty="0">
                <a:solidFill>
                  <a:srgbClr val="505050"/>
                </a:solidFill>
              </a:rPr>
              <a:t>Wiring</a:t>
            </a:r>
          </a:p>
        </p:txBody>
      </p:sp>
      <p:sp>
        <p:nvSpPr>
          <p:cNvPr id="25" name="Rectangle 24"/>
          <p:cNvSpPr/>
          <p:nvPr/>
        </p:nvSpPr>
        <p:spPr>
          <a:xfrm>
            <a:off x="6245404" y="4350767"/>
            <a:ext cx="2763977" cy="1448287"/>
          </a:xfrm>
          <a:prstGeom prst="rect">
            <a:avLst/>
          </a:prstGeom>
        </p:spPr>
        <p:txBody>
          <a:bodyPr wrap="square">
            <a:spAutoFit/>
          </a:bodyPr>
          <a:lstStyle/>
          <a:p>
            <a:pPr marL="731398" lvl="1" defTabSz="914367"/>
            <a:r>
              <a:rPr lang="en-US" sz="1765" b="1" dirty="0">
                <a:solidFill>
                  <a:srgbClr val="505050"/>
                </a:solidFill>
              </a:rPr>
              <a:t>Deployment and Execution</a:t>
            </a:r>
          </a:p>
          <a:p>
            <a:pPr marL="1112334" lvl="1" indent="-380936" defTabSz="914367">
              <a:buFont typeface="Arial" panose="020B0604020202020204" pitchFamily="34" charset="0"/>
              <a:buChar char="•"/>
            </a:pPr>
            <a:r>
              <a:rPr lang="en-US" sz="1765" dirty="0">
                <a:solidFill>
                  <a:srgbClr val="505050"/>
                </a:solidFill>
              </a:rPr>
              <a:t>APPX</a:t>
            </a:r>
          </a:p>
          <a:p>
            <a:pPr marL="1112334" lvl="1" indent="-380936" defTabSz="914367">
              <a:buFont typeface="Arial" panose="020B0604020202020204" pitchFamily="34" charset="0"/>
              <a:buChar char="•"/>
            </a:pPr>
            <a:r>
              <a:rPr lang="en-US" sz="1765" dirty="0" err="1">
                <a:solidFill>
                  <a:srgbClr val="505050"/>
                </a:solidFill>
              </a:rPr>
              <a:t>Xcopy</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App Isolation</a:t>
            </a:r>
          </a:p>
        </p:txBody>
      </p:sp>
      <p:sp>
        <p:nvSpPr>
          <p:cNvPr id="26" name="Rectangle 25"/>
          <p:cNvSpPr/>
          <p:nvPr/>
        </p:nvSpPr>
        <p:spPr>
          <a:xfrm>
            <a:off x="2435599" y="4366617"/>
            <a:ext cx="2969348" cy="1176733"/>
          </a:xfrm>
          <a:prstGeom prst="rect">
            <a:avLst/>
          </a:prstGeom>
        </p:spPr>
        <p:txBody>
          <a:bodyPr wrap="square">
            <a:spAutoFit/>
          </a:bodyPr>
          <a:lstStyle/>
          <a:p>
            <a:pPr marL="731398" lvl="1" defTabSz="914367"/>
            <a:r>
              <a:rPr lang="en-US" sz="1765" b="1" dirty="0">
                <a:solidFill>
                  <a:srgbClr val="505050"/>
                </a:solidFill>
              </a:rPr>
              <a:t>UI Frameworks</a:t>
            </a:r>
          </a:p>
          <a:p>
            <a:pPr marL="1112334" lvl="1" indent="-380936" defTabSz="914367">
              <a:buFont typeface="Arial" panose="020B0604020202020204" pitchFamily="34" charset="0"/>
              <a:buChar char="•"/>
            </a:pPr>
            <a:r>
              <a:rPr lang="en-US" sz="1765" dirty="0">
                <a:solidFill>
                  <a:srgbClr val="505050"/>
                </a:solidFill>
              </a:rPr>
              <a:t>HTML</a:t>
            </a:r>
          </a:p>
          <a:p>
            <a:pPr marL="1112334" lvl="1" indent="-380936" defTabSz="914367">
              <a:buFont typeface="Arial" panose="020B0604020202020204" pitchFamily="34" charset="0"/>
              <a:buChar char="•"/>
            </a:pPr>
            <a:r>
              <a:rPr lang="en-US" sz="1765" dirty="0" err="1">
                <a:solidFill>
                  <a:srgbClr val="505050"/>
                </a:solidFill>
              </a:rPr>
              <a:t>Xaml</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DirectX</a:t>
            </a:r>
          </a:p>
        </p:txBody>
      </p:sp>
      <p:sp>
        <p:nvSpPr>
          <p:cNvPr id="27" name="Freeform 26"/>
          <p:cNvSpPr/>
          <p:nvPr/>
        </p:nvSpPr>
        <p:spPr bwMode="auto">
          <a:xfrm>
            <a:off x="7287387" y="2237607"/>
            <a:ext cx="673029" cy="65396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rgbClr val="1E31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886" fontAlgn="base">
              <a:spcBef>
                <a:spcPct val="0"/>
              </a:spcBef>
              <a:spcAft>
                <a:spcPct val="0"/>
              </a:spcAft>
            </a:pPr>
            <a:endParaRPr lang="en-US" sz="1400"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54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s Definition</a:t>
            </a:r>
            <a:endParaRPr lang="en-US" dirty="0"/>
          </a:p>
        </p:txBody>
      </p:sp>
      <p:sp>
        <p:nvSpPr>
          <p:cNvPr id="3" name="Content Placeholder 2"/>
          <p:cNvSpPr>
            <a:spLocks noGrp="1"/>
          </p:cNvSpPr>
          <p:nvPr>
            <p:ph idx="1"/>
          </p:nvPr>
        </p:nvSpPr>
        <p:spPr/>
        <p:txBody>
          <a:bodyPr>
            <a:normAutofit/>
          </a:bodyPr>
          <a:lstStyle/>
          <a:p>
            <a:pPr marL="0" indent="0">
              <a:buNone/>
            </a:pPr>
            <a:r>
              <a:rPr lang="en-US" sz="4400" i="1" dirty="0" smtClean="0"/>
              <a:t>“Bringing together people, process, data and things to make networked connections more relevant and valuable than ever before”</a:t>
            </a:r>
            <a:endParaRPr lang="en-US" sz="4400" i="1" dirty="0"/>
          </a:p>
        </p:txBody>
      </p:sp>
      <p:sp>
        <p:nvSpPr>
          <p:cNvPr id="4" name="TextBox 3"/>
          <p:cNvSpPr txBox="1"/>
          <p:nvPr/>
        </p:nvSpPr>
        <p:spPr>
          <a:xfrm>
            <a:off x="0" y="6488668"/>
            <a:ext cx="1549463" cy="369332"/>
          </a:xfrm>
          <a:prstGeom prst="rect">
            <a:avLst/>
          </a:prstGeom>
          <a:noFill/>
        </p:spPr>
        <p:txBody>
          <a:bodyPr wrap="none" rtlCol="0">
            <a:spAutoFit/>
          </a:bodyPr>
          <a:lstStyle/>
          <a:p>
            <a:r>
              <a:rPr lang="en-US" dirty="0" smtClean="0"/>
              <a:t>Source: </a:t>
            </a:r>
            <a:r>
              <a:rPr lang="en-US" dirty="0" smtClean="0">
                <a:hlinkClick r:id="rId2"/>
              </a:rPr>
              <a:t>Cisco</a:t>
            </a:r>
            <a:endParaRPr lang="en-US" dirty="0"/>
          </a:p>
        </p:txBody>
      </p:sp>
    </p:spTree>
    <p:extLst>
      <p:ext uri="{BB962C8B-B14F-4D97-AF65-F5344CB8AC3E}">
        <p14:creationId xmlns:p14="http://schemas.microsoft.com/office/powerpoint/2010/main" val="24902257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536575" y="473075"/>
            <a:ext cx="11655425" cy="898525"/>
          </a:xfrm>
        </p:spPr>
        <p:txBody>
          <a:bodyPr/>
          <a:lstStyle/>
          <a:p>
            <a:r>
              <a:rPr lang="en-US" dirty="0" smtClean="0"/>
              <a:t>and some pretty cool devices.</a:t>
            </a:r>
            <a:endParaRPr lang="en-US" dirty="0"/>
          </a:p>
        </p:txBody>
      </p:sp>
      <p:pic>
        <p:nvPicPr>
          <p:cNvPr id="28" name="Picture 27"/>
          <p:cNvPicPr>
            <a:picLocks noChangeAspect="1"/>
          </p:cNvPicPr>
          <p:nvPr/>
        </p:nvPicPr>
        <p:blipFill>
          <a:blip r:embed="rId3"/>
          <a:stretch>
            <a:fillRect/>
          </a:stretch>
        </p:blipFill>
        <p:spPr>
          <a:xfrm>
            <a:off x="1821808" y="1712612"/>
            <a:ext cx="8548383" cy="4804375"/>
          </a:xfrm>
          <a:prstGeom prst="rect">
            <a:avLst/>
          </a:prstGeom>
        </p:spPr>
      </p:pic>
    </p:spTree>
    <p:extLst>
      <p:ext uri="{BB962C8B-B14F-4D97-AF65-F5344CB8AC3E}">
        <p14:creationId xmlns:p14="http://schemas.microsoft.com/office/powerpoint/2010/main" val="174042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473075"/>
            <a:ext cx="11655425" cy="898525"/>
          </a:xfrm>
        </p:spPr>
        <p:txBody>
          <a:bodyPr/>
          <a:lstStyle/>
          <a:p>
            <a:r>
              <a:rPr lang="en-US" dirty="0" smtClean="0"/>
              <a:t>.NET Micro Framework and Gadgeteer</a:t>
            </a:r>
            <a:endParaRPr lang="en-US" dirty="0"/>
          </a:p>
        </p:txBody>
      </p:sp>
      <p:pic>
        <p:nvPicPr>
          <p:cNvPr id="28" name="Picture 27"/>
          <p:cNvPicPr>
            <a:picLocks noChangeAspect="1"/>
          </p:cNvPicPr>
          <p:nvPr/>
        </p:nvPicPr>
        <p:blipFill>
          <a:blip r:embed="rId3"/>
          <a:stretch>
            <a:fillRect/>
          </a:stretch>
        </p:blipFill>
        <p:spPr>
          <a:xfrm>
            <a:off x="481780" y="1770853"/>
            <a:ext cx="4304433" cy="4304433"/>
          </a:xfrm>
          <a:prstGeom prst="rect">
            <a:avLst/>
          </a:prstGeom>
        </p:spPr>
      </p:pic>
      <p:pic>
        <p:nvPicPr>
          <p:cNvPr id="29" name="Picture 28"/>
          <p:cNvPicPr>
            <a:picLocks noChangeAspect="1"/>
          </p:cNvPicPr>
          <p:nvPr/>
        </p:nvPicPr>
        <p:blipFill>
          <a:blip r:embed="rId4"/>
          <a:stretch>
            <a:fillRect/>
          </a:stretch>
        </p:blipFill>
        <p:spPr>
          <a:xfrm>
            <a:off x="5742287" y="2092398"/>
            <a:ext cx="5493639" cy="3982888"/>
          </a:xfrm>
          <a:prstGeom prst="rect">
            <a:avLst/>
          </a:prstGeom>
        </p:spPr>
      </p:pic>
    </p:spTree>
    <p:extLst>
      <p:ext uri="{BB962C8B-B14F-4D97-AF65-F5344CB8AC3E}">
        <p14:creationId xmlns:p14="http://schemas.microsoft.com/office/powerpoint/2010/main" val="205341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473075"/>
            <a:ext cx="11655425" cy="898525"/>
          </a:xfrm>
        </p:spPr>
        <p:txBody>
          <a:bodyPr/>
          <a:lstStyle/>
          <a:p>
            <a:r>
              <a:rPr lang="en-US" dirty="0" smtClean="0"/>
              <a:t>Gadgeteer on Windows</a:t>
            </a:r>
            <a:endParaRPr lang="en-US" dirty="0"/>
          </a:p>
        </p:txBody>
      </p:sp>
      <p:pic>
        <p:nvPicPr>
          <p:cNvPr id="6" name="Picture 5"/>
          <p:cNvPicPr>
            <a:picLocks noChangeAspect="1"/>
          </p:cNvPicPr>
          <p:nvPr/>
        </p:nvPicPr>
        <p:blipFill>
          <a:blip r:embed="rId3"/>
          <a:stretch>
            <a:fillRect/>
          </a:stretch>
        </p:blipFill>
        <p:spPr>
          <a:xfrm>
            <a:off x="6764017" y="1688839"/>
            <a:ext cx="5161063" cy="4654575"/>
          </a:xfrm>
          <a:prstGeom prst="rect">
            <a:avLst/>
          </a:prstGeom>
        </p:spPr>
      </p:pic>
      <p:pic>
        <p:nvPicPr>
          <p:cNvPr id="4" name="Picture 3"/>
          <p:cNvPicPr>
            <a:picLocks noChangeAspect="1"/>
          </p:cNvPicPr>
          <p:nvPr/>
        </p:nvPicPr>
        <p:blipFill>
          <a:blip r:embed="rId4"/>
          <a:stretch>
            <a:fillRect/>
          </a:stretch>
        </p:blipFill>
        <p:spPr>
          <a:xfrm>
            <a:off x="186812" y="1868202"/>
            <a:ext cx="6429999" cy="4475211"/>
          </a:xfrm>
          <a:prstGeom prst="rect">
            <a:avLst/>
          </a:prstGeom>
        </p:spPr>
      </p:pic>
    </p:spTree>
    <p:extLst>
      <p:ext uri="{BB962C8B-B14F-4D97-AF65-F5344CB8AC3E}">
        <p14:creationId xmlns:p14="http://schemas.microsoft.com/office/powerpoint/2010/main" val="12377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hands-on labs</a:t>
            </a:r>
            <a:endParaRPr lang="en-US"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620922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onnect the dots?</a:t>
            </a:r>
            <a:endParaRPr lang="en-US" dirty="0"/>
          </a:p>
        </p:txBody>
      </p:sp>
      <p:grpSp>
        <p:nvGrpSpPr>
          <p:cNvPr id="4" name="Group 3"/>
          <p:cNvGrpSpPr/>
          <p:nvPr/>
        </p:nvGrpSpPr>
        <p:grpSpPr>
          <a:xfrm>
            <a:off x="822960" y="3064017"/>
            <a:ext cx="3701155" cy="1240018"/>
            <a:chOff x="333596" y="333170"/>
            <a:chExt cx="11729320" cy="3929738"/>
          </a:xfrm>
        </p:grpSpPr>
        <p:sp>
          <p:nvSpPr>
            <p:cNvPr id="5" name="Freeform 4"/>
            <p:cNvSpPr>
              <a:spLocks noChangeArrowheads="1"/>
            </p:cNvSpPr>
            <p:nvPr/>
          </p:nvSpPr>
          <p:spPr bwMode="auto">
            <a:xfrm>
              <a:off x="333596" y="333170"/>
              <a:ext cx="4679549" cy="3929738"/>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 name="Freeform 5"/>
            <p:cNvSpPr/>
            <p:nvPr/>
          </p:nvSpPr>
          <p:spPr>
            <a:xfrm>
              <a:off x="5437366" y="571361"/>
              <a:ext cx="6625550"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p:cNvSpPr txBox="1"/>
          <p:nvPr/>
        </p:nvSpPr>
        <p:spPr>
          <a:xfrm>
            <a:off x="4926226" y="1914311"/>
            <a:ext cx="6763265" cy="3539430"/>
          </a:xfrm>
          <a:prstGeom prst="rect">
            <a:avLst/>
          </a:prstGeom>
          <a:noFill/>
        </p:spPr>
        <p:txBody>
          <a:bodyPr wrap="square" rtlCol="0">
            <a:spAutoFit/>
          </a:bodyPr>
          <a:lstStyle/>
          <a:p>
            <a:r>
              <a:rPr lang="en-US" sz="2800" i="1" dirty="0" smtClean="0">
                <a:hlinkClick r:id="rId2"/>
              </a:rPr>
              <a:t>“ConnectTheDots.io</a:t>
            </a:r>
            <a:r>
              <a:rPr lang="en-US" sz="2800" i="1" dirty="0" smtClean="0"/>
              <a:t> </a:t>
            </a:r>
            <a:r>
              <a:rPr lang="en-US" sz="2800" i="1" dirty="0"/>
              <a:t>is an open source project created by </a:t>
            </a:r>
            <a:r>
              <a:rPr lang="en-US" sz="2800" i="1" dirty="0">
                <a:hlinkClick r:id="rId3"/>
              </a:rPr>
              <a:t>Microsoft Open Technologies</a:t>
            </a:r>
            <a:r>
              <a:rPr lang="en-US" sz="2800" i="1" dirty="0"/>
              <a:t> to help you get tiny devices connected to Microsoft Azure, and to implement great IoT solutions taking advantage of Microsoft Azure advanced analytic services such as Azure Stream Analytics and Azure Machine Learning</a:t>
            </a:r>
            <a:r>
              <a:rPr lang="en-US" sz="2800" i="1" dirty="0" smtClean="0"/>
              <a:t>.”</a:t>
            </a:r>
            <a:endParaRPr lang="en-US" sz="2800" i="1" dirty="0"/>
          </a:p>
        </p:txBody>
      </p:sp>
    </p:spTree>
    <p:extLst>
      <p:ext uri="{BB962C8B-B14F-4D97-AF65-F5344CB8AC3E}">
        <p14:creationId xmlns:p14="http://schemas.microsoft.com/office/powerpoint/2010/main" val="426743348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SURE YOU USE MY FORK!!!!!!!!!</a:t>
            </a:r>
            <a:endParaRPr lang="en-US" dirty="0"/>
          </a:p>
        </p:txBody>
      </p:sp>
      <p:sp>
        <p:nvSpPr>
          <p:cNvPr id="4" name="TextBox 3"/>
          <p:cNvSpPr txBox="1"/>
          <p:nvPr/>
        </p:nvSpPr>
        <p:spPr>
          <a:xfrm>
            <a:off x="1441524" y="1204803"/>
            <a:ext cx="9278471" cy="1446550"/>
          </a:xfrm>
          <a:prstGeom prst="rect">
            <a:avLst/>
          </a:prstGeom>
          <a:noFill/>
        </p:spPr>
        <p:txBody>
          <a:bodyPr wrap="square" rtlCol="0">
            <a:spAutoFit/>
          </a:bodyPr>
          <a:lstStyle/>
          <a:p>
            <a:pPr algn="ctr"/>
            <a:r>
              <a:rPr lang="en-US" sz="8800" dirty="0" smtClean="0"/>
              <a:t>http://aka.ms/bsctd</a:t>
            </a:r>
            <a:endParaRPr lang="en-US" sz="8800" dirty="0"/>
          </a:p>
        </p:txBody>
      </p:sp>
      <p:pic>
        <p:nvPicPr>
          <p:cNvPr id="6" name="Picture 2" descr="C:\Users\brets\AppData\Local\Temp\SNAGHTML106ef1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0680" y="2651353"/>
            <a:ext cx="6640158" cy="4094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076564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Microsoft Azure"/>
          <p:cNvGrpSpPr/>
          <p:nvPr/>
        </p:nvGrpSpPr>
        <p:grpSpPr>
          <a:xfrm>
            <a:off x="3460107" y="166301"/>
            <a:ext cx="8585714" cy="6472624"/>
            <a:chOff x="3460107" y="166301"/>
            <a:chExt cx="8585714" cy="6472624"/>
          </a:xfrm>
        </p:grpSpPr>
        <p:sp>
          <p:nvSpPr>
            <p:cNvPr id="39" name="Rectangle 38"/>
            <p:cNvSpPr/>
            <p:nvPr/>
          </p:nvSpPr>
          <p:spPr>
            <a:xfrm>
              <a:off x="3460107" y="166301"/>
              <a:ext cx="8585714" cy="6472624"/>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71" name="Group 70"/>
            <p:cNvGrpSpPr/>
            <p:nvPr/>
          </p:nvGrpSpPr>
          <p:grpSpPr>
            <a:xfrm>
              <a:off x="3561149" y="324167"/>
              <a:ext cx="3974836" cy="523799"/>
              <a:chOff x="1368689" y="1038542"/>
              <a:chExt cx="6326489" cy="833697"/>
            </a:xfrm>
          </p:grpSpPr>
          <p:sp>
            <p:nvSpPr>
              <p:cNvPr id="42" name="Freeform 41"/>
              <p:cNvSpPr>
                <a:spLocks/>
              </p:cNvSpPr>
              <p:nvPr/>
            </p:nvSpPr>
            <p:spPr bwMode="auto">
              <a:xfrm>
                <a:off x="1368689" y="1038542"/>
                <a:ext cx="1301246" cy="833697"/>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44" name="Freeform 43"/>
              <p:cNvSpPr/>
              <p:nvPr/>
            </p:nvSpPr>
            <p:spPr>
              <a:xfrm>
                <a:off x="2826763" y="1209565"/>
                <a:ext cx="4868415" cy="519961"/>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0" name="Service Bus Namespace"/>
          <p:cNvGrpSpPr/>
          <p:nvPr/>
        </p:nvGrpSpPr>
        <p:grpSpPr>
          <a:xfrm>
            <a:off x="3560610" y="2016836"/>
            <a:ext cx="8360229" cy="2293443"/>
            <a:chOff x="3560610" y="2016836"/>
            <a:chExt cx="8360229" cy="2293443"/>
          </a:xfrm>
        </p:grpSpPr>
        <p:sp>
          <p:nvSpPr>
            <p:cNvPr id="115" name="Rectangle 114"/>
            <p:cNvSpPr/>
            <p:nvPr/>
          </p:nvSpPr>
          <p:spPr>
            <a:xfrm>
              <a:off x="3560610" y="2016836"/>
              <a:ext cx="8360229"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116" name="TextBox 115"/>
            <p:cNvSpPr txBox="1"/>
            <p:nvPr/>
          </p:nvSpPr>
          <p:spPr>
            <a:xfrm>
              <a:off x="4679715" y="2154919"/>
              <a:ext cx="2314160" cy="584775"/>
            </a:xfrm>
            <a:prstGeom prst="rect">
              <a:avLst/>
            </a:prstGeom>
            <a:noFill/>
          </p:spPr>
          <p:txBody>
            <a:bodyPr wrap="none" rtlCol="0">
              <a:spAutoFit/>
            </a:bodyPr>
            <a:lstStyle/>
            <a:p>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ns</a:t>
              </a:r>
              <a:r>
                <a:rPr lang="en-US" sz="1600" b="1" i="1" dirty="0" smtClean="0">
                  <a:solidFill>
                    <a:srgbClr val="006FD4"/>
                  </a:solidFill>
                  <a:latin typeface="Segoe UI" panose="020B0502040204020203" pitchFamily="34" charset="0"/>
                  <a:cs typeface="Segoe UI" panose="020B0502040204020203" pitchFamily="34" charset="0"/>
                </a:rPr>
                <a:t> </a:t>
              </a:r>
              <a:br>
                <a:rPr lang="en-US" sz="1600" b="1" i="1"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127" name="Freeform 126"/>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grpSp>
      <p:grpSp>
        <p:nvGrpSpPr>
          <p:cNvPr id="129" name="ehdevices"/>
          <p:cNvGrpSpPr/>
          <p:nvPr/>
        </p:nvGrpSpPr>
        <p:grpSpPr>
          <a:xfrm>
            <a:off x="3679315" y="2892250"/>
            <a:ext cx="5470563" cy="1299969"/>
            <a:chOff x="3330840" y="4304756"/>
            <a:chExt cx="5470563" cy="1299969"/>
          </a:xfrm>
        </p:grpSpPr>
        <p:sp>
          <p:nvSpPr>
            <p:cNvPr id="86" name="Rectangle 85"/>
            <p:cNvSpPr/>
            <p:nvPr/>
          </p:nvSpPr>
          <p:spPr>
            <a:xfrm>
              <a:off x="3330840" y="4304756"/>
              <a:ext cx="5470563"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41" name="Freeform 40"/>
            <p:cNvSpPr>
              <a:spLocks/>
            </p:cNvSpPr>
            <p:nvPr/>
          </p:nvSpPr>
          <p:spPr bwMode="auto">
            <a:xfrm>
              <a:off x="3515047" y="462199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solidFill>
                  <a:srgbClr val="1E313B"/>
                </a:solidFill>
              </a:endParaRPr>
            </a:p>
          </p:txBody>
        </p:sp>
        <p:sp>
          <p:nvSpPr>
            <p:cNvPr id="87" name="TextBox 86"/>
            <p:cNvSpPr txBox="1"/>
            <p:nvPr/>
          </p:nvSpPr>
          <p:spPr>
            <a:xfrm>
              <a:off x="4369796" y="4668491"/>
              <a:ext cx="1312090"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device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grpSp>
        <p:nvGrpSpPr>
          <p:cNvPr id="130" name="Aggregates Job"/>
          <p:cNvGrpSpPr/>
          <p:nvPr/>
        </p:nvGrpSpPr>
        <p:grpSpPr>
          <a:xfrm>
            <a:off x="3679316" y="4434563"/>
            <a:ext cx="3564074" cy="1167497"/>
            <a:chOff x="3515048" y="4762685"/>
            <a:chExt cx="3564074" cy="1167497"/>
          </a:xfrm>
        </p:grpSpPr>
        <p:sp>
          <p:nvSpPr>
            <p:cNvPr id="105" name="Rectangle 104"/>
            <p:cNvSpPr/>
            <p:nvPr/>
          </p:nvSpPr>
          <p:spPr>
            <a:xfrm>
              <a:off x="3515048" y="4762685"/>
              <a:ext cx="3564074" cy="1167497"/>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40" name="Freeform 3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106" name="TextBox 105"/>
            <p:cNvSpPr txBox="1"/>
            <p:nvPr/>
          </p:nvSpPr>
          <p:spPr>
            <a:xfrm>
              <a:off x="4596555" y="4812012"/>
              <a:ext cx="2276521"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ggregates</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ream Analytics Job </a:t>
              </a:r>
            </a:p>
          </p:txBody>
        </p:sp>
      </p:grpSp>
      <p:grpSp>
        <p:nvGrpSpPr>
          <p:cNvPr id="128" name="ehalerts"/>
          <p:cNvGrpSpPr/>
          <p:nvPr/>
        </p:nvGrpSpPr>
        <p:grpSpPr>
          <a:xfrm>
            <a:off x="9323949" y="2892250"/>
            <a:ext cx="2460818" cy="1299969"/>
            <a:chOff x="6910257" y="4304756"/>
            <a:chExt cx="2458331" cy="1299969"/>
          </a:xfrm>
        </p:grpSpPr>
        <p:sp>
          <p:nvSpPr>
            <p:cNvPr id="100" name="Rectangle 99"/>
            <p:cNvSpPr/>
            <p:nvPr/>
          </p:nvSpPr>
          <p:spPr>
            <a:xfrm>
              <a:off x="6910257" y="4304756"/>
              <a:ext cx="2458331"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99" name="Freeform 98"/>
            <p:cNvSpPr>
              <a:spLocks/>
            </p:cNvSpPr>
            <p:nvPr/>
          </p:nvSpPr>
          <p:spPr bwMode="auto">
            <a:xfrm>
              <a:off x="7094464" y="461784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solidFill>
                  <a:srgbClr val="1E313B"/>
                </a:solidFill>
              </a:endParaRPr>
            </a:p>
          </p:txBody>
        </p:sp>
        <p:sp>
          <p:nvSpPr>
            <p:cNvPr id="108" name="TextBox 107"/>
            <p:cNvSpPr txBox="1"/>
            <p:nvPr/>
          </p:nvSpPr>
          <p:spPr>
            <a:xfrm>
              <a:off x="7948473" y="4664341"/>
              <a:ext cx="1144865"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alert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grpSp>
        <p:nvGrpSpPr>
          <p:cNvPr id="102" name="Sample Web"/>
          <p:cNvGrpSpPr/>
          <p:nvPr/>
        </p:nvGrpSpPr>
        <p:grpSpPr>
          <a:xfrm>
            <a:off x="3679315" y="1063626"/>
            <a:ext cx="8105451" cy="847126"/>
            <a:chOff x="4943475" y="1228726"/>
            <a:chExt cx="8105451" cy="847126"/>
          </a:xfrm>
        </p:grpSpPr>
        <p:sp>
          <p:nvSpPr>
            <p:cNvPr id="72" name="Rectangle 71"/>
            <p:cNvSpPr/>
            <p:nvPr/>
          </p:nvSpPr>
          <p:spPr>
            <a:xfrm>
              <a:off x="4943475" y="1228726"/>
              <a:ext cx="8105451"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68" name="Freeform 67"/>
            <p:cNvSpPr>
              <a:spLocks/>
            </p:cNvSpPr>
            <p:nvPr/>
          </p:nvSpPr>
          <p:spPr bwMode="auto">
            <a:xfrm>
              <a:off x="5127683" y="1296645"/>
              <a:ext cx="669803" cy="669802"/>
            </a:xfrm>
            <a:custGeom>
              <a:avLst/>
              <a:gdLst>
                <a:gd name="connsiteX0" fmla="*/ 1109011 w 3508482"/>
                <a:gd name="connsiteY0" fmla="*/ 2192406 h 3508478"/>
                <a:gd name="connsiteX1" fmla="*/ 1041943 w 3508482"/>
                <a:gd name="connsiteY1" fmla="*/ 2225310 h 3508478"/>
                <a:gd name="connsiteX2" fmla="*/ 900451 w 3508482"/>
                <a:gd name="connsiteY2" fmla="*/ 2233564 h 3508478"/>
                <a:gd name="connsiteX3" fmla="*/ 865354 w 3508482"/>
                <a:gd name="connsiteY3" fmla="*/ 2319858 h 3508478"/>
                <a:gd name="connsiteX4" fmla="*/ 786472 w 3508482"/>
                <a:gd name="connsiteY4" fmla="*/ 2812744 h 3508478"/>
                <a:gd name="connsiteX5" fmla="*/ 788902 w 3508482"/>
                <a:gd name="connsiteY5" fmla="*/ 2930469 h 3508478"/>
                <a:gd name="connsiteX6" fmla="*/ 902838 w 3508482"/>
                <a:gd name="connsiteY6" fmla="*/ 3015669 h 3508478"/>
                <a:gd name="connsiteX7" fmla="*/ 1754241 w 3508482"/>
                <a:gd name="connsiteY7" fmla="*/ 3275736 h 3508478"/>
                <a:gd name="connsiteX8" fmla="*/ 2722872 w 3508482"/>
                <a:gd name="connsiteY8" fmla="*/ 2928007 h 3508478"/>
                <a:gd name="connsiteX9" fmla="*/ 2811432 w 3508482"/>
                <a:gd name="connsiteY9" fmla="*/ 2847519 h 3508478"/>
                <a:gd name="connsiteX10" fmla="*/ 2699229 w 3508482"/>
                <a:gd name="connsiteY10" fmla="*/ 2845196 h 3508478"/>
                <a:gd name="connsiteX11" fmla="*/ 2532182 w 3508482"/>
                <a:gd name="connsiteY11" fmla="*/ 2833063 h 3508478"/>
                <a:gd name="connsiteX12" fmla="*/ 2244578 w 3508482"/>
                <a:gd name="connsiteY12" fmla="*/ 2780823 h 3508478"/>
                <a:gd name="connsiteX13" fmla="*/ 2173739 w 3508482"/>
                <a:gd name="connsiteY13" fmla="*/ 2857848 h 3508478"/>
                <a:gd name="connsiteX14" fmla="*/ 1730661 w 3508482"/>
                <a:gd name="connsiteY14" fmla="*/ 2799907 h 3508478"/>
                <a:gd name="connsiteX15" fmla="*/ 1677709 w 3508482"/>
                <a:gd name="connsiteY15" fmla="*/ 2694707 h 3508478"/>
                <a:gd name="connsiteX16" fmla="*/ 1670884 w 3508482"/>
                <a:gd name="connsiteY16" fmla="*/ 2581398 h 3508478"/>
                <a:gd name="connsiteX17" fmla="*/ 1466904 w 3508482"/>
                <a:gd name="connsiteY17" fmla="*/ 2467843 h 3508478"/>
                <a:gd name="connsiteX18" fmla="*/ 1230844 w 3508482"/>
                <a:gd name="connsiteY18" fmla="*/ 2300426 h 3508478"/>
                <a:gd name="connsiteX19" fmla="*/ 1800554 w 3508482"/>
                <a:gd name="connsiteY19" fmla="*/ 1193864 h 3508478"/>
                <a:gd name="connsiteX20" fmla="*/ 1780163 w 3508482"/>
                <a:gd name="connsiteY20" fmla="*/ 1207268 h 3508478"/>
                <a:gd name="connsiteX21" fmla="*/ 1776970 w 3508482"/>
                <a:gd name="connsiteY21" fmla="*/ 1204109 h 3508478"/>
                <a:gd name="connsiteX22" fmla="*/ 1594907 w 3508482"/>
                <a:gd name="connsiteY22" fmla="*/ 1335445 h 3508478"/>
                <a:gd name="connsiteX23" fmla="*/ 1392796 w 3508482"/>
                <a:gd name="connsiteY23" fmla="*/ 1509223 h 3508478"/>
                <a:gd name="connsiteX24" fmla="*/ 1330401 w 3508482"/>
                <a:gd name="connsiteY24" fmla="*/ 1580272 h 3508478"/>
                <a:gd name="connsiteX25" fmla="*/ 1371559 w 3508482"/>
                <a:gd name="connsiteY25" fmla="*/ 1663179 h 3508478"/>
                <a:gd name="connsiteX26" fmla="*/ 1328608 w 3508482"/>
                <a:gd name="connsiteY26" fmla="*/ 2007720 h 3508478"/>
                <a:gd name="connsiteX27" fmla="*/ 1320229 w 3508482"/>
                <a:gd name="connsiteY27" fmla="*/ 2017167 h 3508478"/>
                <a:gd name="connsiteX28" fmla="*/ 1406107 w 3508482"/>
                <a:gd name="connsiteY28" fmla="*/ 2090636 h 3508478"/>
                <a:gd name="connsiteX29" fmla="*/ 1699723 w 3508482"/>
                <a:gd name="connsiteY29" fmla="*/ 2296477 h 3508478"/>
                <a:gd name="connsiteX30" fmla="*/ 1823194 w 3508482"/>
                <a:gd name="connsiteY30" fmla="*/ 2362008 h 3508478"/>
                <a:gd name="connsiteX31" fmla="*/ 1902707 w 3508482"/>
                <a:gd name="connsiteY31" fmla="*/ 2325688 h 3508478"/>
                <a:gd name="connsiteX32" fmla="*/ 2023298 w 3508482"/>
                <a:gd name="connsiteY32" fmla="*/ 2318984 h 3508478"/>
                <a:gd name="connsiteX33" fmla="*/ 2233606 w 3508482"/>
                <a:gd name="connsiteY33" fmla="*/ 2434866 h 3508478"/>
                <a:gd name="connsiteX34" fmla="*/ 2286558 w 3508482"/>
                <a:gd name="connsiteY34" fmla="*/ 2543331 h 3508478"/>
                <a:gd name="connsiteX35" fmla="*/ 2287242 w 3508482"/>
                <a:gd name="connsiteY35" fmla="*/ 2554833 h 3508478"/>
                <a:gd name="connsiteX36" fmla="*/ 2465001 w 3508482"/>
                <a:gd name="connsiteY36" fmla="*/ 2599067 h 3508478"/>
                <a:gd name="connsiteX37" fmla="*/ 3006337 w 3508482"/>
                <a:gd name="connsiteY37" fmla="*/ 2615215 h 3508478"/>
                <a:gd name="connsiteX38" fmla="*/ 3009195 w 3508482"/>
                <a:gd name="connsiteY38" fmla="*/ 2614737 h 3508478"/>
                <a:gd name="connsiteX39" fmla="*/ 3016957 w 3508482"/>
                <a:gd name="connsiteY39" fmla="*/ 2604357 h 3508478"/>
                <a:gd name="connsiteX40" fmla="*/ 3157356 w 3508482"/>
                <a:gd name="connsiteY40" fmla="*/ 2345690 h 3508478"/>
                <a:gd name="connsiteX41" fmla="*/ 3190890 w 3508482"/>
                <a:gd name="connsiteY41" fmla="*/ 2254070 h 3508478"/>
                <a:gd name="connsiteX42" fmla="*/ 3189502 w 3508482"/>
                <a:gd name="connsiteY42" fmla="*/ 2253173 h 3508478"/>
                <a:gd name="connsiteX43" fmla="*/ 3010127 w 3508482"/>
                <a:gd name="connsiteY43" fmla="*/ 2135197 h 3508478"/>
                <a:gd name="connsiteX44" fmla="*/ 2897625 w 3508482"/>
                <a:gd name="connsiteY44" fmla="*/ 2058888 h 3508478"/>
                <a:gd name="connsiteX45" fmla="*/ 2876667 w 3508482"/>
                <a:gd name="connsiteY45" fmla="*/ 2083900 h 3508478"/>
                <a:gd name="connsiteX46" fmla="*/ 2420857 w 3508482"/>
                <a:gd name="connsiteY46" fmla="*/ 2020732 h 3508478"/>
                <a:gd name="connsiteX47" fmla="*/ 2358178 w 3508482"/>
                <a:gd name="connsiteY47" fmla="*/ 1780979 h 3508478"/>
                <a:gd name="connsiteX48" fmla="*/ 2389076 w 3508482"/>
                <a:gd name="connsiteY48" fmla="*/ 1690995 h 3508478"/>
                <a:gd name="connsiteX49" fmla="*/ 2232542 w 3508482"/>
                <a:gd name="connsiteY49" fmla="*/ 1574005 h 3508478"/>
                <a:gd name="connsiteX50" fmla="*/ 1788416 w 3508482"/>
                <a:gd name="connsiteY50" fmla="*/ 1202167 h 3508478"/>
                <a:gd name="connsiteX51" fmla="*/ 1801055 w 3508482"/>
                <a:gd name="connsiteY51" fmla="*/ 1194338 h 3508478"/>
                <a:gd name="connsiteX52" fmla="*/ 495249 w 3508482"/>
                <a:gd name="connsiteY52" fmla="*/ 896574 h 3508478"/>
                <a:gd name="connsiteX53" fmla="*/ 491526 w 3508482"/>
                <a:gd name="connsiteY53" fmla="*/ 901554 h 3508478"/>
                <a:gd name="connsiteX54" fmla="*/ 231458 w 3508482"/>
                <a:gd name="connsiteY54" fmla="*/ 1752955 h 3508478"/>
                <a:gd name="connsiteX55" fmla="*/ 491526 w 3508482"/>
                <a:gd name="connsiteY55" fmla="*/ 2604357 h 3508478"/>
                <a:gd name="connsiteX56" fmla="*/ 512889 w 3508482"/>
                <a:gd name="connsiteY56" fmla="*/ 2632926 h 3508478"/>
                <a:gd name="connsiteX57" fmla="*/ 512138 w 3508482"/>
                <a:gd name="connsiteY57" fmla="*/ 2631324 h 3508478"/>
                <a:gd name="connsiteX58" fmla="*/ 566231 w 3508482"/>
                <a:gd name="connsiteY58" fmla="*/ 2221604 h 3508478"/>
                <a:gd name="connsiteX59" fmla="*/ 601244 w 3508482"/>
                <a:gd name="connsiteY59" fmla="*/ 2096547 h 3508478"/>
                <a:gd name="connsiteX60" fmla="*/ 555437 w 3508482"/>
                <a:gd name="connsiteY60" fmla="*/ 2056590 h 3508478"/>
                <a:gd name="connsiteX61" fmla="*/ 521031 w 3508482"/>
                <a:gd name="connsiteY61" fmla="*/ 1549608 h 3508478"/>
                <a:gd name="connsiteX62" fmla="*/ 561012 w 3508482"/>
                <a:gd name="connsiteY62" fmla="*/ 1503801 h 3508478"/>
                <a:gd name="connsiteX63" fmla="*/ 485108 w 3508482"/>
                <a:gd name="connsiteY63" fmla="*/ 1261705 h 3508478"/>
                <a:gd name="connsiteX64" fmla="*/ 480557 w 3508482"/>
                <a:gd name="connsiteY64" fmla="*/ 963545 h 3508478"/>
                <a:gd name="connsiteX65" fmla="*/ 2918085 w 3508482"/>
                <a:gd name="connsiteY65" fmla="*/ 808790 h 3508478"/>
                <a:gd name="connsiteX66" fmla="*/ 2210023 w 3508482"/>
                <a:gd name="connsiteY66" fmla="*/ 971440 h 3508478"/>
                <a:gd name="connsiteX67" fmla="*/ 2014405 w 3508482"/>
                <a:gd name="connsiteY67" fmla="*/ 1066914 h 3508478"/>
                <a:gd name="connsiteX68" fmla="*/ 2016335 w 3508482"/>
                <a:gd name="connsiteY68" fmla="*/ 1068779 h 3508478"/>
                <a:gd name="connsiteX69" fmla="*/ 2006391 w 3508482"/>
                <a:gd name="connsiteY69" fmla="*/ 1075608 h 3508478"/>
                <a:gd name="connsiteX70" fmla="*/ 2421593 w 3508482"/>
                <a:gd name="connsiteY70" fmla="*/ 1461740 h 3508478"/>
                <a:gd name="connsiteX71" fmla="*/ 2521615 w 3508482"/>
                <a:gd name="connsiteY71" fmla="*/ 1548407 h 3508478"/>
                <a:gd name="connsiteX72" fmla="*/ 2598725 w 3508482"/>
                <a:gd name="connsiteY72" fmla="*/ 1510631 h 3508478"/>
                <a:gd name="connsiteX73" fmla="*/ 2721403 w 3508482"/>
                <a:gd name="connsiteY73" fmla="*/ 1503186 h 3508478"/>
                <a:gd name="connsiteX74" fmla="*/ 2933649 w 3508482"/>
                <a:gd name="connsiteY74" fmla="*/ 1624497 h 3508478"/>
                <a:gd name="connsiteX75" fmla="*/ 2997031 w 3508482"/>
                <a:gd name="connsiteY75" fmla="*/ 1867119 h 3508478"/>
                <a:gd name="connsiteX76" fmla="*/ 2977057 w 3508482"/>
                <a:gd name="connsiteY76" fmla="*/ 1928859 h 3508478"/>
                <a:gd name="connsiteX77" fmla="*/ 3133158 w 3508482"/>
                <a:gd name="connsiteY77" fmla="*/ 2050647 h 3508478"/>
                <a:gd name="connsiteX78" fmla="*/ 3208928 w 3508482"/>
                <a:gd name="connsiteY78" fmla="*/ 2107655 h 3508478"/>
                <a:gd name="connsiteX79" fmla="*/ 3229838 w 3508482"/>
                <a:gd name="connsiteY79" fmla="*/ 2123041 h 3508478"/>
                <a:gd name="connsiteX80" fmla="*/ 3246086 w 3508482"/>
                <a:gd name="connsiteY80" fmla="*/ 2059849 h 3508478"/>
                <a:gd name="connsiteX81" fmla="*/ 3277024 w 3508482"/>
                <a:gd name="connsiteY81" fmla="*/ 1752955 h 3508478"/>
                <a:gd name="connsiteX82" fmla="*/ 3016957 w 3508482"/>
                <a:gd name="connsiteY82" fmla="*/ 901554 h 3508478"/>
                <a:gd name="connsiteX83" fmla="*/ 2948360 w 3508482"/>
                <a:gd name="connsiteY83" fmla="*/ 809820 h 3508478"/>
                <a:gd name="connsiteX84" fmla="*/ 1086799 w 3508482"/>
                <a:gd name="connsiteY84" fmla="*/ 385829 h 3508478"/>
                <a:gd name="connsiteX85" fmla="*/ 1028392 w 3508482"/>
                <a:gd name="connsiteY85" fmla="*/ 413965 h 3508478"/>
                <a:gd name="connsiteX86" fmla="*/ 677471 w 3508482"/>
                <a:gd name="connsiteY86" fmla="*/ 676186 h 3508478"/>
                <a:gd name="connsiteX87" fmla="*/ 665419 w 3508482"/>
                <a:gd name="connsiteY87" fmla="*/ 689447 h 3508478"/>
                <a:gd name="connsiteX88" fmla="*/ 660035 w 3508482"/>
                <a:gd name="connsiteY88" fmla="*/ 729330 h 3508478"/>
                <a:gd name="connsiteX89" fmla="*/ 736485 w 3508482"/>
                <a:gd name="connsiteY89" fmla="*/ 1250636 h 3508478"/>
                <a:gd name="connsiteX90" fmla="*/ 783842 w 3508482"/>
                <a:gd name="connsiteY90" fmla="*/ 1340850 h 3508478"/>
                <a:gd name="connsiteX91" fmla="*/ 808517 w 3508482"/>
                <a:gd name="connsiteY91" fmla="*/ 1328737 h 3508478"/>
                <a:gd name="connsiteX92" fmla="*/ 985710 w 3508482"/>
                <a:gd name="connsiteY92" fmla="*/ 1318359 h 3508478"/>
                <a:gd name="connsiteX93" fmla="*/ 1030861 w 3508482"/>
                <a:gd name="connsiteY93" fmla="*/ 1333831 h 3508478"/>
                <a:gd name="connsiteX94" fmla="*/ 1077462 w 3508482"/>
                <a:gd name="connsiteY94" fmla="*/ 1275615 h 3508478"/>
                <a:gd name="connsiteX95" fmla="*/ 1496006 w 3508482"/>
                <a:gd name="connsiteY95" fmla="*/ 910966 h 3508478"/>
                <a:gd name="connsiteX96" fmla="*/ 1501480 w 3508482"/>
                <a:gd name="connsiteY96" fmla="*/ 916299 h 3508478"/>
                <a:gd name="connsiteX97" fmla="*/ 1511513 w 3508482"/>
                <a:gd name="connsiteY97" fmla="*/ 909765 h 3508478"/>
                <a:gd name="connsiteX98" fmla="*/ 1507051 w 3508482"/>
                <a:gd name="connsiteY98" fmla="*/ 905189 h 3508478"/>
                <a:gd name="connsiteX99" fmla="*/ 1497584 w 3508482"/>
                <a:gd name="connsiteY99" fmla="*/ 910978 h 3508478"/>
                <a:gd name="connsiteX100" fmla="*/ 1170737 w 3508482"/>
                <a:gd name="connsiteY100" fmla="*/ 512422 h 3508478"/>
                <a:gd name="connsiteX101" fmla="*/ 1754241 w 3508482"/>
                <a:gd name="connsiteY101" fmla="*/ 230174 h 3508478"/>
                <a:gd name="connsiteX102" fmla="*/ 1301412 w 3508482"/>
                <a:gd name="connsiteY102" fmla="*/ 298635 h 3508478"/>
                <a:gd name="connsiteX103" fmla="*/ 1292492 w 3508482"/>
                <a:gd name="connsiteY103" fmla="*/ 301900 h 3508478"/>
                <a:gd name="connsiteX104" fmla="*/ 1701228 w 3508482"/>
                <a:gd name="connsiteY104" fmla="*/ 754068 h 3508478"/>
                <a:gd name="connsiteX105" fmla="*/ 1705274 w 3508482"/>
                <a:gd name="connsiteY105" fmla="*/ 751438 h 3508478"/>
                <a:gd name="connsiteX106" fmla="*/ 1725815 w 3508482"/>
                <a:gd name="connsiteY106" fmla="*/ 773561 h 3508478"/>
                <a:gd name="connsiteX107" fmla="*/ 2025269 w 3508482"/>
                <a:gd name="connsiteY107" fmla="*/ 646254 h 3508478"/>
                <a:gd name="connsiteX108" fmla="*/ 2547864 w 3508482"/>
                <a:gd name="connsiteY108" fmla="*/ 565640 h 3508478"/>
                <a:gd name="connsiteX109" fmla="*/ 2655001 w 3508482"/>
                <a:gd name="connsiteY109" fmla="*/ 570681 h 3508478"/>
                <a:gd name="connsiteX110" fmla="*/ 2723556 w 3508482"/>
                <a:gd name="connsiteY110" fmla="*/ 578524 h 3508478"/>
                <a:gd name="connsiteX111" fmla="*/ 2722872 w 3508482"/>
                <a:gd name="connsiteY111" fmla="*/ 577903 h 3508478"/>
                <a:gd name="connsiteX112" fmla="*/ 1754241 w 3508482"/>
                <a:gd name="connsiteY112" fmla="*/ 230174 h 3508478"/>
                <a:gd name="connsiteX113" fmla="*/ 1754241 w 3508482"/>
                <a:gd name="connsiteY113" fmla="*/ 0 h 3508478"/>
                <a:gd name="connsiteX114" fmla="*/ 3508482 w 3508482"/>
                <a:gd name="connsiteY114" fmla="*/ 1754239 h 3508478"/>
                <a:gd name="connsiteX115" fmla="*/ 1754241 w 3508482"/>
                <a:gd name="connsiteY115" fmla="*/ 3508478 h 3508478"/>
                <a:gd name="connsiteX116" fmla="*/ 0 w 3508482"/>
                <a:gd name="connsiteY116" fmla="*/ 1754239 h 3508478"/>
                <a:gd name="connsiteX117" fmla="*/ 1754241 w 3508482"/>
                <a:gd name="connsiteY117" fmla="*/ 0 h 350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08482" h="3508478">
                  <a:moveTo>
                    <a:pt x="1109011" y="2192406"/>
                  </a:moveTo>
                  <a:lnTo>
                    <a:pt x="1041943" y="2225310"/>
                  </a:lnTo>
                  <a:lnTo>
                    <a:pt x="900451" y="2233564"/>
                  </a:lnTo>
                  <a:lnTo>
                    <a:pt x="865354" y="2319858"/>
                  </a:lnTo>
                  <a:cubicBezTo>
                    <a:pt x="807339" y="2504152"/>
                    <a:pt x="788575" y="2674654"/>
                    <a:pt x="786472" y="2812744"/>
                  </a:cubicBezTo>
                  <a:lnTo>
                    <a:pt x="788902" y="2930469"/>
                  </a:lnTo>
                  <a:lnTo>
                    <a:pt x="902838" y="3015669"/>
                  </a:lnTo>
                  <a:cubicBezTo>
                    <a:pt x="1145876" y="3179862"/>
                    <a:pt x="1438862" y="3275736"/>
                    <a:pt x="1754241" y="3275736"/>
                  </a:cubicBezTo>
                  <a:cubicBezTo>
                    <a:pt x="2122183" y="3275736"/>
                    <a:pt x="2459646" y="3145241"/>
                    <a:pt x="2722872" y="2928007"/>
                  </a:cubicBezTo>
                  <a:lnTo>
                    <a:pt x="2811432" y="2847519"/>
                  </a:lnTo>
                  <a:lnTo>
                    <a:pt x="2699229" y="2845196"/>
                  </a:lnTo>
                  <a:cubicBezTo>
                    <a:pt x="2647198" y="2842943"/>
                    <a:pt x="2591333" y="2839164"/>
                    <a:pt x="2532182" y="2833063"/>
                  </a:cubicBezTo>
                  <a:lnTo>
                    <a:pt x="2244578" y="2780823"/>
                  </a:lnTo>
                  <a:lnTo>
                    <a:pt x="2173739" y="2857848"/>
                  </a:lnTo>
                  <a:cubicBezTo>
                    <a:pt x="2036019" y="2962146"/>
                    <a:pt x="1838431" y="2933173"/>
                    <a:pt x="1730661" y="2799907"/>
                  </a:cubicBezTo>
                  <a:cubicBezTo>
                    <a:pt x="1705213" y="2768038"/>
                    <a:pt x="1687626" y="2732187"/>
                    <a:pt x="1677709" y="2694707"/>
                  </a:cubicBezTo>
                  <a:lnTo>
                    <a:pt x="1670884" y="2581398"/>
                  </a:lnTo>
                  <a:lnTo>
                    <a:pt x="1466904" y="2467843"/>
                  </a:lnTo>
                  <a:cubicBezTo>
                    <a:pt x="1388584" y="2418609"/>
                    <a:pt x="1309714" y="2363068"/>
                    <a:pt x="1230844" y="2300426"/>
                  </a:cubicBezTo>
                  <a:close/>
                  <a:moveTo>
                    <a:pt x="1800554" y="1193864"/>
                  </a:moveTo>
                  <a:lnTo>
                    <a:pt x="1780163" y="1207268"/>
                  </a:lnTo>
                  <a:lnTo>
                    <a:pt x="1776970" y="1204109"/>
                  </a:lnTo>
                  <a:lnTo>
                    <a:pt x="1594907" y="1335445"/>
                  </a:lnTo>
                  <a:cubicBezTo>
                    <a:pt x="1528971" y="1388151"/>
                    <a:pt x="1461600" y="1446552"/>
                    <a:pt x="1392796" y="1509223"/>
                  </a:cubicBezTo>
                  <a:lnTo>
                    <a:pt x="1330401" y="1580272"/>
                  </a:lnTo>
                  <a:lnTo>
                    <a:pt x="1371559" y="1663179"/>
                  </a:lnTo>
                  <a:cubicBezTo>
                    <a:pt x="1402866" y="1779846"/>
                    <a:pt x="1387581" y="1904159"/>
                    <a:pt x="1328608" y="2007720"/>
                  </a:cubicBezTo>
                  <a:lnTo>
                    <a:pt x="1320229" y="2017167"/>
                  </a:lnTo>
                  <a:lnTo>
                    <a:pt x="1406107" y="2090636"/>
                  </a:lnTo>
                  <a:cubicBezTo>
                    <a:pt x="1506153" y="2170032"/>
                    <a:pt x="1604285" y="2238140"/>
                    <a:pt x="1699723" y="2296477"/>
                  </a:cubicBezTo>
                  <a:lnTo>
                    <a:pt x="1823194" y="2362008"/>
                  </a:lnTo>
                  <a:lnTo>
                    <a:pt x="1902707" y="2325688"/>
                  </a:lnTo>
                  <a:cubicBezTo>
                    <a:pt x="1942280" y="2316091"/>
                    <a:pt x="1983257" y="2313915"/>
                    <a:pt x="2023298" y="2318984"/>
                  </a:cubicBezTo>
                  <a:cubicBezTo>
                    <a:pt x="2103378" y="2329131"/>
                    <a:pt x="2179727" y="2368238"/>
                    <a:pt x="2233606" y="2434866"/>
                  </a:cubicBezTo>
                  <a:cubicBezTo>
                    <a:pt x="2259055" y="2468183"/>
                    <a:pt x="2276642" y="2505122"/>
                    <a:pt x="2286558" y="2543331"/>
                  </a:cubicBezTo>
                  <a:lnTo>
                    <a:pt x="2287242" y="2554833"/>
                  </a:lnTo>
                  <a:lnTo>
                    <a:pt x="2465001" y="2599067"/>
                  </a:lnTo>
                  <a:cubicBezTo>
                    <a:pt x="2718039" y="2646232"/>
                    <a:pt x="2909573" y="2629818"/>
                    <a:pt x="3006337" y="2615215"/>
                  </a:cubicBezTo>
                  <a:lnTo>
                    <a:pt x="3009195" y="2614737"/>
                  </a:lnTo>
                  <a:lnTo>
                    <a:pt x="3016957" y="2604357"/>
                  </a:lnTo>
                  <a:cubicBezTo>
                    <a:pt x="3071688" y="2523344"/>
                    <a:pt x="3118828" y="2436782"/>
                    <a:pt x="3157356" y="2345690"/>
                  </a:cubicBezTo>
                  <a:lnTo>
                    <a:pt x="3190890" y="2254070"/>
                  </a:lnTo>
                  <a:lnTo>
                    <a:pt x="3189502" y="2253173"/>
                  </a:lnTo>
                  <a:cubicBezTo>
                    <a:pt x="3144857" y="2224238"/>
                    <a:pt x="3083718" y="2184373"/>
                    <a:pt x="3010127" y="2135197"/>
                  </a:cubicBezTo>
                  <a:lnTo>
                    <a:pt x="2897625" y="2058888"/>
                  </a:lnTo>
                  <a:lnTo>
                    <a:pt x="2876667" y="2083900"/>
                  </a:lnTo>
                  <a:cubicBezTo>
                    <a:pt x="2734224" y="2187263"/>
                    <a:pt x="2529103" y="2164295"/>
                    <a:pt x="2420857" y="2020732"/>
                  </a:cubicBezTo>
                  <a:cubicBezTo>
                    <a:pt x="2366723" y="1948950"/>
                    <a:pt x="2346785" y="1862810"/>
                    <a:pt x="2358178" y="1780979"/>
                  </a:cubicBezTo>
                  <a:lnTo>
                    <a:pt x="2389076" y="1690995"/>
                  </a:lnTo>
                  <a:lnTo>
                    <a:pt x="2232542" y="1574005"/>
                  </a:lnTo>
                  <a:cubicBezTo>
                    <a:pt x="2084253" y="1457630"/>
                    <a:pt x="1933015" y="1332403"/>
                    <a:pt x="1788416" y="1202167"/>
                  </a:cubicBezTo>
                  <a:lnTo>
                    <a:pt x="1801055" y="1194338"/>
                  </a:lnTo>
                  <a:close/>
                  <a:moveTo>
                    <a:pt x="495249" y="896574"/>
                  </a:moveTo>
                  <a:lnTo>
                    <a:pt x="491526" y="901554"/>
                  </a:lnTo>
                  <a:cubicBezTo>
                    <a:pt x="327332" y="1144591"/>
                    <a:pt x="231458" y="1437577"/>
                    <a:pt x="231458" y="1752955"/>
                  </a:cubicBezTo>
                  <a:cubicBezTo>
                    <a:pt x="231458" y="2068333"/>
                    <a:pt x="327332" y="2361319"/>
                    <a:pt x="491526" y="2604357"/>
                  </a:cubicBezTo>
                  <a:lnTo>
                    <a:pt x="512889" y="2632926"/>
                  </a:lnTo>
                  <a:lnTo>
                    <a:pt x="512138" y="2631324"/>
                  </a:lnTo>
                  <a:cubicBezTo>
                    <a:pt x="517912" y="2506376"/>
                    <a:pt x="533776" y="2366895"/>
                    <a:pt x="566231" y="2221604"/>
                  </a:cubicBezTo>
                  <a:lnTo>
                    <a:pt x="601244" y="2096547"/>
                  </a:lnTo>
                  <a:lnTo>
                    <a:pt x="555437" y="2056590"/>
                  </a:lnTo>
                  <a:cubicBezTo>
                    <a:pt x="437492" y="1908067"/>
                    <a:pt x="430937" y="1707138"/>
                    <a:pt x="521031" y="1549608"/>
                  </a:cubicBezTo>
                  <a:lnTo>
                    <a:pt x="561012" y="1503801"/>
                  </a:lnTo>
                  <a:lnTo>
                    <a:pt x="485108" y="1261705"/>
                  </a:lnTo>
                  <a:cubicBezTo>
                    <a:pt x="464244" y="1148353"/>
                    <a:pt x="466640" y="1047954"/>
                    <a:pt x="480557" y="963545"/>
                  </a:cubicBezTo>
                  <a:close/>
                  <a:moveTo>
                    <a:pt x="2918085" y="808790"/>
                  </a:moveTo>
                  <a:cubicBezTo>
                    <a:pt x="2809773" y="807839"/>
                    <a:pt x="2550578" y="824326"/>
                    <a:pt x="2210023" y="971440"/>
                  </a:cubicBezTo>
                  <a:lnTo>
                    <a:pt x="2014405" y="1066914"/>
                  </a:lnTo>
                  <a:lnTo>
                    <a:pt x="2016335" y="1068779"/>
                  </a:lnTo>
                  <a:lnTo>
                    <a:pt x="2006391" y="1075608"/>
                  </a:lnTo>
                  <a:lnTo>
                    <a:pt x="2421593" y="1461740"/>
                  </a:lnTo>
                  <a:lnTo>
                    <a:pt x="2521615" y="1548407"/>
                  </a:lnTo>
                  <a:lnTo>
                    <a:pt x="2598725" y="1510631"/>
                  </a:lnTo>
                  <a:cubicBezTo>
                    <a:pt x="2639147" y="1500136"/>
                    <a:pt x="2680811" y="1497801"/>
                    <a:pt x="2721403" y="1503186"/>
                  </a:cubicBezTo>
                  <a:cubicBezTo>
                    <a:pt x="2802603" y="1513952"/>
                    <a:pt x="2879523" y="1555584"/>
                    <a:pt x="2933649" y="1624497"/>
                  </a:cubicBezTo>
                  <a:cubicBezTo>
                    <a:pt x="2987770" y="1696279"/>
                    <a:pt x="3007712" y="1783851"/>
                    <a:pt x="2997031" y="1867119"/>
                  </a:cubicBezTo>
                  <a:lnTo>
                    <a:pt x="2977057" y="1928859"/>
                  </a:lnTo>
                  <a:lnTo>
                    <a:pt x="3133158" y="2050647"/>
                  </a:lnTo>
                  <a:cubicBezTo>
                    <a:pt x="3160785" y="2071665"/>
                    <a:pt x="3186097" y="2090678"/>
                    <a:pt x="3208928" y="2107655"/>
                  </a:cubicBezTo>
                  <a:lnTo>
                    <a:pt x="3229838" y="2123041"/>
                  </a:lnTo>
                  <a:lnTo>
                    <a:pt x="3246086" y="2059849"/>
                  </a:lnTo>
                  <a:cubicBezTo>
                    <a:pt x="3266371" y="1960719"/>
                    <a:pt x="3277024" y="1858081"/>
                    <a:pt x="3277024" y="1752955"/>
                  </a:cubicBezTo>
                  <a:cubicBezTo>
                    <a:pt x="3277024" y="1437577"/>
                    <a:pt x="3181150" y="1144591"/>
                    <a:pt x="3016957" y="901554"/>
                  </a:cubicBezTo>
                  <a:lnTo>
                    <a:pt x="2948360" y="809820"/>
                  </a:lnTo>
                  <a:close/>
                  <a:moveTo>
                    <a:pt x="1086799" y="385829"/>
                  </a:moveTo>
                  <a:lnTo>
                    <a:pt x="1028392" y="413965"/>
                  </a:lnTo>
                  <a:cubicBezTo>
                    <a:pt x="898931" y="484293"/>
                    <a:pt x="780810" y="572848"/>
                    <a:pt x="677471" y="676186"/>
                  </a:cubicBezTo>
                  <a:lnTo>
                    <a:pt x="665419" y="689447"/>
                  </a:lnTo>
                  <a:lnTo>
                    <a:pt x="660035" y="729330"/>
                  </a:lnTo>
                  <a:cubicBezTo>
                    <a:pt x="647150" y="846839"/>
                    <a:pt x="649405" y="1029831"/>
                    <a:pt x="736485" y="1250636"/>
                  </a:cubicBezTo>
                  <a:lnTo>
                    <a:pt x="783842" y="1340850"/>
                  </a:lnTo>
                  <a:lnTo>
                    <a:pt x="808517" y="1328737"/>
                  </a:lnTo>
                  <a:cubicBezTo>
                    <a:pt x="866855" y="1313626"/>
                    <a:pt x="927101" y="1310349"/>
                    <a:pt x="985710" y="1318359"/>
                  </a:cubicBezTo>
                  <a:lnTo>
                    <a:pt x="1030861" y="1333831"/>
                  </a:lnTo>
                  <a:lnTo>
                    <a:pt x="1077462" y="1275615"/>
                  </a:lnTo>
                  <a:cubicBezTo>
                    <a:pt x="1220794" y="1121771"/>
                    <a:pt x="1364127" y="1007828"/>
                    <a:pt x="1496006" y="910966"/>
                  </a:cubicBezTo>
                  <a:lnTo>
                    <a:pt x="1501480" y="916299"/>
                  </a:lnTo>
                  <a:lnTo>
                    <a:pt x="1511513" y="909765"/>
                  </a:lnTo>
                  <a:lnTo>
                    <a:pt x="1507051" y="905189"/>
                  </a:lnTo>
                  <a:lnTo>
                    <a:pt x="1497584" y="910978"/>
                  </a:lnTo>
                  <a:cubicBezTo>
                    <a:pt x="1374640" y="782287"/>
                    <a:pt x="1264867" y="646939"/>
                    <a:pt x="1170737" y="512422"/>
                  </a:cubicBezTo>
                  <a:close/>
                  <a:moveTo>
                    <a:pt x="1754241" y="230174"/>
                  </a:moveTo>
                  <a:cubicBezTo>
                    <a:pt x="1596552" y="230174"/>
                    <a:pt x="1444460" y="254143"/>
                    <a:pt x="1301412" y="298635"/>
                  </a:cubicBezTo>
                  <a:lnTo>
                    <a:pt x="1292492" y="301900"/>
                  </a:lnTo>
                  <a:lnTo>
                    <a:pt x="1701228" y="754068"/>
                  </a:lnTo>
                  <a:lnTo>
                    <a:pt x="1705274" y="751438"/>
                  </a:lnTo>
                  <a:lnTo>
                    <a:pt x="1725815" y="773561"/>
                  </a:lnTo>
                  <a:lnTo>
                    <a:pt x="2025269" y="646254"/>
                  </a:lnTo>
                  <a:cubicBezTo>
                    <a:pt x="2220578" y="583309"/>
                    <a:pt x="2397949" y="563800"/>
                    <a:pt x="2547864" y="565640"/>
                  </a:cubicBezTo>
                  <a:cubicBezTo>
                    <a:pt x="2585340" y="566102"/>
                    <a:pt x="2621103" y="567897"/>
                    <a:pt x="2655001" y="570681"/>
                  </a:cubicBezTo>
                  <a:lnTo>
                    <a:pt x="2723556" y="578524"/>
                  </a:lnTo>
                  <a:lnTo>
                    <a:pt x="2722872" y="577903"/>
                  </a:lnTo>
                  <a:cubicBezTo>
                    <a:pt x="2459646" y="360669"/>
                    <a:pt x="2122183" y="230174"/>
                    <a:pt x="1754241" y="230174"/>
                  </a:cubicBezTo>
                  <a:close/>
                  <a:moveTo>
                    <a:pt x="1754241" y="0"/>
                  </a:moveTo>
                  <a:cubicBezTo>
                    <a:pt x="2723082" y="0"/>
                    <a:pt x="3508482" y="785400"/>
                    <a:pt x="3508482" y="1754239"/>
                  </a:cubicBezTo>
                  <a:cubicBezTo>
                    <a:pt x="3508482" y="2723078"/>
                    <a:pt x="2723082" y="3508478"/>
                    <a:pt x="1754241" y="3508478"/>
                  </a:cubicBezTo>
                  <a:cubicBezTo>
                    <a:pt x="785400" y="3508478"/>
                    <a:pt x="0" y="2723078"/>
                    <a:pt x="0" y="1754239"/>
                  </a:cubicBezTo>
                  <a:cubicBezTo>
                    <a:pt x="0" y="785400"/>
                    <a:pt x="785400" y="0"/>
                    <a:pt x="1754241"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solidFill>
                  <a:srgbClr val="1E313B"/>
                </a:solidFill>
              </a:endParaRPr>
            </a:p>
          </p:txBody>
        </p:sp>
        <p:sp>
          <p:nvSpPr>
            <p:cNvPr id="84" name="TextBox 83"/>
            <p:cNvSpPr txBox="1"/>
            <p:nvPr/>
          </p:nvSpPr>
          <p:spPr>
            <a:xfrm>
              <a:off x="5943594" y="1339158"/>
              <a:ext cx="3523786"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Connect the Dots Sample Web Site</a:t>
              </a:r>
            </a:p>
            <a:p>
              <a:r>
                <a:rPr lang="en-US" sz="1600" dirty="0" smtClean="0">
                  <a:solidFill>
                    <a:srgbClr val="006FD4"/>
                  </a:solidFill>
                  <a:latin typeface="Segoe UI" panose="020B0502040204020203" pitchFamily="34" charset="0"/>
                  <a:cs typeface="Segoe UI" panose="020B0502040204020203" pitchFamily="34" charset="0"/>
                </a:rPr>
                <a:t>Web App</a:t>
              </a:r>
              <a:endParaRPr lang="en-US" sz="1600" dirty="0">
                <a:solidFill>
                  <a:srgbClr val="006FD4"/>
                </a:solidFill>
                <a:latin typeface="Segoe UI" panose="020B0502040204020203" pitchFamily="34" charset="0"/>
                <a:cs typeface="Segoe UI" panose="020B0502040204020203" pitchFamily="34" charset="0"/>
              </a:endParaRPr>
            </a:p>
          </p:txBody>
        </p:sp>
      </p:grpSp>
      <p:grpSp>
        <p:nvGrpSpPr>
          <p:cNvPr id="28" name="Alert Jobs"/>
          <p:cNvGrpSpPr/>
          <p:nvPr/>
        </p:nvGrpSpPr>
        <p:grpSpPr>
          <a:xfrm>
            <a:off x="7351779" y="4434563"/>
            <a:ext cx="4432988" cy="1160243"/>
            <a:chOff x="7187511" y="5125536"/>
            <a:chExt cx="4432988" cy="1160243"/>
          </a:xfrm>
        </p:grpSpPr>
        <p:sp>
          <p:nvSpPr>
            <p:cNvPr id="137" name="Rectangle 136"/>
            <p:cNvSpPr/>
            <p:nvPr/>
          </p:nvSpPr>
          <p:spPr>
            <a:xfrm>
              <a:off x="7187511" y="5125536"/>
              <a:ext cx="4432988" cy="116024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136" name="Freeform 135"/>
            <p:cNvSpPr>
              <a:spLocks/>
            </p:cNvSpPr>
            <p:nvPr/>
          </p:nvSpPr>
          <p:spPr bwMode="auto">
            <a:xfrm>
              <a:off x="7371717" y="5219582"/>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138" name="TextBox 137"/>
            <p:cNvSpPr txBox="1"/>
            <p:nvPr/>
          </p:nvSpPr>
          <p:spPr>
            <a:xfrm>
              <a:off x="8272984" y="5174863"/>
              <a:ext cx="2391617" cy="1077217"/>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lert</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err="1" smtClean="0">
                  <a:solidFill>
                    <a:srgbClr val="006FD4"/>
                  </a:solidFill>
                  <a:latin typeface="Segoe UI" panose="020B0502040204020203" pitchFamily="34" charset="0"/>
                  <a:cs typeface="Segoe UI" panose="020B0502040204020203" pitchFamily="34" charset="0"/>
                </a:rPr>
                <a:t>LightSensor</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cg4pbi</a:t>
              </a:r>
              <a:r>
                <a:rPr lang="en-US" sz="1600" dirty="0" smtClean="0">
                  <a:solidFill>
                    <a:srgbClr val="006FD4"/>
                  </a:solidFill>
                  <a:latin typeface="Segoe UI" panose="020B0502040204020203" pitchFamily="34" charset="0"/>
                  <a:cs typeface="Segoe UI" panose="020B0502040204020203" pitchFamily="34" charset="0"/>
                </a:rPr>
                <a:t>”</a:t>
              </a:r>
              <a:br>
                <a:rPr lang="en-US" sz="1600"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tream Analytics Jobs</a:t>
              </a:r>
              <a:endParaRPr lang="en-US" sz="1600" dirty="0">
                <a:solidFill>
                  <a:srgbClr val="006FD4"/>
                </a:solidFill>
                <a:latin typeface="Segoe UI" panose="020B0502040204020203" pitchFamily="34" charset="0"/>
                <a:cs typeface="Segoe UI" panose="020B0502040204020203" pitchFamily="34" charset="0"/>
              </a:endParaRPr>
            </a:p>
          </p:txBody>
        </p:sp>
      </p:grpSp>
      <p:sp>
        <p:nvSpPr>
          <p:cNvPr id="142" name="Aggregate Job Input"/>
          <p:cNvSpPr/>
          <p:nvPr/>
        </p:nvSpPr>
        <p:spPr>
          <a:xfrm rot="5400000">
            <a:off x="4266130" y="4069678"/>
            <a:ext cx="816576"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LISTEN</a:t>
            </a:r>
            <a:endParaRPr lang="en-US" sz="1100" dirty="0">
              <a:solidFill>
                <a:srgbClr val="FFFFFF"/>
              </a:solidFill>
            </a:endParaRPr>
          </a:p>
        </p:txBody>
      </p:sp>
      <p:sp>
        <p:nvSpPr>
          <p:cNvPr id="143" name="Aggregate Job Output"/>
          <p:cNvSpPr/>
          <p:nvPr/>
        </p:nvSpPr>
        <p:spPr>
          <a:xfrm rot="16200000">
            <a:off x="6679734"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SEND</a:t>
            </a:r>
            <a:endParaRPr lang="en-US" sz="1100" dirty="0">
              <a:solidFill>
                <a:srgbClr val="FFFFFF"/>
              </a:solidFill>
            </a:endParaRPr>
          </a:p>
        </p:txBody>
      </p:sp>
      <p:sp>
        <p:nvSpPr>
          <p:cNvPr id="144" name="Alert Jobs Input"/>
          <p:cNvSpPr/>
          <p:nvPr/>
        </p:nvSpPr>
        <p:spPr>
          <a:xfrm rot="5400000">
            <a:off x="7979399" y="4069680"/>
            <a:ext cx="816577"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LISTEN</a:t>
            </a:r>
            <a:endParaRPr lang="en-US" sz="1100" dirty="0">
              <a:solidFill>
                <a:srgbClr val="FFFFFF"/>
              </a:solidFill>
            </a:endParaRPr>
          </a:p>
        </p:txBody>
      </p:sp>
      <p:sp>
        <p:nvSpPr>
          <p:cNvPr id="145" name="Alert Jobs Output"/>
          <p:cNvSpPr/>
          <p:nvPr/>
        </p:nvSpPr>
        <p:spPr>
          <a:xfrm rot="16200000">
            <a:off x="10146071"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SEND</a:t>
            </a:r>
            <a:endParaRPr lang="en-US" sz="1100" dirty="0">
              <a:solidFill>
                <a:srgbClr val="FFFFFF"/>
              </a:solidFill>
            </a:endParaRPr>
          </a:p>
        </p:txBody>
      </p:sp>
      <p:sp>
        <p:nvSpPr>
          <p:cNvPr id="147" name="WebSite ehdevices Listen"/>
          <p:cNvSpPr/>
          <p:nvPr/>
        </p:nvSpPr>
        <p:spPr>
          <a:xfrm rot="16200000">
            <a:off x="7688162" y="2169657"/>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LISTEN</a:t>
            </a:r>
            <a:endParaRPr lang="en-US" sz="1100" dirty="0">
              <a:solidFill>
                <a:srgbClr val="FFFFFF"/>
              </a:solidFill>
            </a:endParaRPr>
          </a:p>
        </p:txBody>
      </p:sp>
      <p:sp>
        <p:nvSpPr>
          <p:cNvPr id="148" name="WebSite ehalerts Listen"/>
          <p:cNvSpPr/>
          <p:nvPr/>
        </p:nvSpPr>
        <p:spPr>
          <a:xfrm rot="16200000">
            <a:off x="9854832" y="2169657"/>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LISTEN</a:t>
            </a:r>
            <a:endParaRPr lang="en-US" sz="1100" dirty="0">
              <a:solidFill>
                <a:srgbClr val="FFFFFF"/>
              </a:solidFill>
            </a:endParaRPr>
          </a:p>
        </p:txBody>
      </p:sp>
      <p:sp>
        <p:nvSpPr>
          <p:cNvPr id="152" name="RPi Send"/>
          <p:cNvSpPr/>
          <p:nvPr/>
        </p:nvSpPr>
        <p:spPr>
          <a:xfrm>
            <a:off x="3164803" y="2948750"/>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SEND</a:t>
            </a:r>
            <a:endParaRPr lang="en-US" sz="1100" dirty="0">
              <a:solidFill>
                <a:srgbClr val="FFFFFF"/>
              </a:solidFill>
            </a:endParaRPr>
          </a:p>
        </p:txBody>
      </p:sp>
      <p:sp>
        <p:nvSpPr>
          <p:cNvPr id="165" name="Gadgeteer Send"/>
          <p:cNvSpPr/>
          <p:nvPr/>
        </p:nvSpPr>
        <p:spPr>
          <a:xfrm>
            <a:off x="3164803" y="3653767"/>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SEND</a:t>
            </a:r>
            <a:endParaRPr lang="en-US" sz="1100" dirty="0">
              <a:solidFill>
                <a:srgbClr val="FFFFFF"/>
              </a:solidFill>
            </a:endParaRPr>
          </a:p>
        </p:txBody>
      </p:sp>
      <p:grpSp>
        <p:nvGrpSpPr>
          <p:cNvPr id="12" name="Storage Account"/>
          <p:cNvGrpSpPr/>
          <p:nvPr/>
        </p:nvGrpSpPr>
        <p:grpSpPr>
          <a:xfrm>
            <a:off x="3679315" y="5719090"/>
            <a:ext cx="8105451" cy="751130"/>
            <a:chOff x="3679315" y="5719090"/>
            <a:chExt cx="8105451" cy="751130"/>
          </a:xfrm>
        </p:grpSpPr>
        <p:sp>
          <p:nvSpPr>
            <p:cNvPr id="77" name="Rectangle 76"/>
            <p:cNvSpPr/>
            <p:nvPr/>
          </p:nvSpPr>
          <p:spPr>
            <a:xfrm>
              <a:off x="3679315" y="5719090"/>
              <a:ext cx="8105451" cy="751130"/>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78" name="TextBox 77"/>
            <p:cNvSpPr txBox="1"/>
            <p:nvPr/>
          </p:nvSpPr>
          <p:spPr>
            <a:xfrm>
              <a:off x="4760823" y="5768416"/>
              <a:ext cx="1894237"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a:t>
              </a:r>
              <a:r>
                <a:rPr lang="en-US" sz="1600" b="1" dirty="0" smtClean="0">
                  <a:solidFill>
                    <a:srgbClr val="006FD4"/>
                  </a:solidFill>
                  <a:latin typeface="Segoe UI" panose="020B0502040204020203" pitchFamily="34" charset="0"/>
                  <a:cs typeface="Segoe UI" panose="020B0502040204020203" pitchFamily="34" charset="0"/>
                </a:rPr>
                <a:t>torage</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orage Account</a:t>
              </a:r>
            </a:p>
          </p:txBody>
        </p:sp>
        <p:sp>
          <p:nvSpPr>
            <p:cNvPr id="88" name="Freeform 23"/>
            <p:cNvSpPr>
              <a:spLocks noEditPoints="1"/>
            </p:cNvSpPr>
            <p:nvPr/>
          </p:nvSpPr>
          <p:spPr bwMode="auto">
            <a:xfrm>
              <a:off x="3863522" y="5808588"/>
              <a:ext cx="689553" cy="594986"/>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sp>
        <p:nvSpPr>
          <p:cNvPr id="38" name="Aggregates Logging"/>
          <p:cNvSpPr/>
          <p:nvPr/>
        </p:nvSpPr>
        <p:spPr>
          <a:xfrm rot="16200000">
            <a:off x="6473214"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FFFFFF"/>
                </a:solidFill>
              </a:rPr>
              <a:t>LOGGING</a:t>
            </a:r>
            <a:endParaRPr lang="en-US" sz="1100" dirty="0">
              <a:solidFill>
                <a:srgbClr val="FFFFFF"/>
              </a:solidFill>
            </a:endParaRPr>
          </a:p>
        </p:txBody>
      </p:sp>
      <p:sp>
        <p:nvSpPr>
          <p:cNvPr id="90" name="Alerts Logging"/>
          <p:cNvSpPr/>
          <p:nvPr/>
        </p:nvSpPr>
        <p:spPr>
          <a:xfrm rot="16200000">
            <a:off x="10983625"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FFFFFF"/>
                </a:solidFill>
              </a:rPr>
              <a:t>LOGGING</a:t>
            </a:r>
            <a:endParaRPr lang="en-US" sz="1100" dirty="0">
              <a:solidFill>
                <a:srgbClr val="FFFFFF"/>
              </a:solidFill>
            </a:endParaRPr>
          </a:p>
        </p:txBody>
      </p:sp>
      <p:grpSp>
        <p:nvGrpSpPr>
          <p:cNvPr id="6" name="RPi Gateway"/>
          <p:cNvGrpSpPr/>
          <p:nvPr/>
        </p:nvGrpSpPr>
        <p:grpSpPr>
          <a:xfrm>
            <a:off x="1972735" y="2896131"/>
            <a:ext cx="1096946" cy="590169"/>
            <a:chOff x="1972735" y="2896131"/>
            <a:chExt cx="1096946" cy="590169"/>
          </a:xfrm>
        </p:grpSpPr>
        <p:grpSp>
          <p:nvGrpSpPr>
            <p:cNvPr id="186" name="Group 185"/>
            <p:cNvGrpSpPr/>
            <p:nvPr/>
          </p:nvGrpSpPr>
          <p:grpSpPr>
            <a:xfrm>
              <a:off x="2188552" y="2896131"/>
              <a:ext cx="881129" cy="590169"/>
              <a:chOff x="7467871" y="4559066"/>
              <a:chExt cx="2394514" cy="1603815"/>
            </a:xfrm>
          </p:grpSpPr>
          <p:sp>
            <p:nvSpPr>
              <p:cNvPr id="187" name="Freeform 186"/>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88" name="Raspberry Pi Logo Color"/>
              <p:cNvGrpSpPr>
                <a:grpSpLocks noChangeAspect="1"/>
              </p:cNvGrpSpPr>
              <p:nvPr/>
            </p:nvGrpSpPr>
            <p:grpSpPr>
              <a:xfrm>
                <a:off x="8191500" y="4799013"/>
                <a:ext cx="947738" cy="1111250"/>
                <a:chOff x="8191500" y="4799013"/>
                <a:chExt cx="947738" cy="1111250"/>
              </a:xfrm>
            </p:grpSpPr>
            <p:sp>
              <p:nvSpPr>
                <p:cNvPr id="189"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0"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1"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2"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3"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4"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5"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6"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7"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8"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99"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200"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201"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202"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grpSp>
        <p:sp>
          <p:nvSpPr>
            <p:cNvPr id="103" name="Freeform 47"/>
            <p:cNvSpPr>
              <a:spLocks/>
            </p:cNvSpPr>
            <p:nvPr/>
          </p:nvSpPr>
          <p:spPr bwMode="auto">
            <a:xfrm>
              <a:off x="1972735"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grpSp>
        <p:nvGrpSpPr>
          <p:cNvPr id="4" name="Arduino"/>
          <p:cNvGrpSpPr/>
          <p:nvPr/>
        </p:nvGrpSpPr>
        <p:grpSpPr>
          <a:xfrm>
            <a:off x="421302" y="2920768"/>
            <a:ext cx="1529888" cy="544749"/>
            <a:chOff x="421302" y="2920768"/>
            <a:chExt cx="1529888" cy="544749"/>
          </a:xfrm>
        </p:grpSpPr>
        <p:grpSp>
          <p:nvGrpSpPr>
            <p:cNvPr id="163" name="Arduino With Logo"/>
            <p:cNvGrpSpPr>
              <a:grpSpLocks noChangeAspect="1"/>
            </p:cNvGrpSpPr>
            <p:nvPr/>
          </p:nvGrpSpPr>
          <p:grpSpPr>
            <a:xfrm>
              <a:off x="1188266" y="2920768"/>
              <a:ext cx="762924" cy="543158"/>
              <a:chOff x="7467871" y="2594119"/>
              <a:chExt cx="2065120" cy="1470247"/>
            </a:xfrm>
          </p:grpSpPr>
          <p:sp>
            <p:nvSpPr>
              <p:cNvPr id="164"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166"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grpSp>
        <p:sp>
          <p:nvSpPr>
            <p:cNvPr id="104" name="Freeform 47"/>
            <p:cNvSpPr>
              <a:spLocks/>
            </p:cNvSpPr>
            <p:nvPr/>
          </p:nvSpPr>
          <p:spPr bwMode="auto">
            <a:xfrm>
              <a:off x="1041269"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nvGrpSpPr>
            <p:cNvPr id="107" name="Group 106"/>
            <p:cNvGrpSpPr/>
            <p:nvPr/>
          </p:nvGrpSpPr>
          <p:grpSpPr>
            <a:xfrm>
              <a:off x="421302" y="2921005"/>
              <a:ext cx="609315" cy="544512"/>
              <a:chOff x="371347" y="2916242"/>
              <a:chExt cx="609315" cy="544512"/>
            </a:xfrm>
          </p:grpSpPr>
          <p:sp>
            <p:nvSpPr>
              <p:cNvPr id="10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7"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8"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19"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0"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1"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2"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3"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4"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5"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26"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31"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nvGrpSpPr>
              <p:cNvPr id="132" name="Group 131"/>
              <p:cNvGrpSpPr/>
              <p:nvPr/>
            </p:nvGrpSpPr>
            <p:grpSpPr>
              <a:xfrm>
                <a:off x="529320" y="3244464"/>
                <a:ext cx="295520" cy="141082"/>
                <a:chOff x="582613" y="2928938"/>
                <a:chExt cx="2247900" cy="1073150"/>
              </a:xfrm>
              <a:solidFill>
                <a:schemeClr val="bg1"/>
              </a:solidFill>
            </p:grpSpPr>
            <p:sp>
              <p:nvSpPr>
                <p:cNvPr id="133"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34"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35"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grpSp>
      </p:grpSp>
      <p:grpSp>
        <p:nvGrpSpPr>
          <p:cNvPr id="5" name="Gadgeteer"/>
          <p:cNvGrpSpPr/>
          <p:nvPr/>
        </p:nvGrpSpPr>
        <p:grpSpPr>
          <a:xfrm>
            <a:off x="2005044" y="3620688"/>
            <a:ext cx="1108911" cy="558679"/>
            <a:chOff x="2005044" y="3620688"/>
            <a:chExt cx="1108911" cy="558679"/>
          </a:xfrm>
        </p:grpSpPr>
        <p:grpSp>
          <p:nvGrpSpPr>
            <p:cNvPr id="3" name="Group 2"/>
            <p:cNvGrpSpPr/>
            <p:nvPr/>
          </p:nvGrpSpPr>
          <p:grpSpPr>
            <a:xfrm>
              <a:off x="2005044" y="3648726"/>
              <a:ext cx="285544" cy="181338"/>
              <a:chOff x="2005044" y="3648726"/>
              <a:chExt cx="285544" cy="181338"/>
            </a:xfrm>
          </p:grpSpPr>
          <p:sp>
            <p:nvSpPr>
              <p:cNvPr id="174" name="Freeform 173"/>
              <p:cNvSpPr>
                <a:spLocks/>
              </p:cNvSpPr>
              <p:nvPr/>
            </p:nvSpPr>
            <p:spPr bwMode="auto">
              <a:xfrm>
                <a:off x="2005044" y="364872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185" name="Freeform 35"/>
              <p:cNvSpPr>
                <a:spLocks noEditPoints="1"/>
              </p:cNvSpPr>
              <p:nvPr/>
            </p:nvSpPr>
            <p:spPr bwMode="auto">
              <a:xfrm>
                <a:off x="2089475" y="3681604"/>
                <a:ext cx="70901" cy="111771"/>
              </a:xfrm>
              <a:custGeom>
                <a:avLst/>
                <a:gdLst>
                  <a:gd name="T0" fmla="*/ 150 w 665"/>
                  <a:gd name="T1" fmla="*/ 0 h 1044"/>
                  <a:gd name="T2" fmla="*/ 132 w 665"/>
                  <a:gd name="T3" fmla="*/ 32 h 1044"/>
                  <a:gd name="T4" fmla="*/ 132 w 665"/>
                  <a:gd name="T5" fmla="*/ 446 h 1044"/>
                  <a:gd name="T6" fmla="*/ 0 w 665"/>
                  <a:gd name="T7" fmla="*/ 711 h 1044"/>
                  <a:gd name="T8" fmla="*/ 332 w 665"/>
                  <a:gd name="T9" fmla="*/ 1044 h 1044"/>
                  <a:gd name="T10" fmla="*/ 665 w 665"/>
                  <a:gd name="T11" fmla="*/ 711 h 1044"/>
                  <a:gd name="T12" fmla="*/ 532 w 665"/>
                  <a:gd name="T13" fmla="*/ 447 h 1044"/>
                  <a:gd name="T14" fmla="*/ 532 w 665"/>
                  <a:gd name="T15" fmla="*/ 32 h 1044"/>
                  <a:gd name="T16" fmla="*/ 514 w 665"/>
                  <a:gd name="T17" fmla="*/ 0 h 1044"/>
                  <a:gd name="T18" fmla="*/ 150 w 665"/>
                  <a:gd name="T19" fmla="*/ 0 h 1044"/>
                  <a:gd name="T20" fmla="*/ 199 w 665"/>
                  <a:gd name="T21" fmla="*/ 100 h 1044"/>
                  <a:gd name="T22" fmla="*/ 399 w 665"/>
                  <a:gd name="T23" fmla="*/ 100 h 1044"/>
                  <a:gd name="T24" fmla="*/ 417 w 665"/>
                  <a:gd name="T25" fmla="*/ 124 h 1044"/>
                  <a:gd name="T26" fmla="*/ 399 w 665"/>
                  <a:gd name="T27" fmla="*/ 148 h 1044"/>
                  <a:gd name="T28" fmla="*/ 199 w 665"/>
                  <a:gd name="T29" fmla="*/ 148 h 1044"/>
                  <a:gd name="T30" fmla="*/ 181 w 665"/>
                  <a:gd name="T31" fmla="*/ 124 h 1044"/>
                  <a:gd name="T32" fmla="*/ 199 w 665"/>
                  <a:gd name="T33" fmla="*/ 100 h 1044"/>
                  <a:gd name="T34" fmla="*/ 199 w 665"/>
                  <a:gd name="T35" fmla="*/ 195 h 1044"/>
                  <a:gd name="T36" fmla="*/ 399 w 665"/>
                  <a:gd name="T37" fmla="*/ 195 h 1044"/>
                  <a:gd name="T38" fmla="*/ 417 w 665"/>
                  <a:gd name="T39" fmla="*/ 218 h 1044"/>
                  <a:gd name="T40" fmla="*/ 399 w 665"/>
                  <a:gd name="T41" fmla="*/ 242 h 1044"/>
                  <a:gd name="T42" fmla="*/ 199 w 665"/>
                  <a:gd name="T43" fmla="*/ 242 h 1044"/>
                  <a:gd name="T44" fmla="*/ 181 w 665"/>
                  <a:gd name="T45" fmla="*/ 218 h 1044"/>
                  <a:gd name="T46" fmla="*/ 199 w 665"/>
                  <a:gd name="T47" fmla="*/ 195 h 1044"/>
                  <a:gd name="T48" fmla="*/ 199 w 665"/>
                  <a:gd name="T49" fmla="*/ 289 h 1044"/>
                  <a:gd name="T50" fmla="*/ 399 w 665"/>
                  <a:gd name="T51" fmla="*/ 289 h 1044"/>
                  <a:gd name="T52" fmla="*/ 417 w 665"/>
                  <a:gd name="T53" fmla="*/ 313 h 1044"/>
                  <a:gd name="T54" fmla="*/ 399 w 665"/>
                  <a:gd name="T55" fmla="*/ 336 h 1044"/>
                  <a:gd name="T56" fmla="*/ 199 w 665"/>
                  <a:gd name="T57" fmla="*/ 336 h 1044"/>
                  <a:gd name="T58" fmla="*/ 181 w 665"/>
                  <a:gd name="T59" fmla="*/ 313 h 1044"/>
                  <a:gd name="T60" fmla="*/ 199 w 665"/>
                  <a:gd name="T61" fmla="*/ 289 h 1044"/>
                  <a:gd name="T62" fmla="*/ 572 w 665"/>
                  <a:gd name="T63" fmla="*/ 601 h 1044"/>
                  <a:gd name="T64" fmla="*/ 597 w 665"/>
                  <a:gd name="T65" fmla="*/ 698 h 1044"/>
                  <a:gd name="T66" fmla="*/ 364 w 665"/>
                  <a:gd name="T67" fmla="*/ 931 h 1044"/>
                  <a:gd name="T68" fmla="*/ 364 w 665"/>
                  <a:gd name="T69" fmla="*/ 931 h 1044"/>
                  <a:gd name="T70" fmla="*/ 578 w 665"/>
                  <a:gd name="T71" fmla="*/ 649 h 1044"/>
                  <a:gd name="T72" fmla="*/ 572 w 665"/>
                  <a:gd name="T73" fmla="*/ 60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5" h="1044">
                    <a:moveTo>
                      <a:pt x="150" y="0"/>
                    </a:moveTo>
                    <a:cubicBezTo>
                      <a:pt x="140" y="0"/>
                      <a:pt x="132" y="14"/>
                      <a:pt x="132" y="32"/>
                    </a:cubicBezTo>
                    <a:lnTo>
                      <a:pt x="132" y="446"/>
                    </a:lnTo>
                    <a:cubicBezTo>
                      <a:pt x="49" y="509"/>
                      <a:pt x="0" y="607"/>
                      <a:pt x="0" y="711"/>
                    </a:cubicBezTo>
                    <a:cubicBezTo>
                      <a:pt x="0" y="895"/>
                      <a:pt x="149" y="1044"/>
                      <a:pt x="332" y="1044"/>
                    </a:cubicBezTo>
                    <a:cubicBezTo>
                      <a:pt x="516" y="1044"/>
                      <a:pt x="665" y="895"/>
                      <a:pt x="665" y="711"/>
                    </a:cubicBezTo>
                    <a:cubicBezTo>
                      <a:pt x="664" y="607"/>
                      <a:pt x="615" y="509"/>
                      <a:pt x="532" y="447"/>
                    </a:cubicBezTo>
                    <a:lnTo>
                      <a:pt x="532" y="32"/>
                    </a:lnTo>
                    <a:cubicBezTo>
                      <a:pt x="532" y="14"/>
                      <a:pt x="524" y="0"/>
                      <a:pt x="514" y="0"/>
                    </a:cubicBezTo>
                    <a:lnTo>
                      <a:pt x="150" y="0"/>
                    </a:lnTo>
                    <a:close/>
                    <a:moveTo>
                      <a:pt x="199" y="100"/>
                    </a:moveTo>
                    <a:lnTo>
                      <a:pt x="399" y="100"/>
                    </a:lnTo>
                    <a:cubicBezTo>
                      <a:pt x="409" y="100"/>
                      <a:pt x="417" y="111"/>
                      <a:pt x="417" y="124"/>
                    </a:cubicBezTo>
                    <a:cubicBezTo>
                      <a:pt x="417" y="137"/>
                      <a:pt x="409" y="148"/>
                      <a:pt x="399" y="148"/>
                    </a:cubicBezTo>
                    <a:lnTo>
                      <a:pt x="199" y="148"/>
                    </a:lnTo>
                    <a:cubicBezTo>
                      <a:pt x="189" y="148"/>
                      <a:pt x="181" y="137"/>
                      <a:pt x="181" y="124"/>
                    </a:cubicBezTo>
                    <a:cubicBezTo>
                      <a:pt x="181" y="111"/>
                      <a:pt x="189" y="100"/>
                      <a:pt x="199" y="100"/>
                    </a:cubicBezTo>
                    <a:close/>
                    <a:moveTo>
                      <a:pt x="199" y="195"/>
                    </a:moveTo>
                    <a:lnTo>
                      <a:pt x="399" y="195"/>
                    </a:lnTo>
                    <a:cubicBezTo>
                      <a:pt x="409" y="195"/>
                      <a:pt x="417" y="205"/>
                      <a:pt x="417" y="218"/>
                    </a:cubicBezTo>
                    <a:cubicBezTo>
                      <a:pt x="417" y="231"/>
                      <a:pt x="409" y="242"/>
                      <a:pt x="399" y="242"/>
                    </a:cubicBezTo>
                    <a:lnTo>
                      <a:pt x="199" y="242"/>
                    </a:lnTo>
                    <a:cubicBezTo>
                      <a:pt x="189" y="242"/>
                      <a:pt x="181" y="231"/>
                      <a:pt x="181" y="218"/>
                    </a:cubicBezTo>
                    <a:cubicBezTo>
                      <a:pt x="181" y="205"/>
                      <a:pt x="189" y="195"/>
                      <a:pt x="199" y="195"/>
                    </a:cubicBezTo>
                    <a:close/>
                    <a:moveTo>
                      <a:pt x="199" y="289"/>
                    </a:moveTo>
                    <a:lnTo>
                      <a:pt x="399" y="289"/>
                    </a:lnTo>
                    <a:cubicBezTo>
                      <a:pt x="409" y="289"/>
                      <a:pt x="417" y="299"/>
                      <a:pt x="417" y="313"/>
                    </a:cubicBezTo>
                    <a:cubicBezTo>
                      <a:pt x="417" y="326"/>
                      <a:pt x="409" y="336"/>
                      <a:pt x="399" y="336"/>
                    </a:cubicBezTo>
                    <a:lnTo>
                      <a:pt x="199" y="336"/>
                    </a:lnTo>
                    <a:cubicBezTo>
                      <a:pt x="189" y="336"/>
                      <a:pt x="181" y="326"/>
                      <a:pt x="181" y="313"/>
                    </a:cubicBezTo>
                    <a:cubicBezTo>
                      <a:pt x="181" y="299"/>
                      <a:pt x="189" y="289"/>
                      <a:pt x="199" y="289"/>
                    </a:cubicBezTo>
                    <a:close/>
                    <a:moveTo>
                      <a:pt x="572" y="601"/>
                    </a:moveTo>
                    <a:cubicBezTo>
                      <a:pt x="587" y="636"/>
                      <a:pt x="597" y="670"/>
                      <a:pt x="597" y="698"/>
                    </a:cubicBezTo>
                    <a:cubicBezTo>
                      <a:pt x="597" y="827"/>
                      <a:pt x="493" y="931"/>
                      <a:pt x="364" y="931"/>
                    </a:cubicBezTo>
                    <a:cubicBezTo>
                      <a:pt x="364" y="931"/>
                      <a:pt x="364" y="931"/>
                      <a:pt x="364" y="931"/>
                    </a:cubicBezTo>
                    <a:cubicBezTo>
                      <a:pt x="488" y="897"/>
                      <a:pt x="578" y="784"/>
                      <a:pt x="578" y="649"/>
                    </a:cubicBezTo>
                    <a:cubicBezTo>
                      <a:pt x="578" y="634"/>
                      <a:pt x="576" y="618"/>
                      <a:pt x="572" y="60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sp>
            <p:nvSpPr>
              <p:cNvPr id="177" name="Freeform 34"/>
              <p:cNvSpPr>
                <a:spLocks noEditPoints="1"/>
              </p:cNvSpPr>
              <p:nvPr/>
            </p:nvSpPr>
            <p:spPr bwMode="auto">
              <a:xfrm>
                <a:off x="2170596" y="3680698"/>
                <a:ext cx="70475" cy="111102"/>
              </a:xfrm>
              <a:custGeom>
                <a:avLst/>
                <a:gdLst>
                  <a:gd name="T0" fmla="*/ 332 w 664"/>
                  <a:gd name="T1" fmla="*/ 0 h 1042"/>
                  <a:gd name="T2" fmla="*/ 0 w 664"/>
                  <a:gd name="T3" fmla="*/ 710 h 1042"/>
                  <a:gd name="T4" fmla="*/ 332 w 664"/>
                  <a:gd name="T5" fmla="*/ 1042 h 1042"/>
                  <a:gd name="T6" fmla="*/ 664 w 664"/>
                  <a:gd name="T7" fmla="*/ 710 h 1042"/>
                  <a:gd name="T8" fmla="*/ 332 w 664"/>
                  <a:gd name="T9" fmla="*/ 0 h 1042"/>
                  <a:gd name="T10" fmla="*/ 550 w 664"/>
                  <a:gd name="T11" fmla="*/ 598 h 1042"/>
                  <a:gd name="T12" fmla="*/ 575 w 664"/>
                  <a:gd name="T13" fmla="*/ 696 h 1042"/>
                  <a:gd name="T14" fmla="*/ 342 w 664"/>
                  <a:gd name="T15" fmla="*/ 929 h 1042"/>
                  <a:gd name="T16" fmla="*/ 342 w 664"/>
                  <a:gd name="T17" fmla="*/ 929 h 1042"/>
                  <a:gd name="T18" fmla="*/ 557 w 664"/>
                  <a:gd name="T19" fmla="*/ 647 h 1042"/>
                  <a:gd name="T20" fmla="*/ 550 w 664"/>
                  <a:gd name="T21" fmla="*/ 598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4" h="1042">
                    <a:moveTo>
                      <a:pt x="332" y="0"/>
                    </a:moveTo>
                    <a:cubicBezTo>
                      <a:pt x="273" y="219"/>
                      <a:pt x="0" y="527"/>
                      <a:pt x="0" y="710"/>
                    </a:cubicBezTo>
                    <a:cubicBezTo>
                      <a:pt x="0" y="893"/>
                      <a:pt x="149" y="1042"/>
                      <a:pt x="332" y="1042"/>
                    </a:cubicBezTo>
                    <a:cubicBezTo>
                      <a:pt x="515" y="1042"/>
                      <a:pt x="664" y="893"/>
                      <a:pt x="664" y="710"/>
                    </a:cubicBezTo>
                    <a:cubicBezTo>
                      <a:pt x="664" y="527"/>
                      <a:pt x="390" y="218"/>
                      <a:pt x="332" y="0"/>
                    </a:cubicBezTo>
                    <a:close/>
                    <a:moveTo>
                      <a:pt x="550" y="598"/>
                    </a:moveTo>
                    <a:cubicBezTo>
                      <a:pt x="566" y="634"/>
                      <a:pt x="575" y="667"/>
                      <a:pt x="575" y="696"/>
                    </a:cubicBezTo>
                    <a:cubicBezTo>
                      <a:pt x="575" y="824"/>
                      <a:pt x="471" y="929"/>
                      <a:pt x="342" y="929"/>
                    </a:cubicBezTo>
                    <a:cubicBezTo>
                      <a:pt x="342" y="929"/>
                      <a:pt x="342" y="929"/>
                      <a:pt x="342" y="929"/>
                    </a:cubicBezTo>
                    <a:cubicBezTo>
                      <a:pt x="466" y="895"/>
                      <a:pt x="557" y="781"/>
                      <a:pt x="557" y="647"/>
                    </a:cubicBezTo>
                    <a:cubicBezTo>
                      <a:pt x="557" y="632"/>
                      <a:pt x="554" y="615"/>
                      <a:pt x="550"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grpSp>
          <p:nvGrpSpPr>
            <p:cNvPr id="170" name="Group 169"/>
            <p:cNvGrpSpPr/>
            <p:nvPr/>
          </p:nvGrpSpPr>
          <p:grpSpPr>
            <a:xfrm>
              <a:off x="2499034" y="3620688"/>
              <a:ext cx="614921" cy="558679"/>
              <a:chOff x="7016885" y="4937019"/>
              <a:chExt cx="1455150" cy="1322058"/>
            </a:xfrm>
          </p:grpSpPr>
          <p:sp>
            <p:nvSpPr>
              <p:cNvPr id="171" name="Freeform 17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2"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sp>
          <p:nvSpPr>
            <p:cNvPr id="160" name="Freeform 47"/>
            <p:cNvSpPr>
              <a:spLocks/>
            </p:cNvSpPr>
            <p:nvPr/>
          </p:nvSpPr>
          <p:spPr bwMode="auto">
            <a:xfrm>
              <a:off x="2283888" y="3790588"/>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nvGrpSpPr>
            <p:cNvPr id="2" name="Group 1"/>
            <p:cNvGrpSpPr/>
            <p:nvPr/>
          </p:nvGrpSpPr>
          <p:grpSpPr>
            <a:xfrm>
              <a:off x="2005044" y="3961486"/>
              <a:ext cx="285544" cy="181338"/>
              <a:chOff x="2005044" y="3961486"/>
              <a:chExt cx="285544" cy="181338"/>
            </a:xfrm>
          </p:grpSpPr>
          <p:sp>
            <p:nvSpPr>
              <p:cNvPr id="184" name="Freeform 183"/>
              <p:cNvSpPr>
                <a:spLocks/>
              </p:cNvSpPr>
              <p:nvPr/>
            </p:nvSpPr>
            <p:spPr bwMode="auto">
              <a:xfrm>
                <a:off x="2005044" y="396148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1E313B"/>
                  </a:solidFill>
                </a:endParaRPr>
              </a:p>
            </p:txBody>
          </p:sp>
          <p:sp>
            <p:nvSpPr>
              <p:cNvPr id="139" name="Freeform 33"/>
              <p:cNvSpPr>
                <a:spLocks noEditPoints="1"/>
              </p:cNvSpPr>
              <p:nvPr/>
            </p:nvSpPr>
            <p:spPr bwMode="auto">
              <a:xfrm>
                <a:off x="2125036" y="3990613"/>
                <a:ext cx="70475" cy="111102"/>
              </a:xfrm>
              <a:custGeom>
                <a:avLst/>
                <a:gdLst>
                  <a:gd name="T0" fmla="*/ 332 w 664"/>
                  <a:gd name="T1" fmla="*/ 0 h 1043"/>
                  <a:gd name="T2" fmla="*/ 0 w 664"/>
                  <a:gd name="T3" fmla="*/ 332 h 1043"/>
                  <a:gd name="T4" fmla="*/ 130 w 664"/>
                  <a:gd name="T5" fmla="*/ 796 h 1043"/>
                  <a:gd name="T6" fmla="*/ 120 w 664"/>
                  <a:gd name="T7" fmla="*/ 816 h 1043"/>
                  <a:gd name="T8" fmla="*/ 134 w 664"/>
                  <a:gd name="T9" fmla="*/ 840 h 1043"/>
                  <a:gd name="T10" fmla="*/ 136 w 664"/>
                  <a:gd name="T11" fmla="*/ 868 h 1043"/>
                  <a:gd name="T12" fmla="*/ 120 w 664"/>
                  <a:gd name="T13" fmla="*/ 890 h 1043"/>
                  <a:gd name="T14" fmla="*/ 138 w 664"/>
                  <a:gd name="T15" fmla="*/ 915 h 1043"/>
                  <a:gd name="T16" fmla="*/ 139 w 664"/>
                  <a:gd name="T17" fmla="*/ 941 h 1043"/>
                  <a:gd name="T18" fmla="*/ 120 w 664"/>
                  <a:gd name="T19" fmla="*/ 964 h 1043"/>
                  <a:gd name="T20" fmla="*/ 138 w 664"/>
                  <a:gd name="T21" fmla="*/ 989 h 1043"/>
                  <a:gd name="T22" fmla="*/ 140 w 664"/>
                  <a:gd name="T23" fmla="*/ 989 h 1043"/>
                  <a:gd name="T24" fmla="*/ 140 w 664"/>
                  <a:gd name="T25" fmla="*/ 997 h 1043"/>
                  <a:gd name="T26" fmla="*/ 185 w 664"/>
                  <a:gd name="T27" fmla="*/ 1043 h 1043"/>
                  <a:gd name="T28" fmla="*/ 478 w 664"/>
                  <a:gd name="T29" fmla="*/ 1043 h 1043"/>
                  <a:gd name="T30" fmla="*/ 523 w 664"/>
                  <a:gd name="T31" fmla="*/ 1005 h 1043"/>
                  <a:gd name="T32" fmla="*/ 523 w 664"/>
                  <a:gd name="T33" fmla="*/ 1005 h 1043"/>
                  <a:gd name="T34" fmla="*/ 544 w 664"/>
                  <a:gd name="T35" fmla="*/ 983 h 1043"/>
                  <a:gd name="T36" fmla="*/ 525 w 664"/>
                  <a:gd name="T37" fmla="*/ 958 h 1043"/>
                  <a:gd name="T38" fmla="*/ 524 w 664"/>
                  <a:gd name="T39" fmla="*/ 958 h 1043"/>
                  <a:gd name="T40" fmla="*/ 525 w 664"/>
                  <a:gd name="T41" fmla="*/ 931 h 1043"/>
                  <a:gd name="T42" fmla="*/ 544 w 664"/>
                  <a:gd name="T43" fmla="*/ 909 h 1043"/>
                  <a:gd name="T44" fmla="*/ 527 w 664"/>
                  <a:gd name="T45" fmla="*/ 884 h 1043"/>
                  <a:gd name="T46" fmla="*/ 529 w 664"/>
                  <a:gd name="T47" fmla="*/ 857 h 1043"/>
                  <a:gd name="T48" fmla="*/ 544 w 664"/>
                  <a:gd name="T49" fmla="*/ 835 h 1043"/>
                  <a:gd name="T50" fmla="*/ 532 w 664"/>
                  <a:gd name="T51" fmla="*/ 812 h 1043"/>
                  <a:gd name="T52" fmla="*/ 664 w 664"/>
                  <a:gd name="T53" fmla="*/ 332 h 1043"/>
                  <a:gd name="T54" fmla="*/ 332 w 664"/>
                  <a:gd name="T55" fmla="*/ 0 h 1043"/>
                  <a:gd name="T56" fmla="*/ 332 w 664"/>
                  <a:gd name="T57" fmla="*/ 0 h 1043"/>
                  <a:gd name="T58" fmla="*/ 332 w 664"/>
                  <a:gd name="T59" fmla="*/ 56 h 1043"/>
                  <a:gd name="T60" fmla="*/ 457 w 664"/>
                  <a:gd name="T61" fmla="*/ 87 h 1043"/>
                  <a:gd name="T62" fmla="*/ 362 w 664"/>
                  <a:gd name="T63" fmla="*/ 73 h 1043"/>
                  <a:gd name="T64" fmla="*/ 90 w 664"/>
                  <a:gd name="T65" fmla="*/ 215 h 1043"/>
                  <a:gd name="T66" fmla="*/ 332 w 664"/>
                  <a:gd name="T67" fmla="*/ 56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4" h="1043">
                    <a:moveTo>
                      <a:pt x="332" y="0"/>
                    </a:moveTo>
                    <a:cubicBezTo>
                      <a:pt x="149" y="0"/>
                      <a:pt x="0" y="149"/>
                      <a:pt x="0" y="332"/>
                    </a:cubicBezTo>
                    <a:cubicBezTo>
                      <a:pt x="0" y="527"/>
                      <a:pt x="98" y="511"/>
                      <a:pt x="130" y="796"/>
                    </a:cubicBezTo>
                    <a:cubicBezTo>
                      <a:pt x="124" y="800"/>
                      <a:pt x="120" y="808"/>
                      <a:pt x="120" y="816"/>
                    </a:cubicBezTo>
                    <a:cubicBezTo>
                      <a:pt x="120" y="827"/>
                      <a:pt x="126" y="837"/>
                      <a:pt x="134" y="840"/>
                    </a:cubicBezTo>
                    <a:cubicBezTo>
                      <a:pt x="135" y="849"/>
                      <a:pt x="136" y="858"/>
                      <a:pt x="136" y="868"/>
                    </a:cubicBezTo>
                    <a:cubicBezTo>
                      <a:pt x="127" y="870"/>
                      <a:pt x="121" y="879"/>
                      <a:pt x="120" y="890"/>
                    </a:cubicBezTo>
                    <a:cubicBezTo>
                      <a:pt x="120" y="903"/>
                      <a:pt x="128" y="914"/>
                      <a:pt x="138" y="915"/>
                    </a:cubicBezTo>
                    <a:cubicBezTo>
                      <a:pt x="139" y="923"/>
                      <a:pt x="139" y="932"/>
                      <a:pt x="139" y="941"/>
                    </a:cubicBezTo>
                    <a:cubicBezTo>
                      <a:pt x="129" y="942"/>
                      <a:pt x="121" y="952"/>
                      <a:pt x="120" y="964"/>
                    </a:cubicBezTo>
                    <a:cubicBezTo>
                      <a:pt x="120" y="977"/>
                      <a:pt x="128" y="988"/>
                      <a:pt x="138" y="989"/>
                    </a:cubicBezTo>
                    <a:lnTo>
                      <a:pt x="140" y="989"/>
                    </a:lnTo>
                    <a:cubicBezTo>
                      <a:pt x="140" y="992"/>
                      <a:pt x="140" y="994"/>
                      <a:pt x="140" y="997"/>
                    </a:cubicBezTo>
                    <a:cubicBezTo>
                      <a:pt x="140" y="1023"/>
                      <a:pt x="160" y="1043"/>
                      <a:pt x="185" y="1043"/>
                    </a:cubicBezTo>
                    <a:lnTo>
                      <a:pt x="478" y="1043"/>
                    </a:lnTo>
                    <a:cubicBezTo>
                      <a:pt x="501" y="1043"/>
                      <a:pt x="519" y="1027"/>
                      <a:pt x="523" y="1005"/>
                    </a:cubicBezTo>
                    <a:lnTo>
                      <a:pt x="523" y="1005"/>
                    </a:lnTo>
                    <a:cubicBezTo>
                      <a:pt x="534" y="1006"/>
                      <a:pt x="543" y="996"/>
                      <a:pt x="544" y="983"/>
                    </a:cubicBezTo>
                    <a:cubicBezTo>
                      <a:pt x="544" y="969"/>
                      <a:pt x="536" y="959"/>
                      <a:pt x="525" y="958"/>
                    </a:cubicBezTo>
                    <a:lnTo>
                      <a:pt x="524" y="958"/>
                    </a:lnTo>
                    <a:cubicBezTo>
                      <a:pt x="525" y="949"/>
                      <a:pt x="525" y="940"/>
                      <a:pt x="525" y="931"/>
                    </a:cubicBezTo>
                    <a:cubicBezTo>
                      <a:pt x="535" y="931"/>
                      <a:pt x="543" y="921"/>
                      <a:pt x="544" y="909"/>
                    </a:cubicBezTo>
                    <a:cubicBezTo>
                      <a:pt x="544" y="896"/>
                      <a:pt x="537" y="886"/>
                      <a:pt x="527" y="884"/>
                    </a:cubicBezTo>
                    <a:cubicBezTo>
                      <a:pt x="527" y="875"/>
                      <a:pt x="528" y="866"/>
                      <a:pt x="529" y="857"/>
                    </a:cubicBezTo>
                    <a:cubicBezTo>
                      <a:pt x="537" y="854"/>
                      <a:pt x="543" y="845"/>
                      <a:pt x="544" y="835"/>
                    </a:cubicBezTo>
                    <a:cubicBezTo>
                      <a:pt x="544" y="824"/>
                      <a:pt x="539" y="816"/>
                      <a:pt x="532" y="812"/>
                    </a:cubicBezTo>
                    <a:cubicBezTo>
                      <a:pt x="562" y="510"/>
                      <a:pt x="664" y="530"/>
                      <a:pt x="664" y="332"/>
                    </a:cubicBezTo>
                    <a:cubicBezTo>
                      <a:pt x="664" y="149"/>
                      <a:pt x="515" y="0"/>
                      <a:pt x="332" y="0"/>
                    </a:cubicBezTo>
                    <a:lnTo>
                      <a:pt x="332" y="0"/>
                    </a:lnTo>
                    <a:close/>
                    <a:moveTo>
                      <a:pt x="332" y="56"/>
                    </a:moveTo>
                    <a:cubicBezTo>
                      <a:pt x="377" y="56"/>
                      <a:pt x="420" y="67"/>
                      <a:pt x="457" y="87"/>
                    </a:cubicBezTo>
                    <a:cubicBezTo>
                      <a:pt x="427" y="78"/>
                      <a:pt x="395" y="73"/>
                      <a:pt x="362" y="73"/>
                    </a:cubicBezTo>
                    <a:cubicBezTo>
                      <a:pt x="249" y="73"/>
                      <a:pt x="150" y="130"/>
                      <a:pt x="90" y="215"/>
                    </a:cubicBezTo>
                    <a:cubicBezTo>
                      <a:pt x="130" y="121"/>
                      <a:pt x="223" y="56"/>
                      <a:pt x="332" y="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1E313B"/>
                  </a:solidFill>
                </a:endParaRPr>
              </a:p>
            </p:txBody>
          </p:sp>
        </p:grpSp>
      </p:grpSp>
    </p:spTree>
    <p:extLst>
      <p:ext uri="{BB962C8B-B14F-4D97-AF65-F5344CB8AC3E}">
        <p14:creationId xmlns:p14="http://schemas.microsoft.com/office/powerpoint/2010/main" val="3152281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3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4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4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2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4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P spid="143" grpId="0" animBg="1"/>
      <p:bldP spid="144" grpId="0" animBg="1"/>
      <p:bldP spid="145" grpId="0" animBg="1"/>
      <p:bldP spid="147" grpId="0" animBg="1"/>
      <p:bldP spid="148" grpId="0" animBg="1"/>
      <p:bldP spid="152" grpId="0" animBg="1"/>
      <p:bldP spid="165" grpId="0" animBg="1"/>
      <p:bldP spid="38" grpId="0" animBg="1"/>
      <p:bldP spid="9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WORKFLOW</a:t>
            </a:r>
            <a:endParaRPr lang="en-US" dirty="0"/>
          </a:p>
        </p:txBody>
      </p:sp>
      <p:grpSp>
        <p:nvGrpSpPr>
          <p:cNvPr id="18" name="Azure HOLs"/>
          <p:cNvGrpSpPr/>
          <p:nvPr/>
        </p:nvGrpSpPr>
        <p:grpSpPr>
          <a:xfrm>
            <a:off x="4289935" y="1675448"/>
            <a:ext cx="4232080" cy="1764412"/>
            <a:chOff x="4289935" y="1675448"/>
            <a:chExt cx="4232080" cy="1764412"/>
          </a:xfrm>
        </p:grpSpPr>
        <p:sp>
          <p:nvSpPr>
            <p:cNvPr id="4" name="Rectangle 3"/>
            <p:cNvSpPr/>
            <p:nvPr/>
          </p:nvSpPr>
          <p:spPr>
            <a:xfrm>
              <a:off x="4289935" y="1675448"/>
              <a:ext cx="3581650" cy="1764412"/>
            </a:xfrm>
            <a:prstGeom prst="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lIns="1554480" rtlCol="0" anchor="ctr"/>
            <a:lstStyle/>
            <a:p>
              <a:r>
                <a:rPr lang="en-US" sz="2400" dirty="0" smtClean="0"/>
                <a:t>Azure</a:t>
              </a:r>
              <a:br>
                <a:rPr lang="en-US" sz="2400" dirty="0" smtClean="0"/>
              </a:br>
              <a:r>
                <a:rPr lang="en-US" sz="2400" dirty="0" smtClean="0"/>
                <a:t>Hands-On Labs</a:t>
              </a:r>
              <a:endParaRPr lang="en-US" sz="2400" dirty="0"/>
            </a:p>
          </p:txBody>
        </p:sp>
        <p:sp>
          <p:nvSpPr>
            <p:cNvPr id="5" name="Freeform 4"/>
            <p:cNvSpPr>
              <a:spLocks/>
            </p:cNvSpPr>
            <p:nvPr/>
          </p:nvSpPr>
          <p:spPr bwMode="auto">
            <a:xfrm>
              <a:off x="4519952" y="2259513"/>
              <a:ext cx="961447" cy="596280"/>
            </a:xfrm>
            <a:custGeom>
              <a:avLst/>
              <a:gdLst>
                <a:gd name="connsiteX0" fmla="*/ 2888737 w 4852987"/>
                <a:gd name="connsiteY0" fmla="*/ 549275 h 3125788"/>
                <a:gd name="connsiteX1" fmla="*/ 3879889 w 4852987"/>
                <a:gd name="connsiteY1" fmla="*/ 1167025 h 3125788"/>
                <a:gd name="connsiteX2" fmla="*/ 4852987 w 4852987"/>
                <a:gd name="connsiteY2" fmla="*/ 2144603 h 3125788"/>
                <a:gd name="connsiteX3" fmla="*/ 3870862 w 4852987"/>
                <a:gd name="connsiteY3" fmla="*/ 3125788 h 3125788"/>
                <a:gd name="connsiteX4" fmla="*/ 3866348 w 4852987"/>
                <a:gd name="connsiteY4" fmla="*/ 3125788 h 3125788"/>
                <a:gd name="connsiteX5" fmla="*/ 1893071 w 4852987"/>
                <a:gd name="connsiteY5" fmla="*/ 3125788 h 3125788"/>
                <a:gd name="connsiteX6" fmla="*/ 1889461 w 4852987"/>
                <a:gd name="connsiteY6" fmla="*/ 3125788 h 3125788"/>
                <a:gd name="connsiteX7" fmla="*/ 1038225 w 4852987"/>
                <a:gd name="connsiteY7" fmla="*/ 2385390 h 3125788"/>
                <a:gd name="connsiteX8" fmla="*/ 2503289 w 4852987"/>
                <a:gd name="connsiteY8" fmla="*/ 2385390 h 3125788"/>
                <a:gd name="connsiteX9" fmla="*/ 2888737 w 4852987"/>
                <a:gd name="connsiteY9" fmla="*/ 2572068 h 3125788"/>
                <a:gd name="connsiteX10" fmla="*/ 3379799 w 4852987"/>
                <a:gd name="connsiteY10" fmla="*/ 2080573 h 3125788"/>
                <a:gd name="connsiteX11" fmla="*/ 2888737 w 4852987"/>
                <a:gd name="connsiteY11" fmla="*/ 1589981 h 3125788"/>
                <a:gd name="connsiteX12" fmla="*/ 2503289 w 4852987"/>
                <a:gd name="connsiteY12" fmla="*/ 1776659 h 3125788"/>
                <a:gd name="connsiteX13" fmla="*/ 1186266 w 4852987"/>
                <a:gd name="connsiteY13" fmla="*/ 1776659 h 3125788"/>
                <a:gd name="connsiteX14" fmla="*/ 1809121 w 4852987"/>
                <a:gd name="connsiteY14" fmla="*/ 1412321 h 3125788"/>
                <a:gd name="connsiteX15" fmla="*/ 2888737 w 4852987"/>
                <a:gd name="connsiteY15" fmla="*/ 549275 h 3125788"/>
                <a:gd name="connsiteX16" fmla="*/ 1782894 w 4852987"/>
                <a:gd name="connsiteY16" fmla="*/ 0 h 3125788"/>
                <a:gd name="connsiteX17" fmla="*/ 2617920 w 4852987"/>
                <a:gd name="connsiteY17" fmla="*/ 461707 h 3125788"/>
                <a:gd name="connsiteX18" fmla="*/ 2375988 w 4852987"/>
                <a:gd name="connsiteY18" fmla="*/ 541965 h 3125788"/>
                <a:gd name="connsiteX19" fmla="*/ 1782894 w 4852987"/>
                <a:gd name="connsiteY19" fmla="*/ 241675 h 3125788"/>
                <a:gd name="connsiteX20" fmla="*/ 1143760 w 4852987"/>
                <a:gd name="connsiteY20" fmla="*/ 609598 h 3125788"/>
                <a:gd name="connsiteX21" fmla="*/ 1110359 w 4852987"/>
                <a:gd name="connsiteY21" fmla="*/ 672722 h 3125788"/>
                <a:gd name="connsiteX22" fmla="*/ 1055293 w 4852987"/>
                <a:gd name="connsiteY22" fmla="*/ 854880 h 3125788"/>
                <a:gd name="connsiteX23" fmla="*/ 796209 w 4852987"/>
                <a:gd name="connsiteY23" fmla="*/ 854880 h 3125788"/>
                <a:gd name="connsiteX24" fmla="*/ 241932 w 4852987"/>
                <a:gd name="connsiteY24" fmla="*/ 1409470 h 3125788"/>
                <a:gd name="connsiteX25" fmla="*/ 796209 w 4852987"/>
                <a:gd name="connsiteY25" fmla="*/ 1963157 h 3125788"/>
                <a:gd name="connsiteX26" fmla="*/ 2604379 w 4852987"/>
                <a:gd name="connsiteY26" fmla="*/ 1963157 h 3125788"/>
                <a:gd name="connsiteX27" fmla="*/ 2888739 w 4852987"/>
                <a:gd name="connsiteY27" fmla="*/ 1777392 h 3125788"/>
                <a:gd name="connsiteX28" fmla="*/ 3201987 w 4852987"/>
                <a:gd name="connsiteY28" fmla="*/ 2090307 h 3125788"/>
                <a:gd name="connsiteX29" fmla="*/ 2892350 w 4852987"/>
                <a:gd name="connsiteY29" fmla="*/ 2398713 h 3125788"/>
                <a:gd name="connsiteX30" fmla="*/ 2608893 w 4852987"/>
                <a:gd name="connsiteY30" fmla="*/ 2212948 h 3125788"/>
                <a:gd name="connsiteX31" fmla="*/ 800722 w 4852987"/>
                <a:gd name="connsiteY31" fmla="*/ 2212948 h 3125788"/>
                <a:gd name="connsiteX32" fmla="*/ 0 w 4852987"/>
                <a:gd name="connsiteY32" fmla="*/ 1413077 h 3125788"/>
                <a:gd name="connsiteX33" fmla="*/ 800722 w 4852987"/>
                <a:gd name="connsiteY33" fmla="*/ 614107 h 3125788"/>
                <a:gd name="connsiteX34" fmla="*/ 872941 w 4852987"/>
                <a:gd name="connsiteY34" fmla="*/ 614107 h 3125788"/>
                <a:gd name="connsiteX35" fmla="*/ 1782894 w 4852987"/>
                <a:gd name="connsiteY35" fmla="*/ 0 h 312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52987" h="3125788">
                  <a:moveTo>
                    <a:pt x="2888737" y="549275"/>
                  </a:moveTo>
                  <a:cubicBezTo>
                    <a:pt x="3320222" y="549275"/>
                    <a:pt x="3697546" y="803590"/>
                    <a:pt x="3879889" y="1167025"/>
                  </a:cubicBezTo>
                  <a:cubicBezTo>
                    <a:pt x="4416989" y="1171534"/>
                    <a:pt x="4852987" y="1607115"/>
                    <a:pt x="4852987" y="2144603"/>
                  </a:cubicBezTo>
                  <a:cubicBezTo>
                    <a:pt x="4852987" y="2685698"/>
                    <a:pt x="4413378" y="3125788"/>
                    <a:pt x="3870862" y="3125788"/>
                  </a:cubicBezTo>
                  <a:cubicBezTo>
                    <a:pt x="3870862" y="3125788"/>
                    <a:pt x="3866348" y="3125788"/>
                    <a:pt x="3866348" y="3125788"/>
                  </a:cubicBezTo>
                  <a:lnTo>
                    <a:pt x="1893071" y="3125788"/>
                  </a:lnTo>
                  <a:cubicBezTo>
                    <a:pt x="1893071" y="3125788"/>
                    <a:pt x="1889461" y="3125788"/>
                    <a:pt x="1889461" y="3125788"/>
                  </a:cubicBezTo>
                  <a:cubicBezTo>
                    <a:pt x="1457073" y="3125788"/>
                    <a:pt x="1096900" y="2804739"/>
                    <a:pt x="1038225" y="2385390"/>
                  </a:cubicBezTo>
                  <a:lnTo>
                    <a:pt x="2503289" y="2385390"/>
                  </a:lnTo>
                  <a:cubicBezTo>
                    <a:pt x="2596266" y="2499922"/>
                    <a:pt x="2731669" y="2572068"/>
                    <a:pt x="2888737" y="2572068"/>
                  </a:cubicBezTo>
                  <a:cubicBezTo>
                    <a:pt x="3159543" y="2572068"/>
                    <a:pt x="3379799" y="2352023"/>
                    <a:pt x="3379799" y="2080573"/>
                  </a:cubicBezTo>
                  <a:cubicBezTo>
                    <a:pt x="3379799" y="1810026"/>
                    <a:pt x="3159543" y="1589981"/>
                    <a:pt x="2888737" y="1589981"/>
                  </a:cubicBezTo>
                  <a:cubicBezTo>
                    <a:pt x="2731669" y="1589981"/>
                    <a:pt x="2591752" y="1662127"/>
                    <a:pt x="2503289" y="1776659"/>
                  </a:cubicBezTo>
                  <a:lnTo>
                    <a:pt x="1186266" y="1776659"/>
                  </a:lnTo>
                  <a:cubicBezTo>
                    <a:pt x="1329794" y="1573748"/>
                    <a:pt x="1550050" y="1437572"/>
                    <a:pt x="1809121" y="1412321"/>
                  </a:cubicBezTo>
                  <a:cubicBezTo>
                    <a:pt x="1919249" y="917220"/>
                    <a:pt x="2358859" y="549275"/>
                    <a:pt x="2888737" y="549275"/>
                  </a:cubicBezTo>
                  <a:close/>
                  <a:moveTo>
                    <a:pt x="1782894" y="0"/>
                  </a:moveTo>
                  <a:cubicBezTo>
                    <a:pt x="2134959" y="0"/>
                    <a:pt x="2443693" y="182158"/>
                    <a:pt x="2617920" y="461707"/>
                  </a:cubicBezTo>
                  <a:cubicBezTo>
                    <a:pt x="2533063" y="478841"/>
                    <a:pt x="2452720" y="507697"/>
                    <a:pt x="2375988" y="541965"/>
                  </a:cubicBezTo>
                  <a:cubicBezTo>
                    <a:pt x="2240579" y="359807"/>
                    <a:pt x="2024826" y="241675"/>
                    <a:pt x="1782894" y="241675"/>
                  </a:cubicBezTo>
                  <a:cubicBezTo>
                    <a:pt x="1508464" y="241675"/>
                    <a:pt x="1271045" y="389565"/>
                    <a:pt x="1143760" y="609598"/>
                  </a:cubicBezTo>
                  <a:cubicBezTo>
                    <a:pt x="1131122" y="630339"/>
                    <a:pt x="1118484" y="651981"/>
                    <a:pt x="1110359" y="672722"/>
                  </a:cubicBezTo>
                  <a:cubicBezTo>
                    <a:pt x="1084180" y="727730"/>
                    <a:pt x="1067931" y="791756"/>
                    <a:pt x="1055293" y="854880"/>
                  </a:cubicBezTo>
                  <a:lnTo>
                    <a:pt x="796209" y="854880"/>
                  </a:lnTo>
                  <a:cubicBezTo>
                    <a:pt x="487475" y="854880"/>
                    <a:pt x="241932" y="1104671"/>
                    <a:pt x="241932" y="1409470"/>
                  </a:cubicBezTo>
                  <a:cubicBezTo>
                    <a:pt x="241932" y="1717875"/>
                    <a:pt x="491988" y="1963157"/>
                    <a:pt x="796209" y="1963157"/>
                  </a:cubicBezTo>
                  <a:lnTo>
                    <a:pt x="2604379" y="1963157"/>
                  </a:lnTo>
                  <a:cubicBezTo>
                    <a:pt x="2655835" y="1853141"/>
                    <a:pt x="2761454" y="1777392"/>
                    <a:pt x="2888739" y="1777392"/>
                  </a:cubicBezTo>
                  <a:cubicBezTo>
                    <a:pt x="3057550" y="1777392"/>
                    <a:pt x="3201987" y="1917167"/>
                    <a:pt x="3201987" y="2090307"/>
                  </a:cubicBezTo>
                  <a:cubicBezTo>
                    <a:pt x="3201987" y="2263447"/>
                    <a:pt x="3062064" y="2398713"/>
                    <a:pt x="2892350" y="2398713"/>
                  </a:cubicBezTo>
                  <a:cubicBezTo>
                    <a:pt x="2765968" y="2398713"/>
                    <a:pt x="2655835" y="2322964"/>
                    <a:pt x="2608893" y="2212948"/>
                  </a:cubicBezTo>
                  <a:lnTo>
                    <a:pt x="800722" y="2212948"/>
                  </a:lnTo>
                  <a:cubicBezTo>
                    <a:pt x="356579" y="2212948"/>
                    <a:pt x="0" y="1857650"/>
                    <a:pt x="0" y="1413077"/>
                  </a:cubicBezTo>
                  <a:cubicBezTo>
                    <a:pt x="0" y="969405"/>
                    <a:pt x="360190" y="614107"/>
                    <a:pt x="800722" y="614107"/>
                  </a:cubicBezTo>
                  <a:lnTo>
                    <a:pt x="872941" y="614107"/>
                  </a:lnTo>
                  <a:cubicBezTo>
                    <a:pt x="1016475" y="254300"/>
                    <a:pt x="1372151" y="0"/>
                    <a:pt x="1782894"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 name="Freeform 11"/>
            <p:cNvSpPr>
              <a:spLocks noEditPoints="1"/>
            </p:cNvSpPr>
            <p:nvPr/>
          </p:nvSpPr>
          <p:spPr bwMode="auto">
            <a:xfrm>
              <a:off x="8446681" y="2941196"/>
              <a:ext cx="75334" cy="40721"/>
            </a:xfrm>
            <a:custGeom>
              <a:avLst/>
              <a:gdLst>
                <a:gd name="T0" fmla="*/ 0 w 119"/>
                <a:gd name="T1" fmla="*/ 0 h 64"/>
                <a:gd name="T2" fmla="*/ 0 w 119"/>
                <a:gd name="T3" fmla="*/ 13 h 64"/>
                <a:gd name="T4" fmla="*/ 20 w 119"/>
                <a:gd name="T5" fmla="*/ 13 h 64"/>
                <a:gd name="T6" fmla="*/ 20 w 119"/>
                <a:gd name="T7" fmla="*/ 64 h 64"/>
                <a:gd name="T8" fmla="*/ 22 w 119"/>
                <a:gd name="T9" fmla="*/ 64 h 64"/>
                <a:gd name="T10" fmla="*/ 34 w 119"/>
                <a:gd name="T11" fmla="*/ 64 h 64"/>
                <a:gd name="T12" fmla="*/ 34 w 119"/>
                <a:gd name="T13" fmla="*/ 13 h 64"/>
                <a:gd name="T14" fmla="*/ 53 w 119"/>
                <a:gd name="T15" fmla="*/ 13 h 64"/>
                <a:gd name="T16" fmla="*/ 53 w 119"/>
                <a:gd name="T17" fmla="*/ 0 h 64"/>
                <a:gd name="T18" fmla="*/ 0 w 119"/>
                <a:gd name="T19" fmla="*/ 0 h 64"/>
                <a:gd name="T20" fmla="*/ 56 w 119"/>
                <a:gd name="T21" fmla="*/ 0 h 64"/>
                <a:gd name="T22" fmla="*/ 56 w 119"/>
                <a:gd name="T23" fmla="*/ 64 h 64"/>
                <a:gd name="T24" fmla="*/ 58 w 119"/>
                <a:gd name="T25" fmla="*/ 64 h 64"/>
                <a:gd name="T26" fmla="*/ 69 w 119"/>
                <a:gd name="T27" fmla="*/ 64 h 64"/>
                <a:gd name="T28" fmla="*/ 69 w 119"/>
                <a:gd name="T29" fmla="*/ 23 h 64"/>
                <a:gd name="T30" fmla="*/ 82 w 119"/>
                <a:gd name="T31" fmla="*/ 64 h 64"/>
                <a:gd name="T32" fmla="*/ 94 w 119"/>
                <a:gd name="T33" fmla="*/ 64 h 64"/>
                <a:gd name="T34" fmla="*/ 106 w 119"/>
                <a:gd name="T35" fmla="*/ 24 h 64"/>
                <a:gd name="T36" fmla="*/ 106 w 119"/>
                <a:gd name="T37" fmla="*/ 64 h 64"/>
                <a:gd name="T38" fmla="*/ 119 w 119"/>
                <a:gd name="T39" fmla="*/ 64 h 64"/>
                <a:gd name="T40" fmla="*/ 119 w 119"/>
                <a:gd name="T41" fmla="*/ 0 h 64"/>
                <a:gd name="T42" fmla="*/ 102 w 119"/>
                <a:gd name="T43" fmla="*/ 0 h 64"/>
                <a:gd name="T44" fmla="*/ 88 w 119"/>
                <a:gd name="T45" fmla="*/ 44 h 64"/>
                <a:gd name="T46" fmla="*/ 74 w 119"/>
                <a:gd name="T47" fmla="*/ 0 h 64"/>
                <a:gd name="T48" fmla="*/ 56 w 11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64">
                  <a:moveTo>
                    <a:pt x="0" y="0"/>
                  </a:moveTo>
                  <a:lnTo>
                    <a:pt x="0" y="13"/>
                  </a:lnTo>
                  <a:lnTo>
                    <a:pt x="20" y="13"/>
                  </a:lnTo>
                  <a:lnTo>
                    <a:pt x="20" y="64"/>
                  </a:lnTo>
                  <a:lnTo>
                    <a:pt x="22" y="64"/>
                  </a:lnTo>
                  <a:lnTo>
                    <a:pt x="34" y="64"/>
                  </a:lnTo>
                  <a:lnTo>
                    <a:pt x="34" y="13"/>
                  </a:lnTo>
                  <a:lnTo>
                    <a:pt x="53" y="13"/>
                  </a:lnTo>
                  <a:lnTo>
                    <a:pt x="53" y="0"/>
                  </a:lnTo>
                  <a:lnTo>
                    <a:pt x="0" y="0"/>
                  </a:lnTo>
                  <a:close/>
                  <a:moveTo>
                    <a:pt x="56" y="0"/>
                  </a:moveTo>
                  <a:lnTo>
                    <a:pt x="56" y="64"/>
                  </a:lnTo>
                  <a:lnTo>
                    <a:pt x="58" y="64"/>
                  </a:lnTo>
                  <a:lnTo>
                    <a:pt x="69" y="64"/>
                  </a:lnTo>
                  <a:lnTo>
                    <a:pt x="69" y="23"/>
                  </a:lnTo>
                  <a:lnTo>
                    <a:pt x="82" y="64"/>
                  </a:lnTo>
                  <a:lnTo>
                    <a:pt x="94" y="64"/>
                  </a:lnTo>
                  <a:lnTo>
                    <a:pt x="106" y="24"/>
                  </a:lnTo>
                  <a:lnTo>
                    <a:pt x="106" y="64"/>
                  </a:lnTo>
                  <a:lnTo>
                    <a:pt x="119" y="64"/>
                  </a:lnTo>
                  <a:lnTo>
                    <a:pt x="119" y="0"/>
                  </a:lnTo>
                  <a:lnTo>
                    <a:pt x="102" y="0"/>
                  </a:lnTo>
                  <a:lnTo>
                    <a:pt x="88" y="44"/>
                  </a:lnTo>
                  <a:lnTo>
                    <a:pt x="74"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Arduino Pi Labs"/>
          <p:cNvGrpSpPr/>
          <p:nvPr/>
        </p:nvGrpSpPr>
        <p:grpSpPr>
          <a:xfrm>
            <a:off x="2290006" y="3553639"/>
            <a:ext cx="3581650" cy="2614664"/>
            <a:chOff x="2290006" y="3553639"/>
            <a:chExt cx="3581650" cy="2614664"/>
          </a:xfrm>
        </p:grpSpPr>
        <p:grpSp>
          <p:nvGrpSpPr>
            <p:cNvPr id="10" name="Group 9"/>
            <p:cNvGrpSpPr/>
            <p:nvPr/>
          </p:nvGrpSpPr>
          <p:grpSpPr>
            <a:xfrm>
              <a:off x="2290006" y="4403891"/>
              <a:ext cx="3581650" cy="1764412"/>
              <a:chOff x="2808504" y="3362970"/>
              <a:chExt cx="2792627" cy="1375719"/>
            </a:xfrm>
          </p:grpSpPr>
          <p:sp>
            <p:nvSpPr>
              <p:cNvPr id="11" name="Rectangle 10"/>
              <p:cNvSpPr/>
              <p:nvPr/>
            </p:nvSpPr>
            <p:spPr>
              <a:xfrm>
                <a:off x="2808504" y="3362970"/>
                <a:ext cx="2792627" cy="1375719"/>
              </a:xfrm>
              <a:prstGeom prst="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lIns="1554480" rtlCol="0" anchor="ctr"/>
              <a:lstStyle/>
              <a:p>
                <a:r>
                  <a:rPr lang="en-US" sz="2400" dirty="0" smtClean="0"/>
                  <a:t>Arduino + </a:t>
                </a:r>
              </a:p>
              <a:p>
                <a:r>
                  <a:rPr lang="en-US" sz="2400" dirty="0" smtClean="0"/>
                  <a:t>Raspberry Pi Hands-On Labs</a:t>
                </a:r>
                <a:endParaRPr lang="en-US" sz="2400" dirty="0"/>
              </a:p>
            </p:txBody>
          </p:sp>
          <p:grpSp>
            <p:nvGrpSpPr>
              <p:cNvPr id="12" name="Group 11"/>
              <p:cNvGrpSpPr/>
              <p:nvPr/>
            </p:nvGrpSpPr>
            <p:grpSpPr>
              <a:xfrm>
                <a:off x="3080352" y="3423894"/>
                <a:ext cx="749644" cy="1253869"/>
                <a:chOff x="6357938" y="873126"/>
                <a:chExt cx="1333500" cy="2230437"/>
              </a:xfrm>
              <a:solidFill>
                <a:schemeClr val="bg1"/>
              </a:solidFill>
            </p:grpSpPr>
            <p:sp>
              <p:nvSpPr>
                <p:cNvPr id="13" name="Freeform 12"/>
                <p:cNvSpPr>
                  <a:spLocks noEditPoints="1"/>
                </p:cNvSpPr>
                <p:nvPr/>
              </p:nvSpPr>
              <p:spPr bwMode="auto">
                <a:xfrm>
                  <a:off x="6357938" y="2198688"/>
                  <a:ext cx="1333500" cy="904875"/>
                </a:xfrm>
                <a:custGeom>
                  <a:avLst/>
                  <a:gdLst>
                    <a:gd name="T0" fmla="*/ 663 w 2729"/>
                    <a:gd name="T1" fmla="*/ 1286 h 1852"/>
                    <a:gd name="T2" fmla="*/ 2063 w 2729"/>
                    <a:gd name="T3" fmla="*/ 1286 h 1852"/>
                    <a:gd name="T4" fmla="*/ 1549 w 2729"/>
                    <a:gd name="T5" fmla="*/ 201 h 1852"/>
                    <a:gd name="T6" fmla="*/ 663 w 2729"/>
                    <a:gd name="T7" fmla="*/ 227 h 1852"/>
                    <a:gd name="T8" fmla="*/ 669 w 2729"/>
                    <a:gd name="T9" fmla="*/ 1060 h 1852"/>
                    <a:gd name="T10" fmla="*/ 663 w 2729"/>
                    <a:gd name="T11" fmla="*/ 227 h 1852"/>
                    <a:gd name="T12" fmla="*/ 2060 w 2729"/>
                    <a:gd name="T13" fmla="*/ 1059 h 1852"/>
                    <a:gd name="T14" fmla="*/ 1703 w 2729"/>
                    <a:gd name="T15" fmla="*/ 368 h 1852"/>
                    <a:gd name="T16" fmla="*/ 1842 w 2729"/>
                    <a:gd name="T17" fmla="*/ 561 h 1852"/>
                    <a:gd name="T18" fmla="*/ 2002 w 2729"/>
                    <a:gd name="T19" fmla="*/ 812 h 1852"/>
                    <a:gd name="T20" fmla="*/ 2216 w 2729"/>
                    <a:gd name="T21" fmla="*/ 561 h 1852"/>
                    <a:gd name="T22" fmla="*/ 454 w 2729"/>
                    <a:gd name="T23" fmla="*/ 575 h 1852"/>
                    <a:gd name="T24" fmla="*/ 909 w 2729"/>
                    <a:gd name="T25" fmla="*/ 575 h 1852"/>
                    <a:gd name="T26" fmla="*/ 2414 w 2729"/>
                    <a:gd name="T27" fmla="*/ 1451 h 1852"/>
                    <a:gd name="T28" fmla="*/ 2542 w 2729"/>
                    <a:gd name="T29" fmla="*/ 1852 h 1852"/>
                    <a:gd name="T30" fmla="*/ 2729 w 2729"/>
                    <a:gd name="T31" fmla="*/ 1622 h 1852"/>
                    <a:gd name="T32" fmla="*/ 164 w 2729"/>
                    <a:gd name="T33" fmla="*/ 1406 h 1852"/>
                    <a:gd name="T34" fmla="*/ 298 w 2729"/>
                    <a:gd name="T35" fmla="*/ 1759 h 1852"/>
                    <a:gd name="T36" fmla="*/ 165 w 2729"/>
                    <a:gd name="T37" fmla="*/ 1403 h 1852"/>
                    <a:gd name="T38" fmla="*/ 554 w 2729"/>
                    <a:gd name="T39" fmla="*/ 1845 h 1852"/>
                    <a:gd name="T40" fmla="*/ 624 w 2729"/>
                    <a:gd name="T41" fmla="*/ 1703 h 1852"/>
                    <a:gd name="T42" fmla="*/ 722 w 2729"/>
                    <a:gd name="T43" fmla="*/ 1693 h 1852"/>
                    <a:gd name="T44" fmla="*/ 734 w 2729"/>
                    <a:gd name="T45" fmla="*/ 1605 h 1852"/>
                    <a:gd name="T46" fmla="*/ 716 w 2729"/>
                    <a:gd name="T47" fmla="*/ 1430 h 1852"/>
                    <a:gd name="T48" fmla="*/ 832 w 2729"/>
                    <a:gd name="T49" fmla="*/ 1403 h 1852"/>
                    <a:gd name="T50" fmla="*/ 1053 w 2729"/>
                    <a:gd name="T51" fmla="*/ 1829 h 1852"/>
                    <a:gd name="T52" fmla="*/ 1166 w 2729"/>
                    <a:gd name="T53" fmla="*/ 1523 h 1852"/>
                    <a:gd name="T54" fmla="*/ 832 w 2729"/>
                    <a:gd name="T55" fmla="*/ 1403 h 1852"/>
                    <a:gd name="T56" fmla="*/ 1227 w 2729"/>
                    <a:gd name="T57" fmla="*/ 1760 h 1852"/>
                    <a:gd name="T58" fmla="*/ 1454 w 2729"/>
                    <a:gd name="T59" fmla="*/ 1842 h 1852"/>
                    <a:gd name="T60" fmla="*/ 1554 w 2729"/>
                    <a:gd name="T61" fmla="*/ 1403 h 1852"/>
                    <a:gd name="T62" fmla="*/ 1442 w 2729"/>
                    <a:gd name="T63" fmla="*/ 1756 h 1852"/>
                    <a:gd name="T64" fmla="*/ 1328 w 2729"/>
                    <a:gd name="T65" fmla="*/ 1754 h 1852"/>
                    <a:gd name="T66" fmla="*/ 1219 w 2729"/>
                    <a:gd name="T67" fmla="*/ 1403 h 1852"/>
                    <a:gd name="T68" fmla="*/ 1725 w 2729"/>
                    <a:gd name="T69" fmla="*/ 1479 h 1852"/>
                    <a:gd name="T70" fmla="*/ 1918 w 2729"/>
                    <a:gd name="T71" fmla="*/ 1845 h 1852"/>
                    <a:gd name="T72" fmla="*/ 1918 w 2729"/>
                    <a:gd name="T73" fmla="*/ 1479 h 1852"/>
                    <a:gd name="T74" fmla="*/ 1993 w 2729"/>
                    <a:gd name="T75" fmla="*/ 1408 h 1852"/>
                    <a:gd name="T76" fmla="*/ 2079 w 2729"/>
                    <a:gd name="T77" fmla="*/ 1548 h 1852"/>
                    <a:gd name="T78" fmla="*/ 2326 w 2729"/>
                    <a:gd name="T79" fmla="*/ 1403 h 1852"/>
                    <a:gd name="T80" fmla="*/ 2228 w 2729"/>
                    <a:gd name="T81" fmla="*/ 1666 h 1852"/>
                    <a:gd name="T82" fmla="*/ 2610 w 2729"/>
                    <a:gd name="T83" fmla="*/ 1514 h 1852"/>
                    <a:gd name="T84" fmla="*/ 2584 w 2729"/>
                    <a:gd name="T85" fmla="*/ 1761 h 1852"/>
                    <a:gd name="T86" fmla="*/ 2463 w 2729"/>
                    <a:gd name="T87" fmla="*/ 1560 h 1852"/>
                    <a:gd name="T88" fmla="*/ 554 w 2729"/>
                    <a:gd name="T89" fmla="*/ 1480 h 1852"/>
                    <a:gd name="T90" fmla="*/ 660 w 2729"/>
                    <a:gd name="T91" fmla="*/ 1560 h 1852"/>
                    <a:gd name="T92" fmla="*/ 554 w 2729"/>
                    <a:gd name="T93" fmla="*/ 1593 h 1852"/>
                    <a:gd name="T94" fmla="*/ 1020 w 2729"/>
                    <a:gd name="T95" fmla="*/ 1490 h 1852"/>
                    <a:gd name="T96" fmla="*/ 1049 w 2729"/>
                    <a:gd name="T97" fmla="*/ 1733 h 1852"/>
                    <a:gd name="T98" fmla="*/ 224 w 2729"/>
                    <a:gd name="T99" fmla="*/ 1503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29" h="1852">
                      <a:moveTo>
                        <a:pt x="663" y="0"/>
                      </a:moveTo>
                      <a:cubicBezTo>
                        <a:pt x="300" y="0"/>
                        <a:pt x="0" y="287"/>
                        <a:pt x="0" y="643"/>
                      </a:cubicBezTo>
                      <a:cubicBezTo>
                        <a:pt x="0" y="999"/>
                        <a:pt x="300" y="1286"/>
                        <a:pt x="663" y="1286"/>
                      </a:cubicBezTo>
                      <a:lnTo>
                        <a:pt x="663" y="1286"/>
                      </a:lnTo>
                      <a:cubicBezTo>
                        <a:pt x="869" y="1295"/>
                        <a:pt x="1035" y="1218"/>
                        <a:pt x="1156" y="1107"/>
                      </a:cubicBezTo>
                      <a:cubicBezTo>
                        <a:pt x="1239" y="1030"/>
                        <a:pt x="1304" y="940"/>
                        <a:pt x="1363" y="848"/>
                      </a:cubicBezTo>
                      <a:cubicBezTo>
                        <a:pt x="1422" y="940"/>
                        <a:pt x="1487" y="1030"/>
                        <a:pt x="1570" y="1107"/>
                      </a:cubicBezTo>
                      <a:cubicBezTo>
                        <a:pt x="1692" y="1218"/>
                        <a:pt x="1857" y="1295"/>
                        <a:pt x="2063" y="1286"/>
                      </a:cubicBezTo>
                      <a:lnTo>
                        <a:pt x="2063" y="1286"/>
                      </a:lnTo>
                      <a:cubicBezTo>
                        <a:pt x="2426" y="1286"/>
                        <a:pt x="2726" y="999"/>
                        <a:pt x="2726" y="643"/>
                      </a:cubicBezTo>
                      <a:cubicBezTo>
                        <a:pt x="2726" y="287"/>
                        <a:pt x="2426" y="0"/>
                        <a:pt x="2063" y="0"/>
                      </a:cubicBezTo>
                      <a:cubicBezTo>
                        <a:pt x="1846" y="0"/>
                        <a:pt x="1675" y="85"/>
                        <a:pt x="1549" y="201"/>
                      </a:cubicBezTo>
                      <a:cubicBezTo>
                        <a:pt x="1476" y="269"/>
                        <a:pt x="1417" y="346"/>
                        <a:pt x="1363" y="425"/>
                      </a:cubicBezTo>
                      <a:cubicBezTo>
                        <a:pt x="1309" y="346"/>
                        <a:pt x="1250" y="269"/>
                        <a:pt x="1177" y="201"/>
                      </a:cubicBezTo>
                      <a:cubicBezTo>
                        <a:pt x="1051" y="85"/>
                        <a:pt x="880" y="0"/>
                        <a:pt x="663" y="0"/>
                      </a:cubicBezTo>
                      <a:close/>
                      <a:moveTo>
                        <a:pt x="663" y="227"/>
                      </a:moveTo>
                      <a:cubicBezTo>
                        <a:pt x="825" y="227"/>
                        <a:pt x="928" y="280"/>
                        <a:pt x="1023" y="368"/>
                      </a:cubicBezTo>
                      <a:cubicBezTo>
                        <a:pt x="1098" y="437"/>
                        <a:pt x="1164" y="532"/>
                        <a:pt x="1229" y="635"/>
                      </a:cubicBezTo>
                      <a:cubicBezTo>
                        <a:pt x="1155" y="755"/>
                        <a:pt x="1083" y="865"/>
                        <a:pt x="1002" y="940"/>
                      </a:cubicBezTo>
                      <a:cubicBezTo>
                        <a:pt x="913" y="1022"/>
                        <a:pt x="820" y="1067"/>
                        <a:pt x="669" y="1060"/>
                      </a:cubicBezTo>
                      <a:lnTo>
                        <a:pt x="666" y="1059"/>
                      </a:lnTo>
                      <a:lnTo>
                        <a:pt x="663" y="1059"/>
                      </a:lnTo>
                      <a:cubicBezTo>
                        <a:pt x="418" y="1059"/>
                        <a:pt x="226" y="872"/>
                        <a:pt x="226" y="643"/>
                      </a:cubicBezTo>
                      <a:cubicBezTo>
                        <a:pt x="226" y="415"/>
                        <a:pt x="418" y="227"/>
                        <a:pt x="663" y="227"/>
                      </a:cubicBezTo>
                      <a:close/>
                      <a:moveTo>
                        <a:pt x="2063" y="227"/>
                      </a:moveTo>
                      <a:cubicBezTo>
                        <a:pt x="2308" y="227"/>
                        <a:pt x="2500" y="415"/>
                        <a:pt x="2500" y="643"/>
                      </a:cubicBezTo>
                      <a:cubicBezTo>
                        <a:pt x="2500" y="872"/>
                        <a:pt x="2308" y="1059"/>
                        <a:pt x="2063" y="1059"/>
                      </a:cubicBezTo>
                      <a:lnTo>
                        <a:pt x="2060" y="1059"/>
                      </a:lnTo>
                      <a:lnTo>
                        <a:pt x="2057" y="1060"/>
                      </a:lnTo>
                      <a:cubicBezTo>
                        <a:pt x="1906" y="1067"/>
                        <a:pt x="1813" y="1022"/>
                        <a:pt x="1724" y="940"/>
                      </a:cubicBezTo>
                      <a:cubicBezTo>
                        <a:pt x="1643" y="865"/>
                        <a:pt x="1571" y="755"/>
                        <a:pt x="1497" y="635"/>
                      </a:cubicBezTo>
                      <a:cubicBezTo>
                        <a:pt x="1562" y="532"/>
                        <a:pt x="1628" y="437"/>
                        <a:pt x="1703" y="368"/>
                      </a:cubicBezTo>
                      <a:cubicBezTo>
                        <a:pt x="1798" y="280"/>
                        <a:pt x="1901" y="227"/>
                        <a:pt x="2063" y="227"/>
                      </a:cubicBezTo>
                      <a:close/>
                      <a:moveTo>
                        <a:pt x="1965" y="438"/>
                      </a:moveTo>
                      <a:lnTo>
                        <a:pt x="1965" y="561"/>
                      </a:lnTo>
                      <a:lnTo>
                        <a:pt x="1842" y="561"/>
                      </a:lnTo>
                      <a:lnTo>
                        <a:pt x="1842" y="688"/>
                      </a:lnTo>
                      <a:lnTo>
                        <a:pt x="1965" y="688"/>
                      </a:lnTo>
                      <a:lnTo>
                        <a:pt x="1965" y="812"/>
                      </a:lnTo>
                      <a:lnTo>
                        <a:pt x="2002" y="812"/>
                      </a:lnTo>
                      <a:lnTo>
                        <a:pt x="2093" y="812"/>
                      </a:lnTo>
                      <a:lnTo>
                        <a:pt x="2093" y="688"/>
                      </a:lnTo>
                      <a:lnTo>
                        <a:pt x="2216" y="688"/>
                      </a:lnTo>
                      <a:lnTo>
                        <a:pt x="2216" y="561"/>
                      </a:lnTo>
                      <a:lnTo>
                        <a:pt x="2093" y="561"/>
                      </a:lnTo>
                      <a:lnTo>
                        <a:pt x="2093" y="438"/>
                      </a:lnTo>
                      <a:lnTo>
                        <a:pt x="1965" y="438"/>
                      </a:lnTo>
                      <a:close/>
                      <a:moveTo>
                        <a:pt x="454" y="575"/>
                      </a:moveTo>
                      <a:lnTo>
                        <a:pt x="454" y="675"/>
                      </a:lnTo>
                      <a:lnTo>
                        <a:pt x="524" y="675"/>
                      </a:lnTo>
                      <a:lnTo>
                        <a:pt x="909" y="675"/>
                      </a:lnTo>
                      <a:lnTo>
                        <a:pt x="909" y="575"/>
                      </a:lnTo>
                      <a:lnTo>
                        <a:pt x="454" y="575"/>
                      </a:lnTo>
                      <a:close/>
                      <a:moveTo>
                        <a:pt x="2547" y="1396"/>
                      </a:moveTo>
                      <a:cubicBezTo>
                        <a:pt x="2521" y="1396"/>
                        <a:pt x="2497" y="1400"/>
                        <a:pt x="2474" y="1409"/>
                      </a:cubicBezTo>
                      <a:cubicBezTo>
                        <a:pt x="2451" y="1419"/>
                        <a:pt x="2431" y="1433"/>
                        <a:pt x="2414" y="1451"/>
                      </a:cubicBezTo>
                      <a:cubicBezTo>
                        <a:pt x="2397" y="1470"/>
                        <a:pt x="2384" y="1494"/>
                        <a:pt x="2374" y="1523"/>
                      </a:cubicBezTo>
                      <a:cubicBezTo>
                        <a:pt x="2365" y="1552"/>
                        <a:pt x="2360" y="1587"/>
                        <a:pt x="2360" y="1626"/>
                      </a:cubicBezTo>
                      <a:cubicBezTo>
                        <a:pt x="2360" y="1699"/>
                        <a:pt x="2375" y="1755"/>
                        <a:pt x="2405" y="1794"/>
                      </a:cubicBezTo>
                      <a:cubicBezTo>
                        <a:pt x="2436" y="1833"/>
                        <a:pt x="2482" y="1852"/>
                        <a:pt x="2542" y="1852"/>
                      </a:cubicBezTo>
                      <a:cubicBezTo>
                        <a:pt x="2568" y="1852"/>
                        <a:pt x="2592" y="1848"/>
                        <a:pt x="2615" y="1839"/>
                      </a:cubicBezTo>
                      <a:cubicBezTo>
                        <a:pt x="2638" y="1830"/>
                        <a:pt x="2658" y="1816"/>
                        <a:pt x="2675" y="1797"/>
                      </a:cubicBezTo>
                      <a:cubicBezTo>
                        <a:pt x="2692" y="1778"/>
                        <a:pt x="2705" y="1754"/>
                        <a:pt x="2715" y="1725"/>
                      </a:cubicBezTo>
                      <a:cubicBezTo>
                        <a:pt x="2724" y="1696"/>
                        <a:pt x="2729" y="1662"/>
                        <a:pt x="2729" y="1622"/>
                      </a:cubicBezTo>
                      <a:cubicBezTo>
                        <a:pt x="2729" y="1549"/>
                        <a:pt x="2714" y="1493"/>
                        <a:pt x="2684" y="1454"/>
                      </a:cubicBezTo>
                      <a:cubicBezTo>
                        <a:pt x="2653" y="1415"/>
                        <a:pt x="2607" y="1396"/>
                        <a:pt x="2547" y="1396"/>
                      </a:cubicBezTo>
                      <a:close/>
                      <a:moveTo>
                        <a:pt x="165" y="1403"/>
                      </a:moveTo>
                      <a:lnTo>
                        <a:pt x="164" y="1406"/>
                      </a:lnTo>
                      <a:lnTo>
                        <a:pt x="30" y="1845"/>
                      </a:lnTo>
                      <a:lnTo>
                        <a:pt x="123" y="1845"/>
                      </a:lnTo>
                      <a:lnTo>
                        <a:pt x="148" y="1759"/>
                      </a:lnTo>
                      <a:lnTo>
                        <a:pt x="298" y="1759"/>
                      </a:lnTo>
                      <a:lnTo>
                        <a:pt x="322" y="1845"/>
                      </a:lnTo>
                      <a:lnTo>
                        <a:pt x="425" y="1845"/>
                      </a:lnTo>
                      <a:lnTo>
                        <a:pt x="290" y="1403"/>
                      </a:lnTo>
                      <a:lnTo>
                        <a:pt x="165" y="1403"/>
                      </a:lnTo>
                      <a:close/>
                      <a:moveTo>
                        <a:pt x="461" y="1403"/>
                      </a:moveTo>
                      <a:lnTo>
                        <a:pt x="461" y="1408"/>
                      </a:lnTo>
                      <a:lnTo>
                        <a:pt x="461" y="1845"/>
                      </a:lnTo>
                      <a:lnTo>
                        <a:pt x="554" y="1845"/>
                      </a:lnTo>
                      <a:lnTo>
                        <a:pt x="554" y="1666"/>
                      </a:lnTo>
                      <a:lnTo>
                        <a:pt x="565" y="1666"/>
                      </a:lnTo>
                      <a:cubicBezTo>
                        <a:pt x="579" y="1666"/>
                        <a:pt x="591" y="1669"/>
                        <a:pt x="600" y="1675"/>
                      </a:cubicBezTo>
                      <a:cubicBezTo>
                        <a:pt x="610" y="1681"/>
                        <a:pt x="618" y="1691"/>
                        <a:pt x="624" y="1703"/>
                      </a:cubicBezTo>
                      <a:lnTo>
                        <a:pt x="624" y="1703"/>
                      </a:lnTo>
                      <a:lnTo>
                        <a:pt x="688" y="1845"/>
                      </a:lnTo>
                      <a:lnTo>
                        <a:pt x="797" y="1845"/>
                      </a:lnTo>
                      <a:lnTo>
                        <a:pt x="722" y="1693"/>
                      </a:lnTo>
                      <a:cubicBezTo>
                        <a:pt x="713" y="1675"/>
                        <a:pt x="704" y="1660"/>
                        <a:pt x="694" y="1650"/>
                      </a:cubicBezTo>
                      <a:cubicBezTo>
                        <a:pt x="687" y="1643"/>
                        <a:pt x="679" y="1640"/>
                        <a:pt x="671" y="1636"/>
                      </a:cubicBezTo>
                      <a:cubicBezTo>
                        <a:pt x="682" y="1634"/>
                        <a:pt x="692" y="1632"/>
                        <a:pt x="702" y="1627"/>
                      </a:cubicBezTo>
                      <a:cubicBezTo>
                        <a:pt x="714" y="1622"/>
                        <a:pt x="725" y="1614"/>
                        <a:pt x="734" y="1605"/>
                      </a:cubicBezTo>
                      <a:cubicBezTo>
                        <a:pt x="743" y="1595"/>
                        <a:pt x="750" y="1584"/>
                        <a:pt x="755" y="1571"/>
                      </a:cubicBezTo>
                      <a:cubicBezTo>
                        <a:pt x="760" y="1558"/>
                        <a:pt x="763" y="1544"/>
                        <a:pt x="763" y="1527"/>
                      </a:cubicBezTo>
                      <a:cubicBezTo>
                        <a:pt x="763" y="1505"/>
                        <a:pt x="759" y="1485"/>
                        <a:pt x="751" y="1469"/>
                      </a:cubicBezTo>
                      <a:cubicBezTo>
                        <a:pt x="743" y="1453"/>
                        <a:pt x="731" y="1440"/>
                        <a:pt x="716" y="1430"/>
                      </a:cubicBezTo>
                      <a:cubicBezTo>
                        <a:pt x="702" y="1421"/>
                        <a:pt x="684" y="1414"/>
                        <a:pt x="664" y="1409"/>
                      </a:cubicBezTo>
                      <a:cubicBezTo>
                        <a:pt x="643" y="1405"/>
                        <a:pt x="620" y="1403"/>
                        <a:pt x="595" y="1403"/>
                      </a:cubicBezTo>
                      <a:lnTo>
                        <a:pt x="461" y="1403"/>
                      </a:lnTo>
                      <a:close/>
                      <a:moveTo>
                        <a:pt x="832" y="1403"/>
                      </a:moveTo>
                      <a:lnTo>
                        <a:pt x="832" y="1408"/>
                      </a:lnTo>
                      <a:lnTo>
                        <a:pt x="832" y="1845"/>
                      </a:lnTo>
                      <a:lnTo>
                        <a:pt x="950" y="1845"/>
                      </a:lnTo>
                      <a:cubicBezTo>
                        <a:pt x="990" y="1845"/>
                        <a:pt x="1024" y="1839"/>
                        <a:pt x="1053" y="1829"/>
                      </a:cubicBezTo>
                      <a:cubicBezTo>
                        <a:pt x="1082" y="1818"/>
                        <a:pt x="1106" y="1803"/>
                        <a:pt x="1125" y="1783"/>
                      </a:cubicBezTo>
                      <a:cubicBezTo>
                        <a:pt x="1143" y="1763"/>
                        <a:pt x="1157" y="1739"/>
                        <a:pt x="1166" y="1711"/>
                      </a:cubicBezTo>
                      <a:cubicBezTo>
                        <a:pt x="1175" y="1683"/>
                        <a:pt x="1179" y="1652"/>
                        <a:pt x="1179" y="1619"/>
                      </a:cubicBezTo>
                      <a:cubicBezTo>
                        <a:pt x="1179" y="1582"/>
                        <a:pt x="1175" y="1550"/>
                        <a:pt x="1166" y="1523"/>
                      </a:cubicBezTo>
                      <a:cubicBezTo>
                        <a:pt x="1157" y="1495"/>
                        <a:pt x="1144" y="1473"/>
                        <a:pt x="1126" y="1455"/>
                      </a:cubicBezTo>
                      <a:cubicBezTo>
                        <a:pt x="1109" y="1437"/>
                        <a:pt x="1087" y="1424"/>
                        <a:pt x="1060" y="1416"/>
                      </a:cubicBezTo>
                      <a:cubicBezTo>
                        <a:pt x="1034" y="1407"/>
                        <a:pt x="1004" y="1403"/>
                        <a:pt x="969" y="1403"/>
                      </a:cubicBezTo>
                      <a:lnTo>
                        <a:pt x="832" y="1403"/>
                      </a:lnTo>
                      <a:close/>
                      <a:moveTo>
                        <a:pt x="1219" y="1403"/>
                      </a:moveTo>
                      <a:lnTo>
                        <a:pt x="1219" y="1408"/>
                      </a:lnTo>
                      <a:lnTo>
                        <a:pt x="1219" y="1695"/>
                      </a:lnTo>
                      <a:cubicBezTo>
                        <a:pt x="1219" y="1719"/>
                        <a:pt x="1221" y="1740"/>
                        <a:pt x="1227" y="1760"/>
                      </a:cubicBezTo>
                      <a:cubicBezTo>
                        <a:pt x="1233" y="1779"/>
                        <a:pt x="1243" y="1796"/>
                        <a:pt x="1256" y="1810"/>
                      </a:cubicBezTo>
                      <a:cubicBezTo>
                        <a:pt x="1269" y="1824"/>
                        <a:pt x="1287" y="1834"/>
                        <a:pt x="1308" y="1842"/>
                      </a:cubicBezTo>
                      <a:cubicBezTo>
                        <a:pt x="1329" y="1849"/>
                        <a:pt x="1354" y="1852"/>
                        <a:pt x="1383" y="1852"/>
                      </a:cubicBezTo>
                      <a:cubicBezTo>
                        <a:pt x="1409" y="1852"/>
                        <a:pt x="1433" y="1849"/>
                        <a:pt x="1454" y="1842"/>
                      </a:cubicBezTo>
                      <a:cubicBezTo>
                        <a:pt x="1475" y="1834"/>
                        <a:pt x="1493" y="1823"/>
                        <a:pt x="1508" y="1809"/>
                      </a:cubicBezTo>
                      <a:cubicBezTo>
                        <a:pt x="1523" y="1795"/>
                        <a:pt x="1534" y="1777"/>
                        <a:pt x="1542" y="1755"/>
                      </a:cubicBezTo>
                      <a:cubicBezTo>
                        <a:pt x="1550" y="1734"/>
                        <a:pt x="1554" y="1709"/>
                        <a:pt x="1554" y="1681"/>
                      </a:cubicBezTo>
                      <a:lnTo>
                        <a:pt x="1554" y="1403"/>
                      </a:lnTo>
                      <a:lnTo>
                        <a:pt x="1460" y="1403"/>
                      </a:lnTo>
                      <a:lnTo>
                        <a:pt x="1460" y="1686"/>
                      </a:lnTo>
                      <a:cubicBezTo>
                        <a:pt x="1460" y="1703"/>
                        <a:pt x="1459" y="1717"/>
                        <a:pt x="1456" y="1729"/>
                      </a:cubicBezTo>
                      <a:cubicBezTo>
                        <a:pt x="1453" y="1740"/>
                        <a:pt x="1448" y="1749"/>
                        <a:pt x="1442" y="1756"/>
                      </a:cubicBezTo>
                      <a:cubicBezTo>
                        <a:pt x="1436" y="1763"/>
                        <a:pt x="1429" y="1768"/>
                        <a:pt x="1420" y="1771"/>
                      </a:cubicBezTo>
                      <a:cubicBezTo>
                        <a:pt x="1411" y="1774"/>
                        <a:pt x="1400" y="1776"/>
                        <a:pt x="1386" y="1776"/>
                      </a:cubicBezTo>
                      <a:cubicBezTo>
                        <a:pt x="1372" y="1776"/>
                        <a:pt x="1360" y="1774"/>
                        <a:pt x="1351" y="1771"/>
                      </a:cubicBezTo>
                      <a:cubicBezTo>
                        <a:pt x="1342" y="1767"/>
                        <a:pt x="1334" y="1761"/>
                        <a:pt x="1328" y="1754"/>
                      </a:cubicBezTo>
                      <a:cubicBezTo>
                        <a:pt x="1322" y="1747"/>
                        <a:pt x="1318" y="1738"/>
                        <a:pt x="1316" y="1727"/>
                      </a:cubicBezTo>
                      <a:cubicBezTo>
                        <a:pt x="1313" y="1717"/>
                        <a:pt x="1312" y="1704"/>
                        <a:pt x="1312" y="1690"/>
                      </a:cubicBezTo>
                      <a:lnTo>
                        <a:pt x="1312" y="1403"/>
                      </a:lnTo>
                      <a:lnTo>
                        <a:pt x="1219" y="1403"/>
                      </a:lnTo>
                      <a:close/>
                      <a:moveTo>
                        <a:pt x="1626" y="1403"/>
                      </a:moveTo>
                      <a:lnTo>
                        <a:pt x="1626" y="1408"/>
                      </a:lnTo>
                      <a:lnTo>
                        <a:pt x="1626" y="1479"/>
                      </a:lnTo>
                      <a:lnTo>
                        <a:pt x="1725" y="1479"/>
                      </a:lnTo>
                      <a:lnTo>
                        <a:pt x="1725" y="1769"/>
                      </a:lnTo>
                      <a:lnTo>
                        <a:pt x="1626" y="1769"/>
                      </a:lnTo>
                      <a:lnTo>
                        <a:pt x="1626" y="1845"/>
                      </a:lnTo>
                      <a:lnTo>
                        <a:pt x="1918" y="1845"/>
                      </a:lnTo>
                      <a:lnTo>
                        <a:pt x="1918" y="1769"/>
                      </a:lnTo>
                      <a:lnTo>
                        <a:pt x="1820" y="1769"/>
                      </a:lnTo>
                      <a:lnTo>
                        <a:pt x="1820" y="1479"/>
                      </a:lnTo>
                      <a:lnTo>
                        <a:pt x="1918" y="1479"/>
                      </a:lnTo>
                      <a:lnTo>
                        <a:pt x="1918" y="1403"/>
                      </a:lnTo>
                      <a:lnTo>
                        <a:pt x="1626" y="1403"/>
                      </a:lnTo>
                      <a:close/>
                      <a:moveTo>
                        <a:pt x="1993" y="1403"/>
                      </a:moveTo>
                      <a:lnTo>
                        <a:pt x="1993" y="1408"/>
                      </a:lnTo>
                      <a:lnTo>
                        <a:pt x="1993" y="1845"/>
                      </a:lnTo>
                      <a:lnTo>
                        <a:pt x="2079" y="1845"/>
                      </a:lnTo>
                      <a:lnTo>
                        <a:pt x="2079" y="1706"/>
                      </a:lnTo>
                      <a:lnTo>
                        <a:pt x="2079" y="1548"/>
                      </a:lnTo>
                      <a:lnTo>
                        <a:pt x="2095" y="1584"/>
                      </a:lnTo>
                      <a:lnTo>
                        <a:pt x="2216" y="1845"/>
                      </a:lnTo>
                      <a:lnTo>
                        <a:pt x="2326" y="1845"/>
                      </a:lnTo>
                      <a:lnTo>
                        <a:pt x="2326" y="1403"/>
                      </a:lnTo>
                      <a:lnTo>
                        <a:pt x="2240" y="1403"/>
                      </a:lnTo>
                      <a:lnTo>
                        <a:pt x="2240" y="1527"/>
                      </a:lnTo>
                      <a:lnTo>
                        <a:pt x="2240" y="1696"/>
                      </a:lnTo>
                      <a:lnTo>
                        <a:pt x="2228" y="1666"/>
                      </a:lnTo>
                      <a:lnTo>
                        <a:pt x="2104" y="1403"/>
                      </a:lnTo>
                      <a:lnTo>
                        <a:pt x="1993" y="1403"/>
                      </a:lnTo>
                      <a:close/>
                      <a:moveTo>
                        <a:pt x="2545" y="1478"/>
                      </a:moveTo>
                      <a:cubicBezTo>
                        <a:pt x="2576" y="1478"/>
                        <a:pt x="2597" y="1490"/>
                        <a:pt x="2610" y="1514"/>
                      </a:cubicBezTo>
                      <a:cubicBezTo>
                        <a:pt x="2624" y="1538"/>
                        <a:pt x="2631" y="1575"/>
                        <a:pt x="2631" y="1626"/>
                      </a:cubicBezTo>
                      <a:cubicBezTo>
                        <a:pt x="2631" y="1650"/>
                        <a:pt x="2629" y="1671"/>
                        <a:pt x="2626" y="1689"/>
                      </a:cubicBezTo>
                      <a:cubicBezTo>
                        <a:pt x="2623" y="1707"/>
                        <a:pt x="2617" y="1722"/>
                        <a:pt x="2610" y="1734"/>
                      </a:cubicBezTo>
                      <a:cubicBezTo>
                        <a:pt x="2604" y="1746"/>
                        <a:pt x="2595" y="1755"/>
                        <a:pt x="2584" y="1761"/>
                      </a:cubicBezTo>
                      <a:cubicBezTo>
                        <a:pt x="2573" y="1767"/>
                        <a:pt x="2560" y="1770"/>
                        <a:pt x="2545" y="1770"/>
                      </a:cubicBezTo>
                      <a:cubicBezTo>
                        <a:pt x="2514" y="1770"/>
                        <a:pt x="2492" y="1758"/>
                        <a:pt x="2479" y="1734"/>
                      </a:cubicBezTo>
                      <a:cubicBezTo>
                        <a:pt x="2465" y="1710"/>
                        <a:pt x="2458" y="1673"/>
                        <a:pt x="2458" y="1622"/>
                      </a:cubicBezTo>
                      <a:cubicBezTo>
                        <a:pt x="2458" y="1599"/>
                        <a:pt x="2460" y="1578"/>
                        <a:pt x="2463" y="1560"/>
                      </a:cubicBezTo>
                      <a:cubicBezTo>
                        <a:pt x="2466" y="1542"/>
                        <a:pt x="2472" y="1527"/>
                        <a:pt x="2479" y="1515"/>
                      </a:cubicBezTo>
                      <a:cubicBezTo>
                        <a:pt x="2486" y="1503"/>
                        <a:pt x="2495" y="1494"/>
                        <a:pt x="2505" y="1488"/>
                      </a:cubicBezTo>
                      <a:cubicBezTo>
                        <a:pt x="2516" y="1482"/>
                        <a:pt x="2529" y="1478"/>
                        <a:pt x="2545" y="1478"/>
                      </a:cubicBezTo>
                      <a:close/>
                      <a:moveTo>
                        <a:pt x="554" y="1480"/>
                      </a:moveTo>
                      <a:lnTo>
                        <a:pt x="586" y="1480"/>
                      </a:lnTo>
                      <a:cubicBezTo>
                        <a:pt x="614" y="1480"/>
                        <a:pt x="634" y="1485"/>
                        <a:pt x="646" y="1493"/>
                      </a:cubicBezTo>
                      <a:cubicBezTo>
                        <a:pt x="659" y="1502"/>
                        <a:pt x="665" y="1515"/>
                        <a:pt x="665" y="1535"/>
                      </a:cubicBezTo>
                      <a:cubicBezTo>
                        <a:pt x="665" y="1545"/>
                        <a:pt x="663" y="1553"/>
                        <a:pt x="660" y="1560"/>
                      </a:cubicBezTo>
                      <a:cubicBezTo>
                        <a:pt x="656" y="1567"/>
                        <a:pt x="651" y="1573"/>
                        <a:pt x="644" y="1578"/>
                      </a:cubicBezTo>
                      <a:cubicBezTo>
                        <a:pt x="637" y="1583"/>
                        <a:pt x="628" y="1587"/>
                        <a:pt x="618" y="1589"/>
                      </a:cubicBezTo>
                      <a:cubicBezTo>
                        <a:pt x="608" y="1592"/>
                        <a:pt x="596" y="1593"/>
                        <a:pt x="584" y="1593"/>
                      </a:cubicBezTo>
                      <a:lnTo>
                        <a:pt x="554" y="1593"/>
                      </a:lnTo>
                      <a:lnTo>
                        <a:pt x="554" y="1480"/>
                      </a:lnTo>
                      <a:close/>
                      <a:moveTo>
                        <a:pt x="925" y="1480"/>
                      </a:moveTo>
                      <a:lnTo>
                        <a:pt x="964" y="1480"/>
                      </a:lnTo>
                      <a:cubicBezTo>
                        <a:pt x="986" y="1480"/>
                        <a:pt x="1005" y="1484"/>
                        <a:pt x="1020" y="1490"/>
                      </a:cubicBezTo>
                      <a:cubicBezTo>
                        <a:pt x="1034" y="1496"/>
                        <a:pt x="1046" y="1505"/>
                        <a:pt x="1055" y="1517"/>
                      </a:cubicBezTo>
                      <a:cubicBezTo>
                        <a:pt x="1064" y="1530"/>
                        <a:pt x="1070" y="1544"/>
                        <a:pt x="1074" y="1562"/>
                      </a:cubicBezTo>
                      <a:cubicBezTo>
                        <a:pt x="1078" y="1580"/>
                        <a:pt x="1080" y="1601"/>
                        <a:pt x="1080" y="1624"/>
                      </a:cubicBezTo>
                      <a:cubicBezTo>
                        <a:pt x="1080" y="1674"/>
                        <a:pt x="1069" y="1711"/>
                        <a:pt x="1049" y="1733"/>
                      </a:cubicBezTo>
                      <a:cubicBezTo>
                        <a:pt x="1028" y="1756"/>
                        <a:pt x="998" y="1768"/>
                        <a:pt x="958" y="1768"/>
                      </a:cubicBezTo>
                      <a:lnTo>
                        <a:pt x="925" y="1768"/>
                      </a:lnTo>
                      <a:lnTo>
                        <a:pt x="925" y="1480"/>
                      </a:lnTo>
                      <a:close/>
                      <a:moveTo>
                        <a:pt x="224" y="1503"/>
                      </a:moveTo>
                      <a:lnTo>
                        <a:pt x="276" y="1684"/>
                      </a:lnTo>
                      <a:lnTo>
                        <a:pt x="171" y="1684"/>
                      </a:lnTo>
                      <a:lnTo>
                        <a:pt x="224" y="15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noEditPoints="1"/>
                </p:cNvSpPr>
                <p:nvPr/>
              </p:nvSpPr>
              <p:spPr bwMode="auto">
                <a:xfrm>
                  <a:off x="6456363" y="873126"/>
                  <a:ext cx="1135063" cy="1331913"/>
                </a:xfrm>
                <a:custGeom>
                  <a:avLst/>
                  <a:gdLst>
                    <a:gd name="T0" fmla="*/ 514 w 2323"/>
                    <a:gd name="T1" fmla="*/ 49 h 2727"/>
                    <a:gd name="T2" fmla="*/ 216 w 2323"/>
                    <a:gd name="T3" fmla="*/ 227 h 2727"/>
                    <a:gd name="T4" fmla="*/ 294 w 2323"/>
                    <a:gd name="T5" fmla="*/ 536 h 2727"/>
                    <a:gd name="T6" fmla="*/ 546 w 2323"/>
                    <a:gd name="T7" fmla="*/ 793 h 2727"/>
                    <a:gd name="T8" fmla="*/ 210 w 2323"/>
                    <a:gd name="T9" fmla="*/ 1871 h 2727"/>
                    <a:gd name="T10" fmla="*/ 824 w 2323"/>
                    <a:gd name="T11" fmla="*/ 2576 h 2727"/>
                    <a:gd name="T12" fmla="*/ 1498 w 2323"/>
                    <a:gd name="T13" fmla="*/ 2576 h 2727"/>
                    <a:gd name="T14" fmla="*/ 2112 w 2323"/>
                    <a:gd name="T15" fmla="*/ 1871 h 2727"/>
                    <a:gd name="T16" fmla="*/ 1777 w 2323"/>
                    <a:gd name="T17" fmla="*/ 793 h 2727"/>
                    <a:gd name="T18" fmla="*/ 2029 w 2323"/>
                    <a:gd name="T19" fmla="*/ 536 h 2727"/>
                    <a:gd name="T20" fmla="*/ 2107 w 2323"/>
                    <a:gd name="T21" fmla="*/ 227 h 2727"/>
                    <a:gd name="T22" fmla="*/ 1809 w 2323"/>
                    <a:gd name="T23" fmla="*/ 49 h 2727"/>
                    <a:gd name="T24" fmla="*/ 1474 w 2323"/>
                    <a:gd name="T25" fmla="*/ 60 h 2727"/>
                    <a:gd name="T26" fmla="*/ 1161 w 2323"/>
                    <a:gd name="T27" fmla="*/ 340 h 2727"/>
                    <a:gd name="T28" fmla="*/ 849 w 2323"/>
                    <a:gd name="T29" fmla="*/ 60 h 2727"/>
                    <a:gd name="T30" fmla="*/ 679 w 2323"/>
                    <a:gd name="T31" fmla="*/ 88 h 2727"/>
                    <a:gd name="T32" fmla="*/ 867 w 2323"/>
                    <a:gd name="T33" fmla="*/ 173 h 2727"/>
                    <a:gd name="T34" fmla="*/ 982 w 2323"/>
                    <a:gd name="T35" fmla="*/ 175 h 2727"/>
                    <a:gd name="T36" fmla="*/ 971 w 2323"/>
                    <a:gd name="T37" fmla="*/ 602 h 2727"/>
                    <a:gd name="T38" fmla="*/ 524 w 2323"/>
                    <a:gd name="T39" fmla="*/ 713 h 2727"/>
                    <a:gd name="T40" fmla="*/ 486 w 2323"/>
                    <a:gd name="T41" fmla="*/ 627 h 2727"/>
                    <a:gd name="T42" fmla="*/ 319 w 2323"/>
                    <a:gd name="T43" fmla="*/ 464 h 2727"/>
                    <a:gd name="T44" fmla="*/ 344 w 2323"/>
                    <a:gd name="T45" fmla="*/ 367 h 2727"/>
                    <a:gd name="T46" fmla="*/ 273 w 2323"/>
                    <a:gd name="T47" fmla="*/ 183 h 2727"/>
                    <a:gd name="T48" fmla="*/ 503 w 2323"/>
                    <a:gd name="T49" fmla="*/ 161 h 2727"/>
                    <a:gd name="T50" fmla="*/ 571 w 2323"/>
                    <a:gd name="T51" fmla="*/ 93 h 2727"/>
                    <a:gd name="T52" fmla="*/ 1650 w 2323"/>
                    <a:gd name="T53" fmla="*/ 88 h 2727"/>
                    <a:gd name="T54" fmla="*/ 1731 w 2323"/>
                    <a:gd name="T55" fmla="*/ 143 h 2727"/>
                    <a:gd name="T56" fmla="*/ 1963 w 2323"/>
                    <a:gd name="T57" fmla="*/ 147 h 2727"/>
                    <a:gd name="T58" fmla="*/ 2007 w 2323"/>
                    <a:gd name="T59" fmla="*/ 280 h 2727"/>
                    <a:gd name="T60" fmla="*/ 2043 w 2323"/>
                    <a:gd name="T61" fmla="*/ 368 h 2727"/>
                    <a:gd name="T62" fmla="*/ 1912 w 2323"/>
                    <a:gd name="T63" fmla="*/ 544 h 2727"/>
                    <a:gd name="T64" fmla="*/ 1895 w 2323"/>
                    <a:gd name="T65" fmla="*/ 638 h 2727"/>
                    <a:gd name="T66" fmla="*/ 1663 w 2323"/>
                    <a:gd name="T67" fmla="*/ 742 h 2727"/>
                    <a:gd name="T68" fmla="*/ 1846 w 2323"/>
                    <a:gd name="T69" fmla="*/ 271 h 2727"/>
                    <a:gd name="T70" fmla="*/ 1361 w 2323"/>
                    <a:gd name="T71" fmla="*/ 215 h 2727"/>
                    <a:gd name="T72" fmla="*/ 1542 w 2323"/>
                    <a:gd name="T73" fmla="*/ 103 h 2727"/>
                    <a:gd name="T74" fmla="*/ 1147 w 2323"/>
                    <a:gd name="T75" fmla="*/ 780 h 2727"/>
                    <a:gd name="T76" fmla="*/ 1161 w 2323"/>
                    <a:gd name="T77" fmla="*/ 1106 h 2727"/>
                    <a:gd name="T78" fmla="*/ 743 w 2323"/>
                    <a:gd name="T79" fmla="*/ 834 h 2727"/>
                    <a:gd name="T80" fmla="*/ 743 w 2323"/>
                    <a:gd name="T81" fmla="*/ 834 h 2727"/>
                    <a:gd name="T82" fmla="*/ 1476 w 2323"/>
                    <a:gd name="T83" fmla="*/ 848 h 2727"/>
                    <a:gd name="T84" fmla="*/ 1784 w 2323"/>
                    <a:gd name="T85" fmla="*/ 1354 h 2727"/>
                    <a:gd name="T86" fmla="*/ 1334 w 2323"/>
                    <a:gd name="T87" fmla="*/ 1156 h 2727"/>
                    <a:gd name="T88" fmla="*/ 990 w 2323"/>
                    <a:gd name="T89" fmla="*/ 1171 h 2727"/>
                    <a:gd name="T90" fmla="*/ 539 w 2323"/>
                    <a:gd name="T91" fmla="*/ 1369 h 2727"/>
                    <a:gd name="T92" fmla="*/ 1931 w 2323"/>
                    <a:gd name="T93" fmla="*/ 1298 h 2727"/>
                    <a:gd name="T94" fmla="*/ 1931 w 2323"/>
                    <a:gd name="T95" fmla="*/ 1298 h 2727"/>
                    <a:gd name="T96" fmla="*/ 352 w 2323"/>
                    <a:gd name="T97" fmla="*/ 1307 h 2727"/>
                    <a:gd name="T98" fmla="*/ 1475 w 2323"/>
                    <a:gd name="T99" fmla="*/ 1981 h 2727"/>
                    <a:gd name="T100" fmla="*/ 1177 w 2323"/>
                    <a:gd name="T101" fmla="*/ 1698 h 2727"/>
                    <a:gd name="T102" fmla="*/ 1906 w 2323"/>
                    <a:gd name="T103" fmla="*/ 2207 h 2727"/>
                    <a:gd name="T104" fmla="*/ 1848 w 2323"/>
                    <a:gd name="T105" fmla="*/ 1803 h 2727"/>
                    <a:gd name="T106" fmla="*/ 767 w 2323"/>
                    <a:gd name="T107" fmla="*/ 2347 h 2727"/>
                    <a:gd name="T108" fmla="*/ 457 w 2323"/>
                    <a:gd name="T109" fmla="*/ 1847 h 2727"/>
                    <a:gd name="T110" fmla="*/ 1161 w 2323"/>
                    <a:gd name="T111" fmla="*/ 2642 h 2727"/>
                    <a:gd name="T112" fmla="*/ 1193 w 2323"/>
                    <a:gd name="T113" fmla="*/ 2355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23" h="2727">
                      <a:moveTo>
                        <a:pt x="675" y="20"/>
                      </a:moveTo>
                      <a:cubicBezTo>
                        <a:pt x="662" y="20"/>
                        <a:pt x="647" y="25"/>
                        <a:pt x="630" y="39"/>
                      </a:cubicBezTo>
                      <a:cubicBezTo>
                        <a:pt x="589" y="23"/>
                        <a:pt x="550" y="17"/>
                        <a:pt x="514" y="49"/>
                      </a:cubicBezTo>
                      <a:cubicBezTo>
                        <a:pt x="459" y="42"/>
                        <a:pt x="441" y="57"/>
                        <a:pt x="428" y="74"/>
                      </a:cubicBezTo>
                      <a:cubicBezTo>
                        <a:pt x="416" y="74"/>
                        <a:pt x="338" y="62"/>
                        <a:pt x="302" y="115"/>
                      </a:cubicBezTo>
                      <a:cubicBezTo>
                        <a:pt x="212" y="105"/>
                        <a:pt x="184" y="168"/>
                        <a:pt x="216" y="227"/>
                      </a:cubicBezTo>
                      <a:cubicBezTo>
                        <a:pt x="198" y="256"/>
                        <a:pt x="179" y="284"/>
                        <a:pt x="221" y="338"/>
                      </a:cubicBezTo>
                      <a:cubicBezTo>
                        <a:pt x="206" y="368"/>
                        <a:pt x="216" y="401"/>
                        <a:pt x="251" y="441"/>
                      </a:cubicBezTo>
                      <a:cubicBezTo>
                        <a:pt x="242" y="483"/>
                        <a:pt x="261" y="513"/>
                        <a:pt x="294" y="536"/>
                      </a:cubicBezTo>
                      <a:cubicBezTo>
                        <a:pt x="288" y="594"/>
                        <a:pt x="347" y="628"/>
                        <a:pt x="365" y="640"/>
                      </a:cubicBezTo>
                      <a:cubicBezTo>
                        <a:pt x="372" y="674"/>
                        <a:pt x="386" y="706"/>
                        <a:pt x="454" y="724"/>
                      </a:cubicBezTo>
                      <a:cubicBezTo>
                        <a:pt x="465" y="774"/>
                        <a:pt x="506" y="783"/>
                        <a:pt x="546" y="793"/>
                      </a:cubicBezTo>
                      <a:cubicBezTo>
                        <a:pt x="415" y="869"/>
                        <a:pt x="303" y="969"/>
                        <a:pt x="303" y="1215"/>
                      </a:cubicBezTo>
                      <a:lnTo>
                        <a:pt x="284" y="1249"/>
                      </a:lnTo>
                      <a:cubicBezTo>
                        <a:pt x="134" y="1340"/>
                        <a:pt x="0" y="1633"/>
                        <a:pt x="210" y="1871"/>
                      </a:cubicBezTo>
                      <a:cubicBezTo>
                        <a:pt x="224" y="1945"/>
                        <a:pt x="247" y="1999"/>
                        <a:pt x="268" y="2058"/>
                      </a:cubicBezTo>
                      <a:cubicBezTo>
                        <a:pt x="299" y="2297"/>
                        <a:pt x="499" y="2409"/>
                        <a:pt x="552" y="2422"/>
                      </a:cubicBezTo>
                      <a:cubicBezTo>
                        <a:pt x="630" y="2481"/>
                        <a:pt x="713" y="2537"/>
                        <a:pt x="824" y="2576"/>
                      </a:cubicBezTo>
                      <a:cubicBezTo>
                        <a:pt x="930" y="2685"/>
                        <a:pt x="1044" y="2727"/>
                        <a:pt x="1159" y="2727"/>
                      </a:cubicBezTo>
                      <a:cubicBezTo>
                        <a:pt x="1161" y="2727"/>
                        <a:pt x="1162" y="2727"/>
                        <a:pt x="1164" y="2727"/>
                      </a:cubicBezTo>
                      <a:cubicBezTo>
                        <a:pt x="1279" y="2727"/>
                        <a:pt x="1393" y="2685"/>
                        <a:pt x="1498" y="2576"/>
                      </a:cubicBezTo>
                      <a:cubicBezTo>
                        <a:pt x="1610" y="2537"/>
                        <a:pt x="1693" y="2481"/>
                        <a:pt x="1770" y="2422"/>
                      </a:cubicBezTo>
                      <a:cubicBezTo>
                        <a:pt x="1823" y="2409"/>
                        <a:pt x="2024" y="2297"/>
                        <a:pt x="2055" y="2058"/>
                      </a:cubicBezTo>
                      <a:cubicBezTo>
                        <a:pt x="2075" y="1999"/>
                        <a:pt x="2099" y="1945"/>
                        <a:pt x="2112" y="1871"/>
                      </a:cubicBezTo>
                      <a:cubicBezTo>
                        <a:pt x="2323" y="1633"/>
                        <a:pt x="2188" y="1340"/>
                        <a:pt x="2038" y="1249"/>
                      </a:cubicBezTo>
                      <a:lnTo>
                        <a:pt x="2019" y="1215"/>
                      </a:lnTo>
                      <a:cubicBezTo>
                        <a:pt x="2020" y="969"/>
                        <a:pt x="1908" y="869"/>
                        <a:pt x="1777" y="793"/>
                      </a:cubicBezTo>
                      <a:cubicBezTo>
                        <a:pt x="1817" y="783"/>
                        <a:pt x="1858" y="774"/>
                        <a:pt x="1869" y="724"/>
                      </a:cubicBezTo>
                      <a:cubicBezTo>
                        <a:pt x="1937" y="706"/>
                        <a:pt x="1951" y="674"/>
                        <a:pt x="1958" y="640"/>
                      </a:cubicBezTo>
                      <a:cubicBezTo>
                        <a:pt x="1976" y="628"/>
                        <a:pt x="2035" y="594"/>
                        <a:pt x="2029" y="536"/>
                      </a:cubicBezTo>
                      <a:cubicBezTo>
                        <a:pt x="2062" y="513"/>
                        <a:pt x="2081" y="483"/>
                        <a:pt x="2071" y="441"/>
                      </a:cubicBezTo>
                      <a:cubicBezTo>
                        <a:pt x="2107" y="401"/>
                        <a:pt x="2117" y="368"/>
                        <a:pt x="2101" y="338"/>
                      </a:cubicBezTo>
                      <a:cubicBezTo>
                        <a:pt x="2144" y="284"/>
                        <a:pt x="2125" y="256"/>
                        <a:pt x="2107" y="227"/>
                      </a:cubicBezTo>
                      <a:cubicBezTo>
                        <a:pt x="2139" y="168"/>
                        <a:pt x="2111" y="105"/>
                        <a:pt x="2021" y="115"/>
                      </a:cubicBezTo>
                      <a:cubicBezTo>
                        <a:pt x="1985" y="62"/>
                        <a:pt x="1907" y="74"/>
                        <a:pt x="1895" y="74"/>
                      </a:cubicBezTo>
                      <a:cubicBezTo>
                        <a:pt x="1881" y="57"/>
                        <a:pt x="1864" y="42"/>
                        <a:pt x="1809" y="49"/>
                      </a:cubicBezTo>
                      <a:cubicBezTo>
                        <a:pt x="1773" y="17"/>
                        <a:pt x="1734" y="23"/>
                        <a:pt x="1693" y="39"/>
                      </a:cubicBezTo>
                      <a:cubicBezTo>
                        <a:pt x="1644" y="0"/>
                        <a:pt x="1612" y="31"/>
                        <a:pt x="1575" y="43"/>
                      </a:cubicBezTo>
                      <a:cubicBezTo>
                        <a:pt x="1516" y="23"/>
                        <a:pt x="1503" y="50"/>
                        <a:pt x="1474" y="60"/>
                      </a:cubicBezTo>
                      <a:cubicBezTo>
                        <a:pt x="1409" y="47"/>
                        <a:pt x="1390" y="76"/>
                        <a:pt x="1359" y="108"/>
                      </a:cubicBezTo>
                      <a:lnTo>
                        <a:pt x="1323" y="107"/>
                      </a:lnTo>
                      <a:cubicBezTo>
                        <a:pt x="1227" y="164"/>
                        <a:pt x="1178" y="280"/>
                        <a:pt x="1161" y="340"/>
                      </a:cubicBezTo>
                      <a:cubicBezTo>
                        <a:pt x="1144" y="280"/>
                        <a:pt x="1096" y="164"/>
                        <a:pt x="999" y="107"/>
                      </a:cubicBezTo>
                      <a:lnTo>
                        <a:pt x="964" y="108"/>
                      </a:lnTo>
                      <a:cubicBezTo>
                        <a:pt x="933" y="76"/>
                        <a:pt x="913" y="47"/>
                        <a:pt x="849" y="60"/>
                      </a:cubicBezTo>
                      <a:cubicBezTo>
                        <a:pt x="820" y="50"/>
                        <a:pt x="807" y="23"/>
                        <a:pt x="748" y="43"/>
                      </a:cubicBezTo>
                      <a:cubicBezTo>
                        <a:pt x="724" y="35"/>
                        <a:pt x="702" y="19"/>
                        <a:pt x="675" y="20"/>
                      </a:cubicBezTo>
                      <a:close/>
                      <a:moveTo>
                        <a:pt x="679" y="88"/>
                      </a:moveTo>
                      <a:cubicBezTo>
                        <a:pt x="728" y="107"/>
                        <a:pt x="753" y="130"/>
                        <a:pt x="780" y="153"/>
                      </a:cubicBezTo>
                      <a:cubicBezTo>
                        <a:pt x="789" y="141"/>
                        <a:pt x="803" y="132"/>
                        <a:pt x="786" y="103"/>
                      </a:cubicBezTo>
                      <a:cubicBezTo>
                        <a:pt x="821" y="123"/>
                        <a:pt x="847" y="147"/>
                        <a:pt x="867" y="173"/>
                      </a:cubicBezTo>
                      <a:cubicBezTo>
                        <a:pt x="888" y="159"/>
                        <a:pt x="880" y="141"/>
                        <a:pt x="880" y="123"/>
                      </a:cubicBezTo>
                      <a:cubicBezTo>
                        <a:pt x="916" y="153"/>
                        <a:pt x="939" y="184"/>
                        <a:pt x="967" y="215"/>
                      </a:cubicBezTo>
                      <a:cubicBezTo>
                        <a:pt x="973" y="211"/>
                        <a:pt x="978" y="197"/>
                        <a:pt x="982" y="175"/>
                      </a:cubicBezTo>
                      <a:cubicBezTo>
                        <a:pt x="1069" y="259"/>
                        <a:pt x="1191" y="470"/>
                        <a:pt x="1014" y="554"/>
                      </a:cubicBezTo>
                      <a:cubicBezTo>
                        <a:pt x="863" y="429"/>
                        <a:pt x="683" y="339"/>
                        <a:pt x="483" y="271"/>
                      </a:cubicBezTo>
                      <a:cubicBezTo>
                        <a:pt x="740" y="403"/>
                        <a:pt x="889" y="511"/>
                        <a:pt x="971" y="602"/>
                      </a:cubicBezTo>
                      <a:cubicBezTo>
                        <a:pt x="929" y="770"/>
                        <a:pt x="710" y="778"/>
                        <a:pt x="630" y="773"/>
                      </a:cubicBezTo>
                      <a:cubicBezTo>
                        <a:pt x="647" y="765"/>
                        <a:pt x="660" y="756"/>
                        <a:pt x="665" y="742"/>
                      </a:cubicBezTo>
                      <a:cubicBezTo>
                        <a:pt x="645" y="728"/>
                        <a:pt x="574" y="741"/>
                        <a:pt x="524" y="713"/>
                      </a:cubicBezTo>
                      <a:cubicBezTo>
                        <a:pt x="543" y="709"/>
                        <a:pt x="552" y="705"/>
                        <a:pt x="561" y="691"/>
                      </a:cubicBezTo>
                      <a:cubicBezTo>
                        <a:pt x="514" y="676"/>
                        <a:pt x="464" y="663"/>
                        <a:pt x="434" y="638"/>
                      </a:cubicBezTo>
                      <a:cubicBezTo>
                        <a:pt x="450" y="638"/>
                        <a:pt x="465" y="642"/>
                        <a:pt x="486" y="627"/>
                      </a:cubicBezTo>
                      <a:cubicBezTo>
                        <a:pt x="444" y="605"/>
                        <a:pt x="399" y="587"/>
                        <a:pt x="364" y="552"/>
                      </a:cubicBezTo>
                      <a:cubicBezTo>
                        <a:pt x="386" y="551"/>
                        <a:pt x="409" y="552"/>
                        <a:pt x="416" y="544"/>
                      </a:cubicBezTo>
                      <a:cubicBezTo>
                        <a:pt x="378" y="520"/>
                        <a:pt x="345" y="493"/>
                        <a:pt x="319" y="464"/>
                      </a:cubicBezTo>
                      <a:cubicBezTo>
                        <a:pt x="349" y="468"/>
                        <a:pt x="362" y="465"/>
                        <a:pt x="369" y="460"/>
                      </a:cubicBezTo>
                      <a:cubicBezTo>
                        <a:pt x="340" y="430"/>
                        <a:pt x="303" y="405"/>
                        <a:pt x="286" y="368"/>
                      </a:cubicBezTo>
                      <a:cubicBezTo>
                        <a:pt x="308" y="376"/>
                        <a:pt x="329" y="379"/>
                        <a:pt x="344" y="367"/>
                      </a:cubicBezTo>
                      <a:cubicBezTo>
                        <a:pt x="334" y="345"/>
                        <a:pt x="292" y="332"/>
                        <a:pt x="267" y="280"/>
                      </a:cubicBezTo>
                      <a:cubicBezTo>
                        <a:pt x="291" y="282"/>
                        <a:pt x="316" y="285"/>
                        <a:pt x="321" y="280"/>
                      </a:cubicBezTo>
                      <a:cubicBezTo>
                        <a:pt x="310" y="235"/>
                        <a:pt x="291" y="210"/>
                        <a:pt x="273" y="183"/>
                      </a:cubicBezTo>
                      <a:cubicBezTo>
                        <a:pt x="324" y="183"/>
                        <a:pt x="401" y="184"/>
                        <a:pt x="397" y="179"/>
                      </a:cubicBezTo>
                      <a:lnTo>
                        <a:pt x="366" y="147"/>
                      </a:lnTo>
                      <a:cubicBezTo>
                        <a:pt x="415" y="134"/>
                        <a:pt x="466" y="149"/>
                        <a:pt x="503" y="161"/>
                      </a:cubicBezTo>
                      <a:cubicBezTo>
                        <a:pt x="520" y="148"/>
                        <a:pt x="503" y="131"/>
                        <a:pt x="483" y="114"/>
                      </a:cubicBezTo>
                      <a:cubicBezTo>
                        <a:pt x="525" y="120"/>
                        <a:pt x="563" y="130"/>
                        <a:pt x="597" y="143"/>
                      </a:cubicBezTo>
                      <a:cubicBezTo>
                        <a:pt x="616" y="127"/>
                        <a:pt x="585" y="110"/>
                        <a:pt x="571" y="93"/>
                      </a:cubicBezTo>
                      <a:cubicBezTo>
                        <a:pt x="636" y="106"/>
                        <a:pt x="664" y="123"/>
                        <a:pt x="691" y="140"/>
                      </a:cubicBezTo>
                      <a:cubicBezTo>
                        <a:pt x="711" y="121"/>
                        <a:pt x="692" y="105"/>
                        <a:pt x="679" y="88"/>
                      </a:cubicBezTo>
                      <a:close/>
                      <a:moveTo>
                        <a:pt x="1650" y="88"/>
                      </a:moveTo>
                      <a:cubicBezTo>
                        <a:pt x="1636" y="105"/>
                        <a:pt x="1618" y="121"/>
                        <a:pt x="1637" y="140"/>
                      </a:cubicBezTo>
                      <a:cubicBezTo>
                        <a:pt x="1665" y="123"/>
                        <a:pt x="1693" y="106"/>
                        <a:pt x="1758" y="93"/>
                      </a:cubicBezTo>
                      <a:cubicBezTo>
                        <a:pt x="1743" y="110"/>
                        <a:pt x="1713" y="127"/>
                        <a:pt x="1731" y="143"/>
                      </a:cubicBezTo>
                      <a:cubicBezTo>
                        <a:pt x="1766" y="130"/>
                        <a:pt x="1804" y="120"/>
                        <a:pt x="1846" y="114"/>
                      </a:cubicBezTo>
                      <a:cubicBezTo>
                        <a:pt x="1826" y="131"/>
                        <a:pt x="1809" y="148"/>
                        <a:pt x="1826" y="161"/>
                      </a:cubicBezTo>
                      <a:cubicBezTo>
                        <a:pt x="1862" y="149"/>
                        <a:pt x="1913" y="134"/>
                        <a:pt x="1963" y="147"/>
                      </a:cubicBezTo>
                      <a:lnTo>
                        <a:pt x="1931" y="179"/>
                      </a:lnTo>
                      <a:cubicBezTo>
                        <a:pt x="1928" y="184"/>
                        <a:pt x="2005" y="183"/>
                        <a:pt x="2056" y="183"/>
                      </a:cubicBezTo>
                      <a:cubicBezTo>
                        <a:pt x="2037" y="210"/>
                        <a:pt x="2018" y="235"/>
                        <a:pt x="2007" y="280"/>
                      </a:cubicBezTo>
                      <a:cubicBezTo>
                        <a:pt x="2012" y="285"/>
                        <a:pt x="2038" y="282"/>
                        <a:pt x="2061" y="280"/>
                      </a:cubicBezTo>
                      <a:cubicBezTo>
                        <a:pt x="2037" y="332"/>
                        <a:pt x="1995" y="345"/>
                        <a:pt x="1985" y="367"/>
                      </a:cubicBezTo>
                      <a:cubicBezTo>
                        <a:pt x="2000" y="379"/>
                        <a:pt x="2020" y="376"/>
                        <a:pt x="2043" y="368"/>
                      </a:cubicBezTo>
                      <a:cubicBezTo>
                        <a:pt x="2025" y="405"/>
                        <a:pt x="1989" y="430"/>
                        <a:pt x="1960" y="460"/>
                      </a:cubicBezTo>
                      <a:cubicBezTo>
                        <a:pt x="1967" y="465"/>
                        <a:pt x="1980" y="468"/>
                        <a:pt x="2010" y="464"/>
                      </a:cubicBezTo>
                      <a:cubicBezTo>
                        <a:pt x="1983" y="493"/>
                        <a:pt x="1951" y="520"/>
                        <a:pt x="1912" y="544"/>
                      </a:cubicBezTo>
                      <a:cubicBezTo>
                        <a:pt x="1919" y="552"/>
                        <a:pt x="1943" y="551"/>
                        <a:pt x="1964" y="552"/>
                      </a:cubicBezTo>
                      <a:cubicBezTo>
                        <a:pt x="1929" y="587"/>
                        <a:pt x="1885" y="605"/>
                        <a:pt x="1843" y="627"/>
                      </a:cubicBezTo>
                      <a:cubicBezTo>
                        <a:pt x="1864" y="642"/>
                        <a:pt x="1879" y="638"/>
                        <a:pt x="1895" y="638"/>
                      </a:cubicBezTo>
                      <a:cubicBezTo>
                        <a:pt x="1865" y="663"/>
                        <a:pt x="1814" y="676"/>
                        <a:pt x="1767" y="691"/>
                      </a:cubicBezTo>
                      <a:cubicBezTo>
                        <a:pt x="1776" y="705"/>
                        <a:pt x="1785" y="709"/>
                        <a:pt x="1804" y="713"/>
                      </a:cubicBezTo>
                      <a:cubicBezTo>
                        <a:pt x="1755" y="741"/>
                        <a:pt x="1684" y="728"/>
                        <a:pt x="1663" y="742"/>
                      </a:cubicBezTo>
                      <a:cubicBezTo>
                        <a:pt x="1668" y="756"/>
                        <a:pt x="1682" y="765"/>
                        <a:pt x="1698" y="773"/>
                      </a:cubicBezTo>
                      <a:cubicBezTo>
                        <a:pt x="1618" y="778"/>
                        <a:pt x="1400" y="770"/>
                        <a:pt x="1358" y="602"/>
                      </a:cubicBezTo>
                      <a:cubicBezTo>
                        <a:pt x="1440" y="511"/>
                        <a:pt x="1589" y="403"/>
                        <a:pt x="1846" y="271"/>
                      </a:cubicBezTo>
                      <a:cubicBezTo>
                        <a:pt x="1646" y="339"/>
                        <a:pt x="1466" y="429"/>
                        <a:pt x="1315" y="554"/>
                      </a:cubicBezTo>
                      <a:cubicBezTo>
                        <a:pt x="1137" y="470"/>
                        <a:pt x="1260" y="259"/>
                        <a:pt x="1346" y="175"/>
                      </a:cubicBezTo>
                      <a:cubicBezTo>
                        <a:pt x="1351" y="197"/>
                        <a:pt x="1356" y="211"/>
                        <a:pt x="1361" y="215"/>
                      </a:cubicBezTo>
                      <a:cubicBezTo>
                        <a:pt x="1389" y="184"/>
                        <a:pt x="1412" y="153"/>
                        <a:pt x="1449" y="123"/>
                      </a:cubicBezTo>
                      <a:cubicBezTo>
                        <a:pt x="1449" y="141"/>
                        <a:pt x="1440" y="159"/>
                        <a:pt x="1462" y="173"/>
                      </a:cubicBezTo>
                      <a:cubicBezTo>
                        <a:pt x="1481" y="147"/>
                        <a:pt x="1508" y="123"/>
                        <a:pt x="1542" y="103"/>
                      </a:cubicBezTo>
                      <a:cubicBezTo>
                        <a:pt x="1526" y="132"/>
                        <a:pt x="1540" y="141"/>
                        <a:pt x="1549" y="153"/>
                      </a:cubicBezTo>
                      <a:cubicBezTo>
                        <a:pt x="1575" y="130"/>
                        <a:pt x="1601" y="107"/>
                        <a:pt x="1650" y="88"/>
                      </a:cubicBezTo>
                      <a:close/>
                      <a:moveTo>
                        <a:pt x="1147" y="780"/>
                      </a:moveTo>
                      <a:cubicBezTo>
                        <a:pt x="1152" y="780"/>
                        <a:pt x="1156" y="780"/>
                        <a:pt x="1160" y="780"/>
                      </a:cubicBezTo>
                      <a:cubicBezTo>
                        <a:pt x="1286" y="779"/>
                        <a:pt x="1442" y="874"/>
                        <a:pt x="1441" y="964"/>
                      </a:cubicBezTo>
                      <a:cubicBezTo>
                        <a:pt x="1441" y="1043"/>
                        <a:pt x="1332" y="1107"/>
                        <a:pt x="1161" y="1106"/>
                      </a:cubicBezTo>
                      <a:cubicBezTo>
                        <a:pt x="994" y="1104"/>
                        <a:pt x="882" y="1026"/>
                        <a:pt x="882" y="949"/>
                      </a:cubicBezTo>
                      <a:cubicBezTo>
                        <a:pt x="882" y="888"/>
                        <a:pt x="1010" y="783"/>
                        <a:pt x="1147" y="780"/>
                      </a:cubicBezTo>
                      <a:close/>
                      <a:moveTo>
                        <a:pt x="743" y="834"/>
                      </a:moveTo>
                      <a:cubicBezTo>
                        <a:pt x="768" y="834"/>
                        <a:pt x="793" y="836"/>
                        <a:pt x="819" y="841"/>
                      </a:cubicBezTo>
                      <a:cubicBezTo>
                        <a:pt x="907" y="855"/>
                        <a:pt x="399" y="1298"/>
                        <a:pt x="392" y="1199"/>
                      </a:cubicBezTo>
                      <a:cubicBezTo>
                        <a:pt x="385" y="970"/>
                        <a:pt x="541" y="833"/>
                        <a:pt x="743" y="834"/>
                      </a:cubicBezTo>
                      <a:close/>
                      <a:moveTo>
                        <a:pt x="1552" y="841"/>
                      </a:moveTo>
                      <a:cubicBezTo>
                        <a:pt x="1754" y="840"/>
                        <a:pt x="1910" y="977"/>
                        <a:pt x="1903" y="1207"/>
                      </a:cubicBezTo>
                      <a:cubicBezTo>
                        <a:pt x="1895" y="1306"/>
                        <a:pt x="1388" y="863"/>
                        <a:pt x="1476" y="848"/>
                      </a:cubicBezTo>
                      <a:cubicBezTo>
                        <a:pt x="1502" y="844"/>
                        <a:pt x="1527" y="841"/>
                        <a:pt x="1552" y="841"/>
                      </a:cubicBezTo>
                      <a:close/>
                      <a:moveTo>
                        <a:pt x="1478" y="1117"/>
                      </a:moveTo>
                      <a:cubicBezTo>
                        <a:pt x="1609" y="1121"/>
                        <a:pt x="1734" y="1218"/>
                        <a:pt x="1784" y="1354"/>
                      </a:cubicBezTo>
                      <a:cubicBezTo>
                        <a:pt x="1834" y="1490"/>
                        <a:pt x="1797" y="1631"/>
                        <a:pt x="1693" y="1699"/>
                      </a:cubicBezTo>
                      <a:cubicBezTo>
                        <a:pt x="1565" y="1783"/>
                        <a:pt x="1382" y="1729"/>
                        <a:pt x="1282" y="1579"/>
                      </a:cubicBezTo>
                      <a:cubicBezTo>
                        <a:pt x="1183" y="1429"/>
                        <a:pt x="1206" y="1239"/>
                        <a:pt x="1334" y="1156"/>
                      </a:cubicBezTo>
                      <a:cubicBezTo>
                        <a:pt x="1376" y="1128"/>
                        <a:pt x="1426" y="1115"/>
                        <a:pt x="1478" y="1117"/>
                      </a:cubicBezTo>
                      <a:close/>
                      <a:moveTo>
                        <a:pt x="857" y="1131"/>
                      </a:moveTo>
                      <a:cubicBezTo>
                        <a:pt x="905" y="1132"/>
                        <a:pt x="951" y="1145"/>
                        <a:pt x="990" y="1171"/>
                      </a:cubicBezTo>
                      <a:cubicBezTo>
                        <a:pt x="1117" y="1254"/>
                        <a:pt x="1140" y="1444"/>
                        <a:pt x="1041" y="1594"/>
                      </a:cubicBezTo>
                      <a:cubicBezTo>
                        <a:pt x="942" y="1744"/>
                        <a:pt x="758" y="1798"/>
                        <a:pt x="630" y="1714"/>
                      </a:cubicBezTo>
                      <a:cubicBezTo>
                        <a:pt x="527" y="1646"/>
                        <a:pt x="489" y="1505"/>
                        <a:pt x="539" y="1369"/>
                      </a:cubicBezTo>
                      <a:cubicBezTo>
                        <a:pt x="589" y="1234"/>
                        <a:pt x="714" y="1136"/>
                        <a:pt x="845" y="1132"/>
                      </a:cubicBezTo>
                      <a:cubicBezTo>
                        <a:pt x="849" y="1131"/>
                        <a:pt x="853" y="1131"/>
                        <a:pt x="857" y="1131"/>
                      </a:cubicBezTo>
                      <a:close/>
                      <a:moveTo>
                        <a:pt x="1931" y="1298"/>
                      </a:moveTo>
                      <a:cubicBezTo>
                        <a:pt x="1935" y="1298"/>
                        <a:pt x="1939" y="1299"/>
                        <a:pt x="1943" y="1300"/>
                      </a:cubicBezTo>
                      <a:cubicBezTo>
                        <a:pt x="2172" y="1430"/>
                        <a:pt x="2132" y="1721"/>
                        <a:pt x="2009" y="1820"/>
                      </a:cubicBezTo>
                      <a:cubicBezTo>
                        <a:pt x="1900" y="1868"/>
                        <a:pt x="1811" y="1300"/>
                        <a:pt x="1931" y="1298"/>
                      </a:cubicBezTo>
                      <a:close/>
                      <a:moveTo>
                        <a:pt x="364" y="1306"/>
                      </a:moveTo>
                      <a:cubicBezTo>
                        <a:pt x="484" y="1308"/>
                        <a:pt x="395" y="1875"/>
                        <a:pt x="287" y="1827"/>
                      </a:cubicBezTo>
                      <a:cubicBezTo>
                        <a:pt x="163" y="1728"/>
                        <a:pt x="124" y="1438"/>
                        <a:pt x="352" y="1307"/>
                      </a:cubicBezTo>
                      <a:cubicBezTo>
                        <a:pt x="357" y="1306"/>
                        <a:pt x="361" y="1306"/>
                        <a:pt x="364" y="1306"/>
                      </a:cubicBezTo>
                      <a:close/>
                      <a:moveTo>
                        <a:pt x="1177" y="1698"/>
                      </a:moveTo>
                      <a:cubicBezTo>
                        <a:pt x="1343" y="1702"/>
                        <a:pt x="1476" y="1828"/>
                        <a:pt x="1475" y="1981"/>
                      </a:cubicBezTo>
                      <a:cubicBezTo>
                        <a:pt x="1475" y="2138"/>
                        <a:pt x="1337" y="2264"/>
                        <a:pt x="1168" y="2264"/>
                      </a:cubicBezTo>
                      <a:cubicBezTo>
                        <a:pt x="998" y="2264"/>
                        <a:pt x="860" y="2138"/>
                        <a:pt x="860" y="1981"/>
                      </a:cubicBezTo>
                      <a:cubicBezTo>
                        <a:pt x="860" y="1821"/>
                        <a:pt x="1003" y="1693"/>
                        <a:pt x="1177" y="1698"/>
                      </a:cubicBezTo>
                      <a:close/>
                      <a:moveTo>
                        <a:pt x="1848" y="1803"/>
                      </a:moveTo>
                      <a:cubicBezTo>
                        <a:pt x="1872" y="1803"/>
                        <a:pt x="1895" y="1809"/>
                        <a:pt x="1915" y="1825"/>
                      </a:cubicBezTo>
                      <a:cubicBezTo>
                        <a:pt x="1969" y="1880"/>
                        <a:pt x="2002" y="2085"/>
                        <a:pt x="1906" y="2207"/>
                      </a:cubicBezTo>
                      <a:cubicBezTo>
                        <a:pt x="1774" y="2390"/>
                        <a:pt x="1596" y="2397"/>
                        <a:pt x="1529" y="2346"/>
                      </a:cubicBezTo>
                      <a:cubicBezTo>
                        <a:pt x="1460" y="2281"/>
                        <a:pt x="1513" y="2077"/>
                        <a:pt x="1608" y="1966"/>
                      </a:cubicBezTo>
                      <a:cubicBezTo>
                        <a:pt x="1690" y="1873"/>
                        <a:pt x="1776" y="1805"/>
                        <a:pt x="1848" y="1803"/>
                      </a:cubicBezTo>
                      <a:close/>
                      <a:moveTo>
                        <a:pt x="457" y="1847"/>
                      </a:moveTo>
                      <a:cubicBezTo>
                        <a:pt x="536" y="1845"/>
                        <a:pt x="633" y="1908"/>
                        <a:pt x="712" y="1999"/>
                      </a:cubicBezTo>
                      <a:cubicBezTo>
                        <a:pt x="800" y="2105"/>
                        <a:pt x="840" y="2292"/>
                        <a:pt x="767" y="2347"/>
                      </a:cubicBezTo>
                      <a:cubicBezTo>
                        <a:pt x="698" y="2389"/>
                        <a:pt x="529" y="2371"/>
                        <a:pt x="409" y="2199"/>
                      </a:cubicBezTo>
                      <a:cubicBezTo>
                        <a:pt x="328" y="2054"/>
                        <a:pt x="338" y="1907"/>
                        <a:pt x="395" y="1864"/>
                      </a:cubicBezTo>
                      <a:cubicBezTo>
                        <a:pt x="414" y="1853"/>
                        <a:pt x="434" y="1847"/>
                        <a:pt x="457" y="1847"/>
                      </a:cubicBezTo>
                      <a:close/>
                      <a:moveTo>
                        <a:pt x="1193" y="2355"/>
                      </a:moveTo>
                      <a:cubicBezTo>
                        <a:pt x="1313" y="2355"/>
                        <a:pt x="1459" y="2399"/>
                        <a:pt x="1459" y="2455"/>
                      </a:cubicBezTo>
                      <a:cubicBezTo>
                        <a:pt x="1461" y="2513"/>
                        <a:pt x="1308" y="2645"/>
                        <a:pt x="1161" y="2642"/>
                      </a:cubicBezTo>
                      <a:cubicBezTo>
                        <a:pt x="1008" y="2649"/>
                        <a:pt x="858" y="2517"/>
                        <a:pt x="860" y="2471"/>
                      </a:cubicBezTo>
                      <a:cubicBezTo>
                        <a:pt x="858" y="2404"/>
                        <a:pt x="1046" y="2352"/>
                        <a:pt x="1169" y="2355"/>
                      </a:cubicBezTo>
                      <a:cubicBezTo>
                        <a:pt x="1177" y="2355"/>
                        <a:pt x="1185" y="2354"/>
                        <a:pt x="1193" y="23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5" name="Down Arrow 14"/>
            <p:cNvSpPr/>
            <p:nvPr/>
          </p:nvSpPr>
          <p:spPr>
            <a:xfrm>
              <a:off x="4795670" y="3553639"/>
              <a:ext cx="621559" cy="736473"/>
            </a:xfrm>
            <a:prstGeom prst="downArrow">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adgeteer Lab"/>
          <p:cNvGrpSpPr/>
          <p:nvPr/>
        </p:nvGrpSpPr>
        <p:grpSpPr>
          <a:xfrm>
            <a:off x="6289864" y="3553639"/>
            <a:ext cx="3581650" cy="2614664"/>
            <a:chOff x="6289864" y="3553639"/>
            <a:chExt cx="3581650" cy="2614664"/>
          </a:xfrm>
        </p:grpSpPr>
        <p:grpSp>
          <p:nvGrpSpPr>
            <p:cNvPr id="7" name="Group 6"/>
            <p:cNvGrpSpPr/>
            <p:nvPr/>
          </p:nvGrpSpPr>
          <p:grpSpPr>
            <a:xfrm>
              <a:off x="6289864" y="4403891"/>
              <a:ext cx="3581650" cy="1764412"/>
              <a:chOff x="5927209" y="3362970"/>
              <a:chExt cx="2792627" cy="1375719"/>
            </a:xfrm>
          </p:grpSpPr>
          <p:sp>
            <p:nvSpPr>
              <p:cNvPr id="8" name="Rectangle 7"/>
              <p:cNvSpPr/>
              <p:nvPr/>
            </p:nvSpPr>
            <p:spPr>
              <a:xfrm>
                <a:off x="5927209" y="3362970"/>
                <a:ext cx="2792627" cy="1375719"/>
              </a:xfrm>
              <a:prstGeom prst="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lIns="1554480" rtlCol="0" anchor="ctr"/>
              <a:lstStyle/>
              <a:p>
                <a:r>
                  <a:rPr lang="en-US" sz="2400" dirty="0" smtClean="0"/>
                  <a:t>NETMF</a:t>
                </a:r>
              </a:p>
              <a:p>
                <a:r>
                  <a:rPr lang="en-US" sz="2400" dirty="0" err="1" smtClean="0"/>
                  <a:t>Gadgeteer</a:t>
                </a:r>
                <a:r>
                  <a:rPr lang="en-US" sz="2400" dirty="0" smtClean="0"/>
                  <a:t> Hands-On Labs</a:t>
                </a:r>
                <a:endParaRPr lang="en-US" sz="2400" dirty="0"/>
              </a:p>
            </p:txBody>
          </p:sp>
          <p:sp>
            <p:nvSpPr>
              <p:cNvPr id="9" name="Freeform 14"/>
              <p:cNvSpPr>
                <a:spLocks noEditPoints="1"/>
              </p:cNvSpPr>
              <p:nvPr/>
            </p:nvSpPr>
            <p:spPr bwMode="auto">
              <a:xfrm>
                <a:off x="6199057" y="3773745"/>
                <a:ext cx="749644" cy="554168"/>
              </a:xfrm>
              <a:custGeom>
                <a:avLst/>
                <a:gdLst>
                  <a:gd name="T0" fmla="*/ 2467 w 6339"/>
                  <a:gd name="T1" fmla="*/ 146 h 4686"/>
                  <a:gd name="T2" fmla="*/ 2201 w 6339"/>
                  <a:gd name="T3" fmla="*/ 648 h 4686"/>
                  <a:gd name="T4" fmla="*/ 1454 w 6339"/>
                  <a:gd name="T5" fmla="*/ 713 h 4686"/>
                  <a:gd name="T6" fmla="*/ 391 w 6339"/>
                  <a:gd name="T7" fmla="*/ 2350 h 4686"/>
                  <a:gd name="T8" fmla="*/ 86 w 6339"/>
                  <a:gd name="T9" fmla="*/ 3107 h 4686"/>
                  <a:gd name="T10" fmla="*/ 737 w 6339"/>
                  <a:gd name="T11" fmla="*/ 1612 h 4686"/>
                  <a:gd name="T12" fmla="*/ 1941 w 6339"/>
                  <a:gd name="T13" fmla="*/ 984 h 4686"/>
                  <a:gd name="T14" fmla="*/ 1831 w 6339"/>
                  <a:gd name="T15" fmla="*/ 1609 h 4686"/>
                  <a:gd name="T16" fmla="*/ 1265 w 6339"/>
                  <a:gd name="T17" fmla="*/ 2005 h 4686"/>
                  <a:gd name="T18" fmla="*/ 430 w 6339"/>
                  <a:gd name="T19" fmla="*/ 3551 h 4686"/>
                  <a:gd name="T20" fmla="*/ 1030 w 6339"/>
                  <a:gd name="T21" fmla="*/ 2811 h 4686"/>
                  <a:gd name="T22" fmla="*/ 1610 w 6339"/>
                  <a:gd name="T23" fmla="*/ 2505 h 4686"/>
                  <a:gd name="T24" fmla="*/ 1991 w 6339"/>
                  <a:gd name="T25" fmla="*/ 2826 h 4686"/>
                  <a:gd name="T26" fmla="*/ 2688 w 6339"/>
                  <a:gd name="T27" fmla="*/ 3161 h 4686"/>
                  <a:gd name="T28" fmla="*/ 2814 w 6339"/>
                  <a:gd name="T29" fmla="*/ 3300 h 4686"/>
                  <a:gd name="T30" fmla="*/ 3392 w 6339"/>
                  <a:gd name="T31" fmla="*/ 2929 h 4686"/>
                  <a:gd name="T32" fmla="*/ 4550 w 6339"/>
                  <a:gd name="T33" fmla="*/ 3003 h 4686"/>
                  <a:gd name="T34" fmla="*/ 4805 w 6339"/>
                  <a:gd name="T35" fmla="*/ 2928 h 4686"/>
                  <a:gd name="T36" fmla="*/ 5711 w 6339"/>
                  <a:gd name="T37" fmla="*/ 3515 h 4686"/>
                  <a:gd name="T38" fmla="*/ 6071 w 6339"/>
                  <a:gd name="T39" fmla="*/ 3574 h 4686"/>
                  <a:gd name="T40" fmla="*/ 5472 w 6339"/>
                  <a:gd name="T41" fmla="*/ 2544 h 4686"/>
                  <a:gd name="T42" fmla="*/ 3461 w 6339"/>
                  <a:gd name="T43" fmla="*/ 109 h 4686"/>
                  <a:gd name="T44" fmla="*/ 3665 w 6339"/>
                  <a:gd name="T45" fmla="*/ 329 h 4686"/>
                  <a:gd name="T46" fmla="*/ 4417 w 6339"/>
                  <a:gd name="T47" fmla="*/ 742 h 4686"/>
                  <a:gd name="T48" fmla="*/ 2656 w 6339"/>
                  <a:gd name="T49" fmla="*/ 1061 h 4686"/>
                  <a:gd name="T50" fmla="*/ 2508 w 6339"/>
                  <a:gd name="T51" fmla="*/ 957 h 4686"/>
                  <a:gd name="T52" fmla="*/ 2099 w 6339"/>
                  <a:gd name="T53" fmla="*/ 1390 h 4686"/>
                  <a:gd name="T54" fmla="*/ 2174 w 6339"/>
                  <a:gd name="T55" fmla="*/ 1393 h 4686"/>
                  <a:gd name="T56" fmla="*/ 3189 w 6339"/>
                  <a:gd name="T57" fmla="*/ 606 h 4686"/>
                  <a:gd name="T58" fmla="*/ 3577 w 6339"/>
                  <a:gd name="T59" fmla="*/ 1344 h 4686"/>
                  <a:gd name="T60" fmla="*/ 5188 w 6339"/>
                  <a:gd name="T61" fmla="*/ 737 h 4686"/>
                  <a:gd name="T62" fmla="*/ 2739 w 6339"/>
                  <a:gd name="T63" fmla="*/ 1205 h 4686"/>
                  <a:gd name="T64" fmla="*/ 2750 w 6339"/>
                  <a:gd name="T65" fmla="*/ 1595 h 4686"/>
                  <a:gd name="T66" fmla="*/ 2702 w 6339"/>
                  <a:gd name="T67" fmla="*/ 1592 h 4686"/>
                  <a:gd name="T68" fmla="*/ 1961 w 6339"/>
                  <a:gd name="T69" fmla="*/ 1574 h 4686"/>
                  <a:gd name="T70" fmla="*/ 1987 w 6339"/>
                  <a:gd name="T71" fmla="*/ 1628 h 4686"/>
                  <a:gd name="T72" fmla="*/ 2296 w 6339"/>
                  <a:gd name="T73" fmla="*/ 1840 h 4686"/>
                  <a:gd name="T74" fmla="*/ 1938 w 6339"/>
                  <a:gd name="T75" fmla="*/ 1840 h 4686"/>
                  <a:gd name="T76" fmla="*/ 4911 w 6339"/>
                  <a:gd name="T77" fmla="*/ 2329 h 4686"/>
                  <a:gd name="T78" fmla="*/ 3925 w 6339"/>
                  <a:gd name="T79" fmla="*/ 2881 h 4686"/>
                  <a:gd name="T80" fmla="*/ 2645 w 6339"/>
                  <a:gd name="T81" fmla="*/ 2087 h 4686"/>
                  <a:gd name="T82" fmla="*/ 2084 w 6339"/>
                  <a:gd name="T83" fmla="*/ 2577 h 4686"/>
                  <a:gd name="T84" fmla="*/ 1965 w 6339"/>
                  <a:gd name="T85" fmla="*/ 2427 h 4686"/>
                  <a:gd name="T86" fmla="*/ 2540 w 6339"/>
                  <a:gd name="T87" fmla="*/ 2112 h 4686"/>
                  <a:gd name="T88" fmla="*/ 2281 w 6339"/>
                  <a:gd name="T89" fmla="*/ 2549 h 4686"/>
                  <a:gd name="T90" fmla="*/ 2265 w 6339"/>
                  <a:gd name="T91" fmla="*/ 2473 h 4686"/>
                  <a:gd name="T92" fmla="*/ 2170 w 6339"/>
                  <a:gd name="T93" fmla="*/ 2862 h 4686"/>
                  <a:gd name="T94" fmla="*/ 2016 w 6339"/>
                  <a:gd name="T95" fmla="*/ 2590 h 4686"/>
                  <a:gd name="T96" fmla="*/ 3545 w 6339"/>
                  <a:gd name="T97" fmla="*/ 2902 h 4686"/>
                  <a:gd name="T98" fmla="*/ 3942 w 6339"/>
                  <a:gd name="T99" fmla="*/ 4551 h 4686"/>
                  <a:gd name="T100" fmla="*/ 4883 w 6339"/>
                  <a:gd name="T101" fmla="*/ 4117 h 4686"/>
                  <a:gd name="T102" fmla="*/ 5177 w 6339"/>
                  <a:gd name="T103" fmla="*/ 4516 h 4686"/>
                  <a:gd name="T104" fmla="*/ 2950 w 6339"/>
                  <a:gd name="T105" fmla="*/ 3876 h 4686"/>
                  <a:gd name="T106" fmla="*/ 1501 w 6339"/>
                  <a:gd name="T107" fmla="*/ 3950 h 4686"/>
                  <a:gd name="T108" fmla="*/ 3706 w 6339"/>
                  <a:gd name="T109" fmla="*/ 3585 h 4686"/>
                  <a:gd name="T110" fmla="*/ 1847 w 6339"/>
                  <a:gd name="T111" fmla="*/ 4261 h 4686"/>
                  <a:gd name="T112" fmla="*/ 625 w 6339"/>
                  <a:gd name="T113" fmla="*/ 3601 h 4686"/>
                  <a:gd name="T114" fmla="*/ 4966 w 6339"/>
                  <a:gd name="T115" fmla="*/ 3783 h 4686"/>
                  <a:gd name="T116" fmla="*/ 3442 w 6339"/>
                  <a:gd name="T117" fmla="*/ 3930 h 4686"/>
                  <a:gd name="T118" fmla="*/ 3339 w 6339"/>
                  <a:gd name="T119" fmla="*/ 4327 h 4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9" h="4686">
                    <a:moveTo>
                      <a:pt x="3262" y="0"/>
                    </a:moveTo>
                    <a:cubicBezTo>
                      <a:pt x="3243" y="0"/>
                      <a:pt x="3226" y="4"/>
                      <a:pt x="3211" y="12"/>
                    </a:cubicBezTo>
                    <a:cubicBezTo>
                      <a:pt x="3177" y="31"/>
                      <a:pt x="3158" y="67"/>
                      <a:pt x="3146" y="109"/>
                    </a:cubicBezTo>
                    <a:cubicBezTo>
                      <a:pt x="3123" y="192"/>
                      <a:pt x="3125" y="303"/>
                      <a:pt x="3110" y="371"/>
                    </a:cubicBezTo>
                    <a:cubicBezTo>
                      <a:pt x="3080" y="511"/>
                      <a:pt x="3015" y="683"/>
                      <a:pt x="3015" y="683"/>
                    </a:cubicBezTo>
                    <a:cubicBezTo>
                      <a:pt x="3012" y="703"/>
                      <a:pt x="3027" y="713"/>
                      <a:pt x="3047" y="701"/>
                    </a:cubicBezTo>
                    <a:cubicBezTo>
                      <a:pt x="2949" y="806"/>
                      <a:pt x="2866" y="925"/>
                      <a:pt x="2805" y="1056"/>
                    </a:cubicBezTo>
                    <a:cubicBezTo>
                      <a:pt x="2779" y="949"/>
                      <a:pt x="2737" y="752"/>
                      <a:pt x="2739" y="614"/>
                    </a:cubicBezTo>
                    <a:cubicBezTo>
                      <a:pt x="2744" y="361"/>
                      <a:pt x="2735" y="235"/>
                      <a:pt x="2704" y="167"/>
                    </a:cubicBezTo>
                    <a:cubicBezTo>
                      <a:pt x="2688" y="134"/>
                      <a:pt x="2664" y="114"/>
                      <a:pt x="2637" y="106"/>
                    </a:cubicBezTo>
                    <a:cubicBezTo>
                      <a:pt x="2617" y="100"/>
                      <a:pt x="2595" y="99"/>
                      <a:pt x="2571" y="99"/>
                    </a:cubicBezTo>
                    <a:cubicBezTo>
                      <a:pt x="2563" y="99"/>
                      <a:pt x="2555" y="99"/>
                      <a:pt x="2546" y="99"/>
                    </a:cubicBezTo>
                    <a:lnTo>
                      <a:pt x="2545" y="99"/>
                    </a:lnTo>
                    <a:lnTo>
                      <a:pt x="2544" y="99"/>
                    </a:lnTo>
                    <a:cubicBezTo>
                      <a:pt x="2517" y="104"/>
                      <a:pt x="2489" y="121"/>
                      <a:pt x="2467" y="146"/>
                    </a:cubicBezTo>
                    <a:cubicBezTo>
                      <a:pt x="2454" y="160"/>
                      <a:pt x="2444" y="176"/>
                      <a:pt x="2439" y="195"/>
                    </a:cubicBezTo>
                    <a:cubicBezTo>
                      <a:pt x="2437" y="194"/>
                      <a:pt x="2435" y="193"/>
                      <a:pt x="2433" y="192"/>
                    </a:cubicBezTo>
                    <a:cubicBezTo>
                      <a:pt x="2427" y="190"/>
                      <a:pt x="2420" y="191"/>
                      <a:pt x="2415" y="194"/>
                    </a:cubicBezTo>
                    <a:cubicBezTo>
                      <a:pt x="2408" y="197"/>
                      <a:pt x="2407" y="200"/>
                      <a:pt x="2403" y="203"/>
                    </a:cubicBezTo>
                    <a:cubicBezTo>
                      <a:pt x="2400" y="207"/>
                      <a:pt x="2397" y="212"/>
                      <a:pt x="2393" y="217"/>
                    </a:cubicBezTo>
                    <a:cubicBezTo>
                      <a:pt x="2385" y="228"/>
                      <a:pt x="2376" y="242"/>
                      <a:pt x="2367" y="256"/>
                    </a:cubicBezTo>
                    <a:cubicBezTo>
                      <a:pt x="2349" y="285"/>
                      <a:pt x="2332" y="316"/>
                      <a:pt x="2325" y="333"/>
                    </a:cubicBezTo>
                    <a:cubicBezTo>
                      <a:pt x="2319" y="345"/>
                      <a:pt x="2322" y="358"/>
                      <a:pt x="2327" y="368"/>
                    </a:cubicBezTo>
                    <a:cubicBezTo>
                      <a:pt x="2333" y="379"/>
                      <a:pt x="2340" y="388"/>
                      <a:pt x="2348" y="398"/>
                    </a:cubicBezTo>
                    <a:cubicBezTo>
                      <a:pt x="2349" y="398"/>
                      <a:pt x="2349" y="398"/>
                      <a:pt x="2349" y="398"/>
                    </a:cubicBezTo>
                    <a:cubicBezTo>
                      <a:pt x="2346" y="399"/>
                      <a:pt x="2343" y="400"/>
                      <a:pt x="2341" y="402"/>
                    </a:cubicBezTo>
                    <a:cubicBezTo>
                      <a:pt x="2329" y="409"/>
                      <a:pt x="2320" y="421"/>
                      <a:pt x="2311" y="434"/>
                    </a:cubicBezTo>
                    <a:cubicBezTo>
                      <a:pt x="2293" y="460"/>
                      <a:pt x="2279" y="495"/>
                      <a:pt x="2269" y="522"/>
                    </a:cubicBezTo>
                    <a:cubicBezTo>
                      <a:pt x="2268" y="525"/>
                      <a:pt x="2260" y="542"/>
                      <a:pt x="2248" y="564"/>
                    </a:cubicBezTo>
                    <a:cubicBezTo>
                      <a:pt x="2236" y="586"/>
                      <a:pt x="2220" y="615"/>
                      <a:pt x="2201" y="648"/>
                    </a:cubicBezTo>
                    <a:cubicBezTo>
                      <a:pt x="2180" y="686"/>
                      <a:pt x="2154" y="729"/>
                      <a:pt x="2128" y="775"/>
                    </a:cubicBezTo>
                    <a:cubicBezTo>
                      <a:pt x="2105" y="725"/>
                      <a:pt x="2080" y="649"/>
                      <a:pt x="2053" y="580"/>
                    </a:cubicBezTo>
                    <a:cubicBezTo>
                      <a:pt x="2034" y="535"/>
                      <a:pt x="2015" y="491"/>
                      <a:pt x="1992" y="458"/>
                    </a:cubicBezTo>
                    <a:cubicBezTo>
                      <a:pt x="1969" y="425"/>
                      <a:pt x="1942" y="400"/>
                      <a:pt x="1909" y="398"/>
                    </a:cubicBezTo>
                    <a:cubicBezTo>
                      <a:pt x="1833" y="392"/>
                      <a:pt x="1776" y="429"/>
                      <a:pt x="1768" y="474"/>
                    </a:cubicBezTo>
                    <a:lnTo>
                      <a:pt x="1768" y="475"/>
                    </a:lnTo>
                    <a:lnTo>
                      <a:pt x="1768" y="476"/>
                    </a:lnTo>
                    <a:cubicBezTo>
                      <a:pt x="1767" y="485"/>
                      <a:pt x="1768" y="493"/>
                      <a:pt x="1772" y="500"/>
                    </a:cubicBezTo>
                    <a:cubicBezTo>
                      <a:pt x="1723" y="518"/>
                      <a:pt x="1660" y="544"/>
                      <a:pt x="1649" y="548"/>
                    </a:cubicBezTo>
                    <a:lnTo>
                      <a:pt x="1649" y="549"/>
                    </a:lnTo>
                    <a:lnTo>
                      <a:pt x="1649" y="549"/>
                    </a:lnTo>
                    <a:cubicBezTo>
                      <a:pt x="1601" y="571"/>
                      <a:pt x="1537" y="595"/>
                      <a:pt x="1492" y="619"/>
                    </a:cubicBezTo>
                    <a:cubicBezTo>
                      <a:pt x="1470" y="631"/>
                      <a:pt x="1451" y="643"/>
                      <a:pt x="1441" y="659"/>
                    </a:cubicBezTo>
                    <a:cubicBezTo>
                      <a:pt x="1436" y="667"/>
                      <a:pt x="1433" y="678"/>
                      <a:pt x="1435" y="688"/>
                    </a:cubicBezTo>
                    <a:cubicBezTo>
                      <a:pt x="1438" y="698"/>
                      <a:pt x="1445" y="707"/>
                      <a:pt x="1454" y="713"/>
                    </a:cubicBezTo>
                    <a:lnTo>
                      <a:pt x="1455" y="714"/>
                    </a:lnTo>
                    <a:lnTo>
                      <a:pt x="1456" y="715"/>
                    </a:lnTo>
                    <a:cubicBezTo>
                      <a:pt x="1458" y="715"/>
                      <a:pt x="1459" y="716"/>
                      <a:pt x="1460" y="716"/>
                    </a:cubicBezTo>
                    <a:cubicBezTo>
                      <a:pt x="1441" y="727"/>
                      <a:pt x="1423" y="740"/>
                      <a:pt x="1405" y="755"/>
                    </a:cubicBezTo>
                    <a:cubicBezTo>
                      <a:pt x="1368" y="787"/>
                      <a:pt x="1334" y="826"/>
                      <a:pt x="1298" y="851"/>
                    </a:cubicBezTo>
                    <a:cubicBezTo>
                      <a:pt x="1162" y="952"/>
                      <a:pt x="1033" y="1063"/>
                      <a:pt x="904" y="1171"/>
                    </a:cubicBezTo>
                    <a:cubicBezTo>
                      <a:pt x="817" y="1244"/>
                      <a:pt x="710" y="1302"/>
                      <a:pt x="641" y="1399"/>
                    </a:cubicBezTo>
                    <a:cubicBezTo>
                      <a:pt x="618" y="1432"/>
                      <a:pt x="592" y="1473"/>
                      <a:pt x="596" y="1518"/>
                    </a:cubicBezTo>
                    <a:cubicBezTo>
                      <a:pt x="597" y="1526"/>
                      <a:pt x="599" y="1536"/>
                      <a:pt x="604" y="1545"/>
                    </a:cubicBezTo>
                    <a:cubicBezTo>
                      <a:pt x="608" y="1554"/>
                      <a:pt x="617" y="1564"/>
                      <a:pt x="630" y="1566"/>
                    </a:cubicBezTo>
                    <a:lnTo>
                      <a:pt x="631" y="1566"/>
                    </a:lnTo>
                    <a:lnTo>
                      <a:pt x="632" y="1566"/>
                    </a:lnTo>
                    <a:cubicBezTo>
                      <a:pt x="636" y="1566"/>
                      <a:pt x="640" y="1565"/>
                      <a:pt x="643" y="1563"/>
                    </a:cubicBezTo>
                    <a:cubicBezTo>
                      <a:pt x="620" y="1658"/>
                      <a:pt x="589" y="1748"/>
                      <a:pt x="560" y="1841"/>
                    </a:cubicBezTo>
                    <a:cubicBezTo>
                      <a:pt x="507" y="2012"/>
                      <a:pt x="454" y="2183"/>
                      <a:pt x="391" y="2350"/>
                    </a:cubicBezTo>
                    <a:cubicBezTo>
                      <a:pt x="363" y="2423"/>
                      <a:pt x="328" y="2493"/>
                      <a:pt x="298" y="2568"/>
                    </a:cubicBezTo>
                    <a:cubicBezTo>
                      <a:pt x="286" y="2599"/>
                      <a:pt x="267" y="2625"/>
                      <a:pt x="254" y="2650"/>
                    </a:cubicBezTo>
                    <a:cubicBezTo>
                      <a:pt x="248" y="2662"/>
                      <a:pt x="243" y="2674"/>
                      <a:pt x="243" y="2687"/>
                    </a:cubicBezTo>
                    <a:cubicBezTo>
                      <a:pt x="243" y="2701"/>
                      <a:pt x="251" y="2714"/>
                      <a:pt x="263" y="2723"/>
                    </a:cubicBezTo>
                    <a:cubicBezTo>
                      <a:pt x="267" y="2726"/>
                      <a:pt x="273" y="2728"/>
                      <a:pt x="278" y="2728"/>
                    </a:cubicBezTo>
                    <a:cubicBezTo>
                      <a:pt x="250" y="2774"/>
                      <a:pt x="214" y="2823"/>
                      <a:pt x="178" y="2851"/>
                    </a:cubicBezTo>
                    <a:lnTo>
                      <a:pt x="178" y="2851"/>
                    </a:lnTo>
                    <a:lnTo>
                      <a:pt x="178" y="2851"/>
                    </a:lnTo>
                    <a:cubicBezTo>
                      <a:pt x="146" y="2877"/>
                      <a:pt x="107" y="2908"/>
                      <a:pt x="76" y="2934"/>
                    </a:cubicBezTo>
                    <a:cubicBezTo>
                      <a:pt x="60" y="2947"/>
                      <a:pt x="46" y="2959"/>
                      <a:pt x="36" y="2968"/>
                    </a:cubicBezTo>
                    <a:cubicBezTo>
                      <a:pt x="31" y="2973"/>
                      <a:pt x="26" y="2977"/>
                      <a:pt x="23" y="2981"/>
                    </a:cubicBezTo>
                    <a:cubicBezTo>
                      <a:pt x="20" y="2984"/>
                      <a:pt x="17" y="2987"/>
                      <a:pt x="15" y="2992"/>
                    </a:cubicBezTo>
                    <a:cubicBezTo>
                      <a:pt x="4" y="3008"/>
                      <a:pt x="0" y="3029"/>
                      <a:pt x="1" y="3049"/>
                    </a:cubicBezTo>
                    <a:cubicBezTo>
                      <a:pt x="3" y="3070"/>
                      <a:pt x="13" y="3091"/>
                      <a:pt x="32" y="3102"/>
                    </a:cubicBezTo>
                    <a:cubicBezTo>
                      <a:pt x="48" y="3112"/>
                      <a:pt x="67" y="3110"/>
                      <a:pt x="86" y="3107"/>
                    </a:cubicBezTo>
                    <a:cubicBezTo>
                      <a:pt x="105" y="3105"/>
                      <a:pt x="123" y="3100"/>
                      <a:pt x="134" y="3096"/>
                    </a:cubicBezTo>
                    <a:lnTo>
                      <a:pt x="134" y="3096"/>
                    </a:lnTo>
                    <a:lnTo>
                      <a:pt x="135" y="3096"/>
                    </a:lnTo>
                    <a:cubicBezTo>
                      <a:pt x="199" y="3069"/>
                      <a:pt x="242" y="3021"/>
                      <a:pt x="280" y="2968"/>
                    </a:cubicBezTo>
                    <a:lnTo>
                      <a:pt x="280" y="2968"/>
                    </a:lnTo>
                    <a:cubicBezTo>
                      <a:pt x="323" y="2908"/>
                      <a:pt x="354" y="2854"/>
                      <a:pt x="385" y="2788"/>
                    </a:cubicBezTo>
                    <a:lnTo>
                      <a:pt x="385" y="2787"/>
                    </a:lnTo>
                    <a:lnTo>
                      <a:pt x="385" y="2787"/>
                    </a:lnTo>
                    <a:cubicBezTo>
                      <a:pt x="391" y="2774"/>
                      <a:pt x="394" y="2761"/>
                      <a:pt x="395" y="2748"/>
                    </a:cubicBezTo>
                    <a:cubicBezTo>
                      <a:pt x="401" y="2752"/>
                      <a:pt x="408" y="2754"/>
                      <a:pt x="415" y="2754"/>
                    </a:cubicBezTo>
                    <a:cubicBezTo>
                      <a:pt x="443" y="2753"/>
                      <a:pt x="465" y="2735"/>
                      <a:pt x="481" y="2713"/>
                    </a:cubicBezTo>
                    <a:cubicBezTo>
                      <a:pt x="496" y="2691"/>
                      <a:pt x="507" y="2665"/>
                      <a:pt x="513" y="2643"/>
                    </a:cubicBezTo>
                    <a:cubicBezTo>
                      <a:pt x="560" y="2475"/>
                      <a:pt x="620" y="2222"/>
                      <a:pt x="667" y="2010"/>
                    </a:cubicBezTo>
                    <a:cubicBezTo>
                      <a:pt x="691" y="1897"/>
                      <a:pt x="727" y="1784"/>
                      <a:pt x="735" y="1665"/>
                    </a:cubicBezTo>
                    <a:cubicBezTo>
                      <a:pt x="736" y="1650"/>
                      <a:pt x="737" y="1631"/>
                      <a:pt x="737" y="1612"/>
                    </a:cubicBezTo>
                    <a:cubicBezTo>
                      <a:pt x="742" y="1623"/>
                      <a:pt x="751" y="1633"/>
                      <a:pt x="764" y="1638"/>
                    </a:cubicBezTo>
                    <a:cubicBezTo>
                      <a:pt x="782" y="1644"/>
                      <a:pt x="799" y="1635"/>
                      <a:pt x="812" y="1626"/>
                    </a:cubicBezTo>
                    <a:cubicBezTo>
                      <a:pt x="824" y="1616"/>
                      <a:pt x="834" y="1605"/>
                      <a:pt x="841" y="1597"/>
                    </a:cubicBezTo>
                    <a:cubicBezTo>
                      <a:pt x="877" y="1559"/>
                      <a:pt x="912" y="1503"/>
                      <a:pt x="948" y="1459"/>
                    </a:cubicBezTo>
                    <a:cubicBezTo>
                      <a:pt x="1017" y="1373"/>
                      <a:pt x="1085" y="1285"/>
                      <a:pt x="1161" y="1205"/>
                    </a:cubicBezTo>
                    <a:cubicBezTo>
                      <a:pt x="1246" y="1115"/>
                      <a:pt x="1345" y="1038"/>
                      <a:pt x="1436" y="950"/>
                    </a:cubicBezTo>
                    <a:cubicBezTo>
                      <a:pt x="1470" y="918"/>
                      <a:pt x="1514" y="889"/>
                      <a:pt x="1544" y="846"/>
                    </a:cubicBezTo>
                    <a:cubicBezTo>
                      <a:pt x="1547" y="853"/>
                      <a:pt x="1552" y="860"/>
                      <a:pt x="1558" y="866"/>
                    </a:cubicBezTo>
                    <a:cubicBezTo>
                      <a:pt x="1568" y="874"/>
                      <a:pt x="1580" y="875"/>
                      <a:pt x="1591" y="872"/>
                    </a:cubicBezTo>
                    <a:cubicBezTo>
                      <a:pt x="1602" y="870"/>
                      <a:pt x="1613" y="865"/>
                      <a:pt x="1625" y="859"/>
                    </a:cubicBezTo>
                    <a:cubicBezTo>
                      <a:pt x="1650" y="846"/>
                      <a:pt x="1677" y="826"/>
                      <a:pt x="1704" y="805"/>
                    </a:cubicBezTo>
                    <a:cubicBezTo>
                      <a:pt x="1732" y="783"/>
                      <a:pt x="1758" y="760"/>
                      <a:pt x="1779" y="742"/>
                    </a:cubicBezTo>
                    <a:cubicBezTo>
                      <a:pt x="1784" y="738"/>
                      <a:pt x="1787" y="735"/>
                      <a:pt x="1791" y="732"/>
                    </a:cubicBezTo>
                    <a:cubicBezTo>
                      <a:pt x="1791" y="733"/>
                      <a:pt x="1791" y="733"/>
                      <a:pt x="1792" y="734"/>
                    </a:cubicBezTo>
                    <a:cubicBezTo>
                      <a:pt x="1828" y="824"/>
                      <a:pt x="1894" y="901"/>
                      <a:pt x="1941" y="984"/>
                    </a:cubicBezTo>
                    <a:lnTo>
                      <a:pt x="1941" y="984"/>
                    </a:lnTo>
                    <a:lnTo>
                      <a:pt x="1941" y="985"/>
                    </a:lnTo>
                    <a:cubicBezTo>
                      <a:pt x="1947" y="996"/>
                      <a:pt x="1959" y="1016"/>
                      <a:pt x="1972" y="1040"/>
                    </a:cubicBezTo>
                    <a:cubicBezTo>
                      <a:pt x="1911" y="1142"/>
                      <a:pt x="1860" y="1229"/>
                      <a:pt x="1851" y="1244"/>
                    </a:cubicBezTo>
                    <a:cubicBezTo>
                      <a:pt x="1833" y="1273"/>
                      <a:pt x="1840" y="1311"/>
                      <a:pt x="1852" y="1343"/>
                    </a:cubicBezTo>
                    <a:cubicBezTo>
                      <a:pt x="1860" y="1365"/>
                      <a:pt x="1870" y="1384"/>
                      <a:pt x="1882" y="1399"/>
                    </a:cubicBezTo>
                    <a:cubicBezTo>
                      <a:pt x="1878" y="1399"/>
                      <a:pt x="1874" y="1398"/>
                      <a:pt x="1870" y="1398"/>
                    </a:cubicBezTo>
                    <a:cubicBezTo>
                      <a:pt x="1865" y="1398"/>
                      <a:pt x="1861" y="1398"/>
                      <a:pt x="1857" y="1399"/>
                    </a:cubicBezTo>
                    <a:cubicBezTo>
                      <a:pt x="1852" y="1400"/>
                      <a:pt x="1847" y="1399"/>
                      <a:pt x="1841" y="1407"/>
                    </a:cubicBezTo>
                    <a:cubicBezTo>
                      <a:pt x="1834" y="1416"/>
                      <a:pt x="1834" y="1426"/>
                      <a:pt x="1833" y="1437"/>
                    </a:cubicBezTo>
                    <a:cubicBezTo>
                      <a:pt x="1832" y="1448"/>
                      <a:pt x="1833" y="1459"/>
                      <a:pt x="1834" y="1470"/>
                    </a:cubicBezTo>
                    <a:cubicBezTo>
                      <a:pt x="1834" y="1475"/>
                      <a:pt x="1832" y="1491"/>
                      <a:pt x="1828" y="1506"/>
                    </a:cubicBezTo>
                    <a:cubicBezTo>
                      <a:pt x="1825" y="1521"/>
                      <a:pt x="1821" y="1535"/>
                      <a:pt x="1819" y="1546"/>
                    </a:cubicBezTo>
                    <a:cubicBezTo>
                      <a:pt x="1818" y="1559"/>
                      <a:pt x="1820" y="1574"/>
                      <a:pt x="1824" y="1589"/>
                    </a:cubicBezTo>
                    <a:cubicBezTo>
                      <a:pt x="1826" y="1596"/>
                      <a:pt x="1828" y="1603"/>
                      <a:pt x="1831" y="1609"/>
                    </a:cubicBezTo>
                    <a:cubicBezTo>
                      <a:pt x="1833" y="1613"/>
                      <a:pt x="1834" y="1618"/>
                      <a:pt x="1839" y="1621"/>
                    </a:cubicBezTo>
                    <a:cubicBezTo>
                      <a:pt x="1833" y="1630"/>
                      <a:pt x="1828" y="1639"/>
                      <a:pt x="1825" y="1649"/>
                    </a:cubicBezTo>
                    <a:cubicBezTo>
                      <a:pt x="1763" y="1701"/>
                      <a:pt x="1735" y="1756"/>
                      <a:pt x="1723" y="1812"/>
                    </a:cubicBezTo>
                    <a:cubicBezTo>
                      <a:pt x="1712" y="1868"/>
                      <a:pt x="1715" y="1925"/>
                      <a:pt x="1714" y="1984"/>
                    </a:cubicBezTo>
                    <a:cubicBezTo>
                      <a:pt x="1712" y="1989"/>
                      <a:pt x="1705" y="2003"/>
                      <a:pt x="1696" y="2018"/>
                    </a:cubicBezTo>
                    <a:cubicBezTo>
                      <a:pt x="1696" y="2013"/>
                      <a:pt x="1696" y="2009"/>
                      <a:pt x="1696" y="2005"/>
                    </a:cubicBezTo>
                    <a:cubicBezTo>
                      <a:pt x="1695" y="1973"/>
                      <a:pt x="1692" y="1941"/>
                      <a:pt x="1686" y="1917"/>
                    </a:cubicBezTo>
                    <a:cubicBezTo>
                      <a:pt x="1683" y="1904"/>
                      <a:pt x="1680" y="1894"/>
                      <a:pt x="1675" y="1885"/>
                    </a:cubicBezTo>
                    <a:cubicBezTo>
                      <a:pt x="1670" y="1876"/>
                      <a:pt x="1661" y="1867"/>
                      <a:pt x="1649" y="1867"/>
                    </a:cubicBezTo>
                    <a:cubicBezTo>
                      <a:pt x="1609" y="1867"/>
                      <a:pt x="1446" y="1861"/>
                      <a:pt x="1395" y="1861"/>
                    </a:cubicBezTo>
                    <a:cubicBezTo>
                      <a:pt x="1377" y="1861"/>
                      <a:pt x="1361" y="1868"/>
                      <a:pt x="1345" y="1878"/>
                    </a:cubicBezTo>
                    <a:cubicBezTo>
                      <a:pt x="1329" y="1889"/>
                      <a:pt x="1313" y="1902"/>
                      <a:pt x="1299" y="1916"/>
                    </a:cubicBezTo>
                    <a:cubicBezTo>
                      <a:pt x="1286" y="1931"/>
                      <a:pt x="1274" y="1946"/>
                      <a:pt x="1267" y="1960"/>
                    </a:cubicBezTo>
                    <a:cubicBezTo>
                      <a:pt x="1263" y="1967"/>
                      <a:pt x="1260" y="1974"/>
                      <a:pt x="1259" y="1982"/>
                    </a:cubicBezTo>
                    <a:cubicBezTo>
                      <a:pt x="1258" y="1989"/>
                      <a:pt x="1259" y="1998"/>
                      <a:pt x="1265" y="2005"/>
                    </a:cubicBezTo>
                    <a:cubicBezTo>
                      <a:pt x="1277" y="2021"/>
                      <a:pt x="1295" y="2027"/>
                      <a:pt x="1310" y="2025"/>
                    </a:cubicBezTo>
                    <a:cubicBezTo>
                      <a:pt x="1311" y="2025"/>
                      <a:pt x="1311" y="2025"/>
                      <a:pt x="1311" y="2025"/>
                    </a:cubicBezTo>
                    <a:cubicBezTo>
                      <a:pt x="1299" y="2037"/>
                      <a:pt x="1288" y="2050"/>
                      <a:pt x="1275" y="2065"/>
                    </a:cubicBezTo>
                    <a:cubicBezTo>
                      <a:pt x="1215" y="2138"/>
                      <a:pt x="1144" y="2243"/>
                      <a:pt x="1060" y="2350"/>
                    </a:cubicBezTo>
                    <a:cubicBezTo>
                      <a:pt x="940" y="2503"/>
                      <a:pt x="854" y="2609"/>
                      <a:pt x="824" y="2677"/>
                    </a:cubicBezTo>
                    <a:cubicBezTo>
                      <a:pt x="817" y="2694"/>
                      <a:pt x="813" y="2709"/>
                      <a:pt x="814" y="2724"/>
                    </a:cubicBezTo>
                    <a:cubicBezTo>
                      <a:pt x="815" y="2738"/>
                      <a:pt x="824" y="2751"/>
                      <a:pt x="837" y="2758"/>
                    </a:cubicBezTo>
                    <a:cubicBezTo>
                      <a:pt x="848" y="2764"/>
                      <a:pt x="861" y="2767"/>
                      <a:pt x="878" y="2767"/>
                    </a:cubicBezTo>
                    <a:cubicBezTo>
                      <a:pt x="877" y="2770"/>
                      <a:pt x="876" y="2772"/>
                      <a:pt x="875" y="2775"/>
                    </a:cubicBezTo>
                    <a:cubicBezTo>
                      <a:pt x="874" y="2779"/>
                      <a:pt x="863" y="2804"/>
                      <a:pt x="849" y="2838"/>
                    </a:cubicBezTo>
                    <a:cubicBezTo>
                      <a:pt x="835" y="2872"/>
                      <a:pt x="815" y="2915"/>
                      <a:pt x="795" y="2962"/>
                    </a:cubicBezTo>
                    <a:cubicBezTo>
                      <a:pt x="753" y="3056"/>
                      <a:pt x="705" y="3163"/>
                      <a:pt x="675" y="3227"/>
                    </a:cubicBezTo>
                    <a:cubicBezTo>
                      <a:pt x="646" y="3289"/>
                      <a:pt x="590" y="3367"/>
                      <a:pt x="539" y="3431"/>
                    </a:cubicBezTo>
                    <a:cubicBezTo>
                      <a:pt x="513" y="3462"/>
                      <a:pt x="488" y="3491"/>
                      <a:pt x="469" y="3512"/>
                    </a:cubicBezTo>
                    <a:cubicBezTo>
                      <a:pt x="449" y="3533"/>
                      <a:pt x="433" y="3549"/>
                      <a:pt x="430" y="3551"/>
                    </a:cubicBezTo>
                    <a:lnTo>
                      <a:pt x="430" y="3551"/>
                    </a:lnTo>
                    <a:lnTo>
                      <a:pt x="430" y="3551"/>
                    </a:lnTo>
                    <a:cubicBezTo>
                      <a:pt x="418" y="3561"/>
                      <a:pt x="412" y="3576"/>
                      <a:pt x="414" y="3590"/>
                    </a:cubicBezTo>
                    <a:cubicBezTo>
                      <a:pt x="415" y="3604"/>
                      <a:pt x="422" y="3616"/>
                      <a:pt x="432" y="3628"/>
                    </a:cubicBezTo>
                    <a:cubicBezTo>
                      <a:pt x="451" y="3651"/>
                      <a:pt x="482" y="3669"/>
                      <a:pt x="518" y="3670"/>
                    </a:cubicBezTo>
                    <a:cubicBezTo>
                      <a:pt x="538" y="3671"/>
                      <a:pt x="557" y="3668"/>
                      <a:pt x="576" y="3662"/>
                    </a:cubicBezTo>
                    <a:lnTo>
                      <a:pt x="576" y="3601"/>
                    </a:lnTo>
                    <a:lnTo>
                      <a:pt x="576" y="3552"/>
                    </a:lnTo>
                    <a:lnTo>
                      <a:pt x="710" y="3552"/>
                    </a:lnTo>
                    <a:cubicBezTo>
                      <a:pt x="720" y="3539"/>
                      <a:pt x="730" y="3525"/>
                      <a:pt x="739" y="3510"/>
                    </a:cubicBezTo>
                    <a:cubicBezTo>
                      <a:pt x="798" y="3418"/>
                      <a:pt x="846" y="3306"/>
                      <a:pt x="887" y="3229"/>
                    </a:cubicBezTo>
                    <a:cubicBezTo>
                      <a:pt x="929" y="3150"/>
                      <a:pt x="959" y="3047"/>
                      <a:pt x="979" y="2959"/>
                    </a:cubicBezTo>
                    <a:cubicBezTo>
                      <a:pt x="989" y="2915"/>
                      <a:pt x="996" y="2875"/>
                      <a:pt x="1001" y="2843"/>
                    </a:cubicBezTo>
                    <a:cubicBezTo>
                      <a:pt x="1005" y="2819"/>
                      <a:pt x="1008" y="2800"/>
                      <a:pt x="1009" y="2787"/>
                    </a:cubicBezTo>
                    <a:cubicBezTo>
                      <a:pt x="1015" y="2795"/>
                      <a:pt x="1022" y="2804"/>
                      <a:pt x="1030" y="2811"/>
                    </a:cubicBezTo>
                    <a:cubicBezTo>
                      <a:pt x="1037" y="2818"/>
                      <a:pt x="1045" y="2823"/>
                      <a:pt x="1055" y="2825"/>
                    </a:cubicBezTo>
                    <a:cubicBezTo>
                      <a:pt x="1066" y="2827"/>
                      <a:pt x="1077" y="2824"/>
                      <a:pt x="1087" y="2817"/>
                    </a:cubicBezTo>
                    <a:cubicBezTo>
                      <a:pt x="1106" y="2803"/>
                      <a:pt x="1125" y="2776"/>
                      <a:pt x="1152" y="2726"/>
                    </a:cubicBezTo>
                    <a:lnTo>
                      <a:pt x="1152" y="2724"/>
                    </a:lnTo>
                    <a:lnTo>
                      <a:pt x="1152" y="2723"/>
                    </a:lnTo>
                    <a:cubicBezTo>
                      <a:pt x="1177" y="2643"/>
                      <a:pt x="1266" y="2476"/>
                      <a:pt x="1334" y="2367"/>
                    </a:cubicBezTo>
                    <a:cubicBezTo>
                      <a:pt x="1357" y="2330"/>
                      <a:pt x="1382" y="2282"/>
                      <a:pt x="1404" y="2233"/>
                    </a:cubicBezTo>
                    <a:cubicBezTo>
                      <a:pt x="1410" y="2239"/>
                      <a:pt x="1418" y="2243"/>
                      <a:pt x="1426" y="2244"/>
                    </a:cubicBezTo>
                    <a:cubicBezTo>
                      <a:pt x="1451" y="2249"/>
                      <a:pt x="1482" y="2240"/>
                      <a:pt x="1515" y="2228"/>
                    </a:cubicBezTo>
                    <a:cubicBezTo>
                      <a:pt x="1523" y="2226"/>
                      <a:pt x="1530" y="2223"/>
                      <a:pt x="1537" y="2220"/>
                    </a:cubicBezTo>
                    <a:cubicBezTo>
                      <a:pt x="1526" y="2237"/>
                      <a:pt x="1516" y="2256"/>
                      <a:pt x="1518" y="2276"/>
                    </a:cubicBezTo>
                    <a:lnTo>
                      <a:pt x="1518" y="2277"/>
                    </a:lnTo>
                    <a:lnTo>
                      <a:pt x="1518" y="2278"/>
                    </a:lnTo>
                    <a:cubicBezTo>
                      <a:pt x="1537" y="2354"/>
                      <a:pt x="1574" y="2426"/>
                      <a:pt x="1621" y="2492"/>
                    </a:cubicBezTo>
                    <a:cubicBezTo>
                      <a:pt x="1617" y="2496"/>
                      <a:pt x="1613" y="2500"/>
                      <a:pt x="1610" y="2505"/>
                    </a:cubicBezTo>
                    <a:cubicBezTo>
                      <a:pt x="1599" y="2517"/>
                      <a:pt x="1590" y="2533"/>
                      <a:pt x="1582" y="2550"/>
                    </a:cubicBezTo>
                    <a:cubicBezTo>
                      <a:pt x="1565" y="2584"/>
                      <a:pt x="1549" y="2622"/>
                      <a:pt x="1539" y="2637"/>
                    </a:cubicBezTo>
                    <a:cubicBezTo>
                      <a:pt x="1528" y="2653"/>
                      <a:pt x="1505" y="2678"/>
                      <a:pt x="1483" y="2701"/>
                    </a:cubicBezTo>
                    <a:cubicBezTo>
                      <a:pt x="1473" y="2712"/>
                      <a:pt x="1463" y="2723"/>
                      <a:pt x="1455" y="2732"/>
                    </a:cubicBezTo>
                    <a:cubicBezTo>
                      <a:pt x="1447" y="2742"/>
                      <a:pt x="1441" y="2748"/>
                      <a:pt x="1438" y="2759"/>
                    </a:cubicBezTo>
                    <a:cubicBezTo>
                      <a:pt x="1435" y="2766"/>
                      <a:pt x="1439" y="2775"/>
                      <a:pt x="1443" y="2779"/>
                    </a:cubicBezTo>
                    <a:cubicBezTo>
                      <a:pt x="1447" y="2784"/>
                      <a:pt x="1451" y="2786"/>
                      <a:pt x="1456" y="2788"/>
                    </a:cubicBezTo>
                    <a:cubicBezTo>
                      <a:pt x="1466" y="2793"/>
                      <a:pt x="1479" y="2796"/>
                      <a:pt x="1492" y="2799"/>
                    </a:cubicBezTo>
                    <a:cubicBezTo>
                      <a:pt x="1519" y="2804"/>
                      <a:pt x="1548" y="2806"/>
                      <a:pt x="1570" y="2800"/>
                    </a:cubicBezTo>
                    <a:cubicBezTo>
                      <a:pt x="1578" y="2798"/>
                      <a:pt x="1584" y="2793"/>
                      <a:pt x="1592" y="2787"/>
                    </a:cubicBezTo>
                    <a:cubicBezTo>
                      <a:pt x="1599" y="2781"/>
                      <a:pt x="1608" y="2773"/>
                      <a:pt x="1617" y="2764"/>
                    </a:cubicBezTo>
                    <a:cubicBezTo>
                      <a:pt x="1636" y="2745"/>
                      <a:pt x="1657" y="2722"/>
                      <a:pt x="1677" y="2699"/>
                    </a:cubicBezTo>
                    <a:cubicBezTo>
                      <a:pt x="1697" y="2676"/>
                      <a:pt x="1715" y="2652"/>
                      <a:pt x="1728" y="2634"/>
                    </a:cubicBezTo>
                    <a:cubicBezTo>
                      <a:pt x="1730" y="2630"/>
                      <a:pt x="1732" y="2627"/>
                      <a:pt x="1734" y="2624"/>
                    </a:cubicBezTo>
                    <a:cubicBezTo>
                      <a:pt x="1819" y="2710"/>
                      <a:pt x="1914" y="2779"/>
                      <a:pt x="1991" y="2826"/>
                    </a:cubicBezTo>
                    <a:lnTo>
                      <a:pt x="1991" y="2826"/>
                    </a:lnTo>
                    <a:lnTo>
                      <a:pt x="1991" y="2826"/>
                    </a:lnTo>
                    <a:cubicBezTo>
                      <a:pt x="2013" y="2839"/>
                      <a:pt x="2045" y="2856"/>
                      <a:pt x="2078" y="2869"/>
                    </a:cubicBezTo>
                    <a:cubicBezTo>
                      <a:pt x="2111" y="2883"/>
                      <a:pt x="2143" y="2893"/>
                      <a:pt x="2171" y="2892"/>
                    </a:cubicBezTo>
                    <a:cubicBezTo>
                      <a:pt x="2270" y="2892"/>
                      <a:pt x="2409" y="2881"/>
                      <a:pt x="2504" y="2794"/>
                    </a:cubicBezTo>
                    <a:cubicBezTo>
                      <a:pt x="2585" y="2720"/>
                      <a:pt x="2671" y="2657"/>
                      <a:pt x="2737" y="2596"/>
                    </a:cubicBezTo>
                    <a:cubicBezTo>
                      <a:pt x="2768" y="2567"/>
                      <a:pt x="2794" y="2538"/>
                      <a:pt x="2813" y="2508"/>
                    </a:cubicBezTo>
                    <a:cubicBezTo>
                      <a:pt x="2812" y="2543"/>
                      <a:pt x="2811" y="2577"/>
                      <a:pt x="2809" y="2611"/>
                    </a:cubicBezTo>
                    <a:cubicBezTo>
                      <a:pt x="2801" y="2747"/>
                      <a:pt x="2742" y="2883"/>
                      <a:pt x="2695" y="2983"/>
                    </a:cubicBezTo>
                    <a:cubicBezTo>
                      <a:pt x="2672" y="3034"/>
                      <a:pt x="2652" y="3074"/>
                      <a:pt x="2643" y="3104"/>
                    </a:cubicBezTo>
                    <a:cubicBezTo>
                      <a:pt x="2639" y="3119"/>
                      <a:pt x="2636" y="3131"/>
                      <a:pt x="2642" y="3144"/>
                    </a:cubicBezTo>
                    <a:cubicBezTo>
                      <a:pt x="2645" y="3150"/>
                      <a:pt x="2651" y="3156"/>
                      <a:pt x="2658" y="3158"/>
                    </a:cubicBezTo>
                    <a:cubicBezTo>
                      <a:pt x="2665" y="3160"/>
                      <a:pt x="2672" y="3160"/>
                      <a:pt x="2679" y="3158"/>
                    </a:cubicBezTo>
                    <a:cubicBezTo>
                      <a:pt x="2682" y="3157"/>
                      <a:pt x="2687" y="3157"/>
                      <a:pt x="2690" y="3156"/>
                    </a:cubicBezTo>
                    <a:cubicBezTo>
                      <a:pt x="2689" y="3158"/>
                      <a:pt x="2689" y="3160"/>
                      <a:pt x="2688" y="3161"/>
                    </a:cubicBezTo>
                    <a:lnTo>
                      <a:pt x="2688" y="3161"/>
                    </a:lnTo>
                    <a:cubicBezTo>
                      <a:pt x="2587" y="3493"/>
                      <a:pt x="2490" y="3667"/>
                      <a:pt x="2335" y="3897"/>
                    </a:cubicBezTo>
                    <a:lnTo>
                      <a:pt x="2335" y="3898"/>
                    </a:lnTo>
                    <a:lnTo>
                      <a:pt x="2334" y="3899"/>
                    </a:lnTo>
                    <a:cubicBezTo>
                      <a:pt x="2328" y="3911"/>
                      <a:pt x="2332" y="3926"/>
                      <a:pt x="2339" y="3937"/>
                    </a:cubicBezTo>
                    <a:cubicBezTo>
                      <a:pt x="2347" y="3947"/>
                      <a:pt x="2359" y="3955"/>
                      <a:pt x="2372" y="3962"/>
                    </a:cubicBezTo>
                    <a:cubicBezTo>
                      <a:pt x="2399" y="3976"/>
                      <a:pt x="2437" y="3988"/>
                      <a:pt x="2475" y="3997"/>
                    </a:cubicBezTo>
                    <a:cubicBezTo>
                      <a:pt x="2495" y="4001"/>
                      <a:pt x="2515" y="4005"/>
                      <a:pt x="2534" y="4007"/>
                    </a:cubicBezTo>
                    <a:cubicBezTo>
                      <a:pt x="2524" y="3993"/>
                      <a:pt x="2515" y="3977"/>
                      <a:pt x="2508" y="3959"/>
                    </a:cubicBezTo>
                    <a:cubicBezTo>
                      <a:pt x="2477" y="3883"/>
                      <a:pt x="2481" y="3786"/>
                      <a:pt x="2537" y="3670"/>
                    </a:cubicBezTo>
                    <a:lnTo>
                      <a:pt x="2538" y="3668"/>
                    </a:lnTo>
                    <a:lnTo>
                      <a:pt x="2538" y="3667"/>
                    </a:lnTo>
                    <a:cubicBezTo>
                      <a:pt x="2595" y="3567"/>
                      <a:pt x="2683" y="3522"/>
                      <a:pt x="2767" y="3518"/>
                    </a:cubicBezTo>
                    <a:cubicBezTo>
                      <a:pt x="2768" y="3512"/>
                      <a:pt x="2769" y="3506"/>
                      <a:pt x="2769" y="3500"/>
                    </a:cubicBezTo>
                    <a:cubicBezTo>
                      <a:pt x="2774" y="3452"/>
                      <a:pt x="2795" y="3370"/>
                      <a:pt x="2814" y="3300"/>
                    </a:cubicBezTo>
                    <a:cubicBezTo>
                      <a:pt x="2822" y="3266"/>
                      <a:pt x="2831" y="3236"/>
                      <a:pt x="2836" y="3212"/>
                    </a:cubicBezTo>
                    <a:cubicBezTo>
                      <a:pt x="2839" y="3217"/>
                      <a:pt x="2842" y="3221"/>
                      <a:pt x="2846" y="3225"/>
                    </a:cubicBezTo>
                    <a:cubicBezTo>
                      <a:pt x="2855" y="3236"/>
                      <a:pt x="2872" y="3243"/>
                      <a:pt x="2888" y="3238"/>
                    </a:cubicBezTo>
                    <a:cubicBezTo>
                      <a:pt x="2915" y="3230"/>
                      <a:pt x="2933" y="3203"/>
                      <a:pt x="2949" y="3166"/>
                    </a:cubicBezTo>
                    <a:cubicBezTo>
                      <a:pt x="2966" y="3130"/>
                      <a:pt x="2980" y="3081"/>
                      <a:pt x="2994" y="3025"/>
                    </a:cubicBezTo>
                    <a:cubicBezTo>
                      <a:pt x="3017" y="2925"/>
                      <a:pt x="3035" y="2799"/>
                      <a:pt x="3050" y="2671"/>
                    </a:cubicBezTo>
                    <a:cubicBezTo>
                      <a:pt x="3056" y="2677"/>
                      <a:pt x="3062" y="2683"/>
                      <a:pt x="3068" y="2689"/>
                    </a:cubicBezTo>
                    <a:cubicBezTo>
                      <a:pt x="3148" y="2767"/>
                      <a:pt x="3241" y="2830"/>
                      <a:pt x="3349" y="2875"/>
                    </a:cubicBezTo>
                    <a:cubicBezTo>
                      <a:pt x="3351" y="2886"/>
                      <a:pt x="3354" y="2896"/>
                      <a:pt x="3358" y="2905"/>
                    </a:cubicBezTo>
                    <a:cubicBezTo>
                      <a:pt x="3359" y="2906"/>
                      <a:pt x="3359" y="2908"/>
                      <a:pt x="3360" y="2910"/>
                    </a:cubicBezTo>
                    <a:cubicBezTo>
                      <a:pt x="3362" y="2913"/>
                      <a:pt x="3364" y="2916"/>
                      <a:pt x="3366" y="2918"/>
                    </a:cubicBezTo>
                    <a:cubicBezTo>
                      <a:pt x="3367" y="2920"/>
                      <a:pt x="3369" y="2921"/>
                      <a:pt x="3370" y="2922"/>
                    </a:cubicBezTo>
                    <a:cubicBezTo>
                      <a:pt x="3371" y="2923"/>
                      <a:pt x="3373" y="2925"/>
                      <a:pt x="3375" y="2926"/>
                    </a:cubicBezTo>
                    <a:cubicBezTo>
                      <a:pt x="3378" y="2927"/>
                      <a:pt x="3382" y="2929"/>
                      <a:pt x="3386" y="2929"/>
                    </a:cubicBezTo>
                    <a:cubicBezTo>
                      <a:pt x="3388" y="2930"/>
                      <a:pt x="3390" y="2930"/>
                      <a:pt x="3392" y="2929"/>
                    </a:cubicBezTo>
                    <a:cubicBezTo>
                      <a:pt x="3400" y="2929"/>
                      <a:pt x="3405" y="2924"/>
                      <a:pt x="3408" y="2920"/>
                    </a:cubicBezTo>
                    <a:cubicBezTo>
                      <a:pt x="3410" y="2918"/>
                      <a:pt x="3412" y="2916"/>
                      <a:pt x="3413" y="2914"/>
                    </a:cubicBezTo>
                    <a:cubicBezTo>
                      <a:pt x="3415" y="2911"/>
                      <a:pt x="3416" y="2909"/>
                      <a:pt x="3418" y="2906"/>
                    </a:cubicBezTo>
                    <a:cubicBezTo>
                      <a:pt x="3419" y="2905"/>
                      <a:pt x="3420" y="2903"/>
                      <a:pt x="3421" y="2901"/>
                    </a:cubicBezTo>
                    <a:cubicBezTo>
                      <a:pt x="3424" y="2902"/>
                      <a:pt x="3428" y="2903"/>
                      <a:pt x="3431" y="2904"/>
                    </a:cubicBezTo>
                    <a:cubicBezTo>
                      <a:pt x="3423" y="2940"/>
                      <a:pt x="3415" y="2984"/>
                      <a:pt x="3407" y="3033"/>
                    </a:cubicBezTo>
                    <a:cubicBezTo>
                      <a:pt x="3388" y="3153"/>
                      <a:pt x="3373" y="3299"/>
                      <a:pt x="3373" y="3404"/>
                    </a:cubicBezTo>
                    <a:cubicBezTo>
                      <a:pt x="3373" y="3424"/>
                      <a:pt x="3368" y="3462"/>
                      <a:pt x="3360" y="3508"/>
                    </a:cubicBezTo>
                    <a:cubicBezTo>
                      <a:pt x="3434" y="3532"/>
                      <a:pt x="3496" y="3570"/>
                      <a:pt x="3545" y="3617"/>
                    </a:cubicBezTo>
                    <a:cubicBezTo>
                      <a:pt x="3549" y="3471"/>
                      <a:pt x="3555" y="3271"/>
                      <a:pt x="3550" y="3108"/>
                    </a:cubicBezTo>
                    <a:cubicBezTo>
                      <a:pt x="3547" y="3040"/>
                      <a:pt x="3544" y="2979"/>
                      <a:pt x="3537" y="2930"/>
                    </a:cubicBezTo>
                    <a:cubicBezTo>
                      <a:pt x="3734" y="2966"/>
                      <a:pt x="3968" y="2948"/>
                      <a:pt x="4242" y="2859"/>
                    </a:cubicBezTo>
                    <a:cubicBezTo>
                      <a:pt x="4328" y="2831"/>
                      <a:pt x="4403" y="2799"/>
                      <a:pt x="4470" y="2764"/>
                    </a:cubicBezTo>
                    <a:cubicBezTo>
                      <a:pt x="4477" y="2790"/>
                      <a:pt x="4483" y="2815"/>
                      <a:pt x="4490" y="2838"/>
                    </a:cubicBezTo>
                    <a:cubicBezTo>
                      <a:pt x="4511" y="2906"/>
                      <a:pt x="4531" y="2963"/>
                      <a:pt x="4550" y="3003"/>
                    </a:cubicBezTo>
                    <a:cubicBezTo>
                      <a:pt x="4559" y="3023"/>
                      <a:pt x="4567" y="3038"/>
                      <a:pt x="4576" y="3050"/>
                    </a:cubicBezTo>
                    <a:cubicBezTo>
                      <a:pt x="4580" y="3056"/>
                      <a:pt x="4584" y="3061"/>
                      <a:pt x="4588" y="3065"/>
                    </a:cubicBezTo>
                    <a:cubicBezTo>
                      <a:pt x="4593" y="3068"/>
                      <a:pt x="4598" y="3072"/>
                      <a:pt x="4606" y="3072"/>
                    </a:cubicBezTo>
                    <a:cubicBezTo>
                      <a:pt x="4621" y="3072"/>
                      <a:pt x="4634" y="3069"/>
                      <a:pt x="4644" y="3064"/>
                    </a:cubicBezTo>
                    <a:cubicBezTo>
                      <a:pt x="4643" y="3105"/>
                      <a:pt x="4645" y="3156"/>
                      <a:pt x="4650" y="3208"/>
                    </a:cubicBezTo>
                    <a:cubicBezTo>
                      <a:pt x="4661" y="3324"/>
                      <a:pt x="4683" y="3447"/>
                      <a:pt x="4694" y="3492"/>
                    </a:cubicBezTo>
                    <a:cubicBezTo>
                      <a:pt x="4695" y="3497"/>
                      <a:pt x="4697" y="3505"/>
                      <a:pt x="4700" y="3514"/>
                    </a:cubicBezTo>
                    <a:lnTo>
                      <a:pt x="4909" y="3517"/>
                    </a:lnTo>
                    <a:cubicBezTo>
                      <a:pt x="4895" y="3481"/>
                      <a:pt x="4880" y="3442"/>
                      <a:pt x="4866" y="3400"/>
                    </a:cubicBezTo>
                    <a:cubicBezTo>
                      <a:pt x="4831" y="3299"/>
                      <a:pt x="4817" y="3190"/>
                      <a:pt x="4798" y="3105"/>
                    </a:cubicBezTo>
                    <a:cubicBezTo>
                      <a:pt x="4793" y="3085"/>
                      <a:pt x="4788" y="3065"/>
                      <a:pt x="4782" y="3048"/>
                    </a:cubicBezTo>
                    <a:cubicBezTo>
                      <a:pt x="4788" y="3048"/>
                      <a:pt x="4794" y="3046"/>
                      <a:pt x="4799" y="3043"/>
                    </a:cubicBezTo>
                    <a:cubicBezTo>
                      <a:pt x="4808" y="3038"/>
                      <a:pt x="4810" y="3030"/>
                      <a:pt x="4811" y="3023"/>
                    </a:cubicBezTo>
                    <a:cubicBezTo>
                      <a:pt x="4812" y="3016"/>
                      <a:pt x="4813" y="3008"/>
                      <a:pt x="4812" y="2999"/>
                    </a:cubicBezTo>
                    <a:cubicBezTo>
                      <a:pt x="4812" y="2981"/>
                      <a:pt x="4809" y="2957"/>
                      <a:pt x="4805" y="2928"/>
                    </a:cubicBezTo>
                    <a:cubicBezTo>
                      <a:pt x="4797" y="2872"/>
                      <a:pt x="4782" y="2798"/>
                      <a:pt x="4765" y="2722"/>
                    </a:cubicBezTo>
                    <a:cubicBezTo>
                      <a:pt x="4754" y="2673"/>
                      <a:pt x="4743" y="2625"/>
                      <a:pt x="4732" y="2579"/>
                    </a:cubicBezTo>
                    <a:cubicBezTo>
                      <a:pt x="4808" y="2507"/>
                      <a:pt x="4872" y="2429"/>
                      <a:pt x="4934" y="2347"/>
                    </a:cubicBezTo>
                    <a:cubicBezTo>
                      <a:pt x="4976" y="2292"/>
                      <a:pt x="5017" y="2236"/>
                      <a:pt x="5061" y="2178"/>
                    </a:cubicBezTo>
                    <a:cubicBezTo>
                      <a:pt x="5079" y="2224"/>
                      <a:pt x="5097" y="2271"/>
                      <a:pt x="5115" y="2318"/>
                    </a:cubicBezTo>
                    <a:cubicBezTo>
                      <a:pt x="5150" y="2408"/>
                      <a:pt x="5186" y="2495"/>
                      <a:pt x="5215" y="2556"/>
                    </a:cubicBezTo>
                    <a:cubicBezTo>
                      <a:pt x="5229" y="2587"/>
                      <a:pt x="5242" y="2611"/>
                      <a:pt x="5254" y="2627"/>
                    </a:cubicBezTo>
                    <a:cubicBezTo>
                      <a:pt x="5260" y="2635"/>
                      <a:pt x="5265" y="2641"/>
                      <a:pt x="5272" y="2645"/>
                    </a:cubicBezTo>
                    <a:cubicBezTo>
                      <a:pt x="5276" y="2648"/>
                      <a:pt x="5280" y="2650"/>
                      <a:pt x="5286" y="2649"/>
                    </a:cubicBezTo>
                    <a:cubicBezTo>
                      <a:pt x="5292" y="2649"/>
                      <a:pt x="5298" y="2645"/>
                      <a:pt x="5301" y="2641"/>
                    </a:cubicBezTo>
                    <a:cubicBezTo>
                      <a:pt x="5309" y="2631"/>
                      <a:pt x="5314" y="2620"/>
                      <a:pt x="5319" y="2609"/>
                    </a:cubicBezTo>
                    <a:cubicBezTo>
                      <a:pt x="5320" y="2623"/>
                      <a:pt x="5321" y="2637"/>
                      <a:pt x="5323" y="2653"/>
                    </a:cubicBezTo>
                    <a:cubicBezTo>
                      <a:pt x="5336" y="2757"/>
                      <a:pt x="5371" y="2898"/>
                      <a:pt x="5447" y="3049"/>
                    </a:cubicBezTo>
                    <a:cubicBezTo>
                      <a:pt x="5469" y="3092"/>
                      <a:pt x="5536" y="3231"/>
                      <a:pt x="5607" y="3354"/>
                    </a:cubicBezTo>
                    <a:cubicBezTo>
                      <a:pt x="5642" y="3415"/>
                      <a:pt x="5678" y="3473"/>
                      <a:pt x="5711" y="3515"/>
                    </a:cubicBezTo>
                    <a:cubicBezTo>
                      <a:pt x="5727" y="3535"/>
                      <a:pt x="5743" y="3552"/>
                      <a:pt x="5758" y="3563"/>
                    </a:cubicBezTo>
                    <a:cubicBezTo>
                      <a:pt x="5765" y="3568"/>
                      <a:pt x="5772" y="3573"/>
                      <a:pt x="5781" y="3575"/>
                    </a:cubicBezTo>
                    <a:cubicBezTo>
                      <a:pt x="5789" y="3577"/>
                      <a:pt x="5798" y="3577"/>
                      <a:pt x="5806" y="3573"/>
                    </a:cubicBezTo>
                    <a:cubicBezTo>
                      <a:pt x="5814" y="3570"/>
                      <a:pt x="5818" y="3562"/>
                      <a:pt x="5820" y="3556"/>
                    </a:cubicBezTo>
                    <a:cubicBezTo>
                      <a:pt x="5821" y="3549"/>
                      <a:pt x="5822" y="3543"/>
                      <a:pt x="5822" y="3536"/>
                    </a:cubicBezTo>
                    <a:cubicBezTo>
                      <a:pt x="5822" y="3534"/>
                      <a:pt x="5822" y="3532"/>
                      <a:pt x="5822" y="3530"/>
                    </a:cubicBezTo>
                    <a:cubicBezTo>
                      <a:pt x="5823" y="3533"/>
                      <a:pt x="5825" y="3536"/>
                      <a:pt x="5827" y="3539"/>
                    </a:cubicBezTo>
                    <a:cubicBezTo>
                      <a:pt x="5857" y="3590"/>
                      <a:pt x="5908" y="3650"/>
                      <a:pt x="5979" y="3716"/>
                    </a:cubicBezTo>
                    <a:cubicBezTo>
                      <a:pt x="6054" y="3785"/>
                      <a:pt x="6144" y="3804"/>
                      <a:pt x="6214" y="3799"/>
                    </a:cubicBezTo>
                    <a:cubicBezTo>
                      <a:pt x="6249" y="3797"/>
                      <a:pt x="6279" y="3789"/>
                      <a:pt x="6301" y="3778"/>
                    </a:cubicBezTo>
                    <a:cubicBezTo>
                      <a:pt x="6312" y="3772"/>
                      <a:pt x="6321" y="3765"/>
                      <a:pt x="6328" y="3757"/>
                    </a:cubicBezTo>
                    <a:cubicBezTo>
                      <a:pt x="6334" y="3749"/>
                      <a:pt x="6339" y="3738"/>
                      <a:pt x="6336" y="3727"/>
                    </a:cubicBezTo>
                    <a:lnTo>
                      <a:pt x="6334" y="3721"/>
                    </a:lnTo>
                    <a:lnTo>
                      <a:pt x="6329" y="3718"/>
                    </a:lnTo>
                    <a:cubicBezTo>
                      <a:pt x="6329" y="3718"/>
                      <a:pt x="6155" y="3622"/>
                      <a:pt x="6071" y="3574"/>
                    </a:cubicBezTo>
                    <a:cubicBezTo>
                      <a:pt x="6031" y="3551"/>
                      <a:pt x="5981" y="3502"/>
                      <a:pt x="5936" y="3462"/>
                    </a:cubicBezTo>
                    <a:cubicBezTo>
                      <a:pt x="5935" y="3462"/>
                      <a:pt x="5935" y="3462"/>
                      <a:pt x="5935" y="3461"/>
                    </a:cubicBezTo>
                    <a:cubicBezTo>
                      <a:pt x="5938" y="3462"/>
                      <a:pt x="5942" y="3461"/>
                      <a:pt x="5946" y="3459"/>
                    </a:cubicBezTo>
                    <a:cubicBezTo>
                      <a:pt x="5952" y="3456"/>
                      <a:pt x="5955" y="3450"/>
                      <a:pt x="5955" y="3446"/>
                    </a:cubicBezTo>
                    <a:cubicBezTo>
                      <a:pt x="5956" y="3442"/>
                      <a:pt x="5955" y="3439"/>
                      <a:pt x="5955" y="3436"/>
                    </a:cubicBezTo>
                    <a:cubicBezTo>
                      <a:pt x="5954" y="3431"/>
                      <a:pt x="5951" y="3425"/>
                      <a:pt x="5948" y="3418"/>
                    </a:cubicBezTo>
                    <a:cubicBezTo>
                      <a:pt x="5942" y="3405"/>
                      <a:pt x="5933" y="3388"/>
                      <a:pt x="5920" y="3367"/>
                    </a:cubicBezTo>
                    <a:cubicBezTo>
                      <a:pt x="5896" y="3325"/>
                      <a:pt x="5860" y="3271"/>
                      <a:pt x="5823" y="3214"/>
                    </a:cubicBezTo>
                    <a:cubicBezTo>
                      <a:pt x="5747" y="3101"/>
                      <a:pt x="5662" y="2978"/>
                      <a:pt x="5637" y="2936"/>
                    </a:cubicBezTo>
                    <a:cubicBezTo>
                      <a:pt x="5613" y="2894"/>
                      <a:pt x="5551" y="2776"/>
                      <a:pt x="5493" y="2669"/>
                    </a:cubicBezTo>
                    <a:cubicBezTo>
                      <a:pt x="5471" y="2630"/>
                      <a:pt x="5450" y="2592"/>
                      <a:pt x="5431" y="2561"/>
                    </a:cubicBezTo>
                    <a:cubicBezTo>
                      <a:pt x="5433" y="2562"/>
                      <a:pt x="5434" y="2562"/>
                      <a:pt x="5436" y="2563"/>
                    </a:cubicBezTo>
                    <a:cubicBezTo>
                      <a:pt x="5442" y="2566"/>
                      <a:pt x="5450" y="2567"/>
                      <a:pt x="5458" y="2565"/>
                    </a:cubicBezTo>
                    <a:cubicBezTo>
                      <a:pt x="5464" y="2564"/>
                      <a:pt x="5468" y="2558"/>
                      <a:pt x="5470" y="2554"/>
                    </a:cubicBezTo>
                    <a:cubicBezTo>
                      <a:pt x="5471" y="2551"/>
                      <a:pt x="5472" y="2547"/>
                      <a:pt x="5472" y="2544"/>
                    </a:cubicBezTo>
                    <a:cubicBezTo>
                      <a:pt x="5472" y="2537"/>
                      <a:pt x="5471" y="2530"/>
                      <a:pt x="5470" y="2522"/>
                    </a:cubicBezTo>
                    <a:cubicBezTo>
                      <a:pt x="5466" y="2505"/>
                      <a:pt x="5460" y="2482"/>
                      <a:pt x="5452" y="2455"/>
                    </a:cubicBezTo>
                    <a:cubicBezTo>
                      <a:pt x="5434" y="2401"/>
                      <a:pt x="5408" y="2329"/>
                      <a:pt x="5380" y="2254"/>
                    </a:cubicBezTo>
                    <a:cubicBezTo>
                      <a:pt x="5336" y="2140"/>
                      <a:pt x="5288" y="2024"/>
                      <a:pt x="5256" y="1950"/>
                    </a:cubicBezTo>
                    <a:cubicBezTo>
                      <a:pt x="5344" y="1861"/>
                      <a:pt x="5448" y="1771"/>
                      <a:pt x="5582" y="1683"/>
                    </a:cubicBezTo>
                    <a:cubicBezTo>
                      <a:pt x="5587" y="1679"/>
                      <a:pt x="5589" y="1674"/>
                      <a:pt x="5588" y="1668"/>
                    </a:cubicBezTo>
                    <a:cubicBezTo>
                      <a:pt x="5507" y="1095"/>
                      <a:pt x="5283" y="709"/>
                      <a:pt x="4991" y="479"/>
                    </a:cubicBezTo>
                    <a:cubicBezTo>
                      <a:pt x="4736" y="277"/>
                      <a:pt x="4430" y="194"/>
                      <a:pt x="4126" y="206"/>
                    </a:cubicBezTo>
                    <a:cubicBezTo>
                      <a:pt x="4082" y="208"/>
                      <a:pt x="4039" y="212"/>
                      <a:pt x="3996" y="217"/>
                    </a:cubicBezTo>
                    <a:cubicBezTo>
                      <a:pt x="3825" y="239"/>
                      <a:pt x="3658" y="290"/>
                      <a:pt x="3502" y="367"/>
                    </a:cubicBezTo>
                    <a:lnTo>
                      <a:pt x="3503" y="362"/>
                    </a:lnTo>
                    <a:cubicBezTo>
                      <a:pt x="3503" y="334"/>
                      <a:pt x="3500" y="310"/>
                      <a:pt x="3489" y="289"/>
                    </a:cubicBezTo>
                    <a:cubicBezTo>
                      <a:pt x="3480" y="272"/>
                      <a:pt x="3466" y="259"/>
                      <a:pt x="3449" y="250"/>
                    </a:cubicBezTo>
                    <a:cubicBezTo>
                      <a:pt x="3457" y="236"/>
                      <a:pt x="3464" y="221"/>
                      <a:pt x="3469" y="206"/>
                    </a:cubicBezTo>
                    <a:cubicBezTo>
                      <a:pt x="3478" y="175"/>
                      <a:pt x="3479" y="141"/>
                      <a:pt x="3461" y="109"/>
                    </a:cubicBezTo>
                    <a:cubicBezTo>
                      <a:pt x="3443" y="77"/>
                      <a:pt x="3408" y="48"/>
                      <a:pt x="3350" y="22"/>
                    </a:cubicBezTo>
                    <a:cubicBezTo>
                      <a:pt x="3320" y="8"/>
                      <a:pt x="3294" y="1"/>
                      <a:pt x="3271" y="0"/>
                    </a:cubicBezTo>
                    <a:cubicBezTo>
                      <a:pt x="3268" y="0"/>
                      <a:pt x="3265" y="0"/>
                      <a:pt x="3262" y="0"/>
                    </a:cubicBezTo>
                    <a:lnTo>
                      <a:pt x="3262" y="0"/>
                    </a:lnTo>
                    <a:close/>
                    <a:moveTo>
                      <a:pt x="4139" y="235"/>
                    </a:moveTo>
                    <a:cubicBezTo>
                      <a:pt x="4140" y="240"/>
                      <a:pt x="4140" y="245"/>
                      <a:pt x="4138" y="250"/>
                    </a:cubicBezTo>
                    <a:cubicBezTo>
                      <a:pt x="4031" y="276"/>
                      <a:pt x="3958" y="277"/>
                      <a:pt x="3884" y="280"/>
                    </a:cubicBezTo>
                    <a:cubicBezTo>
                      <a:pt x="3898" y="272"/>
                      <a:pt x="3913" y="265"/>
                      <a:pt x="3928" y="257"/>
                    </a:cubicBezTo>
                    <a:cubicBezTo>
                      <a:pt x="3951" y="253"/>
                      <a:pt x="3975" y="249"/>
                      <a:pt x="3999" y="246"/>
                    </a:cubicBezTo>
                    <a:cubicBezTo>
                      <a:pt x="4042" y="241"/>
                      <a:pt x="4084" y="237"/>
                      <a:pt x="4127" y="235"/>
                    </a:cubicBezTo>
                    <a:cubicBezTo>
                      <a:pt x="4131" y="235"/>
                      <a:pt x="4135" y="235"/>
                      <a:pt x="4139" y="235"/>
                    </a:cubicBezTo>
                    <a:close/>
                    <a:moveTo>
                      <a:pt x="3665" y="329"/>
                    </a:moveTo>
                    <a:cubicBezTo>
                      <a:pt x="3656" y="356"/>
                      <a:pt x="3653" y="384"/>
                      <a:pt x="3672" y="411"/>
                    </a:cubicBezTo>
                    <a:cubicBezTo>
                      <a:pt x="3585" y="406"/>
                      <a:pt x="3546" y="398"/>
                      <a:pt x="3524" y="388"/>
                    </a:cubicBezTo>
                    <a:cubicBezTo>
                      <a:pt x="3570" y="366"/>
                      <a:pt x="3618" y="346"/>
                      <a:pt x="3665" y="329"/>
                    </a:cubicBezTo>
                    <a:close/>
                    <a:moveTo>
                      <a:pt x="4487" y="396"/>
                    </a:moveTo>
                    <a:cubicBezTo>
                      <a:pt x="4618" y="397"/>
                      <a:pt x="4744" y="414"/>
                      <a:pt x="4862" y="466"/>
                    </a:cubicBezTo>
                    <a:cubicBezTo>
                      <a:pt x="5017" y="647"/>
                      <a:pt x="4794" y="748"/>
                      <a:pt x="4701" y="877"/>
                    </a:cubicBezTo>
                    <a:lnTo>
                      <a:pt x="4581" y="983"/>
                    </a:lnTo>
                    <a:cubicBezTo>
                      <a:pt x="4540" y="952"/>
                      <a:pt x="4500" y="937"/>
                      <a:pt x="4463" y="936"/>
                    </a:cubicBezTo>
                    <a:cubicBezTo>
                      <a:pt x="4458" y="936"/>
                      <a:pt x="4452" y="936"/>
                      <a:pt x="4447" y="936"/>
                    </a:cubicBezTo>
                    <a:cubicBezTo>
                      <a:pt x="4432" y="937"/>
                      <a:pt x="4418" y="941"/>
                      <a:pt x="4404" y="946"/>
                    </a:cubicBezTo>
                    <a:cubicBezTo>
                      <a:pt x="4353" y="966"/>
                      <a:pt x="4310" y="1009"/>
                      <a:pt x="4271" y="1063"/>
                    </a:cubicBezTo>
                    <a:cubicBezTo>
                      <a:pt x="4251" y="1050"/>
                      <a:pt x="4232" y="1042"/>
                      <a:pt x="4213" y="1041"/>
                    </a:cubicBezTo>
                    <a:cubicBezTo>
                      <a:pt x="4203" y="1040"/>
                      <a:pt x="4193" y="1041"/>
                      <a:pt x="4183" y="1044"/>
                    </a:cubicBezTo>
                    <a:cubicBezTo>
                      <a:pt x="4144" y="1055"/>
                      <a:pt x="4114" y="1089"/>
                      <a:pt x="4086" y="1131"/>
                    </a:cubicBezTo>
                    <a:cubicBezTo>
                      <a:pt x="4064" y="1164"/>
                      <a:pt x="4043" y="1203"/>
                      <a:pt x="4023" y="1244"/>
                    </a:cubicBezTo>
                    <a:lnTo>
                      <a:pt x="4087" y="945"/>
                    </a:lnTo>
                    <a:cubicBezTo>
                      <a:pt x="3969" y="815"/>
                      <a:pt x="3789" y="685"/>
                      <a:pt x="3829" y="555"/>
                    </a:cubicBezTo>
                    <a:cubicBezTo>
                      <a:pt x="4015" y="671"/>
                      <a:pt x="4189" y="850"/>
                      <a:pt x="4417" y="742"/>
                    </a:cubicBezTo>
                    <a:cubicBezTo>
                      <a:pt x="4749" y="463"/>
                      <a:pt x="4217" y="522"/>
                      <a:pt x="4087" y="424"/>
                    </a:cubicBezTo>
                    <a:cubicBezTo>
                      <a:pt x="4221" y="411"/>
                      <a:pt x="4356" y="395"/>
                      <a:pt x="4487" y="396"/>
                    </a:cubicBezTo>
                    <a:close/>
                    <a:moveTo>
                      <a:pt x="3348" y="488"/>
                    </a:moveTo>
                    <a:lnTo>
                      <a:pt x="3375" y="534"/>
                    </a:lnTo>
                    <a:lnTo>
                      <a:pt x="3337" y="568"/>
                    </a:lnTo>
                    <a:cubicBezTo>
                      <a:pt x="3318" y="588"/>
                      <a:pt x="3285" y="575"/>
                      <a:pt x="3251" y="556"/>
                    </a:cubicBezTo>
                    <a:cubicBezTo>
                      <a:pt x="3282" y="532"/>
                      <a:pt x="3315" y="509"/>
                      <a:pt x="3348" y="488"/>
                    </a:cubicBezTo>
                    <a:close/>
                    <a:moveTo>
                      <a:pt x="2471" y="528"/>
                    </a:moveTo>
                    <a:cubicBezTo>
                      <a:pt x="2475" y="559"/>
                      <a:pt x="2478" y="584"/>
                      <a:pt x="2481" y="616"/>
                    </a:cubicBezTo>
                    <a:cubicBezTo>
                      <a:pt x="2501" y="781"/>
                      <a:pt x="2517" y="909"/>
                      <a:pt x="2521" y="944"/>
                    </a:cubicBezTo>
                    <a:cubicBezTo>
                      <a:pt x="2527" y="946"/>
                      <a:pt x="2534" y="949"/>
                      <a:pt x="2540" y="953"/>
                    </a:cubicBezTo>
                    <a:cubicBezTo>
                      <a:pt x="2544" y="956"/>
                      <a:pt x="2547" y="960"/>
                      <a:pt x="2549" y="963"/>
                    </a:cubicBezTo>
                    <a:cubicBezTo>
                      <a:pt x="2550" y="964"/>
                      <a:pt x="2551" y="964"/>
                      <a:pt x="2552" y="965"/>
                    </a:cubicBezTo>
                    <a:lnTo>
                      <a:pt x="2552" y="965"/>
                    </a:lnTo>
                    <a:lnTo>
                      <a:pt x="2656" y="1061"/>
                    </a:lnTo>
                    <a:cubicBezTo>
                      <a:pt x="2657" y="1062"/>
                      <a:pt x="2658" y="1063"/>
                      <a:pt x="2659" y="1064"/>
                    </a:cubicBezTo>
                    <a:lnTo>
                      <a:pt x="2659" y="1064"/>
                    </a:lnTo>
                    <a:lnTo>
                      <a:pt x="2761" y="1185"/>
                    </a:lnTo>
                    <a:lnTo>
                      <a:pt x="2761" y="1185"/>
                    </a:lnTo>
                    <a:cubicBezTo>
                      <a:pt x="2762" y="1187"/>
                      <a:pt x="2763" y="1188"/>
                      <a:pt x="2764" y="1190"/>
                    </a:cubicBezTo>
                    <a:cubicBezTo>
                      <a:pt x="2800" y="1255"/>
                      <a:pt x="2827" y="1320"/>
                      <a:pt x="2848" y="1385"/>
                    </a:cubicBezTo>
                    <a:cubicBezTo>
                      <a:pt x="2825" y="1361"/>
                      <a:pt x="2805" y="1335"/>
                      <a:pt x="2788" y="1308"/>
                    </a:cubicBezTo>
                    <a:cubicBezTo>
                      <a:pt x="2786" y="1303"/>
                      <a:pt x="2783" y="1297"/>
                      <a:pt x="2781" y="1292"/>
                    </a:cubicBezTo>
                    <a:cubicBezTo>
                      <a:pt x="2783" y="1297"/>
                      <a:pt x="2785" y="1303"/>
                      <a:pt x="2788" y="1308"/>
                    </a:cubicBezTo>
                    <a:cubicBezTo>
                      <a:pt x="2769" y="1280"/>
                      <a:pt x="2753" y="1250"/>
                      <a:pt x="2736" y="1220"/>
                    </a:cubicBezTo>
                    <a:cubicBezTo>
                      <a:pt x="2724" y="1200"/>
                      <a:pt x="2713" y="1180"/>
                      <a:pt x="2701" y="1160"/>
                    </a:cubicBezTo>
                    <a:lnTo>
                      <a:pt x="2701" y="1160"/>
                    </a:lnTo>
                    <a:cubicBezTo>
                      <a:pt x="2664" y="1099"/>
                      <a:pt x="2619" y="1039"/>
                      <a:pt x="2546" y="988"/>
                    </a:cubicBezTo>
                    <a:cubicBezTo>
                      <a:pt x="2544" y="979"/>
                      <a:pt x="2540" y="971"/>
                      <a:pt x="2531" y="965"/>
                    </a:cubicBezTo>
                    <a:cubicBezTo>
                      <a:pt x="2524" y="960"/>
                      <a:pt x="2516" y="957"/>
                      <a:pt x="2508" y="957"/>
                    </a:cubicBezTo>
                    <a:cubicBezTo>
                      <a:pt x="2500" y="956"/>
                      <a:pt x="2493" y="957"/>
                      <a:pt x="2486" y="959"/>
                    </a:cubicBezTo>
                    <a:cubicBezTo>
                      <a:pt x="2472" y="962"/>
                      <a:pt x="2460" y="967"/>
                      <a:pt x="2453" y="969"/>
                    </a:cubicBezTo>
                    <a:cubicBezTo>
                      <a:pt x="2435" y="973"/>
                      <a:pt x="2427" y="989"/>
                      <a:pt x="2423" y="1005"/>
                    </a:cubicBezTo>
                    <a:cubicBezTo>
                      <a:pt x="2422" y="1010"/>
                      <a:pt x="2422" y="1015"/>
                      <a:pt x="2423" y="1020"/>
                    </a:cubicBezTo>
                    <a:cubicBezTo>
                      <a:pt x="2406" y="1021"/>
                      <a:pt x="2390" y="1024"/>
                      <a:pt x="2377" y="1027"/>
                    </a:cubicBezTo>
                    <a:cubicBezTo>
                      <a:pt x="2364" y="1030"/>
                      <a:pt x="2356" y="1039"/>
                      <a:pt x="2346" y="1050"/>
                    </a:cubicBezTo>
                    <a:cubicBezTo>
                      <a:pt x="2336" y="1062"/>
                      <a:pt x="2326" y="1076"/>
                      <a:pt x="2315" y="1093"/>
                    </a:cubicBezTo>
                    <a:cubicBezTo>
                      <a:pt x="2294" y="1127"/>
                      <a:pt x="2271" y="1171"/>
                      <a:pt x="2251" y="1216"/>
                    </a:cubicBezTo>
                    <a:cubicBezTo>
                      <a:pt x="2231" y="1261"/>
                      <a:pt x="2213" y="1307"/>
                      <a:pt x="2201" y="1345"/>
                    </a:cubicBezTo>
                    <a:cubicBezTo>
                      <a:pt x="2195" y="1364"/>
                      <a:pt x="2190" y="1381"/>
                      <a:pt x="2188" y="1395"/>
                    </a:cubicBezTo>
                    <a:cubicBezTo>
                      <a:pt x="2186" y="1406"/>
                      <a:pt x="2185" y="1415"/>
                      <a:pt x="2187" y="1423"/>
                    </a:cubicBezTo>
                    <a:cubicBezTo>
                      <a:pt x="2180" y="1419"/>
                      <a:pt x="2173" y="1414"/>
                      <a:pt x="2164" y="1409"/>
                    </a:cubicBezTo>
                    <a:cubicBezTo>
                      <a:pt x="2140" y="1398"/>
                      <a:pt x="2124" y="1393"/>
                      <a:pt x="2112" y="1391"/>
                    </a:cubicBezTo>
                    <a:cubicBezTo>
                      <a:pt x="2107" y="1390"/>
                      <a:pt x="2102" y="1390"/>
                      <a:pt x="2099" y="1390"/>
                    </a:cubicBezTo>
                    <a:lnTo>
                      <a:pt x="2099" y="1390"/>
                    </a:lnTo>
                    <a:cubicBezTo>
                      <a:pt x="2096" y="1390"/>
                      <a:pt x="2092" y="1391"/>
                      <a:pt x="2092" y="1391"/>
                    </a:cubicBezTo>
                    <a:lnTo>
                      <a:pt x="2076" y="1396"/>
                    </a:lnTo>
                    <a:lnTo>
                      <a:pt x="2084" y="1412"/>
                    </a:lnTo>
                    <a:cubicBezTo>
                      <a:pt x="2084" y="1412"/>
                      <a:pt x="2092" y="1428"/>
                      <a:pt x="2099" y="1446"/>
                    </a:cubicBezTo>
                    <a:cubicBezTo>
                      <a:pt x="2103" y="1454"/>
                      <a:pt x="2106" y="1463"/>
                      <a:pt x="2107" y="1469"/>
                    </a:cubicBezTo>
                    <a:cubicBezTo>
                      <a:pt x="2107" y="1471"/>
                      <a:pt x="2107" y="1471"/>
                      <a:pt x="2107" y="1472"/>
                    </a:cubicBezTo>
                    <a:cubicBezTo>
                      <a:pt x="2060" y="1486"/>
                      <a:pt x="2013" y="1505"/>
                      <a:pt x="1972" y="1528"/>
                    </a:cubicBezTo>
                    <a:cubicBezTo>
                      <a:pt x="1977" y="1517"/>
                      <a:pt x="1980" y="1507"/>
                      <a:pt x="1982" y="1501"/>
                    </a:cubicBezTo>
                    <a:cubicBezTo>
                      <a:pt x="1986" y="1488"/>
                      <a:pt x="1986" y="1473"/>
                      <a:pt x="1984" y="1460"/>
                    </a:cubicBezTo>
                    <a:cubicBezTo>
                      <a:pt x="1982" y="1450"/>
                      <a:pt x="1979" y="1441"/>
                      <a:pt x="1975" y="1433"/>
                    </a:cubicBezTo>
                    <a:cubicBezTo>
                      <a:pt x="1991" y="1428"/>
                      <a:pt x="2006" y="1419"/>
                      <a:pt x="2020" y="1406"/>
                    </a:cubicBezTo>
                    <a:cubicBezTo>
                      <a:pt x="2052" y="1378"/>
                      <a:pt x="2081" y="1334"/>
                      <a:pt x="2108" y="1284"/>
                    </a:cubicBezTo>
                    <a:cubicBezTo>
                      <a:pt x="2113" y="1292"/>
                      <a:pt x="2118" y="1301"/>
                      <a:pt x="2123" y="1308"/>
                    </a:cubicBezTo>
                    <a:cubicBezTo>
                      <a:pt x="2132" y="1324"/>
                      <a:pt x="2160" y="1375"/>
                      <a:pt x="2167" y="1384"/>
                    </a:cubicBezTo>
                    <a:cubicBezTo>
                      <a:pt x="2169" y="1387"/>
                      <a:pt x="2172" y="1390"/>
                      <a:pt x="2174" y="1393"/>
                    </a:cubicBezTo>
                    <a:cubicBezTo>
                      <a:pt x="2176" y="1377"/>
                      <a:pt x="2181" y="1360"/>
                      <a:pt x="2187" y="1341"/>
                    </a:cubicBezTo>
                    <a:cubicBezTo>
                      <a:pt x="2199" y="1302"/>
                      <a:pt x="2217" y="1256"/>
                      <a:pt x="2238" y="1210"/>
                    </a:cubicBezTo>
                    <a:cubicBezTo>
                      <a:pt x="2258" y="1165"/>
                      <a:pt x="2281" y="1121"/>
                      <a:pt x="2303" y="1086"/>
                    </a:cubicBezTo>
                    <a:cubicBezTo>
                      <a:pt x="2306" y="1080"/>
                      <a:pt x="2310" y="1075"/>
                      <a:pt x="2313" y="1070"/>
                    </a:cubicBezTo>
                    <a:cubicBezTo>
                      <a:pt x="2310" y="1064"/>
                      <a:pt x="2307" y="1058"/>
                      <a:pt x="2303" y="1052"/>
                    </a:cubicBezTo>
                    <a:cubicBezTo>
                      <a:pt x="2289" y="1028"/>
                      <a:pt x="2271" y="1001"/>
                      <a:pt x="2252" y="973"/>
                    </a:cubicBezTo>
                    <a:cubicBezTo>
                      <a:pt x="2258" y="961"/>
                      <a:pt x="2263" y="950"/>
                      <a:pt x="2268" y="942"/>
                    </a:cubicBezTo>
                    <a:cubicBezTo>
                      <a:pt x="2305" y="879"/>
                      <a:pt x="2360" y="775"/>
                      <a:pt x="2404" y="685"/>
                    </a:cubicBezTo>
                    <a:cubicBezTo>
                      <a:pt x="2425" y="640"/>
                      <a:pt x="2444" y="599"/>
                      <a:pt x="2457" y="568"/>
                    </a:cubicBezTo>
                    <a:cubicBezTo>
                      <a:pt x="2463" y="553"/>
                      <a:pt x="2468" y="540"/>
                      <a:pt x="2470" y="530"/>
                    </a:cubicBezTo>
                    <a:cubicBezTo>
                      <a:pt x="2471" y="529"/>
                      <a:pt x="2471" y="529"/>
                      <a:pt x="2471" y="528"/>
                    </a:cubicBezTo>
                    <a:close/>
                    <a:moveTo>
                      <a:pt x="3189" y="606"/>
                    </a:moveTo>
                    <a:cubicBezTo>
                      <a:pt x="3234" y="629"/>
                      <a:pt x="3279" y="679"/>
                      <a:pt x="3219" y="716"/>
                    </a:cubicBezTo>
                    <a:cubicBezTo>
                      <a:pt x="3182" y="739"/>
                      <a:pt x="3045" y="804"/>
                      <a:pt x="2971" y="838"/>
                    </a:cubicBezTo>
                    <a:cubicBezTo>
                      <a:pt x="3034" y="753"/>
                      <a:pt x="3108" y="675"/>
                      <a:pt x="3189" y="606"/>
                    </a:cubicBezTo>
                    <a:close/>
                    <a:moveTo>
                      <a:pt x="3596" y="733"/>
                    </a:moveTo>
                    <a:cubicBezTo>
                      <a:pt x="3717" y="752"/>
                      <a:pt x="3833" y="924"/>
                      <a:pt x="3676" y="1106"/>
                    </a:cubicBezTo>
                    <a:cubicBezTo>
                      <a:pt x="3813" y="1314"/>
                      <a:pt x="3664" y="1534"/>
                      <a:pt x="3507" y="1830"/>
                    </a:cubicBezTo>
                    <a:lnTo>
                      <a:pt x="3504" y="1818"/>
                    </a:lnTo>
                    <a:cubicBezTo>
                      <a:pt x="3502" y="1808"/>
                      <a:pt x="3500" y="1799"/>
                      <a:pt x="3498" y="1789"/>
                    </a:cubicBezTo>
                    <a:cubicBezTo>
                      <a:pt x="3494" y="1766"/>
                      <a:pt x="3489" y="1743"/>
                      <a:pt x="3484" y="1722"/>
                    </a:cubicBezTo>
                    <a:cubicBezTo>
                      <a:pt x="3490" y="1729"/>
                      <a:pt x="3501" y="1732"/>
                      <a:pt x="3509" y="1732"/>
                    </a:cubicBezTo>
                    <a:cubicBezTo>
                      <a:pt x="3518" y="1731"/>
                      <a:pt x="3526" y="1727"/>
                      <a:pt x="3533" y="1722"/>
                    </a:cubicBezTo>
                    <a:cubicBezTo>
                      <a:pt x="3548" y="1712"/>
                      <a:pt x="3561" y="1697"/>
                      <a:pt x="3567" y="1679"/>
                    </a:cubicBezTo>
                    <a:cubicBezTo>
                      <a:pt x="3572" y="1664"/>
                      <a:pt x="3569" y="1650"/>
                      <a:pt x="3565" y="1632"/>
                    </a:cubicBezTo>
                    <a:cubicBezTo>
                      <a:pt x="3562" y="1614"/>
                      <a:pt x="3556" y="1592"/>
                      <a:pt x="3550" y="1571"/>
                    </a:cubicBezTo>
                    <a:cubicBezTo>
                      <a:pt x="3541" y="1535"/>
                      <a:pt x="3532" y="1496"/>
                      <a:pt x="3531" y="1473"/>
                    </a:cubicBezTo>
                    <a:cubicBezTo>
                      <a:pt x="3534" y="1464"/>
                      <a:pt x="3538" y="1453"/>
                      <a:pt x="3541" y="1445"/>
                    </a:cubicBezTo>
                    <a:cubicBezTo>
                      <a:pt x="3552" y="1413"/>
                      <a:pt x="3561" y="1386"/>
                      <a:pt x="3568" y="1367"/>
                    </a:cubicBezTo>
                    <a:cubicBezTo>
                      <a:pt x="3572" y="1358"/>
                      <a:pt x="3575" y="1350"/>
                      <a:pt x="3577" y="1344"/>
                    </a:cubicBezTo>
                    <a:cubicBezTo>
                      <a:pt x="3579" y="1339"/>
                      <a:pt x="3582" y="1334"/>
                      <a:pt x="3581" y="1336"/>
                    </a:cubicBezTo>
                    <a:cubicBezTo>
                      <a:pt x="3585" y="1329"/>
                      <a:pt x="3585" y="1323"/>
                      <a:pt x="3585" y="1315"/>
                    </a:cubicBezTo>
                    <a:cubicBezTo>
                      <a:pt x="3585" y="1308"/>
                      <a:pt x="3585" y="1300"/>
                      <a:pt x="3583" y="1291"/>
                    </a:cubicBezTo>
                    <a:cubicBezTo>
                      <a:pt x="3580" y="1272"/>
                      <a:pt x="3573" y="1251"/>
                      <a:pt x="3562" y="1229"/>
                    </a:cubicBezTo>
                    <a:cubicBezTo>
                      <a:pt x="3541" y="1187"/>
                      <a:pt x="3500" y="1144"/>
                      <a:pt x="3439" y="1140"/>
                    </a:cubicBezTo>
                    <a:cubicBezTo>
                      <a:pt x="3432" y="1139"/>
                      <a:pt x="3427" y="1140"/>
                      <a:pt x="3421" y="1142"/>
                    </a:cubicBezTo>
                    <a:lnTo>
                      <a:pt x="3367" y="1059"/>
                    </a:lnTo>
                    <a:cubicBezTo>
                      <a:pt x="3271" y="878"/>
                      <a:pt x="3387" y="808"/>
                      <a:pt x="3460" y="746"/>
                    </a:cubicBezTo>
                    <a:cubicBezTo>
                      <a:pt x="3458" y="842"/>
                      <a:pt x="3437" y="938"/>
                      <a:pt x="3566" y="1034"/>
                    </a:cubicBezTo>
                    <a:cubicBezTo>
                      <a:pt x="3713" y="975"/>
                      <a:pt x="3591" y="841"/>
                      <a:pt x="3596" y="733"/>
                    </a:cubicBezTo>
                    <a:close/>
                    <a:moveTo>
                      <a:pt x="5188" y="737"/>
                    </a:moveTo>
                    <a:cubicBezTo>
                      <a:pt x="5197" y="741"/>
                      <a:pt x="5204" y="745"/>
                      <a:pt x="5212" y="749"/>
                    </a:cubicBezTo>
                    <a:cubicBezTo>
                      <a:pt x="5286" y="849"/>
                      <a:pt x="5352" y="965"/>
                      <a:pt x="5407" y="1098"/>
                    </a:cubicBezTo>
                    <a:cubicBezTo>
                      <a:pt x="5210" y="1144"/>
                      <a:pt x="5012" y="1191"/>
                      <a:pt x="4947" y="1072"/>
                    </a:cubicBezTo>
                    <a:cubicBezTo>
                      <a:pt x="5029" y="963"/>
                      <a:pt x="5179" y="992"/>
                      <a:pt x="5188" y="737"/>
                    </a:cubicBezTo>
                    <a:close/>
                    <a:moveTo>
                      <a:pt x="3197" y="1175"/>
                    </a:moveTo>
                    <a:cubicBezTo>
                      <a:pt x="3226" y="1175"/>
                      <a:pt x="3240" y="1201"/>
                      <a:pt x="3261" y="1214"/>
                    </a:cubicBezTo>
                    <a:cubicBezTo>
                      <a:pt x="3256" y="1217"/>
                      <a:pt x="3251" y="1221"/>
                      <a:pt x="3247" y="1224"/>
                    </a:cubicBezTo>
                    <a:cubicBezTo>
                      <a:pt x="3238" y="1232"/>
                      <a:pt x="3230" y="1239"/>
                      <a:pt x="3224" y="1248"/>
                    </a:cubicBezTo>
                    <a:cubicBezTo>
                      <a:pt x="3219" y="1257"/>
                      <a:pt x="3215" y="1267"/>
                      <a:pt x="3217" y="1278"/>
                    </a:cubicBezTo>
                    <a:cubicBezTo>
                      <a:pt x="3217" y="1279"/>
                      <a:pt x="3217" y="1291"/>
                      <a:pt x="3216" y="1306"/>
                    </a:cubicBezTo>
                    <a:cubicBezTo>
                      <a:pt x="3216" y="1318"/>
                      <a:pt x="3214" y="1333"/>
                      <a:pt x="3212" y="1350"/>
                    </a:cubicBezTo>
                    <a:cubicBezTo>
                      <a:pt x="3167" y="1303"/>
                      <a:pt x="3138" y="1244"/>
                      <a:pt x="3142" y="1199"/>
                    </a:cubicBezTo>
                    <a:cubicBezTo>
                      <a:pt x="3166" y="1182"/>
                      <a:pt x="3183" y="1175"/>
                      <a:pt x="3197" y="1175"/>
                    </a:cubicBezTo>
                    <a:close/>
                    <a:moveTo>
                      <a:pt x="2737" y="1203"/>
                    </a:moveTo>
                    <a:cubicBezTo>
                      <a:pt x="2738" y="1204"/>
                      <a:pt x="2738" y="1204"/>
                      <a:pt x="2739" y="1205"/>
                    </a:cubicBezTo>
                    <a:cubicBezTo>
                      <a:pt x="2738" y="1205"/>
                      <a:pt x="2738" y="1205"/>
                      <a:pt x="2738" y="1204"/>
                    </a:cubicBezTo>
                    <a:lnTo>
                      <a:pt x="2738" y="1204"/>
                    </a:lnTo>
                    <a:lnTo>
                      <a:pt x="2737" y="1203"/>
                    </a:lnTo>
                    <a:close/>
                    <a:moveTo>
                      <a:pt x="2739" y="1205"/>
                    </a:moveTo>
                    <a:cubicBezTo>
                      <a:pt x="2753" y="1232"/>
                      <a:pt x="2766" y="1259"/>
                      <a:pt x="2778" y="1285"/>
                    </a:cubicBezTo>
                    <a:cubicBezTo>
                      <a:pt x="2767" y="1259"/>
                      <a:pt x="2753" y="1232"/>
                      <a:pt x="2739" y="1205"/>
                    </a:cubicBezTo>
                    <a:close/>
                    <a:moveTo>
                      <a:pt x="3045" y="1369"/>
                    </a:moveTo>
                    <a:cubicBezTo>
                      <a:pt x="3064" y="1470"/>
                      <a:pt x="3115" y="1540"/>
                      <a:pt x="3177" y="1599"/>
                    </a:cubicBezTo>
                    <a:cubicBezTo>
                      <a:pt x="3172" y="1629"/>
                      <a:pt x="3167" y="1658"/>
                      <a:pt x="3162" y="1684"/>
                    </a:cubicBezTo>
                    <a:cubicBezTo>
                      <a:pt x="3154" y="1732"/>
                      <a:pt x="3146" y="1770"/>
                      <a:pt x="3141" y="1783"/>
                    </a:cubicBezTo>
                    <a:cubicBezTo>
                      <a:pt x="3138" y="1792"/>
                      <a:pt x="3134" y="1809"/>
                      <a:pt x="3128" y="1831"/>
                    </a:cubicBezTo>
                    <a:cubicBezTo>
                      <a:pt x="3105" y="1816"/>
                      <a:pt x="3076" y="1806"/>
                      <a:pt x="3043" y="1800"/>
                    </a:cubicBezTo>
                    <a:cubicBezTo>
                      <a:pt x="2981" y="1671"/>
                      <a:pt x="2901" y="1459"/>
                      <a:pt x="3045" y="1369"/>
                    </a:cubicBezTo>
                    <a:close/>
                    <a:moveTo>
                      <a:pt x="2698" y="1492"/>
                    </a:moveTo>
                    <a:cubicBezTo>
                      <a:pt x="2699" y="1494"/>
                      <a:pt x="2699" y="1494"/>
                      <a:pt x="2700" y="1496"/>
                    </a:cubicBezTo>
                    <a:cubicBezTo>
                      <a:pt x="2705" y="1507"/>
                      <a:pt x="2712" y="1520"/>
                      <a:pt x="2718" y="1534"/>
                    </a:cubicBezTo>
                    <a:cubicBezTo>
                      <a:pt x="2719" y="1548"/>
                      <a:pt x="2720" y="1561"/>
                      <a:pt x="2720" y="1573"/>
                    </a:cubicBezTo>
                    <a:cubicBezTo>
                      <a:pt x="2721" y="1566"/>
                      <a:pt x="2726" y="1561"/>
                      <a:pt x="2731" y="1560"/>
                    </a:cubicBezTo>
                    <a:cubicBezTo>
                      <a:pt x="2738" y="1572"/>
                      <a:pt x="2744" y="1584"/>
                      <a:pt x="2750" y="1595"/>
                    </a:cubicBezTo>
                    <a:cubicBezTo>
                      <a:pt x="2753" y="1600"/>
                      <a:pt x="2756" y="1605"/>
                      <a:pt x="2759" y="1609"/>
                    </a:cubicBezTo>
                    <a:cubicBezTo>
                      <a:pt x="2757" y="1609"/>
                      <a:pt x="2754" y="1609"/>
                      <a:pt x="2752" y="1608"/>
                    </a:cubicBezTo>
                    <a:cubicBezTo>
                      <a:pt x="2748" y="1608"/>
                      <a:pt x="2744" y="1606"/>
                      <a:pt x="2740" y="1604"/>
                    </a:cubicBezTo>
                    <a:cubicBezTo>
                      <a:pt x="2738" y="1606"/>
                      <a:pt x="2737" y="1609"/>
                      <a:pt x="2735" y="1611"/>
                    </a:cubicBezTo>
                    <a:cubicBezTo>
                      <a:pt x="2729" y="1616"/>
                      <a:pt x="2723" y="1618"/>
                      <a:pt x="2716" y="1619"/>
                    </a:cubicBezTo>
                    <a:cubicBezTo>
                      <a:pt x="2717" y="1624"/>
                      <a:pt x="2717" y="1630"/>
                      <a:pt x="2715" y="1635"/>
                    </a:cubicBezTo>
                    <a:lnTo>
                      <a:pt x="2715" y="1635"/>
                    </a:lnTo>
                    <a:cubicBezTo>
                      <a:pt x="2715" y="1636"/>
                      <a:pt x="2714" y="1638"/>
                      <a:pt x="2713" y="1640"/>
                    </a:cubicBezTo>
                    <a:cubicBezTo>
                      <a:pt x="2714" y="1639"/>
                      <a:pt x="2713" y="1639"/>
                      <a:pt x="2713" y="1641"/>
                    </a:cubicBezTo>
                    <a:cubicBezTo>
                      <a:pt x="2709" y="1637"/>
                      <a:pt x="2705" y="1634"/>
                      <a:pt x="2701" y="1631"/>
                    </a:cubicBezTo>
                    <a:cubicBezTo>
                      <a:pt x="2701" y="1631"/>
                      <a:pt x="2701" y="1630"/>
                      <a:pt x="2701" y="1630"/>
                    </a:cubicBezTo>
                    <a:cubicBezTo>
                      <a:pt x="2703" y="1625"/>
                      <a:pt x="2702" y="1621"/>
                      <a:pt x="2701" y="1618"/>
                    </a:cubicBezTo>
                    <a:cubicBezTo>
                      <a:pt x="2701" y="1613"/>
                      <a:pt x="2701" y="1608"/>
                      <a:pt x="2701" y="1599"/>
                    </a:cubicBezTo>
                    <a:lnTo>
                      <a:pt x="2701" y="1592"/>
                    </a:lnTo>
                    <a:cubicBezTo>
                      <a:pt x="2702" y="1592"/>
                      <a:pt x="2702" y="1592"/>
                      <a:pt x="2702" y="1592"/>
                    </a:cubicBezTo>
                    <a:cubicBezTo>
                      <a:pt x="2703" y="1592"/>
                      <a:pt x="2704" y="1592"/>
                      <a:pt x="2704" y="1592"/>
                    </a:cubicBezTo>
                    <a:cubicBezTo>
                      <a:pt x="2703" y="1592"/>
                      <a:pt x="2702" y="1592"/>
                      <a:pt x="2701" y="1592"/>
                    </a:cubicBezTo>
                    <a:cubicBezTo>
                      <a:pt x="2701" y="1572"/>
                      <a:pt x="2701" y="1545"/>
                      <a:pt x="2700" y="1513"/>
                    </a:cubicBezTo>
                    <a:cubicBezTo>
                      <a:pt x="2699" y="1506"/>
                      <a:pt x="2699" y="1499"/>
                      <a:pt x="2698" y="1492"/>
                    </a:cubicBezTo>
                    <a:close/>
                    <a:moveTo>
                      <a:pt x="2178" y="1548"/>
                    </a:moveTo>
                    <a:cubicBezTo>
                      <a:pt x="2180" y="1548"/>
                      <a:pt x="2183" y="1548"/>
                      <a:pt x="2186" y="1549"/>
                    </a:cubicBezTo>
                    <a:cubicBezTo>
                      <a:pt x="2200" y="1549"/>
                      <a:pt x="2211" y="1552"/>
                      <a:pt x="2221" y="1554"/>
                    </a:cubicBezTo>
                    <a:cubicBezTo>
                      <a:pt x="2181" y="1562"/>
                      <a:pt x="2140" y="1603"/>
                      <a:pt x="2164" y="1646"/>
                    </a:cubicBezTo>
                    <a:cubicBezTo>
                      <a:pt x="2143" y="1647"/>
                      <a:pt x="2122" y="1646"/>
                      <a:pt x="2102" y="1641"/>
                    </a:cubicBezTo>
                    <a:cubicBezTo>
                      <a:pt x="2102" y="1641"/>
                      <a:pt x="2102" y="1641"/>
                      <a:pt x="2102" y="1640"/>
                    </a:cubicBezTo>
                    <a:cubicBezTo>
                      <a:pt x="2101" y="1638"/>
                      <a:pt x="2100" y="1634"/>
                      <a:pt x="2100" y="1629"/>
                    </a:cubicBezTo>
                    <a:cubicBezTo>
                      <a:pt x="2100" y="1620"/>
                      <a:pt x="2103" y="1606"/>
                      <a:pt x="2109" y="1593"/>
                    </a:cubicBezTo>
                    <a:cubicBezTo>
                      <a:pt x="2120" y="1570"/>
                      <a:pt x="2140" y="1549"/>
                      <a:pt x="2178" y="1548"/>
                    </a:cubicBezTo>
                    <a:close/>
                    <a:moveTo>
                      <a:pt x="1960" y="1569"/>
                    </a:moveTo>
                    <a:cubicBezTo>
                      <a:pt x="1960" y="1571"/>
                      <a:pt x="1960" y="1572"/>
                      <a:pt x="1961" y="1574"/>
                    </a:cubicBezTo>
                    <a:cubicBezTo>
                      <a:pt x="1961" y="1578"/>
                      <a:pt x="1962" y="1581"/>
                      <a:pt x="1962" y="1584"/>
                    </a:cubicBezTo>
                    <a:cubicBezTo>
                      <a:pt x="1929" y="1597"/>
                      <a:pt x="1907" y="1627"/>
                      <a:pt x="1900" y="1657"/>
                    </a:cubicBezTo>
                    <a:cubicBezTo>
                      <a:pt x="1896" y="1658"/>
                      <a:pt x="1888" y="1660"/>
                      <a:pt x="1878" y="1660"/>
                    </a:cubicBezTo>
                    <a:cubicBezTo>
                      <a:pt x="1870" y="1660"/>
                      <a:pt x="1861" y="1658"/>
                      <a:pt x="1854" y="1653"/>
                    </a:cubicBezTo>
                    <a:cubicBezTo>
                      <a:pt x="1861" y="1637"/>
                      <a:pt x="1876" y="1619"/>
                      <a:pt x="1895" y="1604"/>
                    </a:cubicBezTo>
                    <a:cubicBezTo>
                      <a:pt x="1916" y="1588"/>
                      <a:pt x="1941" y="1575"/>
                      <a:pt x="1960" y="1569"/>
                    </a:cubicBezTo>
                    <a:close/>
                    <a:moveTo>
                      <a:pt x="2207" y="1583"/>
                    </a:moveTo>
                    <a:cubicBezTo>
                      <a:pt x="2217" y="1584"/>
                      <a:pt x="2244" y="1615"/>
                      <a:pt x="2220" y="1620"/>
                    </a:cubicBezTo>
                    <a:cubicBezTo>
                      <a:pt x="2197" y="1626"/>
                      <a:pt x="2181" y="1596"/>
                      <a:pt x="2207" y="1583"/>
                    </a:cubicBezTo>
                    <a:close/>
                    <a:moveTo>
                      <a:pt x="2718" y="1586"/>
                    </a:moveTo>
                    <a:cubicBezTo>
                      <a:pt x="2717" y="1587"/>
                      <a:pt x="2716" y="1588"/>
                      <a:pt x="2714" y="1589"/>
                    </a:cubicBezTo>
                    <a:cubicBezTo>
                      <a:pt x="2715" y="1588"/>
                      <a:pt x="2716" y="1589"/>
                      <a:pt x="2717" y="1588"/>
                    </a:cubicBezTo>
                    <a:cubicBezTo>
                      <a:pt x="2717" y="1588"/>
                      <a:pt x="2717" y="1586"/>
                      <a:pt x="2718" y="1586"/>
                    </a:cubicBezTo>
                    <a:close/>
                    <a:moveTo>
                      <a:pt x="1977" y="1603"/>
                    </a:moveTo>
                    <a:cubicBezTo>
                      <a:pt x="1994" y="1603"/>
                      <a:pt x="1998" y="1626"/>
                      <a:pt x="1987" y="1628"/>
                    </a:cubicBezTo>
                    <a:cubicBezTo>
                      <a:pt x="1965" y="1634"/>
                      <a:pt x="1952" y="1609"/>
                      <a:pt x="1974" y="1603"/>
                    </a:cubicBezTo>
                    <a:cubicBezTo>
                      <a:pt x="1975" y="1603"/>
                      <a:pt x="1976" y="1603"/>
                      <a:pt x="1977" y="1603"/>
                    </a:cubicBezTo>
                    <a:close/>
                    <a:moveTo>
                      <a:pt x="2390" y="1689"/>
                    </a:moveTo>
                    <a:cubicBezTo>
                      <a:pt x="2397" y="1689"/>
                      <a:pt x="2408" y="1693"/>
                      <a:pt x="2422" y="1704"/>
                    </a:cubicBezTo>
                    <a:cubicBezTo>
                      <a:pt x="2436" y="1716"/>
                      <a:pt x="2451" y="1733"/>
                      <a:pt x="2464" y="1752"/>
                    </a:cubicBezTo>
                    <a:cubicBezTo>
                      <a:pt x="2452" y="1742"/>
                      <a:pt x="2441" y="1737"/>
                      <a:pt x="2431" y="1740"/>
                    </a:cubicBezTo>
                    <a:cubicBezTo>
                      <a:pt x="2375" y="1763"/>
                      <a:pt x="2386" y="1854"/>
                      <a:pt x="2422" y="1895"/>
                    </a:cubicBezTo>
                    <a:cubicBezTo>
                      <a:pt x="2404" y="1886"/>
                      <a:pt x="2386" y="1864"/>
                      <a:pt x="2374" y="1837"/>
                    </a:cubicBezTo>
                    <a:cubicBezTo>
                      <a:pt x="2361" y="1807"/>
                      <a:pt x="2354" y="1772"/>
                      <a:pt x="2357" y="1744"/>
                    </a:cubicBezTo>
                    <a:cubicBezTo>
                      <a:pt x="2359" y="1716"/>
                      <a:pt x="2369" y="1697"/>
                      <a:pt x="2387" y="1690"/>
                    </a:cubicBezTo>
                    <a:cubicBezTo>
                      <a:pt x="2388" y="1690"/>
                      <a:pt x="2389" y="1689"/>
                      <a:pt x="2390" y="1689"/>
                    </a:cubicBezTo>
                    <a:close/>
                    <a:moveTo>
                      <a:pt x="2142" y="1699"/>
                    </a:moveTo>
                    <a:cubicBezTo>
                      <a:pt x="2147" y="1698"/>
                      <a:pt x="2153" y="1699"/>
                      <a:pt x="2160" y="1701"/>
                    </a:cubicBezTo>
                    <a:cubicBezTo>
                      <a:pt x="2173" y="1705"/>
                      <a:pt x="2189" y="1714"/>
                      <a:pt x="2205" y="1727"/>
                    </a:cubicBezTo>
                    <a:cubicBezTo>
                      <a:pt x="2237" y="1753"/>
                      <a:pt x="2271" y="1795"/>
                      <a:pt x="2296" y="1840"/>
                    </a:cubicBezTo>
                    <a:cubicBezTo>
                      <a:pt x="2321" y="1885"/>
                      <a:pt x="2337" y="1934"/>
                      <a:pt x="2338" y="1972"/>
                    </a:cubicBezTo>
                    <a:cubicBezTo>
                      <a:pt x="2338" y="1977"/>
                      <a:pt x="2338" y="1982"/>
                      <a:pt x="2338" y="1987"/>
                    </a:cubicBezTo>
                    <a:cubicBezTo>
                      <a:pt x="2334" y="1906"/>
                      <a:pt x="2267" y="1791"/>
                      <a:pt x="2207" y="1798"/>
                    </a:cubicBezTo>
                    <a:cubicBezTo>
                      <a:pt x="2123" y="1810"/>
                      <a:pt x="2143" y="1992"/>
                      <a:pt x="2222" y="2048"/>
                    </a:cubicBezTo>
                    <a:cubicBezTo>
                      <a:pt x="2214" y="2046"/>
                      <a:pt x="2206" y="2044"/>
                      <a:pt x="2198" y="2041"/>
                    </a:cubicBezTo>
                    <a:cubicBezTo>
                      <a:pt x="2193" y="2038"/>
                      <a:pt x="2188" y="2035"/>
                      <a:pt x="2183" y="2031"/>
                    </a:cubicBezTo>
                    <a:cubicBezTo>
                      <a:pt x="2153" y="2008"/>
                      <a:pt x="2130" y="1970"/>
                      <a:pt x="2116" y="1926"/>
                    </a:cubicBezTo>
                    <a:cubicBezTo>
                      <a:pt x="2101" y="1882"/>
                      <a:pt x="2095" y="1833"/>
                      <a:pt x="2098" y="1792"/>
                    </a:cubicBezTo>
                    <a:cubicBezTo>
                      <a:pt x="2100" y="1751"/>
                      <a:pt x="2112" y="1719"/>
                      <a:pt x="2128" y="1703"/>
                    </a:cubicBezTo>
                    <a:cubicBezTo>
                      <a:pt x="2133" y="1701"/>
                      <a:pt x="2137" y="1699"/>
                      <a:pt x="2142" y="1699"/>
                    </a:cubicBezTo>
                    <a:close/>
                    <a:moveTo>
                      <a:pt x="1888" y="1735"/>
                    </a:moveTo>
                    <a:cubicBezTo>
                      <a:pt x="1907" y="1734"/>
                      <a:pt x="1918" y="1739"/>
                      <a:pt x="1925" y="1746"/>
                    </a:cubicBezTo>
                    <a:cubicBezTo>
                      <a:pt x="1933" y="1754"/>
                      <a:pt x="1938" y="1765"/>
                      <a:pt x="1941" y="1779"/>
                    </a:cubicBezTo>
                    <a:cubicBezTo>
                      <a:pt x="1945" y="1803"/>
                      <a:pt x="1944" y="1832"/>
                      <a:pt x="1943" y="1858"/>
                    </a:cubicBezTo>
                    <a:cubicBezTo>
                      <a:pt x="1942" y="1850"/>
                      <a:pt x="1940" y="1844"/>
                      <a:pt x="1938" y="1840"/>
                    </a:cubicBezTo>
                    <a:cubicBezTo>
                      <a:pt x="1933" y="1829"/>
                      <a:pt x="1890" y="1821"/>
                      <a:pt x="1875" y="1827"/>
                    </a:cubicBezTo>
                    <a:cubicBezTo>
                      <a:pt x="1844" y="1836"/>
                      <a:pt x="1840" y="1894"/>
                      <a:pt x="1834" y="1933"/>
                    </a:cubicBezTo>
                    <a:cubicBezTo>
                      <a:pt x="1830" y="1964"/>
                      <a:pt x="1829" y="2015"/>
                      <a:pt x="1846" y="2040"/>
                    </a:cubicBezTo>
                    <a:cubicBezTo>
                      <a:pt x="1838" y="2042"/>
                      <a:pt x="1831" y="2043"/>
                      <a:pt x="1825" y="2042"/>
                    </a:cubicBezTo>
                    <a:cubicBezTo>
                      <a:pt x="1817" y="2040"/>
                      <a:pt x="1812" y="2037"/>
                      <a:pt x="1808" y="2032"/>
                    </a:cubicBezTo>
                    <a:cubicBezTo>
                      <a:pt x="1805" y="2027"/>
                      <a:pt x="1802" y="2018"/>
                      <a:pt x="1802" y="2005"/>
                    </a:cubicBezTo>
                    <a:cubicBezTo>
                      <a:pt x="1803" y="1973"/>
                      <a:pt x="1802" y="1904"/>
                      <a:pt x="1813" y="1843"/>
                    </a:cubicBezTo>
                    <a:cubicBezTo>
                      <a:pt x="1819" y="1813"/>
                      <a:pt x="1828" y="1785"/>
                      <a:pt x="1840" y="1765"/>
                    </a:cubicBezTo>
                    <a:cubicBezTo>
                      <a:pt x="1853" y="1746"/>
                      <a:pt x="1867" y="1736"/>
                      <a:pt x="1888" y="1735"/>
                    </a:cubicBezTo>
                    <a:close/>
                    <a:moveTo>
                      <a:pt x="2451" y="1784"/>
                    </a:moveTo>
                    <a:cubicBezTo>
                      <a:pt x="2469" y="1788"/>
                      <a:pt x="2475" y="1828"/>
                      <a:pt x="2465" y="1828"/>
                    </a:cubicBezTo>
                    <a:cubicBezTo>
                      <a:pt x="2455" y="1828"/>
                      <a:pt x="2425" y="1790"/>
                      <a:pt x="2451" y="1784"/>
                    </a:cubicBezTo>
                    <a:close/>
                    <a:moveTo>
                      <a:pt x="4754" y="1792"/>
                    </a:moveTo>
                    <a:cubicBezTo>
                      <a:pt x="4913" y="1851"/>
                      <a:pt x="4927" y="2073"/>
                      <a:pt x="4951" y="2276"/>
                    </a:cubicBezTo>
                    <a:cubicBezTo>
                      <a:pt x="4937" y="2294"/>
                      <a:pt x="4924" y="2312"/>
                      <a:pt x="4911" y="2329"/>
                    </a:cubicBezTo>
                    <a:cubicBezTo>
                      <a:pt x="4852" y="2407"/>
                      <a:pt x="4793" y="2479"/>
                      <a:pt x="4724" y="2547"/>
                    </a:cubicBezTo>
                    <a:cubicBezTo>
                      <a:pt x="4705" y="2471"/>
                      <a:pt x="4687" y="2406"/>
                      <a:pt x="4677" y="2374"/>
                    </a:cubicBezTo>
                    <a:cubicBezTo>
                      <a:pt x="4770" y="2156"/>
                      <a:pt x="4836" y="1907"/>
                      <a:pt x="4754" y="1792"/>
                    </a:cubicBezTo>
                    <a:close/>
                    <a:moveTo>
                      <a:pt x="2232" y="1856"/>
                    </a:moveTo>
                    <a:cubicBezTo>
                      <a:pt x="2257" y="1853"/>
                      <a:pt x="2264" y="1916"/>
                      <a:pt x="2251" y="1922"/>
                    </a:cubicBezTo>
                    <a:cubicBezTo>
                      <a:pt x="2231" y="1931"/>
                      <a:pt x="2213" y="1868"/>
                      <a:pt x="2227" y="1858"/>
                    </a:cubicBezTo>
                    <a:cubicBezTo>
                      <a:pt x="2229" y="1857"/>
                      <a:pt x="2230" y="1856"/>
                      <a:pt x="2232" y="1856"/>
                    </a:cubicBezTo>
                    <a:close/>
                    <a:moveTo>
                      <a:pt x="1910" y="1866"/>
                    </a:moveTo>
                    <a:cubicBezTo>
                      <a:pt x="1916" y="1866"/>
                      <a:pt x="1923" y="1875"/>
                      <a:pt x="1916" y="1884"/>
                    </a:cubicBezTo>
                    <a:cubicBezTo>
                      <a:pt x="1909" y="1894"/>
                      <a:pt x="1905" y="1933"/>
                      <a:pt x="1898" y="1937"/>
                    </a:cubicBezTo>
                    <a:cubicBezTo>
                      <a:pt x="1891" y="1941"/>
                      <a:pt x="1885" y="1892"/>
                      <a:pt x="1882" y="1883"/>
                    </a:cubicBezTo>
                    <a:cubicBezTo>
                      <a:pt x="1879" y="1875"/>
                      <a:pt x="1896" y="1866"/>
                      <a:pt x="1910" y="1866"/>
                    </a:cubicBezTo>
                    <a:close/>
                    <a:moveTo>
                      <a:pt x="4169" y="2003"/>
                    </a:moveTo>
                    <a:cubicBezTo>
                      <a:pt x="4222" y="2009"/>
                      <a:pt x="4246" y="2260"/>
                      <a:pt x="4172" y="2484"/>
                    </a:cubicBezTo>
                    <a:cubicBezTo>
                      <a:pt x="4144" y="2567"/>
                      <a:pt x="3956" y="2843"/>
                      <a:pt x="3925" y="2881"/>
                    </a:cubicBezTo>
                    <a:cubicBezTo>
                      <a:pt x="3916" y="2892"/>
                      <a:pt x="3904" y="2901"/>
                      <a:pt x="3890" y="2909"/>
                    </a:cubicBezTo>
                    <a:cubicBezTo>
                      <a:pt x="3783" y="2922"/>
                      <a:pt x="3683" y="2921"/>
                      <a:pt x="3592" y="2909"/>
                    </a:cubicBezTo>
                    <a:cubicBezTo>
                      <a:pt x="3593" y="2907"/>
                      <a:pt x="3594" y="2906"/>
                      <a:pt x="3595" y="2904"/>
                    </a:cubicBezTo>
                    <a:cubicBezTo>
                      <a:pt x="3597" y="2900"/>
                      <a:pt x="3598" y="2895"/>
                      <a:pt x="3599" y="2890"/>
                    </a:cubicBezTo>
                    <a:cubicBezTo>
                      <a:pt x="3600" y="2886"/>
                      <a:pt x="3601" y="2880"/>
                      <a:pt x="3602" y="2875"/>
                    </a:cubicBezTo>
                    <a:cubicBezTo>
                      <a:pt x="3602" y="2869"/>
                      <a:pt x="3603" y="2863"/>
                      <a:pt x="3603" y="2856"/>
                    </a:cubicBezTo>
                    <a:cubicBezTo>
                      <a:pt x="3604" y="2849"/>
                      <a:pt x="3604" y="2842"/>
                      <a:pt x="3604" y="2834"/>
                    </a:cubicBezTo>
                    <a:cubicBezTo>
                      <a:pt x="3604" y="2826"/>
                      <a:pt x="3604" y="2818"/>
                      <a:pt x="3604" y="2810"/>
                    </a:cubicBezTo>
                    <a:cubicBezTo>
                      <a:pt x="3604" y="2801"/>
                      <a:pt x="3604" y="2792"/>
                      <a:pt x="3604" y="2783"/>
                    </a:cubicBezTo>
                    <a:cubicBezTo>
                      <a:pt x="3603" y="2755"/>
                      <a:pt x="3601" y="2723"/>
                      <a:pt x="3599" y="2689"/>
                    </a:cubicBezTo>
                    <a:cubicBezTo>
                      <a:pt x="3721" y="2610"/>
                      <a:pt x="3857" y="2519"/>
                      <a:pt x="3934" y="2451"/>
                    </a:cubicBezTo>
                    <a:cubicBezTo>
                      <a:pt x="4163" y="2251"/>
                      <a:pt x="4120" y="2036"/>
                      <a:pt x="4152" y="2010"/>
                    </a:cubicBezTo>
                    <a:cubicBezTo>
                      <a:pt x="4158" y="2005"/>
                      <a:pt x="4164" y="2003"/>
                      <a:pt x="4169" y="2003"/>
                    </a:cubicBezTo>
                    <a:close/>
                    <a:moveTo>
                      <a:pt x="2641" y="2087"/>
                    </a:moveTo>
                    <a:cubicBezTo>
                      <a:pt x="2642" y="2087"/>
                      <a:pt x="2644" y="2087"/>
                      <a:pt x="2645" y="2087"/>
                    </a:cubicBezTo>
                    <a:cubicBezTo>
                      <a:pt x="2652" y="2088"/>
                      <a:pt x="2658" y="2090"/>
                      <a:pt x="2664" y="2093"/>
                    </a:cubicBezTo>
                    <a:cubicBezTo>
                      <a:pt x="2670" y="2096"/>
                      <a:pt x="2676" y="2099"/>
                      <a:pt x="2681" y="2107"/>
                    </a:cubicBezTo>
                    <a:cubicBezTo>
                      <a:pt x="2683" y="2111"/>
                      <a:pt x="2685" y="2118"/>
                      <a:pt x="2683" y="2124"/>
                    </a:cubicBezTo>
                    <a:cubicBezTo>
                      <a:pt x="2681" y="2130"/>
                      <a:pt x="2676" y="2133"/>
                      <a:pt x="2672" y="2136"/>
                    </a:cubicBezTo>
                    <a:cubicBezTo>
                      <a:pt x="2664" y="2140"/>
                      <a:pt x="2654" y="2142"/>
                      <a:pt x="2638" y="2144"/>
                    </a:cubicBezTo>
                    <a:cubicBezTo>
                      <a:pt x="2587" y="2148"/>
                      <a:pt x="2558" y="2161"/>
                      <a:pt x="2553" y="2163"/>
                    </a:cubicBezTo>
                    <a:cubicBezTo>
                      <a:pt x="2551" y="2167"/>
                      <a:pt x="2532" y="2200"/>
                      <a:pt x="2510" y="2240"/>
                    </a:cubicBezTo>
                    <a:cubicBezTo>
                      <a:pt x="2487" y="2282"/>
                      <a:pt x="2461" y="2329"/>
                      <a:pt x="2456" y="2341"/>
                    </a:cubicBezTo>
                    <a:cubicBezTo>
                      <a:pt x="2450" y="2354"/>
                      <a:pt x="2429" y="2402"/>
                      <a:pt x="2408" y="2448"/>
                    </a:cubicBezTo>
                    <a:cubicBezTo>
                      <a:pt x="2397" y="2471"/>
                      <a:pt x="2386" y="2494"/>
                      <a:pt x="2376" y="2513"/>
                    </a:cubicBezTo>
                    <a:cubicBezTo>
                      <a:pt x="2371" y="2522"/>
                      <a:pt x="2366" y="2530"/>
                      <a:pt x="2362" y="2537"/>
                    </a:cubicBezTo>
                    <a:cubicBezTo>
                      <a:pt x="2357" y="2544"/>
                      <a:pt x="2354" y="2549"/>
                      <a:pt x="2348" y="2553"/>
                    </a:cubicBezTo>
                    <a:cubicBezTo>
                      <a:pt x="2337" y="2561"/>
                      <a:pt x="2323" y="2565"/>
                      <a:pt x="2303" y="2571"/>
                    </a:cubicBezTo>
                    <a:cubicBezTo>
                      <a:pt x="2283" y="2576"/>
                      <a:pt x="2258" y="2581"/>
                      <a:pt x="2232" y="2584"/>
                    </a:cubicBezTo>
                    <a:cubicBezTo>
                      <a:pt x="2180" y="2591"/>
                      <a:pt x="2122" y="2594"/>
                      <a:pt x="2084" y="2577"/>
                    </a:cubicBezTo>
                    <a:cubicBezTo>
                      <a:pt x="2050" y="2563"/>
                      <a:pt x="2016" y="2546"/>
                      <a:pt x="1987" y="2531"/>
                    </a:cubicBezTo>
                    <a:cubicBezTo>
                      <a:pt x="1957" y="2517"/>
                      <a:pt x="1931" y="2506"/>
                      <a:pt x="1919" y="2504"/>
                    </a:cubicBezTo>
                    <a:cubicBezTo>
                      <a:pt x="1902" y="2502"/>
                      <a:pt x="1850" y="2492"/>
                      <a:pt x="1801" y="2479"/>
                    </a:cubicBezTo>
                    <a:cubicBezTo>
                      <a:pt x="1776" y="2473"/>
                      <a:pt x="1752" y="2465"/>
                      <a:pt x="1733" y="2457"/>
                    </a:cubicBezTo>
                    <a:cubicBezTo>
                      <a:pt x="1723" y="2453"/>
                      <a:pt x="1714" y="2448"/>
                      <a:pt x="1707" y="2443"/>
                    </a:cubicBezTo>
                    <a:cubicBezTo>
                      <a:pt x="1700" y="2437"/>
                      <a:pt x="1694" y="2431"/>
                      <a:pt x="1692" y="2421"/>
                    </a:cubicBezTo>
                    <a:lnTo>
                      <a:pt x="1692" y="2421"/>
                    </a:lnTo>
                    <a:lnTo>
                      <a:pt x="1692" y="2420"/>
                    </a:lnTo>
                    <a:cubicBezTo>
                      <a:pt x="1691" y="2417"/>
                      <a:pt x="1692" y="2413"/>
                      <a:pt x="1694" y="2409"/>
                    </a:cubicBezTo>
                    <a:cubicBezTo>
                      <a:pt x="1697" y="2405"/>
                      <a:pt x="1701" y="2403"/>
                      <a:pt x="1703" y="2403"/>
                    </a:cubicBezTo>
                    <a:cubicBezTo>
                      <a:pt x="1709" y="2401"/>
                      <a:pt x="1711" y="2402"/>
                      <a:pt x="1713" y="2403"/>
                    </a:cubicBezTo>
                    <a:cubicBezTo>
                      <a:pt x="1718" y="2404"/>
                      <a:pt x="1723" y="2405"/>
                      <a:pt x="1728" y="2407"/>
                    </a:cubicBezTo>
                    <a:cubicBezTo>
                      <a:pt x="1740" y="2412"/>
                      <a:pt x="1755" y="2418"/>
                      <a:pt x="1772" y="2425"/>
                    </a:cubicBezTo>
                    <a:cubicBezTo>
                      <a:pt x="1806" y="2438"/>
                      <a:pt x="1848" y="2450"/>
                      <a:pt x="1877" y="2446"/>
                    </a:cubicBezTo>
                    <a:cubicBezTo>
                      <a:pt x="1884" y="2444"/>
                      <a:pt x="1919" y="2437"/>
                      <a:pt x="1965" y="2427"/>
                    </a:cubicBezTo>
                    <a:cubicBezTo>
                      <a:pt x="2010" y="2417"/>
                      <a:pt x="2068" y="2404"/>
                      <a:pt x="2125" y="2390"/>
                    </a:cubicBezTo>
                    <a:cubicBezTo>
                      <a:pt x="2183" y="2377"/>
                      <a:pt x="2240" y="2363"/>
                      <a:pt x="2284" y="2351"/>
                    </a:cubicBezTo>
                    <a:cubicBezTo>
                      <a:pt x="2306" y="2345"/>
                      <a:pt x="2325" y="2340"/>
                      <a:pt x="2339" y="2336"/>
                    </a:cubicBezTo>
                    <a:cubicBezTo>
                      <a:pt x="2346" y="2334"/>
                      <a:pt x="2352" y="2332"/>
                      <a:pt x="2356" y="2330"/>
                    </a:cubicBezTo>
                    <a:cubicBezTo>
                      <a:pt x="2360" y="2329"/>
                      <a:pt x="2361" y="2328"/>
                      <a:pt x="2361" y="2328"/>
                    </a:cubicBezTo>
                    <a:cubicBezTo>
                      <a:pt x="2378" y="2311"/>
                      <a:pt x="2424" y="2265"/>
                      <a:pt x="2458" y="2224"/>
                    </a:cubicBezTo>
                    <a:cubicBezTo>
                      <a:pt x="2473" y="2206"/>
                      <a:pt x="2483" y="2190"/>
                      <a:pt x="2489" y="2180"/>
                    </a:cubicBezTo>
                    <a:cubicBezTo>
                      <a:pt x="2469" y="2186"/>
                      <a:pt x="2457" y="2188"/>
                      <a:pt x="2448" y="2185"/>
                    </a:cubicBezTo>
                    <a:cubicBezTo>
                      <a:pt x="2442" y="2183"/>
                      <a:pt x="2437" y="2179"/>
                      <a:pt x="2434" y="2174"/>
                    </a:cubicBezTo>
                    <a:cubicBezTo>
                      <a:pt x="2432" y="2169"/>
                      <a:pt x="2433" y="2163"/>
                      <a:pt x="2433" y="2163"/>
                    </a:cubicBezTo>
                    <a:lnTo>
                      <a:pt x="2434" y="2160"/>
                    </a:lnTo>
                    <a:lnTo>
                      <a:pt x="2436" y="2157"/>
                    </a:lnTo>
                    <a:cubicBezTo>
                      <a:pt x="2441" y="2151"/>
                      <a:pt x="2446" y="2149"/>
                      <a:pt x="2453" y="2145"/>
                    </a:cubicBezTo>
                    <a:cubicBezTo>
                      <a:pt x="2459" y="2142"/>
                      <a:pt x="2467" y="2138"/>
                      <a:pt x="2476" y="2134"/>
                    </a:cubicBezTo>
                    <a:cubicBezTo>
                      <a:pt x="2495" y="2127"/>
                      <a:pt x="2517" y="2119"/>
                      <a:pt x="2540" y="2112"/>
                    </a:cubicBezTo>
                    <a:cubicBezTo>
                      <a:pt x="2563" y="2105"/>
                      <a:pt x="2585" y="2098"/>
                      <a:pt x="2604" y="2094"/>
                    </a:cubicBezTo>
                    <a:cubicBezTo>
                      <a:pt x="2613" y="2092"/>
                      <a:pt x="2621" y="2090"/>
                      <a:pt x="2628" y="2089"/>
                    </a:cubicBezTo>
                    <a:cubicBezTo>
                      <a:pt x="2633" y="2088"/>
                      <a:pt x="2636" y="2087"/>
                      <a:pt x="2641" y="2087"/>
                    </a:cubicBezTo>
                    <a:lnTo>
                      <a:pt x="2641" y="2087"/>
                    </a:lnTo>
                    <a:close/>
                    <a:moveTo>
                      <a:pt x="2818" y="2340"/>
                    </a:moveTo>
                    <a:lnTo>
                      <a:pt x="2818" y="2340"/>
                    </a:lnTo>
                    <a:lnTo>
                      <a:pt x="2818" y="2340"/>
                    </a:lnTo>
                    <a:cubicBezTo>
                      <a:pt x="2818" y="2340"/>
                      <a:pt x="2818" y="2340"/>
                      <a:pt x="2818" y="2340"/>
                    </a:cubicBezTo>
                    <a:close/>
                    <a:moveTo>
                      <a:pt x="2360" y="2359"/>
                    </a:moveTo>
                    <a:cubicBezTo>
                      <a:pt x="2358" y="2359"/>
                      <a:pt x="2356" y="2360"/>
                      <a:pt x="2353" y="2361"/>
                    </a:cubicBezTo>
                    <a:cubicBezTo>
                      <a:pt x="2331" y="2369"/>
                      <a:pt x="2001" y="2456"/>
                      <a:pt x="1963" y="2461"/>
                    </a:cubicBezTo>
                    <a:cubicBezTo>
                      <a:pt x="1938" y="2465"/>
                      <a:pt x="1942" y="2473"/>
                      <a:pt x="1954" y="2486"/>
                    </a:cubicBezTo>
                    <a:cubicBezTo>
                      <a:pt x="1996" y="2530"/>
                      <a:pt x="2066" y="2552"/>
                      <a:pt x="2133" y="2560"/>
                    </a:cubicBezTo>
                    <a:cubicBezTo>
                      <a:pt x="2154" y="2564"/>
                      <a:pt x="2188" y="2556"/>
                      <a:pt x="2203" y="2556"/>
                    </a:cubicBezTo>
                    <a:cubicBezTo>
                      <a:pt x="2217" y="2556"/>
                      <a:pt x="2271" y="2552"/>
                      <a:pt x="2281" y="2549"/>
                    </a:cubicBezTo>
                    <a:cubicBezTo>
                      <a:pt x="2292" y="2546"/>
                      <a:pt x="2324" y="2531"/>
                      <a:pt x="2331" y="2527"/>
                    </a:cubicBezTo>
                    <a:cubicBezTo>
                      <a:pt x="2338" y="2524"/>
                      <a:pt x="2355" y="2491"/>
                      <a:pt x="2361" y="2480"/>
                    </a:cubicBezTo>
                    <a:cubicBezTo>
                      <a:pt x="2366" y="2470"/>
                      <a:pt x="2369" y="2455"/>
                      <a:pt x="2364" y="2449"/>
                    </a:cubicBezTo>
                    <a:lnTo>
                      <a:pt x="2364" y="2449"/>
                    </a:lnTo>
                    <a:cubicBezTo>
                      <a:pt x="2363" y="2448"/>
                      <a:pt x="2362" y="2447"/>
                      <a:pt x="2361" y="2447"/>
                    </a:cubicBezTo>
                    <a:cubicBezTo>
                      <a:pt x="2361" y="2447"/>
                      <a:pt x="2360" y="2447"/>
                      <a:pt x="2360" y="2447"/>
                    </a:cubicBezTo>
                    <a:cubicBezTo>
                      <a:pt x="2360" y="2447"/>
                      <a:pt x="2360" y="2447"/>
                      <a:pt x="2360" y="2447"/>
                    </a:cubicBezTo>
                    <a:cubicBezTo>
                      <a:pt x="2360" y="2447"/>
                      <a:pt x="2360" y="2447"/>
                      <a:pt x="2360" y="2447"/>
                    </a:cubicBezTo>
                    <a:cubicBezTo>
                      <a:pt x="2360" y="2447"/>
                      <a:pt x="2360" y="2447"/>
                      <a:pt x="2360" y="2447"/>
                    </a:cubicBezTo>
                    <a:cubicBezTo>
                      <a:pt x="2360" y="2447"/>
                      <a:pt x="2360" y="2447"/>
                      <a:pt x="2360" y="2447"/>
                    </a:cubicBezTo>
                    <a:cubicBezTo>
                      <a:pt x="2357" y="2447"/>
                      <a:pt x="2356" y="2451"/>
                      <a:pt x="2354" y="2453"/>
                    </a:cubicBezTo>
                    <a:cubicBezTo>
                      <a:pt x="2352" y="2457"/>
                      <a:pt x="2340" y="2491"/>
                      <a:pt x="2325" y="2492"/>
                    </a:cubicBezTo>
                    <a:cubicBezTo>
                      <a:pt x="2318" y="2493"/>
                      <a:pt x="2303" y="2487"/>
                      <a:pt x="2298" y="2484"/>
                    </a:cubicBezTo>
                    <a:cubicBezTo>
                      <a:pt x="2296" y="2483"/>
                      <a:pt x="2290" y="2480"/>
                      <a:pt x="2283" y="2477"/>
                    </a:cubicBezTo>
                    <a:cubicBezTo>
                      <a:pt x="2277" y="2474"/>
                      <a:pt x="2270" y="2472"/>
                      <a:pt x="2265" y="2473"/>
                    </a:cubicBezTo>
                    <a:cubicBezTo>
                      <a:pt x="2262" y="2474"/>
                      <a:pt x="2232" y="2492"/>
                      <a:pt x="2216" y="2502"/>
                    </a:cubicBezTo>
                    <a:cubicBezTo>
                      <a:pt x="2213" y="2504"/>
                      <a:pt x="2210" y="2507"/>
                      <a:pt x="2206" y="2509"/>
                    </a:cubicBezTo>
                    <a:cubicBezTo>
                      <a:pt x="2206" y="2509"/>
                      <a:pt x="2206" y="2509"/>
                      <a:pt x="2206" y="2508"/>
                    </a:cubicBezTo>
                    <a:cubicBezTo>
                      <a:pt x="2207" y="2507"/>
                      <a:pt x="2211" y="2505"/>
                      <a:pt x="2216" y="2502"/>
                    </a:cubicBezTo>
                    <a:cubicBezTo>
                      <a:pt x="2235" y="2485"/>
                      <a:pt x="2249" y="2460"/>
                      <a:pt x="2273" y="2448"/>
                    </a:cubicBezTo>
                    <a:cubicBezTo>
                      <a:pt x="2279" y="2444"/>
                      <a:pt x="2294" y="2457"/>
                      <a:pt x="2301" y="2462"/>
                    </a:cubicBezTo>
                    <a:cubicBezTo>
                      <a:pt x="2308" y="2468"/>
                      <a:pt x="2313" y="2473"/>
                      <a:pt x="2324" y="2471"/>
                    </a:cubicBezTo>
                    <a:cubicBezTo>
                      <a:pt x="2336" y="2469"/>
                      <a:pt x="2340" y="2456"/>
                      <a:pt x="2342" y="2452"/>
                    </a:cubicBezTo>
                    <a:cubicBezTo>
                      <a:pt x="2353" y="2428"/>
                      <a:pt x="2365" y="2408"/>
                      <a:pt x="2375" y="2384"/>
                    </a:cubicBezTo>
                    <a:cubicBezTo>
                      <a:pt x="2380" y="2372"/>
                      <a:pt x="2374" y="2358"/>
                      <a:pt x="2360" y="2359"/>
                    </a:cubicBezTo>
                    <a:close/>
                    <a:moveTo>
                      <a:pt x="2739" y="2552"/>
                    </a:moveTo>
                    <a:cubicBezTo>
                      <a:pt x="2732" y="2560"/>
                      <a:pt x="2725" y="2567"/>
                      <a:pt x="2717" y="2574"/>
                    </a:cubicBezTo>
                    <a:cubicBezTo>
                      <a:pt x="2653" y="2634"/>
                      <a:pt x="2566" y="2697"/>
                      <a:pt x="2485" y="2772"/>
                    </a:cubicBezTo>
                    <a:cubicBezTo>
                      <a:pt x="2399" y="2850"/>
                      <a:pt x="2267" y="2862"/>
                      <a:pt x="2170" y="2862"/>
                    </a:cubicBezTo>
                    <a:lnTo>
                      <a:pt x="2170" y="2862"/>
                    </a:lnTo>
                    <a:lnTo>
                      <a:pt x="2169" y="2862"/>
                    </a:lnTo>
                    <a:cubicBezTo>
                      <a:pt x="2151" y="2863"/>
                      <a:pt x="2120" y="2855"/>
                      <a:pt x="2089" y="2842"/>
                    </a:cubicBezTo>
                    <a:cubicBezTo>
                      <a:pt x="2058" y="2830"/>
                      <a:pt x="2027" y="2814"/>
                      <a:pt x="2006" y="2801"/>
                    </a:cubicBezTo>
                    <a:lnTo>
                      <a:pt x="2006" y="2801"/>
                    </a:lnTo>
                    <a:cubicBezTo>
                      <a:pt x="1989" y="2790"/>
                      <a:pt x="1970" y="2778"/>
                      <a:pt x="1951" y="2765"/>
                    </a:cubicBezTo>
                    <a:cubicBezTo>
                      <a:pt x="1970" y="2778"/>
                      <a:pt x="1989" y="2790"/>
                      <a:pt x="2006" y="2801"/>
                    </a:cubicBezTo>
                    <a:lnTo>
                      <a:pt x="2006" y="2801"/>
                    </a:lnTo>
                    <a:cubicBezTo>
                      <a:pt x="2027" y="2813"/>
                      <a:pt x="2058" y="2830"/>
                      <a:pt x="2089" y="2842"/>
                    </a:cubicBezTo>
                    <a:cubicBezTo>
                      <a:pt x="2120" y="2855"/>
                      <a:pt x="2151" y="2863"/>
                      <a:pt x="2169" y="2862"/>
                    </a:cubicBezTo>
                    <a:lnTo>
                      <a:pt x="2170" y="2862"/>
                    </a:lnTo>
                    <a:lnTo>
                      <a:pt x="2170" y="2862"/>
                    </a:lnTo>
                    <a:cubicBezTo>
                      <a:pt x="2267" y="2862"/>
                      <a:pt x="2399" y="2850"/>
                      <a:pt x="2485" y="2772"/>
                    </a:cubicBezTo>
                    <a:cubicBezTo>
                      <a:pt x="2566" y="2697"/>
                      <a:pt x="2653" y="2634"/>
                      <a:pt x="2717" y="2574"/>
                    </a:cubicBezTo>
                    <a:cubicBezTo>
                      <a:pt x="2725" y="2567"/>
                      <a:pt x="2732" y="2560"/>
                      <a:pt x="2739" y="2552"/>
                    </a:cubicBezTo>
                    <a:close/>
                    <a:moveTo>
                      <a:pt x="2016" y="2590"/>
                    </a:moveTo>
                    <a:cubicBezTo>
                      <a:pt x="2020" y="2590"/>
                      <a:pt x="2025" y="2591"/>
                      <a:pt x="2029" y="2592"/>
                    </a:cubicBezTo>
                    <a:cubicBezTo>
                      <a:pt x="2050" y="2649"/>
                      <a:pt x="2107" y="2640"/>
                      <a:pt x="2224" y="2622"/>
                    </a:cubicBezTo>
                    <a:cubicBezTo>
                      <a:pt x="2254" y="2616"/>
                      <a:pt x="2309" y="2625"/>
                      <a:pt x="2309" y="2637"/>
                    </a:cubicBezTo>
                    <a:cubicBezTo>
                      <a:pt x="2326" y="2688"/>
                      <a:pt x="2087" y="2700"/>
                      <a:pt x="2067" y="2703"/>
                    </a:cubicBezTo>
                    <a:cubicBezTo>
                      <a:pt x="2047" y="2705"/>
                      <a:pt x="2026" y="2703"/>
                      <a:pt x="2014" y="2691"/>
                    </a:cubicBezTo>
                    <a:cubicBezTo>
                      <a:pt x="2001" y="2678"/>
                      <a:pt x="1997" y="2613"/>
                      <a:pt x="1999" y="2600"/>
                    </a:cubicBezTo>
                    <a:cubicBezTo>
                      <a:pt x="2001" y="2593"/>
                      <a:pt x="2008" y="2590"/>
                      <a:pt x="2016" y="2590"/>
                    </a:cubicBezTo>
                    <a:close/>
                    <a:moveTo>
                      <a:pt x="3440" y="2867"/>
                    </a:moveTo>
                    <a:cubicBezTo>
                      <a:pt x="3439" y="2870"/>
                      <a:pt x="3439" y="2873"/>
                      <a:pt x="3438" y="2876"/>
                    </a:cubicBezTo>
                    <a:cubicBezTo>
                      <a:pt x="3437" y="2876"/>
                      <a:pt x="3436" y="2876"/>
                      <a:pt x="3435" y="2875"/>
                    </a:cubicBezTo>
                    <a:cubicBezTo>
                      <a:pt x="3436" y="2874"/>
                      <a:pt x="3436" y="2874"/>
                      <a:pt x="3437" y="2873"/>
                    </a:cubicBezTo>
                    <a:cubicBezTo>
                      <a:pt x="3438" y="2871"/>
                      <a:pt x="3439" y="2869"/>
                      <a:pt x="3440" y="2867"/>
                    </a:cubicBezTo>
                    <a:close/>
                    <a:moveTo>
                      <a:pt x="3526" y="2869"/>
                    </a:moveTo>
                    <a:cubicBezTo>
                      <a:pt x="3532" y="2880"/>
                      <a:pt x="3538" y="2890"/>
                      <a:pt x="3543" y="2899"/>
                    </a:cubicBezTo>
                    <a:cubicBezTo>
                      <a:pt x="3544" y="2900"/>
                      <a:pt x="3545" y="2901"/>
                      <a:pt x="3545" y="2902"/>
                    </a:cubicBezTo>
                    <a:cubicBezTo>
                      <a:pt x="3541" y="2901"/>
                      <a:pt x="3537" y="2900"/>
                      <a:pt x="3532" y="2900"/>
                    </a:cubicBezTo>
                    <a:cubicBezTo>
                      <a:pt x="3532" y="2900"/>
                      <a:pt x="3532" y="2899"/>
                      <a:pt x="3532" y="2899"/>
                    </a:cubicBezTo>
                    <a:cubicBezTo>
                      <a:pt x="3530" y="2888"/>
                      <a:pt x="3528" y="2878"/>
                      <a:pt x="3526" y="2869"/>
                    </a:cubicBezTo>
                    <a:close/>
                    <a:moveTo>
                      <a:pt x="3174" y="3529"/>
                    </a:moveTo>
                    <a:cubicBezTo>
                      <a:pt x="3156" y="3530"/>
                      <a:pt x="3138" y="3530"/>
                      <a:pt x="3119" y="3532"/>
                    </a:cubicBezTo>
                    <a:lnTo>
                      <a:pt x="3129" y="4524"/>
                    </a:lnTo>
                    <a:cubicBezTo>
                      <a:pt x="3129" y="4524"/>
                      <a:pt x="3176" y="4515"/>
                      <a:pt x="3190" y="4514"/>
                    </a:cubicBezTo>
                    <a:cubicBezTo>
                      <a:pt x="3231" y="4510"/>
                      <a:pt x="3251" y="4514"/>
                      <a:pt x="3292" y="4506"/>
                    </a:cubicBezTo>
                    <a:lnTo>
                      <a:pt x="3290" y="4296"/>
                    </a:lnTo>
                    <a:lnTo>
                      <a:pt x="3296" y="4288"/>
                    </a:lnTo>
                    <a:cubicBezTo>
                      <a:pt x="3786" y="4199"/>
                      <a:pt x="3727" y="3526"/>
                      <a:pt x="3174" y="3529"/>
                    </a:cubicBezTo>
                    <a:close/>
                    <a:moveTo>
                      <a:pt x="3936" y="3544"/>
                    </a:moveTo>
                    <a:cubicBezTo>
                      <a:pt x="3925" y="3544"/>
                      <a:pt x="3913" y="3544"/>
                      <a:pt x="3913" y="3565"/>
                    </a:cubicBezTo>
                    <a:lnTo>
                      <a:pt x="3913" y="4541"/>
                    </a:lnTo>
                    <a:cubicBezTo>
                      <a:pt x="3914" y="4554"/>
                      <a:pt x="3928" y="4550"/>
                      <a:pt x="3942" y="4551"/>
                    </a:cubicBezTo>
                    <a:cubicBezTo>
                      <a:pt x="4540" y="4581"/>
                      <a:pt x="4676" y="3596"/>
                      <a:pt x="3936" y="3544"/>
                    </a:cubicBezTo>
                    <a:close/>
                    <a:moveTo>
                      <a:pt x="4513" y="3560"/>
                    </a:moveTo>
                    <a:lnTo>
                      <a:pt x="4513" y="3560"/>
                    </a:lnTo>
                    <a:cubicBezTo>
                      <a:pt x="4501" y="3561"/>
                      <a:pt x="4498" y="3566"/>
                      <a:pt x="4498" y="3573"/>
                    </a:cubicBezTo>
                    <a:lnTo>
                      <a:pt x="4496" y="4461"/>
                    </a:lnTo>
                    <a:cubicBezTo>
                      <a:pt x="4496" y="4479"/>
                      <a:pt x="4504" y="4488"/>
                      <a:pt x="4516" y="4488"/>
                    </a:cubicBezTo>
                    <a:lnTo>
                      <a:pt x="4940" y="4500"/>
                    </a:lnTo>
                    <a:cubicBezTo>
                      <a:pt x="4947" y="4500"/>
                      <a:pt x="4947" y="4495"/>
                      <a:pt x="4946" y="4490"/>
                    </a:cubicBezTo>
                    <a:lnTo>
                      <a:pt x="4938" y="4325"/>
                    </a:lnTo>
                    <a:lnTo>
                      <a:pt x="4667" y="4331"/>
                    </a:lnTo>
                    <a:cubicBezTo>
                      <a:pt x="4661" y="4331"/>
                      <a:pt x="4654" y="4325"/>
                      <a:pt x="4655" y="4310"/>
                    </a:cubicBezTo>
                    <a:lnTo>
                      <a:pt x="4657" y="4129"/>
                    </a:lnTo>
                    <a:cubicBezTo>
                      <a:pt x="4658" y="4121"/>
                      <a:pt x="4659" y="4113"/>
                      <a:pt x="4669" y="4113"/>
                    </a:cubicBezTo>
                    <a:lnTo>
                      <a:pt x="4851" y="4117"/>
                    </a:lnTo>
                    <a:lnTo>
                      <a:pt x="4883" y="4117"/>
                    </a:lnTo>
                    <a:lnTo>
                      <a:pt x="4875" y="3946"/>
                    </a:lnTo>
                    <a:lnTo>
                      <a:pt x="4669" y="3944"/>
                    </a:lnTo>
                    <a:cubicBezTo>
                      <a:pt x="4662" y="3943"/>
                      <a:pt x="4653" y="3946"/>
                      <a:pt x="4653" y="3929"/>
                    </a:cubicBezTo>
                    <a:lnTo>
                      <a:pt x="4655" y="3744"/>
                    </a:lnTo>
                    <a:cubicBezTo>
                      <a:pt x="4654" y="3732"/>
                      <a:pt x="4660" y="3727"/>
                      <a:pt x="4669" y="3728"/>
                    </a:cubicBezTo>
                    <a:lnTo>
                      <a:pt x="4950" y="3734"/>
                    </a:lnTo>
                    <a:lnTo>
                      <a:pt x="4942" y="3567"/>
                    </a:lnTo>
                    <a:lnTo>
                      <a:pt x="4518" y="3561"/>
                    </a:lnTo>
                    <a:cubicBezTo>
                      <a:pt x="4516" y="3560"/>
                      <a:pt x="4515" y="3560"/>
                      <a:pt x="4513" y="3560"/>
                    </a:cubicBezTo>
                    <a:close/>
                    <a:moveTo>
                      <a:pt x="5123" y="3563"/>
                    </a:moveTo>
                    <a:cubicBezTo>
                      <a:pt x="5094" y="3563"/>
                      <a:pt x="5064" y="3565"/>
                      <a:pt x="5032" y="3569"/>
                    </a:cubicBezTo>
                    <a:lnTo>
                      <a:pt x="5014" y="3579"/>
                    </a:lnTo>
                    <a:lnTo>
                      <a:pt x="5020" y="4522"/>
                    </a:lnTo>
                    <a:lnTo>
                      <a:pt x="5166" y="4520"/>
                    </a:lnTo>
                    <a:cubicBezTo>
                      <a:pt x="5169" y="4520"/>
                      <a:pt x="5176" y="4518"/>
                      <a:pt x="5177" y="4516"/>
                    </a:cubicBezTo>
                    <a:lnTo>
                      <a:pt x="5179" y="4259"/>
                    </a:lnTo>
                    <a:lnTo>
                      <a:pt x="5219" y="4261"/>
                    </a:lnTo>
                    <a:lnTo>
                      <a:pt x="5364" y="4532"/>
                    </a:lnTo>
                    <a:lnTo>
                      <a:pt x="5547" y="4536"/>
                    </a:lnTo>
                    <a:lnTo>
                      <a:pt x="5378" y="4231"/>
                    </a:lnTo>
                    <a:cubicBezTo>
                      <a:pt x="5372" y="4223"/>
                      <a:pt x="5374" y="4217"/>
                      <a:pt x="5378" y="4213"/>
                    </a:cubicBezTo>
                    <a:cubicBezTo>
                      <a:pt x="5588" y="4000"/>
                      <a:pt x="5552" y="3563"/>
                      <a:pt x="5123" y="3563"/>
                    </a:cubicBezTo>
                    <a:close/>
                    <a:moveTo>
                      <a:pt x="2785" y="3566"/>
                    </a:moveTo>
                    <a:cubicBezTo>
                      <a:pt x="2710" y="3565"/>
                      <a:pt x="2635" y="3596"/>
                      <a:pt x="2581" y="3691"/>
                    </a:cubicBezTo>
                    <a:cubicBezTo>
                      <a:pt x="2374" y="4122"/>
                      <a:pt x="2969" y="4108"/>
                      <a:pt x="2897" y="4272"/>
                    </a:cubicBezTo>
                    <a:cubicBezTo>
                      <a:pt x="2824" y="4435"/>
                      <a:pt x="2634" y="4231"/>
                      <a:pt x="2634" y="4231"/>
                    </a:cubicBezTo>
                    <a:lnTo>
                      <a:pt x="2538" y="4390"/>
                    </a:lnTo>
                    <a:cubicBezTo>
                      <a:pt x="2553" y="4504"/>
                      <a:pt x="2976" y="4686"/>
                      <a:pt x="3047" y="4337"/>
                    </a:cubicBezTo>
                    <a:cubicBezTo>
                      <a:pt x="3123" y="3963"/>
                      <a:pt x="2640" y="4007"/>
                      <a:pt x="2707" y="3827"/>
                    </a:cubicBezTo>
                    <a:cubicBezTo>
                      <a:pt x="2751" y="3711"/>
                      <a:pt x="2950" y="3874"/>
                      <a:pt x="2950" y="3876"/>
                    </a:cubicBezTo>
                    <a:lnTo>
                      <a:pt x="2968" y="3872"/>
                    </a:lnTo>
                    <a:lnTo>
                      <a:pt x="3064" y="3717"/>
                    </a:lnTo>
                    <a:cubicBezTo>
                      <a:pt x="3072" y="3690"/>
                      <a:pt x="2929" y="3569"/>
                      <a:pt x="2785" y="3566"/>
                    </a:cubicBezTo>
                    <a:close/>
                    <a:moveTo>
                      <a:pt x="1574" y="3571"/>
                    </a:moveTo>
                    <a:lnTo>
                      <a:pt x="1132" y="3573"/>
                    </a:lnTo>
                    <a:lnTo>
                      <a:pt x="1130" y="4494"/>
                    </a:lnTo>
                    <a:lnTo>
                      <a:pt x="1576" y="4494"/>
                    </a:lnTo>
                    <a:lnTo>
                      <a:pt x="1576" y="4331"/>
                    </a:lnTo>
                    <a:lnTo>
                      <a:pt x="1287" y="4329"/>
                    </a:lnTo>
                    <a:lnTo>
                      <a:pt x="1287" y="4133"/>
                    </a:lnTo>
                    <a:cubicBezTo>
                      <a:pt x="1287" y="4127"/>
                      <a:pt x="1286" y="4121"/>
                      <a:pt x="1316" y="4119"/>
                    </a:cubicBezTo>
                    <a:lnTo>
                      <a:pt x="1517" y="4125"/>
                    </a:lnTo>
                    <a:cubicBezTo>
                      <a:pt x="1525" y="4120"/>
                      <a:pt x="1523" y="4113"/>
                      <a:pt x="1523" y="4107"/>
                    </a:cubicBezTo>
                    <a:lnTo>
                      <a:pt x="1523" y="3960"/>
                    </a:lnTo>
                    <a:cubicBezTo>
                      <a:pt x="1520" y="3956"/>
                      <a:pt x="1521" y="3951"/>
                      <a:pt x="1501" y="3950"/>
                    </a:cubicBezTo>
                    <a:lnTo>
                      <a:pt x="1289" y="3946"/>
                    </a:lnTo>
                    <a:lnTo>
                      <a:pt x="1285" y="3746"/>
                    </a:lnTo>
                    <a:cubicBezTo>
                      <a:pt x="1289" y="3736"/>
                      <a:pt x="1294" y="3739"/>
                      <a:pt x="1299" y="3738"/>
                    </a:cubicBezTo>
                    <a:lnTo>
                      <a:pt x="1574" y="3738"/>
                    </a:lnTo>
                    <a:lnTo>
                      <a:pt x="1574" y="3571"/>
                    </a:lnTo>
                    <a:close/>
                    <a:moveTo>
                      <a:pt x="3706" y="3585"/>
                    </a:moveTo>
                    <a:cubicBezTo>
                      <a:pt x="3697" y="3591"/>
                      <a:pt x="3694" y="3598"/>
                      <a:pt x="3695" y="3605"/>
                    </a:cubicBezTo>
                    <a:lnTo>
                      <a:pt x="3689" y="4504"/>
                    </a:lnTo>
                    <a:lnTo>
                      <a:pt x="3699" y="4506"/>
                    </a:lnTo>
                    <a:lnTo>
                      <a:pt x="3826" y="4510"/>
                    </a:lnTo>
                    <a:cubicBezTo>
                      <a:pt x="3833" y="4506"/>
                      <a:pt x="3838" y="4500"/>
                      <a:pt x="3838" y="4488"/>
                    </a:cubicBezTo>
                    <a:lnTo>
                      <a:pt x="3844" y="3693"/>
                    </a:lnTo>
                    <a:lnTo>
                      <a:pt x="3848" y="3603"/>
                    </a:lnTo>
                    <a:cubicBezTo>
                      <a:pt x="3844" y="3591"/>
                      <a:pt x="3837" y="3594"/>
                      <a:pt x="3832" y="3591"/>
                    </a:cubicBezTo>
                    <a:lnTo>
                      <a:pt x="3706" y="3585"/>
                    </a:lnTo>
                    <a:close/>
                    <a:moveTo>
                      <a:pt x="2143" y="3595"/>
                    </a:moveTo>
                    <a:lnTo>
                      <a:pt x="1642" y="3601"/>
                    </a:lnTo>
                    <a:lnTo>
                      <a:pt x="1646" y="3785"/>
                    </a:lnTo>
                    <a:cubicBezTo>
                      <a:pt x="1645" y="3796"/>
                      <a:pt x="1646" y="3806"/>
                      <a:pt x="1654" y="3813"/>
                    </a:cubicBezTo>
                    <a:lnTo>
                      <a:pt x="1947" y="3823"/>
                    </a:lnTo>
                    <a:cubicBezTo>
                      <a:pt x="1969" y="3831"/>
                      <a:pt x="1962" y="3846"/>
                      <a:pt x="1955" y="3862"/>
                    </a:cubicBezTo>
                    <a:lnTo>
                      <a:pt x="1646" y="4282"/>
                    </a:lnTo>
                    <a:lnTo>
                      <a:pt x="1646" y="4486"/>
                    </a:lnTo>
                    <a:cubicBezTo>
                      <a:pt x="1645" y="4497"/>
                      <a:pt x="1649" y="4506"/>
                      <a:pt x="1658" y="4518"/>
                    </a:cubicBezTo>
                    <a:lnTo>
                      <a:pt x="2157" y="4530"/>
                    </a:lnTo>
                    <a:lnTo>
                      <a:pt x="2151" y="4314"/>
                    </a:lnTo>
                    <a:cubicBezTo>
                      <a:pt x="2150" y="4307"/>
                      <a:pt x="2138" y="4304"/>
                      <a:pt x="2131" y="4304"/>
                    </a:cubicBezTo>
                    <a:lnTo>
                      <a:pt x="1868" y="4308"/>
                    </a:lnTo>
                    <a:cubicBezTo>
                      <a:pt x="1859" y="4308"/>
                      <a:pt x="1849" y="4309"/>
                      <a:pt x="1847" y="4300"/>
                    </a:cubicBezTo>
                    <a:lnTo>
                      <a:pt x="1847" y="4261"/>
                    </a:lnTo>
                    <a:lnTo>
                      <a:pt x="2155" y="3850"/>
                    </a:lnTo>
                    <a:lnTo>
                      <a:pt x="2157" y="3813"/>
                    </a:lnTo>
                    <a:lnTo>
                      <a:pt x="2161" y="3634"/>
                    </a:lnTo>
                    <a:cubicBezTo>
                      <a:pt x="2162" y="3613"/>
                      <a:pt x="2160" y="3596"/>
                      <a:pt x="2143" y="3595"/>
                    </a:cubicBezTo>
                    <a:close/>
                    <a:moveTo>
                      <a:pt x="625" y="3601"/>
                    </a:moveTo>
                    <a:lnTo>
                      <a:pt x="625" y="4522"/>
                    </a:lnTo>
                    <a:cubicBezTo>
                      <a:pt x="677" y="4518"/>
                      <a:pt x="728" y="4523"/>
                      <a:pt x="780" y="4528"/>
                    </a:cubicBezTo>
                    <a:lnTo>
                      <a:pt x="780" y="4151"/>
                    </a:lnTo>
                    <a:lnTo>
                      <a:pt x="1020" y="4149"/>
                    </a:lnTo>
                    <a:lnTo>
                      <a:pt x="1018" y="3980"/>
                    </a:lnTo>
                    <a:lnTo>
                      <a:pt x="788" y="3982"/>
                    </a:lnTo>
                    <a:lnTo>
                      <a:pt x="784" y="3766"/>
                    </a:lnTo>
                    <a:lnTo>
                      <a:pt x="1077" y="3768"/>
                    </a:lnTo>
                    <a:lnTo>
                      <a:pt x="1077" y="3601"/>
                    </a:lnTo>
                    <a:lnTo>
                      <a:pt x="625" y="3601"/>
                    </a:lnTo>
                    <a:close/>
                    <a:moveTo>
                      <a:pt x="3318" y="3754"/>
                    </a:moveTo>
                    <a:cubicBezTo>
                      <a:pt x="3556" y="3763"/>
                      <a:pt x="3542" y="4097"/>
                      <a:pt x="3316" y="4117"/>
                    </a:cubicBezTo>
                    <a:cubicBezTo>
                      <a:pt x="3294" y="4119"/>
                      <a:pt x="3290" y="4105"/>
                      <a:pt x="3288" y="4090"/>
                    </a:cubicBezTo>
                    <a:lnTo>
                      <a:pt x="3292" y="3781"/>
                    </a:lnTo>
                    <a:cubicBezTo>
                      <a:pt x="3292" y="3765"/>
                      <a:pt x="3299" y="3755"/>
                      <a:pt x="3318" y="3754"/>
                    </a:cubicBezTo>
                    <a:close/>
                    <a:moveTo>
                      <a:pt x="4782" y="3779"/>
                    </a:moveTo>
                    <a:cubicBezTo>
                      <a:pt x="4787" y="3794"/>
                      <a:pt x="4792" y="3810"/>
                      <a:pt x="4797" y="3825"/>
                    </a:cubicBezTo>
                    <a:cubicBezTo>
                      <a:pt x="4805" y="3850"/>
                      <a:pt x="4813" y="3873"/>
                      <a:pt x="4821" y="3896"/>
                    </a:cubicBezTo>
                    <a:lnTo>
                      <a:pt x="4922" y="3897"/>
                    </a:lnTo>
                    <a:lnTo>
                      <a:pt x="4931" y="4102"/>
                    </a:lnTo>
                    <a:cubicBezTo>
                      <a:pt x="4932" y="4101"/>
                      <a:pt x="4933" y="4100"/>
                      <a:pt x="4934" y="4099"/>
                    </a:cubicBezTo>
                    <a:cubicBezTo>
                      <a:pt x="4937" y="4094"/>
                      <a:pt x="4939" y="4089"/>
                      <a:pt x="4941" y="4082"/>
                    </a:cubicBezTo>
                    <a:cubicBezTo>
                      <a:pt x="4943" y="4076"/>
                      <a:pt x="4945" y="4070"/>
                      <a:pt x="4948" y="4063"/>
                    </a:cubicBezTo>
                    <a:cubicBezTo>
                      <a:pt x="4951" y="4077"/>
                      <a:pt x="4958" y="4092"/>
                      <a:pt x="4968" y="4106"/>
                    </a:cubicBezTo>
                    <a:lnTo>
                      <a:pt x="4966" y="3783"/>
                    </a:lnTo>
                    <a:lnTo>
                      <a:pt x="4782" y="3779"/>
                    </a:lnTo>
                    <a:close/>
                    <a:moveTo>
                      <a:pt x="5205" y="3788"/>
                    </a:moveTo>
                    <a:cubicBezTo>
                      <a:pt x="5210" y="3788"/>
                      <a:pt x="5214" y="3788"/>
                      <a:pt x="5218" y="3789"/>
                    </a:cubicBezTo>
                    <a:cubicBezTo>
                      <a:pt x="5429" y="3852"/>
                      <a:pt x="5354" y="4098"/>
                      <a:pt x="5212" y="4129"/>
                    </a:cubicBezTo>
                    <a:cubicBezTo>
                      <a:pt x="5194" y="4133"/>
                      <a:pt x="5175" y="4127"/>
                      <a:pt x="5173" y="4102"/>
                    </a:cubicBezTo>
                    <a:lnTo>
                      <a:pt x="5177" y="3811"/>
                    </a:lnTo>
                    <a:cubicBezTo>
                      <a:pt x="5181" y="3795"/>
                      <a:pt x="5193" y="3789"/>
                      <a:pt x="5205" y="3788"/>
                    </a:cubicBezTo>
                    <a:close/>
                    <a:moveTo>
                      <a:pt x="4095" y="3789"/>
                    </a:moveTo>
                    <a:cubicBezTo>
                      <a:pt x="4380" y="3818"/>
                      <a:pt x="4273" y="4322"/>
                      <a:pt x="4120" y="4320"/>
                    </a:cubicBezTo>
                    <a:cubicBezTo>
                      <a:pt x="4081" y="4319"/>
                      <a:pt x="4079" y="4310"/>
                      <a:pt x="4078" y="4280"/>
                    </a:cubicBezTo>
                    <a:lnTo>
                      <a:pt x="4080" y="3807"/>
                    </a:lnTo>
                    <a:cubicBezTo>
                      <a:pt x="4079" y="3798"/>
                      <a:pt x="4083" y="3792"/>
                      <a:pt x="4095" y="3789"/>
                    </a:cubicBezTo>
                    <a:close/>
                    <a:moveTo>
                      <a:pt x="3340" y="3806"/>
                    </a:moveTo>
                    <a:lnTo>
                      <a:pt x="3337" y="4064"/>
                    </a:lnTo>
                    <a:cubicBezTo>
                      <a:pt x="3408" y="4047"/>
                      <a:pt x="3441" y="3989"/>
                      <a:pt x="3442" y="3930"/>
                    </a:cubicBezTo>
                    <a:cubicBezTo>
                      <a:pt x="3443" y="3898"/>
                      <a:pt x="3433" y="3866"/>
                      <a:pt x="3413" y="3844"/>
                    </a:cubicBezTo>
                    <a:cubicBezTo>
                      <a:pt x="3397" y="3825"/>
                      <a:pt x="3374" y="3811"/>
                      <a:pt x="3340" y="3806"/>
                    </a:cubicBezTo>
                    <a:close/>
                    <a:moveTo>
                      <a:pt x="5416" y="4243"/>
                    </a:moveTo>
                    <a:cubicBezTo>
                      <a:pt x="5415" y="4245"/>
                      <a:pt x="5414" y="4246"/>
                      <a:pt x="5412" y="4247"/>
                    </a:cubicBezTo>
                    <a:lnTo>
                      <a:pt x="5415" y="4244"/>
                    </a:lnTo>
                    <a:cubicBezTo>
                      <a:pt x="5415" y="4244"/>
                      <a:pt x="5416" y="4243"/>
                      <a:pt x="5416" y="4243"/>
                    </a:cubicBezTo>
                    <a:close/>
                    <a:moveTo>
                      <a:pt x="5449" y="4258"/>
                    </a:moveTo>
                    <a:lnTo>
                      <a:pt x="5489" y="4330"/>
                    </a:lnTo>
                    <a:cubicBezTo>
                      <a:pt x="5491" y="4328"/>
                      <a:pt x="5493" y="4326"/>
                      <a:pt x="5495" y="4323"/>
                    </a:cubicBezTo>
                    <a:cubicBezTo>
                      <a:pt x="5502" y="4315"/>
                      <a:pt x="5506" y="4304"/>
                      <a:pt x="5503" y="4293"/>
                    </a:cubicBezTo>
                    <a:lnTo>
                      <a:pt x="5502" y="4287"/>
                    </a:lnTo>
                    <a:lnTo>
                      <a:pt x="5496" y="4284"/>
                    </a:lnTo>
                    <a:cubicBezTo>
                      <a:pt x="5496" y="4284"/>
                      <a:pt x="5466" y="4267"/>
                      <a:pt x="5449" y="4258"/>
                    </a:cubicBezTo>
                    <a:close/>
                    <a:moveTo>
                      <a:pt x="3386" y="4312"/>
                    </a:moveTo>
                    <a:cubicBezTo>
                      <a:pt x="3371" y="4318"/>
                      <a:pt x="3355" y="4323"/>
                      <a:pt x="3339" y="4327"/>
                    </a:cubicBezTo>
                    <a:lnTo>
                      <a:pt x="3340" y="4405"/>
                    </a:lnTo>
                    <a:cubicBezTo>
                      <a:pt x="3344" y="4403"/>
                      <a:pt x="3348" y="4402"/>
                      <a:pt x="3352" y="4401"/>
                    </a:cubicBezTo>
                    <a:cubicBezTo>
                      <a:pt x="3362" y="4398"/>
                      <a:pt x="3370" y="4395"/>
                      <a:pt x="3377" y="4390"/>
                    </a:cubicBezTo>
                    <a:cubicBezTo>
                      <a:pt x="3380" y="4388"/>
                      <a:pt x="3383" y="4385"/>
                      <a:pt x="3386" y="4381"/>
                    </a:cubicBezTo>
                    <a:cubicBezTo>
                      <a:pt x="3389" y="4377"/>
                      <a:pt x="3391" y="4371"/>
                      <a:pt x="3390" y="4365"/>
                    </a:cubicBezTo>
                    <a:cubicBezTo>
                      <a:pt x="3386" y="4349"/>
                      <a:pt x="3385" y="4331"/>
                      <a:pt x="3386" y="43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Down Arrow 15"/>
            <p:cNvSpPr/>
            <p:nvPr/>
          </p:nvSpPr>
          <p:spPr>
            <a:xfrm>
              <a:off x="6744293" y="3553639"/>
              <a:ext cx="621559" cy="736473"/>
            </a:xfrm>
            <a:prstGeom prst="downArrow">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9720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SURE YOU USE MY FORK!!!!!!!!!</a:t>
            </a:r>
            <a:endParaRPr lang="en-US" dirty="0"/>
          </a:p>
        </p:txBody>
      </p:sp>
      <p:sp>
        <p:nvSpPr>
          <p:cNvPr id="4" name="TextBox 3"/>
          <p:cNvSpPr txBox="1"/>
          <p:nvPr/>
        </p:nvSpPr>
        <p:spPr>
          <a:xfrm>
            <a:off x="1441524" y="1204803"/>
            <a:ext cx="9278471" cy="1446550"/>
          </a:xfrm>
          <a:prstGeom prst="rect">
            <a:avLst/>
          </a:prstGeom>
          <a:noFill/>
        </p:spPr>
        <p:txBody>
          <a:bodyPr wrap="square" rtlCol="0">
            <a:spAutoFit/>
          </a:bodyPr>
          <a:lstStyle/>
          <a:p>
            <a:pPr algn="ctr"/>
            <a:r>
              <a:rPr lang="en-US" sz="8800" dirty="0" smtClean="0"/>
              <a:t>http://aka.ms/bsctd</a:t>
            </a:r>
            <a:endParaRPr lang="en-US" sz="8800" dirty="0"/>
          </a:p>
        </p:txBody>
      </p:sp>
      <p:pic>
        <p:nvPicPr>
          <p:cNvPr id="6" name="Picture 2" descr="C:\Users\brets\AppData\Local\Temp\SNAGHTML106ef1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0680" y="2651353"/>
            <a:ext cx="6640158" cy="4094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940162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 .HTML or .PDF LAB DOCS</a:t>
            </a:r>
            <a:endParaRPr lang="en-US" dirty="0"/>
          </a:p>
        </p:txBody>
      </p:sp>
      <p:pic>
        <p:nvPicPr>
          <p:cNvPr id="4" name="Picture 3"/>
          <p:cNvPicPr>
            <a:picLocks noChangeAspect="1"/>
          </p:cNvPicPr>
          <p:nvPr/>
        </p:nvPicPr>
        <p:blipFill>
          <a:blip r:embed="rId2"/>
          <a:stretch>
            <a:fillRect/>
          </a:stretch>
        </p:blipFill>
        <p:spPr>
          <a:xfrm>
            <a:off x="2688500" y="1398494"/>
            <a:ext cx="6784520" cy="4921624"/>
          </a:xfrm>
          <a:prstGeom prst="rect">
            <a:avLst/>
          </a:prstGeom>
        </p:spPr>
      </p:pic>
    </p:spTree>
    <p:extLst>
      <p:ext uri="{BB962C8B-B14F-4D97-AF65-F5344CB8AC3E}">
        <p14:creationId xmlns:p14="http://schemas.microsoft.com/office/powerpoint/2010/main" val="28643906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79" y="2574905"/>
            <a:ext cx="10256521" cy="3046988"/>
          </a:xfrm>
          <a:prstGeom prst="rect">
            <a:avLst/>
          </a:prstGeom>
          <a:noFill/>
        </p:spPr>
        <p:txBody>
          <a:bodyPr wrap="square" rtlCol="0">
            <a:spAutoFit/>
          </a:bodyPr>
          <a:lstStyle/>
          <a:p>
            <a:r>
              <a:rPr lang="en-US" sz="2400" i="1" dirty="0" smtClean="0">
                <a:solidFill>
                  <a:schemeClr val="accent2"/>
                </a:solidFill>
              </a:rPr>
              <a:t>Kevin Ashton first used the phrase “Internet of Things” in a 1999 </a:t>
            </a:r>
            <a:r>
              <a:rPr lang="en-US" sz="2400" i="1" dirty="0" smtClean="0"/>
              <a:t>presentation on RFID &amp; the Supply Chain at Proctor and Gamble</a:t>
            </a:r>
          </a:p>
          <a:p>
            <a:endParaRPr lang="en-US" sz="2400" i="1" dirty="0"/>
          </a:p>
          <a:p>
            <a:r>
              <a:rPr lang="en-US" sz="2400" i="1" dirty="0" smtClean="0"/>
              <a:t>Later, in 2009, he wrote about what he intended the phrase to mean in an article he wrote for RFID Journal entitled:</a:t>
            </a:r>
            <a:br>
              <a:rPr lang="en-US" sz="2400" i="1" dirty="0" smtClean="0"/>
            </a:br>
            <a:r>
              <a:rPr lang="en-US" sz="2400" i="1" dirty="0" smtClean="0"/>
              <a:t/>
            </a:r>
            <a:br>
              <a:rPr lang="en-US" sz="2400" i="1" dirty="0" smtClean="0"/>
            </a:br>
            <a:r>
              <a:rPr lang="en-US" sz="2400" i="1" dirty="0" smtClean="0"/>
              <a:t>“That ‘Internet of Things’ Thing: </a:t>
            </a:r>
            <a:br>
              <a:rPr lang="en-US" sz="2400" i="1" dirty="0" smtClean="0"/>
            </a:br>
            <a:r>
              <a:rPr lang="en-US" sz="2400" i="1" dirty="0" smtClean="0"/>
              <a:t>In the real world, things matter more than ideas”</a:t>
            </a:r>
            <a:endParaRPr lang="en-US" sz="2400" i="1" dirty="0"/>
          </a:p>
        </p:txBody>
      </p:sp>
      <p:sp>
        <p:nvSpPr>
          <p:cNvPr id="7" name="TextBox 6"/>
          <p:cNvSpPr txBox="1"/>
          <p:nvPr/>
        </p:nvSpPr>
        <p:spPr>
          <a:xfrm>
            <a:off x="2244613" y="6390545"/>
            <a:ext cx="7672293" cy="261610"/>
          </a:xfrm>
          <a:prstGeom prst="rect">
            <a:avLst/>
          </a:prstGeom>
          <a:noFill/>
        </p:spPr>
        <p:txBody>
          <a:bodyPr wrap="none" rtlCol="0">
            <a:spAutoFit/>
          </a:bodyPr>
          <a:lstStyle/>
          <a:p>
            <a:r>
              <a:rPr lang="en-US" sz="1100" dirty="0" smtClean="0"/>
              <a:t>Source: Kevin Ashton, </a:t>
            </a:r>
            <a:r>
              <a:rPr lang="en-US" sz="1100" dirty="0" smtClean="0">
                <a:hlinkClick r:id="rId2"/>
              </a:rPr>
              <a:t>“That ‘Internet of Things’ Thing: In the real world, things matter more than ideas”</a:t>
            </a:r>
            <a:r>
              <a:rPr lang="en-US" sz="1100" dirty="0" smtClean="0"/>
              <a:t>, RFID Journal, June 2009</a:t>
            </a:r>
            <a:endParaRPr lang="en-US" sz="1100" dirty="0"/>
          </a:p>
        </p:txBody>
      </p:sp>
      <p:sp>
        <p:nvSpPr>
          <p:cNvPr id="8" name="Title 7"/>
          <p:cNvSpPr>
            <a:spLocks noGrp="1"/>
          </p:cNvSpPr>
          <p:nvPr>
            <p:ph type="title"/>
          </p:nvPr>
        </p:nvSpPr>
        <p:spPr/>
        <p:txBody>
          <a:bodyPr/>
          <a:lstStyle/>
          <a:p>
            <a:r>
              <a:rPr lang="en-US" dirty="0" smtClean="0"/>
              <a:t>A phrase coined</a:t>
            </a:r>
            <a:endParaRPr lang="en-US" dirty="0"/>
          </a:p>
        </p:txBody>
      </p:sp>
    </p:spTree>
    <p:extLst>
      <p:ext uri="{BB962C8B-B14F-4D97-AF65-F5344CB8AC3E}">
        <p14:creationId xmlns:p14="http://schemas.microsoft.com/office/powerpoint/2010/main" val="419677801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nect the Dots and Rockets</a:t>
            </a:r>
            <a:endParaRPr lang="en-US" dirty="0"/>
          </a:p>
        </p:txBody>
      </p:sp>
    </p:spTree>
    <p:extLst>
      <p:ext uri="{BB962C8B-B14F-4D97-AF65-F5344CB8AC3E}">
        <p14:creationId xmlns:p14="http://schemas.microsoft.com/office/powerpoint/2010/main" val="234426965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You will need to pair (or triple) up…	</a:t>
            </a:r>
            <a:endParaRPr lang="en-US" dirty="0"/>
          </a:p>
        </p:txBody>
      </p:sp>
      <p:sp>
        <p:nvSpPr>
          <p:cNvPr id="4" name="Content Placeholder 3"/>
          <p:cNvSpPr>
            <a:spLocks noGrp="1"/>
          </p:cNvSpPr>
          <p:nvPr>
            <p:ph idx="1"/>
          </p:nvPr>
        </p:nvSpPr>
        <p:spPr/>
        <p:txBody>
          <a:bodyPr/>
          <a:lstStyle/>
          <a:p>
            <a:r>
              <a:rPr lang="en-US" dirty="0" smtClean="0"/>
              <a:t>There are about 10 Raspberry Pi / Arduino kits</a:t>
            </a:r>
          </a:p>
          <a:p>
            <a:r>
              <a:rPr lang="en-US" dirty="0" smtClean="0"/>
              <a:t>There are about 10 </a:t>
            </a:r>
            <a:r>
              <a:rPr lang="en-US" dirty="0" err="1" smtClean="0"/>
              <a:t>Gadgeteer</a:t>
            </a:r>
            <a:r>
              <a:rPr lang="en-US" dirty="0" smtClean="0"/>
              <a:t> Kits</a:t>
            </a:r>
          </a:p>
          <a:p>
            <a:r>
              <a:rPr lang="en-US" dirty="0" smtClean="0"/>
              <a:t>There are not enough for each person to use one</a:t>
            </a:r>
          </a:p>
          <a:p>
            <a:r>
              <a:rPr lang="en-US" dirty="0" smtClean="0"/>
              <a:t>THESE KITS MUST BE RETURNED AT THE END OF THE DAY</a:t>
            </a:r>
          </a:p>
          <a:p>
            <a:pPr lvl="1"/>
            <a:r>
              <a:rPr lang="en-US" dirty="0" smtClean="0"/>
              <a:t>PLEASE, PACK EVERYTHING BACK IN THE BOX</a:t>
            </a:r>
          </a:p>
          <a:p>
            <a:pPr lvl="1"/>
            <a:r>
              <a:rPr lang="en-US" dirty="0" smtClean="0"/>
              <a:t>IF SOMETHING IS BROKEN, WE UNDERSTAND!  LET US KNOW!</a:t>
            </a:r>
          </a:p>
          <a:p>
            <a:pPr lvl="1"/>
            <a:r>
              <a:rPr lang="en-US" dirty="0" smtClean="0"/>
              <a:t>PLEASE HELP ATTENDEES AT THE NEXT EVENT BY NOT WALKING OFF WITH SOMETHING, OR NOT REPORTING SOMETHIN BROKEN!</a:t>
            </a:r>
          </a:p>
        </p:txBody>
      </p:sp>
    </p:spTree>
    <p:extLst>
      <p:ext uri="{BB962C8B-B14F-4D97-AF65-F5344CB8AC3E}">
        <p14:creationId xmlns:p14="http://schemas.microsoft.com/office/powerpoint/2010/main" val="72023165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B STICKS</a:t>
            </a:r>
            <a:endParaRPr lang="en-US" dirty="0"/>
          </a:p>
        </p:txBody>
      </p:sp>
      <p:sp>
        <p:nvSpPr>
          <p:cNvPr id="3" name="Content Placeholder 2"/>
          <p:cNvSpPr>
            <a:spLocks noGrp="1"/>
          </p:cNvSpPr>
          <p:nvPr>
            <p:ph idx="1"/>
          </p:nvPr>
        </p:nvSpPr>
        <p:spPr/>
        <p:txBody>
          <a:bodyPr/>
          <a:lstStyle/>
          <a:p>
            <a:r>
              <a:rPr lang="en-US" dirty="0" smtClean="0"/>
              <a:t>I Have USB Sticks that have</a:t>
            </a:r>
          </a:p>
          <a:p>
            <a:pPr lvl="1"/>
            <a:r>
              <a:rPr lang="en-US" dirty="0" smtClean="0"/>
              <a:t>A copy of my Connect the Dots Fork.  </a:t>
            </a:r>
          </a:p>
          <a:p>
            <a:pPr lvl="1"/>
            <a:r>
              <a:rPr lang="en-US" dirty="0" smtClean="0"/>
              <a:t>The </a:t>
            </a:r>
            <a:r>
              <a:rPr lang="en-US" dirty="0" err="1" smtClean="0"/>
              <a:t>Gadgeteer</a:t>
            </a:r>
            <a:r>
              <a:rPr lang="en-US" dirty="0" smtClean="0"/>
              <a:t> SDKs, Tools, etc. </a:t>
            </a:r>
          </a:p>
          <a:p>
            <a:pPr lvl="1"/>
            <a:r>
              <a:rPr lang="en-US" dirty="0" smtClean="0"/>
              <a:t>The Arduino IDE</a:t>
            </a:r>
          </a:p>
          <a:p>
            <a:pPr lvl="1"/>
            <a:r>
              <a:rPr lang="en-US" dirty="0" err="1" smtClean="0"/>
              <a:t>PuTTY</a:t>
            </a:r>
            <a:endParaRPr lang="en-US" dirty="0" smtClean="0"/>
          </a:p>
          <a:p>
            <a:pPr lvl="1"/>
            <a:r>
              <a:rPr lang="en-US" dirty="0" smtClean="0"/>
              <a:t>A Copy of the Raspberry Pi image we are using here today</a:t>
            </a:r>
          </a:p>
          <a:p>
            <a:r>
              <a:rPr lang="en-US" dirty="0" smtClean="0"/>
              <a:t>I have a COUPLE of other USB sticks that have</a:t>
            </a:r>
          </a:p>
          <a:p>
            <a:pPr lvl="1"/>
            <a:r>
              <a:rPr lang="en-US" dirty="0" smtClean="0"/>
              <a:t>Visual Studio 2013 Community Edition</a:t>
            </a:r>
          </a:p>
          <a:p>
            <a:pPr lvl="1"/>
            <a:r>
              <a:rPr lang="en-US" dirty="0" smtClean="0"/>
              <a:t>Azure SDK 2.6</a:t>
            </a:r>
          </a:p>
          <a:p>
            <a:r>
              <a:rPr lang="en-US" dirty="0" smtClean="0"/>
              <a:t>PLEASE COPY WHAT YOU NEED AND RETURN THE USB STICKS!</a:t>
            </a:r>
          </a:p>
        </p:txBody>
      </p:sp>
    </p:spTree>
    <p:extLst>
      <p:ext uri="{BB962C8B-B14F-4D97-AF65-F5344CB8AC3E}">
        <p14:creationId xmlns:p14="http://schemas.microsoft.com/office/powerpoint/2010/main" val="221112944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SURE YOU USE MY FORK!!!!!!!!!</a:t>
            </a:r>
            <a:endParaRPr lang="en-US" dirty="0"/>
          </a:p>
        </p:txBody>
      </p:sp>
      <p:sp>
        <p:nvSpPr>
          <p:cNvPr id="4" name="TextBox 3"/>
          <p:cNvSpPr txBox="1"/>
          <p:nvPr/>
        </p:nvSpPr>
        <p:spPr>
          <a:xfrm>
            <a:off x="1441524" y="1204803"/>
            <a:ext cx="9278471" cy="1446550"/>
          </a:xfrm>
          <a:prstGeom prst="rect">
            <a:avLst/>
          </a:prstGeom>
          <a:noFill/>
        </p:spPr>
        <p:txBody>
          <a:bodyPr wrap="square" rtlCol="0">
            <a:spAutoFit/>
          </a:bodyPr>
          <a:lstStyle/>
          <a:p>
            <a:pPr algn="ctr"/>
            <a:r>
              <a:rPr lang="en-US" sz="8800" dirty="0" smtClean="0"/>
              <a:t>http://aka.ms/bsctd</a:t>
            </a:r>
            <a:endParaRPr lang="en-US" sz="8800" dirty="0"/>
          </a:p>
        </p:txBody>
      </p:sp>
      <p:pic>
        <p:nvPicPr>
          <p:cNvPr id="6" name="Picture 2" descr="C:\Users\brets\AppData\Local\Temp\SNAGHTML106ef1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0680" y="2651353"/>
            <a:ext cx="6640158" cy="4094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13233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 .HTML or .PDF LAB DOCS</a:t>
            </a:r>
            <a:endParaRPr lang="en-US" dirty="0"/>
          </a:p>
        </p:txBody>
      </p:sp>
      <p:pic>
        <p:nvPicPr>
          <p:cNvPr id="4" name="Picture 3"/>
          <p:cNvPicPr>
            <a:picLocks noChangeAspect="1"/>
          </p:cNvPicPr>
          <p:nvPr/>
        </p:nvPicPr>
        <p:blipFill>
          <a:blip r:embed="rId2"/>
          <a:stretch>
            <a:fillRect/>
          </a:stretch>
        </p:blipFill>
        <p:spPr>
          <a:xfrm>
            <a:off x="2688500" y="1398494"/>
            <a:ext cx="6784520" cy="4921624"/>
          </a:xfrm>
          <a:prstGeom prst="rect">
            <a:avLst/>
          </a:prstGeom>
        </p:spPr>
      </p:pic>
    </p:spTree>
    <p:extLst>
      <p:ext uri="{BB962C8B-B14F-4D97-AF65-F5344CB8AC3E}">
        <p14:creationId xmlns:p14="http://schemas.microsoft.com/office/powerpoint/2010/main" val="50160729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duino</a:t>
            </a:r>
            <a:endParaRPr lang="en-US" dirty="0"/>
          </a:p>
        </p:txBody>
      </p:sp>
      <p:grpSp>
        <p:nvGrpSpPr>
          <p:cNvPr id="1472" name="Arduino With Logo"/>
          <p:cNvGrpSpPr>
            <a:grpSpLocks noChangeAspect="1"/>
          </p:cNvGrpSpPr>
          <p:nvPr/>
        </p:nvGrpSpPr>
        <p:grpSpPr>
          <a:xfrm>
            <a:off x="7467871" y="2594119"/>
            <a:ext cx="2065120" cy="1470247"/>
            <a:chOff x="7467871" y="2594119"/>
            <a:chExt cx="2065120" cy="1470247"/>
          </a:xfrm>
        </p:grpSpPr>
        <p:sp>
          <p:nvSpPr>
            <p:cNvPr id="3"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5" name="Arduino Board Outline with Logo Cutout"/>
          <p:cNvSpPr>
            <a:spLocks noChangeAspect="1"/>
          </p:cNvSpPr>
          <p:nvPr/>
        </p:nvSpPr>
        <p:spPr bwMode="auto">
          <a:xfrm>
            <a:off x="7549179" y="68679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686386 w 3097213"/>
              <a:gd name="connsiteY14" fmla="*/ 1577096 h 2205038"/>
              <a:gd name="connsiteX15" fmla="*/ 729639 w 3097213"/>
              <a:gd name="connsiteY15" fmla="*/ 1725325 h 2205038"/>
              <a:gd name="connsiteX16" fmla="*/ 643132 w 3097213"/>
              <a:gd name="connsiteY16" fmla="*/ 1725325 h 2205038"/>
              <a:gd name="connsiteX17" fmla="*/ 1263750 w 3097213"/>
              <a:gd name="connsiteY17" fmla="*/ 1558142 h 2205038"/>
              <a:gd name="connsiteX18" fmla="*/ 1295268 w 3097213"/>
              <a:gd name="connsiteY18" fmla="*/ 1558142 h 2205038"/>
              <a:gd name="connsiteX19" fmla="*/ 1341334 w 3097213"/>
              <a:gd name="connsiteY19" fmla="*/ 1565967 h 2205038"/>
              <a:gd name="connsiteX20" fmla="*/ 1370428 w 3097213"/>
              <a:gd name="connsiteY20" fmla="*/ 1588672 h 2205038"/>
              <a:gd name="connsiteX21" fmla="*/ 1385967 w 3097213"/>
              <a:gd name="connsiteY21" fmla="*/ 1625374 h 2205038"/>
              <a:gd name="connsiteX22" fmla="*/ 1390595 w 3097213"/>
              <a:gd name="connsiteY22" fmla="*/ 1676074 h 2205038"/>
              <a:gd name="connsiteX23" fmla="*/ 1365138 w 3097213"/>
              <a:gd name="connsiteY23" fmla="*/ 1766121 h 2205038"/>
              <a:gd name="connsiteX24" fmla="*/ 1290420 w 3097213"/>
              <a:gd name="connsiteY24" fmla="*/ 1794337 h 2205038"/>
              <a:gd name="connsiteX25" fmla="*/ 1263750 w 3097213"/>
              <a:gd name="connsiteY25" fmla="*/ 1794337 h 2205038"/>
              <a:gd name="connsiteX26" fmla="*/ 958058 w 3097213"/>
              <a:gd name="connsiteY26" fmla="*/ 1558142 h 2205038"/>
              <a:gd name="connsiteX27" fmla="*/ 984775 w 3097213"/>
              <a:gd name="connsiteY27" fmla="*/ 1558142 h 2205038"/>
              <a:gd name="connsiteX28" fmla="*/ 1034345 w 3097213"/>
              <a:gd name="connsiteY28" fmla="*/ 1568933 h 2205038"/>
              <a:gd name="connsiteX29" fmla="*/ 1049911 w 3097213"/>
              <a:gd name="connsiteY29" fmla="*/ 1603288 h 2205038"/>
              <a:gd name="connsiteX30" fmla="*/ 1045164 w 3097213"/>
              <a:gd name="connsiteY30" fmla="*/ 1623769 h 2205038"/>
              <a:gd name="connsiteX31" fmla="*/ 1032026 w 3097213"/>
              <a:gd name="connsiteY31" fmla="*/ 1638635 h 2205038"/>
              <a:gd name="connsiteX32" fmla="*/ 1010830 w 3097213"/>
              <a:gd name="connsiteY32" fmla="*/ 1647884 h 2205038"/>
              <a:gd name="connsiteX33" fmla="*/ 982456 w 3097213"/>
              <a:gd name="connsiteY33" fmla="*/ 1650967 h 2205038"/>
              <a:gd name="connsiteX34" fmla="*/ 958058 w 3097213"/>
              <a:gd name="connsiteY34" fmla="*/ 1650967 h 2205038"/>
              <a:gd name="connsiteX35" fmla="*/ 2596543 w 3097213"/>
              <a:gd name="connsiteY35" fmla="*/ 1556684 h 2205038"/>
              <a:gd name="connsiteX36" fmla="*/ 2650920 w 3097213"/>
              <a:gd name="connsiteY36" fmla="*/ 1585669 h 2205038"/>
              <a:gd name="connsiteX37" fmla="*/ 2667796 w 3097213"/>
              <a:gd name="connsiteY37" fmla="*/ 1678025 h 2205038"/>
              <a:gd name="connsiteX38" fmla="*/ 2663715 w 3097213"/>
              <a:gd name="connsiteY38" fmla="*/ 1729493 h 2205038"/>
              <a:gd name="connsiteX39" fmla="*/ 2650920 w 3097213"/>
              <a:gd name="connsiteY39" fmla="*/ 1766634 h 2205038"/>
              <a:gd name="connsiteX40" fmla="*/ 2628971 w 3097213"/>
              <a:gd name="connsiteY40" fmla="*/ 1788786 h 2205038"/>
              <a:gd name="connsiteX41" fmla="*/ 2596543 w 3097213"/>
              <a:gd name="connsiteY41" fmla="*/ 1796281 h 2205038"/>
              <a:gd name="connsiteX42" fmla="*/ 2542496 w 3097213"/>
              <a:gd name="connsiteY42" fmla="*/ 1767075 h 2205038"/>
              <a:gd name="connsiteX43" fmla="*/ 2525399 w 3097213"/>
              <a:gd name="connsiteY43" fmla="*/ 1674829 h 2205038"/>
              <a:gd name="connsiteX44" fmla="*/ 2529590 w 3097213"/>
              <a:gd name="connsiteY44" fmla="*/ 1623361 h 2205038"/>
              <a:gd name="connsiteX45" fmla="*/ 2542496 w 3097213"/>
              <a:gd name="connsiteY45" fmla="*/ 1586330 h 2205038"/>
              <a:gd name="connsiteX46" fmla="*/ 2564445 w 3097213"/>
              <a:gd name="connsiteY46" fmla="*/ 1564178 h 2205038"/>
              <a:gd name="connsiteX47" fmla="*/ 2596543 w 3097213"/>
              <a:gd name="connsiteY47" fmla="*/ 1556684 h 2205038"/>
              <a:gd name="connsiteX48" fmla="*/ 2142919 w 3097213"/>
              <a:gd name="connsiteY48" fmla="*/ 1494476 h 2205038"/>
              <a:gd name="connsiteX49" fmla="*/ 2142919 w 3097213"/>
              <a:gd name="connsiteY49" fmla="*/ 1498364 h 2205038"/>
              <a:gd name="connsiteX50" fmla="*/ 2142919 w 3097213"/>
              <a:gd name="connsiteY50" fmla="*/ 1854114 h 2205038"/>
              <a:gd name="connsiteX51" fmla="*/ 2142919 w 3097213"/>
              <a:gd name="connsiteY51" fmla="*/ 1858002 h 2205038"/>
              <a:gd name="connsiteX52" fmla="*/ 2146807 w 3097213"/>
              <a:gd name="connsiteY52" fmla="*/ 1858002 h 2205038"/>
              <a:gd name="connsiteX53" fmla="*/ 2209501 w 3097213"/>
              <a:gd name="connsiteY53" fmla="*/ 1858002 h 2205038"/>
              <a:gd name="connsiteX54" fmla="*/ 2213389 w 3097213"/>
              <a:gd name="connsiteY54" fmla="*/ 1858002 h 2205038"/>
              <a:gd name="connsiteX55" fmla="*/ 2213389 w 3097213"/>
              <a:gd name="connsiteY55" fmla="*/ 1854114 h 2205038"/>
              <a:gd name="connsiteX56" fmla="*/ 2213389 w 3097213"/>
              <a:gd name="connsiteY56" fmla="*/ 1743793 h 2205038"/>
              <a:gd name="connsiteX57" fmla="*/ 2213389 w 3097213"/>
              <a:gd name="connsiteY57" fmla="*/ 1613546 h 2205038"/>
              <a:gd name="connsiteX58" fmla="*/ 2226511 w 3097213"/>
              <a:gd name="connsiteY58" fmla="*/ 1643191 h 2205038"/>
              <a:gd name="connsiteX59" fmla="*/ 2325168 w 3097213"/>
              <a:gd name="connsiteY59" fmla="*/ 1855572 h 2205038"/>
              <a:gd name="connsiteX60" fmla="*/ 2326140 w 3097213"/>
              <a:gd name="connsiteY60" fmla="*/ 1858002 h 2205038"/>
              <a:gd name="connsiteX61" fmla="*/ 2328570 w 3097213"/>
              <a:gd name="connsiteY61" fmla="*/ 1858002 h 2205038"/>
              <a:gd name="connsiteX62" fmla="*/ 2413134 w 3097213"/>
              <a:gd name="connsiteY62" fmla="*/ 1858002 h 2205038"/>
              <a:gd name="connsiteX63" fmla="*/ 2417022 w 3097213"/>
              <a:gd name="connsiteY63" fmla="*/ 1858002 h 2205038"/>
              <a:gd name="connsiteX64" fmla="*/ 2417022 w 3097213"/>
              <a:gd name="connsiteY64" fmla="*/ 1854114 h 2205038"/>
              <a:gd name="connsiteX65" fmla="*/ 2417022 w 3097213"/>
              <a:gd name="connsiteY65" fmla="*/ 1498364 h 2205038"/>
              <a:gd name="connsiteX66" fmla="*/ 2417022 w 3097213"/>
              <a:gd name="connsiteY66" fmla="*/ 1494476 h 2205038"/>
              <a:gd name="connsiteX67" fmla="*/ 2413134 w 3097213"/>
              <a:gd name="connsiteY67" fmla="*/ 1494476 h 2205038"/>
              <a:gd name="connsiteX68" fmla="*/ 2349954 w 3097213"/>
              <a:gd name="connsiteY68" fmla="*/ 1494476 h 2205038"/>
              <a:gd name="connsiteX69" fmla="*/ 2346066 w 3097213"/>
              <a:gd name="connsiteY69" fmla="*/ 1494476 h 2205038"/>
              <a:gd name="connsiteX70" fmla="*/ 2346066 w 3097213"/>
              <a:gd name="connsiteY70" fmla="*/ 1498364 h 2205038"/>
              <a:gd name="connsiteX71" fmla="*/ 2346066 w 3097213"/>
              <a:gd name="connsiteY71" fmla="*/ 1596535 h 2205038"/>
              <a:gd name="connsiteX72" fmla="*/ 2346066 w 3097213"/>
              <a:gd name="connsiteY72" fmla="*/ 1735531 h 2205038"/>
              <a:gd name="connsiteX73" fmla="*/ 2335860 w 3097213"/>
              <a:gd name="connsiteY73" fmla="*/ 1710745 h 2205038"/>
              <a:gd name="connsiteX74" fmla="*/ 2234773 w 3097213"/>
              <a:gd name="connsiteY74" fmla="*/ 1496906 h 2205038"/>
              <a:gd name="connsiteX75" fmla="*/ 2233801 w 3097213"/>
              <a:gd name="connsiteY75" fmla="*/ 1494476 h 2205038"/>
              <a:gd name="connsiteX76" fmla="*/ 2231857 w 3097213"/>
              <a:gd name="connsiteY76" fmla="*/ 1494476 h 2205038"/>
              <a:gd name="connsiteX77" fmla="*/ 2146807 w 3097213"/>
              <a:gd name="connsiteY77" fmla="*/ 1494476 h 2205038"/>
              <a:gd name="connsiteX78" fmla="*/ 1840629 w 3097213"/>
              <a:gd name="connsiteY78" fmla="*/ 1494476 h 2205038"/>
              <a:gd name="connsiteX79" fmla="*/ 1840629 w 3097213"/>
              <a:gd name="connsiteY79" fmla="*/ 1498364 h 2205038"/>
              <a:gd name="connsiteX80" fmla="*/ 1840629 w 3097213"/>
              <a:gd name="connsiteY80" fmla="*/ 1553282 h 2205038"/>
              <a:gd name="connsiteX81" fmla="*/ 1840629 w 3097213"/>
              <a:gd name="connsiteY81" fmla="*/ 1556684 h 2205038"/>
              <a:gd name="connsiteX82" fmla="*/ 1844517 w 3097213"/>
              <a:gd name="connsiteY82" fmla="*/ 1556684 h 2205038"/>
              <a:gd name="connsiteX83" fmla="*/ 1921790 w 3097213"/>
              <a:gd name="connsiteY83" fmla="*/ 1556684 h 2205038"/>
              <a:gd name="connsiteX84" fmla="*/ 1921790 w 3097213"/>
              <a:gd name="connsiteY84" fmla="*/ 1795309 h 2205038"/>
              <a:gd name="connsiteX85" fmla="*/ 1844517 w 3097213"/>
              <a:gd name="connsiteY85" fmla="*/ 1795309 h 2205038"/>
              <a:gd name="connsiteX86" fmla="*/ 1840629 w 3097213"/>
              <a:gd name="connsiteY86" fmla="*/ 1795309 h 2205038"/>
              <a:gd name="connsiteX87" fmla="*/ 1840629 w 3097213"/>
              <a:gd name="connsiteY87" fmla="*/ 1798710 h 2205038"/>
              <a:gd name="connsiteX88" fmla="*/ 1840629 w 3097213"/>
              <a:gd name="connsiteY88" fmla="*/ 1854114 h 2205038"/>
              <a:gd name="connsiteX89" fmla="*/ 1840629 w 3097213"/>
              <a:gd name="connsiteY89" fmla="*/ 1858002 h 2205038"/>
              <a:gd name="connsiteX90" fmla="*/ 1844517 w 3097213"/>
              <a:gd name="connsiteY90" fmla="*/ 1858002 h 2205038"/>
              <a:gd name="connsiteX91" fmla="*/ 2077310 w 3097213"/>
              <a:gd name="connsiteY91" fmla="*/ 1858002 h 2205038"/>
              <a:gd name="connsiteX92" fmla="*/ 2080712 w 3097213"/>
              <a:gd name="connsiteY92" fmla="*/ 1858002 h 2205038"/>
              <a:gd name="connsiteX93" fmla="*/ 2080712 w 3097213"/>
              <a:gd name="connsiteY93" fmla="*/ 1854114 h 2205038"/>
              <a:gd name="connsiteX94" fmla="*/ 2080712 w 3097213"/>
              <a:gd name="connsiteY94" fmla="*/ 1798710 h 2205038"/>
              <a:gd name="connsiteX95" fmla="*/ 2080712 w 3097213"/>
              <a:gd name="connsiteY95" fmla="*/ 1795309 h 2205038"/>
              <a:gd name="connsiteX96" fmla="*/ 2077310 w 3097213"/>
              <a:gd name="connsiteY96" fmla="*/ 1795309 h 2205038"/>
              <a:gd name="connsiteX97" fmla="*/ 2000036 w 3097213"/>
              <a:gd name="connsiteY97" fmla="*/ 1795309 h 2205038"/>
              <a:gd name="connsiteX98" fmla="*/ 2000036 w 3097213"/>
              <a:gd name="connsiteY98" fmla="*/ 1556684 h 2205038"/>
              <a:gd name="connsiteX99" fmla="*/ 2077310 w 3097213"/>
              <a:gd name="connsiteY99" fmla="*/ 1556684 h 2205038"/>
              <a:gd name="connsiteX100" fmla="*/ 2080712 w 3097213"/>
              <a:gd name="connsiteY100" fmla="*/ 1556684 h 2205038"/>
              <a:gd name="connsiteX101" fmla="*/ 2080712 w 3097213"/>
              <a:gd name="connsiteY101" fmla="*/ 1553282 h 2205038"/>
              <a:gd name="connsiteX102" fmla="*/ 2080712 w 3097213"/>
              <a:gd name="connsiteY102" fmla="*/ 1498364 h 2205038"/>
              <a:gd name="connsiteX103" fmla="*/ 2080712 w 3097213"/>
              <a:gd name="connsiteY103" fmla="*/ 1494476 h 2205038"/>
              <a:gd name="connsiteX104" fmla="*/ 2077310 w 3097213"/>
              <a:gd name="connsiteY104" fmla="*/ 1494476 h 2205038"/>
              <a:gd name="connsiteX105" fmla="*/ 1844517 w 3097213"/>
              <a:gd name="connsiteY105" fmla="*/ 1494476 h 2205038"/>
              <a:gd name="connsiteX106" fmla="*/ 1505291 w 3097213"/>
              <a:gd name="connsiteY106" fmla="*/ 1494476 h 2205038"/>
              <a:gd name="connsiteX107" fmla="*/ 1505291 w 3097213"/>
              <a:gd name="connsiteY107" fmla="*/ 1498117 h 2205038"/>
              <a:gd name="connsiteX108" fmla="*/ 1505291 w 3097213"/>
              <a:gd name="connsiteY108" fmla="*/ 1734456 h 2205038"/>
              <a:gd name="connsiteX109" fmla="*/ 1512455 w 3097213"/>
              <a:gd name="connsiteY109" fmla="*/ 1788078 h 2205038"/>
              <a:gd name="connsiteX110" fmla="*/ 1536264 w 3097213"/>
              <a:gd name="connsiteY110" fmla="*/ 1829344 h 2205038"/>
              <a:gd name="connsiteX111" fmla="*/ 1578810 w 3097213"/>
              <a:gd name="connsiteY111" fmla="*/ 1855383 h 2205038"/>
              <a:gd name="connsiteX112" fmla="*/ 1640866 w 3097213"/>
              <a:gd name="connsiteY112" fmla="*/ 1864320 h 2205038"/>
              <a:gd name="connsiteX113" fmla="*/ 1698955 w 3097213"/>
              <a:gd name="connsiteY113" fmla="*/ 1855383 h 2205038"/>
              <a:gd name="connsiteX114" fmla="*/ 1743265 w 3097213"/>
              <a:gd name="connsiteY114" fmla="*/ 1828572 h 2205038"/>
              <a:gd name="connsiteX115" fmla="*/ 1771262 w 3097213"/>
              <a:gd name="connsiteY115" fmla="*/ 1784327 h 2205038"/>
              <a:gd name="connsiteX116" fmla="*/ 1780851 w 3097213"/>
              <a:gd name="connsiteY116" fmla="*/ 1723201 h 2205038"/>
              <a:gd name="connsiteX117" fmla="*/ 1780851 w 3097213"/>
              <a:gd name="connsiteY117" fmla="*/ 1498117 h 2205038"/>
              <a:gd name="connsiteX118" fmla="*/ 1780851 w 3097213"/>
              <a:gd name="connsiteY118" fmla="*/ 1494476 h 2205038"/>
              <a:gd name="connsiteX119" fmla="*/ 1777214 w 3097213"/>
              <a:gd name="connsiteY119" fmla="*/ 1494476 h 2205038"/>
              <a:gd name="connsiteX120" fmla="*/ 1707883 w 3097213"/>
              <a:gd name="connsiteY120" fmla="*/ 1494476 h 2205038"/>
              <a:gd name="connsiteX121" fmla="*/ 1704245 w 3097213"/>
              <a:gd name="connsiteY121" fmla="*/ 1494476 h 2205038"/>
              <a:gd name="connsiteX122" fmla="*/ 1704245 w 3097213"/>
              <a:gd name="connsiteY122" fmla="*/ 1498117 h 2205038"/>
              <a:gd name="connsiteX123" fmla="*/ 1704245 w 3097213"/>
              <a:gd name="connsiteY123" fmla="*/ 1727615 h 2205038"/>
              <a:gd name="connsiteX124" fmla="*/ 1700278 w 3097213"/>
              <a:gd name="connsiteY124" fmla="*/ 1762370 h 2205038"/>
              <a:gd name="connsiteX125" fmla="*/ 1689255 w 3097213"/>
              <a:gd name="connsiteY125" fmla="*/ 1784989 h 2205038"/>
              <a:gd name="connsiteX126" fmla="*/ 1671178 w 3097213"/>
              <a:gd name="connsiteY126" fmla="*/ 1797457 h 2205038"/>
              <a:gd name="connsiteX127" fmla="*/ 1643402 w 3097213"/>
              <a:gd name="connsiteY127" fmla="*/ 1801429 h 2205038"/>
              <a:gd name="connsiteX128" fmla="*/ 1614413 w 3097213"/>
              <a:gd name="connsiteY128" fmla="*/ 1796905 h 2205038"/>
              <a:gd name="connsiteX129" fmla="*/ 1595675 w 3097213"/>
              <a:gd name="connsiteY129" fmla="*/ 1783334 h 2205038"/>
              <a:gd name="connsiteX130" fmla="*/ 1585203 w 3097213"/>
              <a:gd name="connsiteY130" fmla="*/ 1761377 h 2205038"/>
              <a:gd name="connsiteX131" fmla="*/ 1582117 w 3097213"/>
              <a:gd name="connsiteY131" fmla="*/ 1730373 h 2205038"/>
              <a:gd name="connsiteX132" fmla="*/ 1582117 w 3097213"/>
              <a:gd name="connsiteY132" fmla="*/ 1498117 h 2205038"/>
              <a:gd name="connsiteX133" fmla="*/ 1582117 w 3097213"/>
              <a:gd name="connsiteY133" fmla="*/ 1494476 h 2205038"/>
              <a:gd name="connsiteX134" fmla="*/ 1578369 w 3097213"/>
              <a:gd name="connsiteY134" fmla="*/ 1494476 h 2205038"/>
              <a:gd name="connsiteX135" fmla="*/ 1509148 w 3097213"/>
              <a:gd name="connsiteY135" fmla="*/ 1494476 h 2205038"/>
              <a:gd name="connsiteX136" fmla="*/ 1186962 w 3097213"/>
              <a:gd name="connsiteY136" fmla="*/ 1494476 h 2205038"/>
              <a:gd name="connsiteX137" fmla="*/ 1186962 w 3097213"/>
              <a:gd name="connsiteY137" fmla="*/ 1498117 h 2205038"/>
              <a:gd name="connsiteX138" fmla="*/ 1186962 w 3097213"/>
              <a:gd name="connsiteY138" fmla="*/ 1854251 h 2205038"/>
              <a:gd name="connsiteX139" fmla="*/ 1186962 w 3097213"/>
              <a:gd name="connsiteY139" fmla="*/ 1858002 h 2205038"/>
              <a:gd name="connsiteX140" fmla="*/ 1190714 w 3097213"/>
              <a:gd name="connsiteY140" fmla="*/ 1858002 h 2205038"/>
              <a:gd name="connsiteX141" fmla="*/ 1284278 w 3097213"/>
              <a:gd name="connsiteY141" fmla="*/ 1858002 h 2205038"/>
              <a:gd name="connsiteX142" fmla="*/ 1369235 w 3097213"/>
              <a:gd name="connsiteY142" fmla="*/ 1844873 h 2205038"/>
              <a:gd name="connsiteX143" fmla="*/ 1428154 w 3097213"/>
              <a:gd name="connsiteY143" fmla="*/ 1807031 h 2205038"/>
              <a:gd name="connsiteX144" fmla="*/ 1461916 w 3097213"/>
              <a:gd name="connsiteY144" fmla="*/ 1748007 h 2205038"/>
              <a:gd name="connsiteX145" fmla="*/ 1472729 w 3097213"/>
              <a:gd name="connsiteY145" fmla="*/ 1671771 h 2205038"/>
              <a:gd name="connsiteX146" fmla="*/ 1461916 w 3097213"/>
              <a:gd name="connsiteY146" fmla="*/ 1592667 h 2205038"/>
              <a:gd name="connsiteX147" fmla="*/ 1429257 w 3097213"/>
              <a:gd name="connsiteY147" fmla="*/ 1537172 h 2205038"/>
              <a:gd name="connsiteX148" fmla="*/ 1374862 w 3097213"/>
              <a:gd name="connsiteY148" fmla="*/ 1504847 h 2205038"/>
              <a:gd name="connsiteX149" fmla="*/ 1299724 w 3097213"/>
              <a:gd name="connsiteY149" fmla="*/ 1494476 h 2205038"/>
              <a:gd name="connsiteX150" fmla="*/ 1190714 w 3097213"/>
              <a:gd name="connsiteY150" fmla="*/ 1494476 h 2205038"/>
              <a:gd name="connsiteX151" fmla="*/ 881270 w 3097213"/>
              <a:gd name="connsiteY151" fmla="*/ 1494476 h 2205038"/>
              <a:gd name="connsiteX152" fmla="*/ 881270 w 3097213"/>
              <a:gd name="connsiteY152" fmla="*/ 1498117 h 2205038"/>
              <a:gd name="connsiteX153" fmla="*/ 881270 w 3097213"/>
              <a:gd name="connsiteY153" fmla="*/ 1854251 h 2205038"/>
              <a:gd name="connsiteX154" fmla="*/ 881270 w 3097213"/>
              <a:gd name="connsiteY154" fmla="*/ 1858002 h 2205038"/>
              <a:gd name="connsiteX155" fmla="*/ 885132 w 3097213"/>
              <a:gd name="connsiteY155" fmla="*/ 1858002 h 2205038"/>
              <a:gd name="connsiteX156" fmla="*/ 954414 w 3097213"/>
              <a:gd name="connsiteY156" fmla="*/ 1858002 h 2205038"/>
              <a:gd name="connsiteX157" fmla="*/ 958165 w 3097213"/>
              <a:gd name="connsiteY157" fmla="*/ 1858002 h 2205038"/>
              <a:gd name="connsiteX158" fmla="*/ 958165 w 3097213"/>
              <a:gd name="connsiteY158" fmla="*/ 1854251 h 2205038"/>
              <a:gd name="connsiteX159" fmla="*/ 958165 w 3097213"/>
              <a:gd name="connsiteY159" fmla="*/ 1710606 h 2205038"/>
              <a:gd name="connsiteX160" fmla="*/ 967652 w 3097213"/>
              <a:gd name="connsiteY160" fmla="*/ 1710606 h 2205038"/>
              <a:gd name="connsiteX161" fmla="*/ 996557 w 3097213"/>
              <a:gd name="connsiteY161" fmla="*/ 1718329 h 2205038"/>
              <a:gd name="connsiteX162" fmla="*/ 1015532 w 3097213"/>
              <a:gd name="connsiteY162" fmla="*/ 1741387 h 2205038"/>
              <a:gd name="connsiteX163" fmla="*/ 1067494 w 3097213"/>
              <a:gd name="connsiteY163" fmla="*/ 1855796 h 2205038"/>
              <a:gd name="connsiteX164" fmla="*/ 1068376 w 3097213"/>
              <a:gd name="connsiteY164" fmla="*/ 1858002 h 2205038"/>
              <a:gd name="connsiteX165" fmla="*/ 1070803 w 3097213"/>
              <a:gd name="connsiteY165" fmla="*/ 1858002 h 2205038"/>
              <a:gd name="connsiteX166" fmla="*/ 1152331 w 3097213"/>
              <a:gd name="connsiteY166" fmla="*/ 1858002 h 2205038"/>
              <a:gd name="connsiteX167" fmla="*/ 1158289 w 3097213"/>
              <a:gd name="connsiteY167" fmla="*/ 1858002 h 2205038"/>
              <a:gd name="connsiteX168" fmla="*/ 1155641 w 3097213"/>
              <a:gd name="connsiteY168" fmla="*/ 1852596 h 2205038"/>
              <a:gd name="connsiteX169" fmla="*/ 1096729 w 3097213"/>
              <a:gd name="connsiteY169" fmla="*/ 1733223 h 2205038"/>
              <a:gd name="connsiteX170" fmla="*/ 1073561 w 3097213"/>
              <a:gd name="connsiteY170" fmla="*/ 1697367 h 2205038"/>
              <a:gd name="connsiteX171" fmla="*/ 1058668 w 3097213"/>
              <a:gd name="connsiteY171" fmla="*/ 1686003 h 2205038"/>
              <a:gd name="connsiteX172" fmla="*/ 1079850 w 3097213"/>
              <a:gd name="connsiteY172" fmla="*/ 1678942 h 2205038"/>
              <a:gd name="connsiteX173" fmla="*/ 1106437 w 3097213"/>
              <a:gd name="connsiteY173" fmla="*/ 1660297 h 2205038"/>
              <a:gd name="connsiteX174" fmla="*/ 1123868 w 3097213"/>
              <a:gd name="connsiteY174" fmla="*/ 1632715 h 2205038"/>
              <a:gd name="connsiteX175" fmla="*/ 1130156 w 3097213"/>
              <a:gd name="connsiteY175" fmla="*/ 1596528 h 2205038"/>
              <a:gd name="connsiteX176" fmla="*/ 1120228 w 3097213"/>
              <a:gd name="connsiteY176" fmla="*/ 1548867 h 2205038"/>
              <a:gd name="connsiteX177" fmla="*/ 1092096 w 3097213"/>
              <a:gd name="connsiteY177" fmla="*/ 1516872 h 2205038"/>
              <a:gd name="connsiteX178" fmla="*/ 1048518 w 3097213"/>
              <a:gd name="connsiteY178" fmla="*/ 1499551 h 2205038"/>
              <a:gd name="connsiteX179" fmla="*/ 992475 w 3097213"/>
              <a:gd name="connsiteY179" fmla="*/ 1494476 h 2205038"/>
              <a:gd name="connsiteX180" fmla="*/ 885132 w 3097213"/>
              <a:gd name="connsiteY180" fmla="*/ 1494476 h 2205038"/>
              <a:gd name="connsiteX181" fmla="*/ 638272 w 3097213"/>
              <a:gd name="connsiteY181" fmla="*/ 1494476 h 2205038"/>
              <a:gd name="connsiteX182" fmla="*/ 637300 w 3097213"/>
              <a:gd name="connsiteY182" fmla="*/ 1497392 h 2205038"/>
              <a:gd name="connsiteX183" fmla="*/ 528436 w 3097213"/>
              <a:gd name="connsiteY183" fmla="*/ 1853142 h 2205038"/>
              <a:gd name="connsiteX184" fmla="*/ 526978 w 3097213"/>
              <a:gd name="connsiteY184" fmla="*/ 1858002 h 2205038"/>
              <a:gd name="connsiteX185" fmla="*/ 531838 w 3097213"/>
              <a:gd name="connsiteY185" fmla="*/ 1858002 h 2205038"/>
              <a:gd name="connsiteX186" fmla="*/ 600850 w 3097213"/>
              <a:gd name="connsiteY186" fmla="*/ 1858002 h 2205038"/>
              <a:gd name="connsiteX187" fmla="*/ 603280 w 3097213"/>
              <a:gd name="connsiteY187" fmla="*/ 1858002 h 2205038"/>
              <a:gd name="connsiteX188" fmla="*/ 604252 w 3097213"/>
              <a:gd name="connsiteY188" fmla="*/ 1855086 h 2205038"/>
              <a:gd name="connsiteX189" fmla="*/ 624178 w 3097213"/>
              <a:gd name="connsiteY189" fmla="*/ 1787533 h 2205038"/>
              <a:gd name="connsiteX190" fmla="*/ 747135 w 3097213"/>
              <a:gd name="connsiteY190" fmla="*/ 1787533 h 2205038"/>
              <a:gd name="connsiteX191" fmla="*/ 766575 w 3097213"/>
              <a:gd name="connsiteY191" fmla="*/ 1855086 h 2205038"/>
              <a:gd name="connsiteX192" fmla="*/ 767547 w 3097213"/>
              <a:gd name="connsiteY192" fmla="*/ 1858002 h 2205038"/>
              <a:gd name="connsiteX193" fmla="*/ 770463 w 3097213"/>
              <a:gd name="connsiteY193" fmla="*/ 1858002 h 2205038"/>
              <a:gd name="connsiteX194" fmla="*/ 846764 w 3097213"/>
              <a:gd name="connsiteY194" fmla="*/ 1858002 h 2205038"/>
              <a:gd name="connsiteX195" fmla="*/ 852110 w 3097213"/>
              <a:gd name="connsiteY195" fmla="*/ 1858002 h 2205038"/>
              <a:gd name="connsiteX196" fmla="*/ 850652 w 3097213"/>
              <a:gd name="connsiteY196" fmla="*/ 1853142 h 2205038"/>
              <a:gd name="connsiteX197" fmla="*/ 741303 w 3097213"/>
              <a:gd name="connsiteY197" fmla="*/ 1497392 h 2205038"/>
              <a:gd name="connsiteX198" fmla="*/ 740817 w 3097213"/>
              <a:gd name="connsiteY198" fmla="*/ 1494476 h 2205038"/>
              <a:gd name="connsiteX199" fmla="*/ 737901 w 3097213"/>
              <a:gd name="connsiteY199" fmla="*/ 1494476 h 2205038"/>
              <a:gd name="connsiteX200" fmla="*/ 640701 w 3097213"/>
              <a:gd name="connsiteY200" fmla="*/ 1494476 h 2205038"/>
              <a:gd name="connsiteX201" fmla="*/ 2598858 w 3097213"/>
              <a:gd name="connsiteY201" fmla="*/ 1488644 h 2205038"/>
              <a:gd name="connsiteX202" fmla="*/ 2538770 w 3097213"/>
              <a:gd name="connsiteY202" fmla="*/ 1499891 h 2205038"/>
              <a:gd name="connsiteX203" fmla="*/ 2489486 w 3097213"/>
              <a:gd name="connsiteY203" fmla="*/ 1534294 h 2205038"/>
              <a:gd name="connsiteX204" fmla="*/ 2456521 w 3097213"/>
              <a:gd name="connsiteY204" fmla="*/ 1593286 h 2205038"/>
              <a:gd name="connsiteX205" fmla="*/ 2444724 w 3097213"/>
              <a:gd name="connsiteY205" fmla="*/ 1678081 h 2205038"/>
              <a:gd name="connsiteX206" fmla="*/ 2482100 w 3097213"/>
              <a:gd name="connsiteY206" fmla="*/ 1816244 h 2205038"/>
              <a:gd name="connsiteX207" fmla="*/ 2594338 w 3097213"/>
              <a:gd name="connsiteY207" fmla="*/ 1864320 h 2205038"/>
              <a:gd name="connsiteX208" fmla="*/ 2654426 w 3097213"/>
              <a:gd name="connsiteY208" fmla="*/ 1853183 h 2205038"/>
              <a:gd name="connsiteX209" fmla="*/ 2703709 w 3097213"/>
              <a:gd name="connsiteY209" fmla="*/ 1818670 h 2205038"/>
              <a:gd name="connsiteX210" fmla="*/ 2736565 w 3097213"/>
              <a:gd name="connsiteY210" fmla="*/ 1759568 h 2205038"/>
              <a:gd name="connsiteX211" fmla="*/ 2748472 w 3097213"/>
              <a:gd name="connsiteY211" fmla="*/ 1674883 h 2205038"/>
              <a:gd name="connsiteX212" fmla="*/ 2711096 w 3097213"/>
              <a:gd name="connsiteY212" fmla="*/ 1536720 h 2205038"/>
              <a:gd name="connsiteX213" fmla="*/ 2598858 w 3097213"/>
              <a:gd name="connsiteY213" fmla="*/ 1488644 h 2205038"/>
              <a:gd name="connsiteX214" fmla="*/ 896336 w 3097213"/>
              <a:gd name="connsiteY214" fmla="*/ 800472 h 2205038"/>
              <a:gd name="connsiteX215" fmla="*/ 896336 w 3097213"/>
              <a:gd name="connsiteY215" fmla="*/ 837407 h 2205038"/>
              <a:gd name="connsiteX216" fmla="*/ 896336 w 3097213"/>
              <a:gd name="connsiteY216" fmla="*/ 871913 h 2205038"/>
              <a:gd name="connsiteX217" fmla="*/ 896336 w 3097213"/>
              <a:gd name="connsiteY217" fmla="*/ 908849 h 2205038"/>
              <a:gd name="connsiteX218" fmla="*/ 933272 w 3097213"/>
              <a:gd name="connsiteY218" fmla="*/ 908849 h 2205038"/>
              <a:gd name="connsiteX219" fmla="*/ 1192795 w 3097213"/>
              <a:gd name="connsiteY219" fmla="*/ 908849 h 2205038"/>
              <a:gd name="connsiteX220" fmla="*/ 1229244 w 3097213"/>
              <a:gd name="connsiteY220" fmla="*/ 908849 h 2205038"/>
              <a:gd name="connsiteX221" fmla="*/ 1229244 w 3097213"/>
              <a:gd name="connsiteY221" fmla="*/ 871913 h 2205038"/>
              <a:gd name="connsiteX222" fmla="*/ 1229244 w 3097213"/>
              <a:gd name="connsiteY222" fmla="*/ 837407 h 2205038"/>
              <a:gd name="connsiteX223" fmla="*/ 1229244 w 3097213"/>
              <a:gd name="connsiteY223" fmla="*/ 800472 h 2205038"/>
              <a:gd name="connsiteX224" fmla="*/ 1192795 w 3097213"/>
              <a:gd name="connsiteY224" fmla="*/ 800472 h 2205038"/>
              <a:gd name="connsiteX225" fmla="*/ 933272 w 3097213"/>
              <a:gd name="connsiteY225" fmla="*/ 800472 h 2205038"/>
              <a:gd name="connsiteX226" fmla="*/ 2119105 w 3097213"/>
              <a:gd name="connsiteY226" fmla="*/ 700356 h 2205038"/>
              <a:gd name="connsiteX227" fmla="*/ 2119105 w 3097213"/>
              <a:gd name="connsiteY227" fmla="*/ 731460 h 2205038"/>
              <a:gd name="connsiteX228" fmla="*/ 2119105 w 3097213"/>
              <a:gd name="connsiteY228" fmla="*/ 801930 h 2205038"/>
              <a:gd name="connsiteX229" fmla="*/ 2049122 w 3097213"/>
              <a:gd name="connsiteY229" fmla="*/ 801930 h 2205038"/>
              <a:gd name="connsiteX230" fmla="*/ 2018018 w 3097213"/>
              <a:gd name="connsiteY230" fmla="*/ 801930 h 2205038"/>
              <a:gd name="connsiteX231" fmla="*/ 2018018 w 3097213"/>
              <a:gd name="connsiteY231" fmla="*/ 833034 h 2205038"/>
              <a:gd name="connsiteX232" fmla="*/ 2018018 w 3097213"/>
              <a:gd name="connsiteY232" fmla="*/ 875801 h 2205038"/>
              <a:gd name="connsiteX233" fmla="*/ 2018018 w 3097213"/>
              <a:gd name="connsiteY233" fmla="*/ 906419 h 2205038"/>
              <a:gd name="connsiteX234" fmla="*/ 2049122 w 3097213"/>
              <a:gd name="connsiteY234" fmla="*/ 906419 h 2205038"/>
              <a:gd name="connsiteX235" fmla="*/ 2119105 w 3097213"/>
              <a:gd name="connsiteY235" fmla="*/ 906419 h 2205038"/>
              <a:gd name="connsiteX236" fmla="*/ 2119105 w 3097213"/>
              <a:gd name="connsiteY236" fmla="*/ 977375 h 2205038"/>
              <a:gd name="connsiteX237" fmla="*/ 2119105 w 3097213"/>
              <a:gd name="connsiteY237" fmla="*/ 1008479 h 2205038"/>
              <a:gd name="connsiteX238" fmla="*/ 2150209 w 3097213"/>
              <a:gd name="connsiteY238" fmla="*/ 1008479 h 2205038"/>
              <a:gd name="connsiteX239" fmla="*/ 2193463 w 3097213"/>
              <a:gd name="connsiteY239" fmla="*/ 1008479 h 2205038"/>
              <a:gd name="connsiteX240" fmla="*/ 2224567 w 3097213"/>
              <a:gd name="connsiteY240" fmla="*/ 1008479 h 2205038"/>
              <a:gd name="connsiteX241" fmla="*/ 2224567 w 3097213"/>
              <a:gd name="connsiteY241" fmla="*/ 977375 h 2205038"/>
              <a:gd name="connsiteX242" fmla="*/ 2224567 w 3097213"/>
              <a:gd name="connsiteY242" fmla="*/ 906419 h 2205038"/>
              <a:gd name="connsiteX243" fmla="*/ 2294550 w 3097213"/>
              <a:gd name="connsiteY243" fmla="*/ 906419 h 2205038"/>
              <a:gd name="connsiteX244" fmla="*/ 2325654 w 3097213"/>
              <a:gd name="connsiteY244" fmla="*/ 906419 h 2205038"/>
              <a:gd name="connsiteX245" fmla="*/ 2325654 w 3097213"/>
              <a:gd name="connsiteY245" fmla="*/ 875801 h 2205038"/>
              <a:gd name="connsiteX246" fmla="*/ 2325654 w 3097213"/>
              <a:gd name="connsiteY246" fmla="*/ 833034 h 2205038"/>
              <a:gd name="connsiteX247" fmla="*/ 2325654 w 3097213"/>
              <a:gd name="connsiteY247" fmla="*/ 801930 h 2205038"/>
              <a:gd name="connsiteX248" fmla="*/ 2294550 w 3097213"/>
              <a:gd name="connsiteY248" fmla="*/ 801930 h 2205038"/>
              <a:gd name="connsiteX249" fmla="*/ 2224567 w 3097213"/>
              <a:gd name="connsiteY249" fmla="*/ 801930 h 2205038"/>
              <a:gd name="connsiteX250" fmla="*/ 2224567 w 3097213"/>
              <a:gd name="connsiteY250" fmla="*/ 731460 h 2205038"/>
              <a:gd name="connsiteX251" fmla="*/ 2224567 w 3097213"/>
              <a:gd name="connsiteY251" fmla="*/ 700356 h 2205038"/>
              <a:gd name="connsiteX252" fmla="*/ 2193463 w 3097213"/>
              <a:gd name="connsiteY252" fmla="*/ 700356 h 2205038"/>
              <a:gd name="connsiteX253" fmla="*/ 2150209 w 3097213"/>
              <a:gd name="connsiteY253" fmla="*/ 700356 h 2205038"/>
              <a:gd name="connsiteX254" fmla="*/ 2991760 w 3097213"/>
              <a:gd name="connsiteY254" fmla="*/ 668336 h 2205038"/>
              <a:gd name="connsiteX255" fmla="*/ 2925763 w 3097213"/>
              <a:gd name="connsiteY255" fmla="*/ 734779 h 2205038"/>
              <a:gd name="connsiteX256" fmla="*/ 2925763 w 3097213"/>
              <a:gd name="connsiteY256" fmla="*/ 735243 h 2205038"/>
              <a:gd name="connsiteX257" fmla="*/ 2991530 w 3097213"/>
              <a:gd name="connsiteY257" fmla="*/ 801686 h 2205038"/>
              <a:gd name="connsiteX258" fmla="*/ 3057296 w 3097213"/>
              <a:gd name="connsiteY258" fmla="*/ 735243 h 2205038"/>
              <a:gd name="connsiteX259" fmla="*/ 2991760 w 3097213"/>
              <a:gd name="connsiteY259" fmla="*/ 668336 h 2205038"/>
              <a:gd name="connsiteX260" fmla="*/ 2199907 w 3097213"/>
              <a:gd name="connsiteY260" fmla="*/ 527341 h 2205038"/>
              <a:gd name="connsiteX261" fmla="*/ 2338639 w 3097213"/>
              <a:gd name="connsiteY261" fmla="*/ 553905 h 2205038"/>
              <a:gd name="connsiteX262" fmla="*/ 2455536 w 3097213"/>
              <a:gd name="connsiteY262" fmla="*/ 628855 h 2205038"/>
              <a:gd name="connsiteX263" fmla="*/ 2532621 w 3097213"/>
              <a:gd name="connsiteY263" fmla="*/ 739738 h 2205038"/>
              <a:gd name="connsiteX264" fmla="*/ 2559419 w 3097213"/>
              <a:gd name="connsiteY264" fmla="*/ 869579 h 2205038"/>
              <a:gd name="connsiteX265" fmla="*/ 2532621 w 3097213"/>
              <a:gd name="connsiteY265" fmla="*/ 999309 h 2205038"/>
              <a:gd name="connsiteX266" fmla="*/ 2455536 w 3097213"/>
              <a:gd name="connsiteY266" fmla="*/ 1110302 h 2205038"/>
              <a:gd name="connsiteX267" fmla="*/ 2338639 w 3097213"/>
              <a:gd name="connsiteY267" fmla="*/ 1185253 h 2205038"/>
              <a:gd name="connsiteX268" fmla="*/ 2199907 w 3097213"/>
              <a:gd name="connsiteY268" fmla="*/ 1211706 h 2205038"/>
              <a:gd name="connsiteX269" fmla="*/ 2197481 w 3097213"/>
              <a:gd name="connsiteY269" fmla="*/ 1211706 h 2205038"/>
              <a:gd name="connsiteX270" fmla="*/ 2195055 w 3097213"/>
              <a:gd name="connsiteY270" fmla="*/ 1211816 h 2205038"/>
              <a:gd name="connsiteX271" fmla="*/ 1921340 w 3097213"/>
              <a:gd name="connsiteY271" fmla="*/ 1113499 h 2205038"/>
              <a:gd name="connsiteX272" fmla="*/ 1734195 w 3097213"/>
              <a:gd name="connsiteY272" fmla="*/ 862524 h 2205038"/>
              <a:gd name="connsiteX273" fmla="*/ 1903916 w 3097213"/>
              <a:gd name="connsiteY273" fmla="*/ 643074 h 2205038"/>
              <a:gd name="connsiteX274" fmla="*/ 2199907 w 3097213"/>
              <a:gd name="connsiteY274" fmla="*/ 527341 h 2205038"/>
              <a:gd name="connsiteX275" fmla="*/ 1048163 w 3097213"/>
              <a:gd name="connsiteY275" fmla="*/ 527341 h 2205038"/>
              <a:gd name="connsiteX276" fmla="*/ 1344218 w 3097213"/>
              <a:gd name="connsiteY276" fmla="*/ 643074 h 2205038"/>
              <a:gd name="connsiteX277" fmla="*/ 1514039 w 3097213"/>
              <a:gd name="connsiteY277" fmla="*/ 862524 h 2205038"/>
              <a:gd name="connsiteX278" fmla="*/ 1326894 w 3097213"/>
              <a:gd name="connsiteY278" fmla="*/ 1113499 h 2205038"/>
              <a:gd name="connsiteX279" fmla="*/ 1053018 w 3097213"/>
              <a:gd name="connsiteY279" fmla="*/ 1211816 h 2205038"/>
              <a:gd name="connsiteX280" fmla="*/ 1050591 w 3097213"/>
              <a:gd name="connsiteY280" fmla="*/ 1211706 h 2205038"/>
              <a:gd name="connsiteX281" fmla="*/ 1048163 w 3097213"/>
              <a:gd name="connsiteY281" fmla="*/ 1211706 h 2205038"/>
              <a:gd name="connsiteX282" fmla="*/ 909239 w 3097213"/>
              <a:gd name="connsiteY282" fmla="*/ 1185253 h 2205038"/>
              <a:gd name="connsiteX283" fmla="*/ 792384 w 3097213"/>
              <a:gd name="connsiteY283" fmla="*/ 1110302 h 2205038"/>
              <a:gd name="connsiteX284" fmla="*/ 715254 w 3097213"/>
              <a:gd name="connsiteY284" fmla="*/ 999309 h 2205038"/>
              <a:gd name="connsiteX285" fmla="*/ 688329 w 3097213"/>
              <a:gd name="connsiteY285" fmla="*/ 869579 h 2205038"/>
              <a:gd name="connsiteX286" fmla="*/ 715254 w 3097213"/>
              <a:gd name="connsiteY286" fmla="*/ 739738 h 2205038"/>
              <a:gd name="connsiteX287" fmla="*/ 792384 w 3097213"/>
              <a:gd name="connsiteY287" fmla="*/ 628855 h 2205038"/>
              <a:gd name="connsiteX288" fmla="*/ 909239 w 3097213"/>
              <a:gd name="connsiteY288" fmla="*/ 553905 h 2205038"/>
              <a:gd name="connsiteX289" fmla="*/ 1048163 w 3097213"/>
              <a:gd name="connsiteY289" fmla="*/ 527341 h 2205038"/>
              <a:gd name="connsiteX290" fmla="*/ 1048185 w 3097213"/>
              <a:gd name="connsiteY290" fmla="*/ 340718 h 2205038"/>
              <a:gd name="connsiteX291" fmla="*/ 840139 w 3097213"/>
              <a:gd name="connsiteY291" fmla="*/ 380513 h 2205038"/>
              <a:gd name="connsiteX292" fmla="*/ 662981 w 3097213"/>
              <a:gd name="connsiteY292" fmla="*/ 494385 h 2205038"/>
              <a:gd name="connsiteX293" fmla="*/ 543735 w 3097213"/>
              <a:gd name="connsiteY293" fmla="*/ 666020 h 2205038"/>
              <a:gd name="connsiteX294" fmla="*/ 501706 w 3097213"/>
              <a:gd name="connsiteY294" fmla="*/ 869624 h 2205038"/>
              <a:gd name="connsiteX295" fmla="*/ 543735 w 3097213"/>
              <a:gd name="connsiteY295" fmla="*/ 1073227 h 2205038"/>
              <a:gd name="connsiteX296" fmla="*/ 662981 w 3097213"/>
              <a:gd name="connsiteY296" fmla="*/ 1244862 h 2205038"/>
              <a:gd name="connsiteX297" fmla="*/ 840139 w 3097213"/>
              <a:gd name="connsiteY297" fmla="*/ 1358734 h 2205038"/>
              <a:gd name="connsiteX298" fmla="*/ 1043332 w 3097213"/>
              <a:gd name="connsiteY298" fmla="*/ 1398308 h 2205038"/>
              <a:gd name="connsiteX299" fmla="*/ 1043332 w 3097213"/>
              <a:gd name="connsiteY299" fmla="*/ 1398418 h 2205038"/>
              <a:gd name="connsiteX300" fmla="*/ 1048185 w 3097213"/>
              <a:gd name="connsiteY300" fmla="*/ 1398529 h 2205038"/>
              <a:gd name="connsiteX301" fmla="*/ 1453466 w 3097213"/>
              <a:gd name="connsiteY301" fmla="*/ 1250814 h 2205038"/>
              <a:gd name="connsiteX302" fmla="*/ 1624117 w 3097213"/>
              <a:gd name="connsiteY302" fmla="*/ 1038172 h 2205038"/>
              <a:gd name="connsiteX303" fmla="*/ 1794768 w 3097213"/>
              <a:gd name="connsiteY303" fmla="*/ 1250814 h 2205038"/>
              <a:gd name="connsiteX304" fmla="*/ 2200049 w 3097213"/>
              <a:gd name="connsiteY304" fmla="*/ 1398529 h 2205038"/>
              <a:gd name="connsiteX305" fmla="*/ 2204903 w 3097213"/>
              <a:gd name="connsiteY305" fmla="*/ 1398418 h 2205038"/>
              <a:gd name="connsiteX306" fmla="*/ 2204903 w 3097213"/>
              <a:gd name="connsiteY306" fmla="*/ 1398308 h 2205038"/>
              <a:gd name="connsiteX307" fmla="*/ 2407984 w 3097213"/>
              <a:gd name="connsiteY307" fmla="*/ 1358734 h 2205038"/>
              <a:gd name="connsiteX308" fmla="*/ 2585254 w 3097213"/>
              <a:gd name="connsiteY308" fmla="*/ 1244862 h 2205038"/>
              <a:gd name="connsiteX309" fmla="*/ 2704500 w 3097213"/>
              <a:gd name="connsiteY309" fmla="*/ 1073227 h 2205038"/>
              <a:gd name="connsiteX310" fmla="*/ 2746528 w 3097213"/>
              <a:gd name="connsiteY310" fmla="*/ 869624 h 2205038"/>
              <a:gd name="connsiteX311" fmla="*/ 2704500 w 3097213"/>
              <a:gd name="connsiteY311" fmla="*/ 666020 h 2205038"/>
              <a:gd name="connsiteX312" fmla="*/ 2585254 w 3097213"/>
              <a:gd name="connsiteY312" fmla="*/ 494385 h 2205038"/>
              <a:gd name="connsiteX313" fmla="*/ 2407984 w 3097213"/>
              <a:gd name="connsiteY313" fmla="*/ 380513 h 2205038"/>
              <a:gd name="connsiteX314" fmla="*/ 2200049 w 3097213"/>
              <a:gd name="connsiteY314" fmla="*/ 340718 h 2205038"/>
              <a:gd name="connsiteX315" fmla="*/ 1777118 w 3097213"/>
              <a:gd name="connsiteY315" fmla="*/ 505960 h 2205038"/>
              <a:gd name="connsiteX316" fmla="*/ 1624117 w 3097213"/>
              <a:gd name="connsiteY316" fmla="*/ 689941 h 2205038"/>
              <a:gd name="connsiteX317" fmla="*/ 1471006 w 3097213"/>
              <a:gd name="connsiteY317" fmla="*/ 505960 h 2205038"/>
              <a:gd name="connsiteX318" fmla="*/ 1048185 w 3097213"/>
              <a:gd name="connsiteY318" fmla="*/ 340718 h 2205038"/>
              <a:gd name="connsiteX319" fmla="*/ 890705 w 3097213"/>
              <a:gd name="connsiteY319" fmla="*/ 39686 h 2205038"/>
              <a:gd name="connsiteX320" fmla="*/ 823913 w 3097213"/>
              <a:gd name="connsiteY320" fmla="*/ 105338 h 2205038"/>
              <a:gd name="connsiteX321" fmla="*/ 823913 w 3097213"/>
              <a:gd name="connsiteY321" fmla="*/ 105568 h 2205038"/>
              <a:gd name="connsiteX322" fmla="*/ 890472 w 3097213"/>
              <a:gd name="connsiteY322" fmla="*/ 171449 h 2205038"/>
              <a:gd name="connsiteX323" fmla="*/ 957263 w 3097213"/>
              <a:gd name="connsiteY323" fmla="*/ 105797 h 2205038"/>
              <a:gd name="connsiteX324" fmla="*/ 957263 w 3097213"/>
              <a:gd name="connsiteY324" fmla="*/ 105568 h 2205038"/>
              <a:gd name="connsiteX325" fmla="*/ 890705 w 3097213"/>
              <a:gd name="connsiteY325" fmla="*/ 39686 h 2205038"/>
              <a:gd name="connsiteX326" fmla="*/ 300826 w 3097213"/>
              <a:gd name="connsiteY326" fmla="*/ 0 h 2205038"/>
              <a:gd name="connsiteX327" fmla="*/ 2929009 w 3097213"/>
              <a:gd name="connsiteY327" fmla="*/ 0 h 2205038"/>
              <a:gd name="connsiteX328" fmla="*/ 2992317 w 3097213"/>
              <a:gd name="connsiteY328" fmla="*/ 63021 h 2205038"/>
              <a:gd name="connsiteX329" fmla="*/ 2992317 w 3097213"/>
              <a:gd name="connsiteY329" fmla="*/ 535562 h 2205038"/>
              <a:gd name="connsiteX330" fmla="*/ 3097213 w 3097213"/>
              <a:gd name="connsiteY330" fmla="*/ 640366 h 2205038"/>
              <a:gd name="connsiteX331" fmla="*/ 3097213 w 3097213"/>
              <a:gd name="connsiteY331" fmla="*/ 1995199 h 2205038"/>
              <a:gd name="connsiteX332" fmla="*/ 2992317 w 3097213"/>
              <a:gd name="connsiteY332" fmla="*/ 2100234 h 2205038"/>
              <a:gd name="connsiteX333" fmla="*/ 2992317 w 3097213"/>
              <a:gd name="connsiteY333" fmla="*/ 2163717 h 2205038"/>
              <a:gd name="connsiteX334" fmla="*/ 2950959 w 3097213"/>
              <a:gd name="connsiteY334" fmla="*/ 2205038 h 2205038"/>
              <a:gd name="connsiteX335" fmla="*/ 2950728 w 3097213"/>
              <a:gd name="connsiteY335" fmla="*/ 2205038 h 2205038"/>
              <a:gd name="connsiteX336" fmla="*/ 300826 w 3097213"/>
              <a:gd name="connsiteY336" fmla="*/ 2205038 h 2205038"/>
              <a:gd name="connsiteX337" fmla="*/ 259468 w 3097213"/>
              <a:gd name="connsiteY337" fmla="*/ 2163717 h 2205038"/>
              <a:gd name="connsiteX338" fmla="*/ 259468 w 3097213"/>
              <a:gd name="connsiteY338" fmla="*/ 2068378 h 2205038"/>
              <a:gd name="connsiteX339" fmla="*/ 189460 w 3097213"/>
              <a:gd name="connsiteY339" fmla="*/ 2068378 h 2205038"/>
              <a:gd name="connsiteX340" fmla="*/ 189460 w 3097213"/>
              <a:gd name="connsiteY340" fmla="*/ 1696254 h 2205038"/>
              <a:gd name="connsiteX341" fmla="*/ 259468 w 3097213"/>
              <a:gd name="connsiteY341" fmla="*/ 1696254 h 2205038"/>
              <a:gd name="connsiteX342" fmla="*/ 259468 w 3097213"/>
              <a:gd name="connsiteY342" fmla="*/ 922921 h 2205038"/>
              <a:gd name="connsiteX343" fmla="*/ 255078 w 3097213"/>
              <a:gd name="connsiteY343" fmla="*/ 915303 h 2205038"/>
              <a:gd name="connsiteX344" fmla="*/ 255078 w 3097213"/>
              <a:gd name="connsiteY344" fmla="*/ 912995 h 2205038"/>
              <a:gd name="connsiteX345" fmla="*/ 255078 w 3097213"/>
              <a:gd name="connsiteY345" fmla="*/ 866826 h 2205038"/>
              <a:gd name="connsiteX346" fmla="*/ 0 w 3097213"/>
              <a:gd name="connsiteY346" fmla="*/ 866826 h 2205038"/>
              <a:gd name="connsiteX347" fmla="*/ 0 w 3097213"/>
              <a:gd name="connsiteY347" fmla="*/ 837047 h 2205038"/>
              <a:gd name="connsiteX348" fmla="*/ 0 w 3097213"/>
              <a:gd name="connsiteY348" fmla="*/ 423140 h 2205038"/>
              <a:gd name="connsiteX349" fmla="*/ 0 w 3097213"/>
              <a:gd name="connsiteY349" fmla="*/ 393130 h 2205038"/>
              <a:gd name="connsiteX350" fmla="*/ 255078 w 3097213"/>
              <a:gd name="connsiteY350" fmla="*/ 393130 h 2205038"/>
              <a:gd name="connsiteX351" fmla="*/ 255078 w 3097213"/>
              <a:gd name="connsiteY351" fmla="*/ 346961 h 2205038"/>
              <a:gd name="connsiteX352" fmla="*/ 255078 w 3097213"/>
              <a:gd name="connsiteY352" fmla="*/ 344884 h 2205038"/>
              <a:gd name="connsiteX353" fmla="*/ 255309 w 3097213"/>
              <a:gd name="connsiteY353" fmla="*/ 344191 h 2205038"/>
              <a:gd name="connsiteX354" fmla="*/ 257389 w 3097213"/>
              <a:gd name="connsiteY354" fmla="*/ 339574 h 2205038"/>
              <a:gd name="connsiteX355" fmla="*/ 258082 w 3097213"/>
              <a:gd name="connsiteY355" fmla="*/ 338651 h 2205038"/>
              <a:gd name="connsiteX356" fmla="*/ 258313 w 3097213"/>
              <a:gd name="connsiteY356" fmla="*/ 338651 h 2205038"/>
              <a:gd name="connsiteX357" fmla="*/ 259468 w 3097213"/>
              <a:gd name="connsiteY357" fmla="*/ 337266 h 2205038"/>
              <a:gd name="connsiteX358" fmla="*/ 259468 w 3097213"/>
              <a:gd name="connsiteY358" fmla="*/ 41321 h 2205038"/>
              <a:gd name="connsiteX359" fmla="*/ 300826 w 3097213"/>
              <a:gd name="connsiteY359"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686386" y="1577096"/>
                </a:moveTo>
                <a:lnTo>
                  <a:pt x="729639" y="1725325"/>
                </a:lnTo>
                <a:lnTo>
                  <a:pt x="643132" y="1725325"/>
                </a:lnTo>
                <a:close/>
                <a:moveTo>
                  <a:pt x="1263750" y="1558142"/>
                </a:moveTo>
                <a:lnTo>
                  <a:pt x="1295268" y="1558142"/>
                </a:lnTo>
                <a:cubicBezTo>
                  <a:pt x="1313893" y="1558142"/>
                  <a:pt x="1329212" y="1560787"/>
                  <a:pt x="1341334" y="1565967"/>
                </a:cubicBezTo>
                <a:cubicBezTo>
                  <a:pt x="1353567" y="1571148"/>
                  <a:pt x="1363154" y="1578752"/>
                  <a:pt x="1370428" y="1588672"/>
                </a:cubicBezTo>
                <a:cubicBezTo>
                  <a:pt x="1377591" y="1598592"/>
                  <a:pt x="1382881" y="1610715"/>
                  <a:pt x="1385967" y="1625374"/>
                </a:cubicBezTo>
                <a:cubicBezTo>
                  <a:pt x="1389053" y="1640143"/>
                  <a:pt x="1390595" y="1657117"/>
                  <a:pt x="1390595" y="1676074"/>
                </a:cubicBezTo>
                <a:cubicBezTo>
                  <a:pt x="1390595" y="1717736"/>
                  <a:pt x="1381889" y="1747494"/>
                  <a:pt x="1365138" y="1766121"/>
                </a:cubicBezTo>
                <a:cubicBezTo>
                  <a:pt x="1348277" y="1784858"/>
                  <a:pt x="1323701" y="1794337"/>
                  <a:pt x="1290420" y="1794337"/>
                </a:cubicBezTo>
                <a:lnTo>
                  <a:pt x="1263750" y="1794337"/>
                </a:lnTo>
                <a:close/>
                <a:moveTo>
                  <a:pt x="958058" y="1558142"/>
                </a:moveTo>
                <a:lnTo>
                  <a:pt x="984775" y="1558142"/>
                </a:lnTo>
                <a:cubicBezTo>
                  <a:pt x="1007297" y="1558142"/>
                  <a:pt x="1023746" y="1561886"/>
                  <a:pt x="1034345" y="1568933"/>
                </a:cubicBezTo>
                <a:cubicBezTo>
                  <a:pt x="1044723" y="1575760"/>
                  <a:pt x="1049911" y="1586661"/>
                  <a:pt x="1049911" y="1603288"/>
                </a:cubicBezTo>
                <a:cubicBezTo>
                  <a:pt x="1049911" y="1611107"/>
                  <a:pt x="1048255" y="1617933"/>
                  <a:pt x="1045164" y="1623769"/>
                </a:cubicBezTo>
                <a:cubicBezTo>
                  <a:pt x="1042073" y="1629716"/>
                  <a:pt x="1037767" y="1634561"/>
                  <a:pt x="1032026" y="1638635"/>
                </a:cubicBezTo>
                <a:cubicBezTo>
                  <a:pt x="1026175" y="1642709"/>
                  <a:pt x="1019220" y="1645792"/>
                  <a:pt x="1010830" y="1647884"/>
                </a:cubicBezTo>
                <a:cubicBezTo>
                  <a:pt x="1002439" y="1649977"/>
                  <a:pt x="992944" y="1650967"/>
                  <a:pt x="982456" y="1650967"/>
                </a:cubicBezTo>
                <a:lnTo>
                  <a:pt x="958058" y="1650967"/>
                </a:lnTo>
                <a:close/>
                <a:moveTo>
                  <a:pt x="2596543" y="1556684"/>
                </a:moveTo>
                <a:cubicBezTo>
                  <a:pt x="2622353" y="1556684"/>
                  <a:pt x="2639780" y="1566052"/>
                  <a:pt x="2650920" y="1585669"/>
                </a:cubicBezTo>
                <a:cubicBezTo>
                  <a:pt x="2661950" y="1605397"/>
                  <a:pt x="2667796" y="1636256"/>
                  <a:pt x="2667796" y="1678025"/>
                </a:cubicBezTo>
                <a:cubicBezTo>
                  <a:pt x="2667796" y="1697422"/>
                  <a:pt x="2666473" y="1714615"/>
                  <a:pt x="2663715" y="1729493"/>
                </a:cubicBezTo>
                <a:cubicBezTo>
                  <a:pt x="2660958" y="1744262"/>
                  <a:pt x="2656656" y="1756715"/>
                  <a:pt x="2650920" y="1766634"/>
                </a:cubicBezTo>
                <a:cubicBezTo>
                  <a:pt x="2645185" y="1776443"/>
                  <a:pt x="2637905" y="1783717"/>
                  <a:pt x="2628971" y="1788786"/>
                </a:cubicBezTo>
                <a:cubicBezTo>
                  <a:pt x="2620147" y="1793746"/>
                  <a:pt x="2609448" y="1796281"/>
                  <a:pt x="2596543" y="1796281"/>
                </a:cubicBezTo>
                <a:cubicBezTo>
                  <a:pt x="2571063" y="1796281"/>
                  <a:pt x="2553636" y="1786692"/>
                  <a:pt x="2542496" y="1767075"/>
                </a:cubicBezTo>
                <a:cubicBezTo>
                  <a:pt x="2531245" y="1747347"/>
                  <a:pt x="2525399" y="1716599"/>
                  <a:pt x="2525399" y="1674829"/>
                </a:cubicBezTo>
                <a:cubicBezTo>
                  <a:pt x="2525399" y="1655432"/>
                  <a:pt x="2526833" y="1638129"/>
                  <a:pt x="2529590" y="1623361"/>
                </a:cubicBezTo>
                <a:cubicBezTo>
                  <a:pt x="2532348" y="1608483"/>
                  <a:pt x="2536650" y="1596139"/>
                  <a:pt x="2542496" y="1586330"/>
                </a:cubicBezTo>
                <a:cubicBezTo>
                  <a:pt x="2548342" y="1576411"/>
                  <a:pt x="2555621" y="1569137"/>
                  <a:pt x="2564445" y="1564178"/>
                </a:cubicBezTo>
                <a:cubicBezTo>
                  <a:pt x="2573159" y="1559108"/>
                  <a:pt x="2583748" y="1556684"/>
                  <a:pt x="2596543" y="1556684"/>
                </a:cubicBezTo>
                <a:close/>
                <a:moveTo>
                  <a:pt x="2142919" y="1494476"/>
                </a:moveTo>
                <a:lnTo>
                  <a:pt x="2142919" y="1498364"/>
                </a:lnTo>
                <a:lnTo>
                  <a:pt x="2142919" y="1854114"/>
                </a:lnTo>
                <a:lnTo>
                  <a:pt x="2142919" y="1858002"/>
                </a:lnTo>
                <a:lnTo>
                  <a:pt x="2146807" y="1858002"/>
                </a:lnTo>
                <a:lnTo>
                  <a:pt x="2209501" y="1858002"/>
                </a:lnTo>
                <a:lnTo>
                  <a:pt x="2213389" y="1858002"/>
                </a:lnTo>
                <a:lnTo>
                  <a:pt x="2213389" y="1854114"/>
                </a:lnTo>
                <a:lnTo>
                  <a:pt x="2213389" y="1743793"/>
                </a:lnTo>
                <a:lnTo>
                  <a:pt x="2213389" y="1613546"/>
                </a:lnTo>
                <a:lnTo>
                  <a:pt x="2226511" y="1643191"/>
                </a:lnTo>
                <a:lnTo>
                  <a:pt x="2325168" y="1855572"/>
                </a:lnTo>
                <a:lnTo>
                  <a:pt x="2326140" y="1858002"/>
                </a:lnTo>
                <a:lnTo>
                  <a:pt x="2328570" y="1858002"/>
                </a:lnTo>
                <a:lnTo>
                  <a:pt x="2413134" y="1858002"/>
                </a:lnTo>
                <a:lnTo>
                  <a:pt x="2417022" y="1858002"/>
                </a:lnTo>
                <a:lnTo>
                  <a:pt x="2417022" y="1854114"/>
                </a:lnTo>
                <a:lnTo>
                  <a:pt x="2417022" y="1498364"/>
                </a:lnTo>
                <a:lnTo>
                  <a:pt x="2417022" y="1494476"/>
                </a:lnTo>
                <a:lnTo>
                  <a:pt x="2413134" y="1494476"/>
                </a:lnTo>
                <a:lnTo>
                  <a:pt x="2349954" y="1494476"/>
                </a:lnTo>
                <a:lnTo>
                  <a:pt x="2346066" y="1494476"/>
                </a:lnTo>
                <a:lnTo>
                  <a:pt x="2346066" y="1498364"/>
                </a:lnTo>
                <a:lnTo>
                  <a:pt x="2346066" y="1596535"/>
                </a:lnTo>
                <a:lnTo>
                  <a:pt x="2346066" y="1735531"/>
                </a:lnTo>
                <a:lnTo>
                  <a:pt x="2335860" y="1710745"/>
                </a:lnTo>
                <a:lnTo>
                  <a:pt x="2234773" y="1496906"/>
                </a:lnTo>
                <a:lnTo>
                  <a:pt x="2233801" y="1494476"/>
                </a:lnTo>
                <a:lnTo>
                  <a:pt x="2231857" y="1494476"/>
                </a:lnTo>
                <a:lnTo>
                  <a:pt x="2146807" y="1494476"/>
                </a:lnTo>
                <a:close/>
                <a:moveTo>
                  <a:pt x="1840629" y="1494476"/>
                </a:moveTo>
                <a:lnTo>
                  <a:pt x="1840629" y="1498364"/>
                </a:lnTo>
                <a:lnTo>
                  <a:pt x="1840629" y="1553282"/>
                </a:lnTo>
                <a:lnTo>
                  <a:pt x="1840629" y="1556684"/>
                </a:lnTo>
                <a:lnTo>
                  <a:pt x="1844517" y="1556684"/>
                </a:lnTo>
                <a:lnTo>
                  <a:pt x="1921790" y="1556684"/>
                </a:lnTo>
                <a:lnTo>
                  <a:pt x="1921790" y="1795309"/>
                </a:lnTo>
                <a:lnTo>
                  <a:pt x="1844517" y="1795309"/>
                </a:lnTo>
                <a:lnTo>
                  <a:pt x="1840629" y="1795309"/>
                </a:lnTo>
                <a:lnTo>
                  <a:pt x="1840629" y="1798710"/>
                </a:lnTo>
                <a:lnTo>
                  <a:pt x="1840629" y="1854114"/>
                </a:lnTo>
                <a:lnTo>
                  <a:pt x="1840629" y="1858002"/>
                </a:lnTo>
                <a:lnTo>
                  <a:pt x="1844517" y="1858002"/>
                </a:lnTo>
                <a:lnTo>
                  <a:pt x="2077310" y="1858002"/>
                </a:lnTo>
                <a:lnTo>
                  <a:pt x="2080712" y="1858002"/>
                </a:lnTo>
                <a:lnTo>
                  <a:pt x="2080712" y="1854114"/>
                </a:lnTo>
                <a:lnTo>
                  <a:pt x="2080712" y="1798710"/>
                </a:lnTo>
                <a:lnTo>
                  <a:pt x="2080712" y="1795309"/>
                </a:lnTo>
                <a:lnTo>
                  <a:pt x="2077310" y="1795309"/>
                </a:lnTo>
                <a:lnTo>
                  <a:pt x="2000036" y="1795309"/>
                </a:lnTo>
                <a:lnTo>
                  <a:pt x="2000036" y="1556684"/>
                </a:lnTo>
                <a:lnTo>
                  <a:pt x="2077310" y="1556684"/>
                </a:lnTo>
                <a:lnTo>
                  <a:pt x="2080712" y="1556684"/>
                </a:lnTo>
                <a:lnTo>
                  <a:pt x="2080712" y="1553282"/>
                </a:lnTo>
                <a:lnTo>
                  <a:pt x="2080712" y="1498364"/>
                </a:lnTo>
                <a:lnTo>
                  <a:pt x="2080712" y="1494476"/>
                </a:lnTo>
                <a:lnTo>
                  <a:pt x="2077310" y="1494476"/>
                </a:lnTo>
                <a:lnTo>
                  <a:pt x="1844517" y="1494476"/>
                </a:lnTo>
                <a:close/>
                <a:moveTo>
                  <a:pt x="1505291" y="1494476"/>
                </a:moveTo>
                <a:lnTo>
                  <a:pt x="1505291" y="1498117"/>
                </a:lnTo>
                <a:lnTo>
                  <a:pt x="1505291" y="1734456"/>
                </a:lnTo>
                <a:cubicBezTo>
                  <a:pt x="1505291" y="1754206"/>
                  <a:pt x="1507716" y="1771970"/>
                  <a:pt x="1512455" y="1788078"/>
                </a:cubicBezTo>
                <a:cubicBezTo>
                  <a:pt x="1517305" y="1804188"/>
                  <a:pt x="1525241" y="1818090"/>
                  <a:pt x="1536264" y="1829344"/>
                </a:cubicBezTo>
                <a:cubicBezTo>
                  <a:pt x="1547176" y="1840819"/>
                  <a:pt x="1561395" y="1849425"/>
                  <a:pt x="1578810" y="1855383"/>
                </a:cubicBezTo>
                <a:cubicBezTo>
                  <a:pt x="1596226" y="1861341"/>
                  <a:pt x="1616838" y="1864320"/>
                  <a:pt x="1640866" y="1864320"/>
                </a:cubicBezTo>
                <a:cubicBezTo>
                  <a:pt x="1662140" y="1864320"/>
                  <a:pt x="1681650" y="1861341"/>
                  <a:pt x="1698955" y="1855383"/>
                </a:cubicBezTo>
                <a:cubicBezTo>
                  <a:pt x="1716260" y="1849425"/>
                  <a:pt x="1731140" y="1840488"/>
                  <a:pt x="1743265" y="1828572"/>
                </a:cubicBezTo>
                <a:cubicBezTo>
                  <a:pt x="1755500" y="1816766"/>
                  <a:pt x="1764869" y="1801981"/>
                  <a:pt x="1771262" y="1784327"/>
                </a:cubicBezTo>
                <a:cubicBezTo>
                  <a:pt x="1777765" y="1766673"/>
                  <a:pt x="1780851" y="1746262"/>
                  <a:pt x="1780851" y="1723201"/>
                </a:cubicBezTo>
                <a:lnTo>
                  <a:pt x="1780851" y="1498117"/>
                </a:lnTo>
                <a:lnTo>
                  <a:pt x="1780851" y="1494476"/>
                </a:lnTo>
                <a:lnTo>
                  <a:pt x="1777214" y="1494476"/>
                </a:lnTo>
                <a:lnTo>
                  <a:pt x="1707883" y="1494476"/>
                </a:lnTo>
                <a:lnTo>
                  <a:pt x="1704245" y="1494476"/>
                </a:lnTo>
                <a:lnTo>
                  <a:pt x="1704245" y="1498117"/>
                </a:lnTo>
                <a:lnTo>
                  <a:pt x="1704245" y="1727615"/>
                </a:lnTo>
                <a:cubicBezTo>
                  <a:pt x="1704245" y="1741407"/>
                  <a:pt x="1702813" y="1752992"/>
                  <a:pt x="1700278" y="1762370"/>
                </a:cubicBezTo>
                <a:cubicBezTo>
                  <a:pt x="1697742" y="1771749"/>
                  <a:pt x="1694105" y="1779252"/>
                  <a:pt x="1689255" y="1784989"/>
                </a:cubicBezTo>
                <a:cubicBezTo>
                  <a:pt x="1684405" y="1790837"/>
                  <a:pt x="1678453" y="1794919"/>
                  <a:pt x="1671178" y="1797457"/>
                </a:cubicBezTo>
                <a:cubicBezTo>
                  <a:pt x="1663793" y="1800105"/>
                  <a:pt x="1654644" y="1801429"/>
                  <a:pt x="1643402" y="1801429"/>
                </a:cubicBezTo>
                <a:cubicBezTo>
                  <a:pt x="1631608" y="1801429"/>
                  <a:pt x="1621798" y="1799884"/>
                  <a:pt x="1614413" y="1796905"/>
                </a:cubicBezTo>
                <a:cubicBezTo>
                  <a:pt x="1606807" y="1793816"/>
                  <a:pt x="1600635" y="1789292"/>
                  <a:pt x="1595675" y="1783334"/>
                </a:cubicBezTo>
                <a:cubicBezTo>
                  <a:pt x="1590714" y="1777376"/>
                  <a:pt x="1587297" y="1770204"/>
                  <a:pt x="1585203" y="1761377"/>
                </a:cubicBezTo>
                <a:cubicBezTo>
                  <a:pt x="1583109" y="1752440"/>
                  <a:pt x="1582117" y="1742069"/>
                  <a:pt x="1582117" y="1730373"/>
                </a:cubicBezTo>
                <a:lnTo>
                  <a:pt x="1582117" y="1498117"/>
                </a:lnTo>
                <a:lnTo>
                  <a:pt x="1582117" y="1494476"/>
                </a:lnTo>
                <a:lnTo>
                  <a:pt x="1578369" y="1494476"/>
                </a:lnTo>
                <a:lnTo>
                  <a:pt x="1509148" y="1494476"/>
                </a:lnTo>
                <a:close/>
                <a:moveTo>
                  <a:pt x="1186962" y="1494476"/>
                </a:moveTo>
                <a:lnTo>
                  <a:pt x="1186962" y="1498117"/>
                </a:lnTo>
                <a:lnTo>
                  <a:pt x="1186962" y="1854251"/>
                </a:lnTo>
                <a:lnTo>
                  <a:pt x="1186962" y="1858002"/>
                </a:lnTo>
                <a:lnTo>
                  <a:pt x="1190714" y="1858002"/>
                </a:lnTo>
                <a:lnTo>
                  <a:pt x="1284278" y="1858002"/>
                </a:lnTo>
                <a:cubicBezTo>
                  <a:pt x="1317157" y="1858002"/>
                  <a:pt x="1345403" y="1853699"/>
                  <a:pt x="1369235" y="1844873"/>
                </a:cubicBezTo>
                <a:cubicBezTo>
                  <a:pt x="1392957" y="1836047"/>
                  <a:pt x="1412707" y="1823470"/>
                  <a:pt x="1428154" y="1807031"/>
                </a:cubicBezTo>
                <a:cubicBezTo>
                  <a:pt x="1443490" y="1790813"/>
                  <a:pt x="1454634" y="1771065"/>
                  <a:pt x="1461916" y="1748007"/>
                </a:cubicBezTo>
                <a:cubicBezTo>
                  <a:pt x="1469088" y="1725059"/>
                  <a:pt x="1472729" y="1699684"/>
                  <a:pt x="1472729" y="1671771"/>
                </a:cubicBezTo>
                <a:cubicBezTo>
                  <a:pt x="1472729" y="1641321"/>
                  <a:pt x="1469088" y="1614953"/>
                  <a:pt x="1461916" y="1592667"/>
                </a:cubicBezTo>
                <a:cubicBezTo>
                  <a:pt x="1454634" y="1570381"/>
                  <a:pt x="1443821" y="1551846"/>
                  <a:pt x="1429257" y="1537172"/>
                </a:cubicBezTo>
                <a:cubicBezTo>
                  <a:pt x="1414693" y="1522499"/>
                  <a:pt x="1396488" y="1511797"/>
                  <a:pt x="1374862" y="1504847"/>
                </a:cubicBezTo>
                <a:cubicBezTo>
                  <a:pt x="1353236" y="1497896"/>
                  <a:pt x="1328301" y="1494476"/>
                  <a:pt x="1299724" y="1494476"/>
                </a:cubicBezTo>
                <a:lnTo>
                  <a:pt x="1190714" y="1494476"/>
                </a:lnTo>
                <a:close/>
                <a:moveTo>
                  <a:pt x="881270" y="1494476"/>
                </a:moveTo>
                <a:lnTo>
                  <a:pt x="881270" y="1498117"/>
                </a:lnTo>
                <a:lnTo>
                  <a:pt x="881270" y="1854251"/>
                </a:lnTo>
                <a:lnTo>
                  <a:pt x="881270" y="1858002"/>
                </a:lnTo>
                <a:lnTo>
                  <a:pt x="885132" y="1858002"/>
                </a:lnTo>
                <a:lnTo>
                  <a:pt x="954414" y="1858002"/>
                </a:lnTo>
                <a:lnTo>
                  <a:pt x="958165" y="1858002"/>
                </a:lnTo>
                <a:lnTo>
                  <a:pt x="958165" y="1854251"/>
                </a:lnTo>
                <a:lnTo>
                  <a:pt x="958165" y="1710606"/>
                </a:lnTo>
                <a:lnTo>
                  <a:pt x="967652" y="1710606"/>
                </a:lnTo>
                <a:cubicBezTo>
                  <a:pt x="978905" y="1710606"/>
                  <a:pt x="988393" y="1713254"/>
                  <a:pt x="996557" y="1718329"/>
                </a:cubicBezTo>
                <a:cubicBezTo>
                  <a:pt x="1004610" y="1723514"/>
                  <a:pt x="1010898" y="1731016"/>
                  <a:pt x="1015532" y="1741387"/>
                </a:cubicBezTo>
                <a:lnTo>
                  <a:pt x="1067494" y="1855796"/>
                </a:lnTo>
                <a:lnTo>
                  <a:pt x="1068376" y="1858002"/>
                </a:lnTo>
                <a:lnTo>
                  <a:pt x="1070803" y="1858002"/>
                </a:lnTo>
                <a:lnTo>
                  <a:pt x="1152331" y="1858002"/>
                </a:lnTo>
                <a:lnTo>
                  <a:pt x="1158289" y="1858002"/>
                </a:lnTo>
                <a:lnTo>
                  <a:pt x="1155641" y="1852596"/>
                </a:lnTo>
                <a:lnTo>
                  <a:pt x="1096729" y="1733223"/>
                </a:lnTo>
                <a:cubicBezTo>
                  <a:pt x="1089117" y="1717777"/>
                  <a:pt x="1081505" y="1705862"/>
                  <a:pt x="1073561" y="1697367"/>
                </a:cubicBezTo>
                <a:cubicBezTo>
                  <a:pt x="1068928" y="1692402"/>
                  <a:pt x="1063964" y="1688872"/>
                  <a:pt x="1058668" y="1686003"/>
                </a:cubicBezTo>
                <a:cubicBezTo>
                  <a:pt x="1066060" y="1684238"/>
                  <a:pt x="1073230" y="1682031"/>
                  <a:pt x="1079850" y="1678942"/>
                </a:cubicBezTo>
                <a:cubicBezTo>
                  <a:pt x="1090110" y="1674198"/>
                  <a:pt x="1098935" y="1667910"/>
                  <a:pt x="1106437" y="1660297"/>
                </a:cubicBezTo>
                <a:cubicBezTo>
                  <a:pt x="1113939" y="1652574"/>
                  <a:pt x="1119786" y="1643307"/>
                  <a:pt x="1123868" y="1632715"/>
                </a:cubicBezTo>
                <a:cubicBezTo>
                  <a:pt x="1128060" y="1622014"/>
                  <a:pt x="1130046" y="1609988"/>
                  <a:pt x="1130156" y="1596528"/>
                </a:cubicBezTo>
                <a:cubicBezTo>
                  <a:pt x="1130046" y="1577883"/>
                  <a:pt x="1126847" y="1561996"/>
                  <a:pt x="1120228" y="1548867"/>
                </a:cubicBezTo>
                <a:cubicBezTo>
                  <a:pt x="1113719" y="1535738"/>
                  <a:pt x="1104231" y="1525036"/>
                  <a:pt x="1092096" y="1516872"/>
                </a:cubicBezTo>
                <a:cubicBezTo>
                  <a:pt x="1079960" y="1508708"/>
                  <a:pt x="1065397" y="1502971"/>
                  <a:pt x="1048518" y="1499551"/>
                </a:cubicBezTo>
                <a:cubicBezTo>
                  <a:pt x="1031639" y="1496131"/>
                  <a:pt x="1012884" y="1494476"/>
                  <a:pt x="992475" y="1494476"/>
                </a:cubicBezTo>
                <a:lnTo>
                  <a:pt x="885132" y="1494476"/>
                </a:lnTo>
                <a:close/>
                <a:moveTo>
                  <a:pt x="638272" y="1494476"/>
                </a:moveTo>
                <a:lnTo>
                  <a:pt x="637300" y="1497392"/>
                </a:lnTo>
                <a:lnTo>
                  <a:pt x="528436" y="1853142"/>
                </a:lnTo>
                <a:lnTo>
                  <a:pt x="526978" y="1858002"/>
                </a:lnTo>
                <a:lnTo>
                  <a:pt x="531838" y="1858002"/>
                </a:lnTo>
                <a:lnTo>
                  <a:pt x="600850" y="1858002"/>
                </a:lnTo>
                <a:lnTo>
                  <a:pt x="603280" y="1858002"/>
                </a:lnTo>
                <a:lnTo>
                  <a:pt x="604252" y="1855086"/>
                </a:lnTo>
                <a:lnTo>
                  <a:pt x="624178" y="1787533"/>
                </a:lnTo>
                <a:lnTo>
                  <a:pt x="747135" y="1787533"/>
                </a:lnTo>
                <a:lnTo>
                  <a:pt x="766575" y="1855086"/>
                </a:lnTo>
                <a:lnTo>
                  <a:pt x="767547" y="1858002"/>
                </a:lnTo>
                <a:lnTo>
                  <a:pt x="770463" y="1858002"/>
                </a:lnTo>
                <a:lnTo>
                  <a:pt x="846764" y="1858002"/>
                </a:lnTo>
                <a:lnTo>
                  <a:pt x="852110" y="1858002"/>
                </a:lnTo>
                <a:lnTo>
                  <a:pt x="850652" y="1853142"/>
                </a:lnTo>
                <a:lnTo>
                  <a:pt x="741303" y="1497392"/>
                </a:lnTo>
                <a:lnTo>
                  <a:pt x="740817" y="1494476"/>
                </a:lnTo>
                <a:lnTo>
                  <a:pt x="737901" y="1494476"/>
                </a:lnTo>
                <a:lnTo>
                  <a:pt x="640701" y="1494476"/>
                </a:lnTo>
                <a:close/>
                <a:moveTo>
                  <a:pt x="2598858" y="1488644"/>
                </a:moveTo>
                <a:cubicBezTo>
                  <a:pt x="2577579" y="1488644"/>
                  <a:pt x="2557513" y="1492393"/>
                  <a:pt x="2538770" y="1499891"/>
                </a:cubicBezTo>
                <a:cubicBezTo>
                  <a:pt x="2519916" y="1507279"/>
                  <a:pt x="2503378" y="1518857"/>
                  <a:pt x="2489486" y="1534294"/>
                </a:cubicBezTo>
                <a:cubicBezTo>
                  <a:pt x="2475374" y="1549732"/>
                  <a:pt x="2464459" y="1569469"/>
                  <a:pt x="2456521" y="1593286"/>
                </a:cubicBezTo>
                <a:cubicBezTo>
                  <a:pt x="2448582" y="1617214"/>
                  <a:pt x="2444724" y="1645442"/>
                  <a:pt x="2444724" y="1678081"/>
                </a:cubicBezTo>
                <a:cubicBezTo>
                  <a:pt x="2444724" y="1737955"/>
                  <a:pt x="2457072" y="1784157"/>
                  <a:pt x="2482100" y="1816244"/>
                </a:cubicBezTo>
                <a:cubicBezTo>
                  <a:pt x="2507348" y="1848222"/>
                  <a:pt x="2545054" y="1864320"/>
                  <a:pt x="2594338" y="1864320"/>
                </a:cubicBezTo>
                <a:cubicBezTo>
                  <a:pt x="2615616" y="1864320"/>
                  <a:pt x="2635683" y="1860571"/>
                  <a:pt x="2654426" y="1853183"/>
                </a:cubicBezTo>
                <a:cubicBezTo>
                  <a:pt x="2673279" y="1845685"/>
                  <a:pt x="2689817" y="1834218"/>
                  <a:pt x="2703709" y="1818670"/>
                </a:cubicBezTo>
                <a:cubicBezTo>
                  <a:pt x="2717822" y="1803233"/>
                  <a:pt x="2728737" y="1783385"/>
                  <a:pt x="2736565" y="1759568"/>
                </a:cubicBezTo>
                <a:cubicBezTo>
                  <a:pt x="2744613" y="1735640"/>
                  <a:pt x="2748472" y="1707522"/>
                  <a:pt x="2748472" y="1674883"/>
                </a:cubicBezTo>
                <a:cubicBezTo>
                  <a:pt x="2748472" y="1614788"/>
                  <a:pt x="2736234" y="1568697"/>
                  <a:pt x="2711096" y="1536720"/>
                </a:cubicBezTo>
                <a:cubicBezTo>
                  <a:pt x="2685958" y="1504743"/>
                  <a:pt x="2648031" y="1488644"/>
                  <a:pt x="2598858" y="1488644"/>
                </a:cubicBezTo>
                <a:close/>
                <a:moveTo>
                  <a:pt x="896336" y="800472"/>
                </a:moveTo>
                <a:lnTo>
                  <a:pt x="896336" y="837407"/>
                </a:lnTo>
                <a:lnTo>
                  <a:pt x="896336" y="871913"/>
                </a:lnTo>
                <a:lnTo>
                  <a:pt x="896336" y="908849"/>
                </a:lnTo>
                <a:lnTo>
                  <a:pt x="933272" y="908849"/>
                </a:lnTo>
                <a:lnTo>
                  <a:pt x="1192795" y="908849"/>
                </a:lnTo>
                <a:lnTo>
                  <a:pt x="1229244" y="908849"/>
                </a:lnTo>
                <a:lnTo>
                  <a:pt x="1229244" y="871913"/>
                </a:lnTo>
                <a:lnTo>
                  <a:pt x="1229244" y="837407"/>
                </a:lnTo>
                <a:lnTo>
                  <a:pt x="1229244" y="800472"/>
                </a:lnTo>
                <a:lnTo>
                  <a:pt x="1192795" y="800472"/>
                </a:lnTo>
                <a:lnTo>
                  <a:pt x="933272" y="800472"/>
                </a:lnTo>
                <a:close/>
                <a:moveTo>
                  <a:pt x="2119105" y="700356"/>
                </a:moveTo>
                <a:lnTo>
                  <a:pt x="2119105" y="731460"/>
                </a:lnTo>
                <a:lnTo>
                  <a:pt x="2119105" y="801930"/>
                </a:lnTo>
                <a:lnTo>
                  <a:pt x="2049122" y="801930"/>
                </a:lnTo>
                <a:lnTo>
                  <a:pt x="2018018" y="801930"/>
                </a:lnTo>
                <a:lnTo>
                  <a:pt x="2018018" y="833034"/>
                </a:lnTo>
                <a:lnTo>
                  <a:pt x="2018018" y="875801"/>
                </a:lnTo>
                <a:lnTo>
                  <a:pt x="2018018" y="906419"/>
                </a:lnTo>
                <a:lnTo>
                  <a:pt x="2049122" y="906419"/>
                </a:lnTo>
                <a:lnTo>
                  <a:pt x="2119105" y="906419"/>
                </a:lnTo>
                <a:lnTo>
                  <a:pt x="2119105" y="977375"/>
                </a:lnTo>
                <a:lnTo>
                  <a:pt x="2119105" y="1008479"/>
                </a:lnTo>
                <a:lnTo>
                  <a:pt x="2150209" y="1008479"/>
                </a:lnTo>
                <a:lnTo>
                  <a:pt x="2193463" y="1008479"/>
                </a:lnTo>
                <a:lnTo>
                  <a:pt x="2224567" y="1008479"/>
                </a:lnTo>
                <a:lnTo>
                  <a:pt x="2224567" y="977375"/>
                </a:lnTo>
                <a:lnTo>
                  <a:pt x="2224567" y="906419"/>
                </a:lnTo>
                <a:lnTo>
                  <a:pt x="2294550" y="906419"/>
                </a:lnTo>
                <a:lnTo>
                  <a:pt x="2325654" y="906419"/>
                </a:lnTo>
                <a:lnTo>
                  <a:pt x="2325654" y="875801"/>
                </a:lnTo>
                <a:lnTo>
                  <a:pt x="2325654" y="833034"/>
                </a:lnTo>
                <a:lnTo>
                  <a:pt x="2325654" y="801930"/>
                </a:lnTo>
                <a:lnTo>
                  <a:pt x="2294550" y="801930"/>
                </a:lnTo>
                <a:lnTo>
                  <a:pt x="2224567" y="801930"/>
                </a:lnTo>
                <a:lnTo>
                  <a:pt x="2224567" y="731460"/>
                </a:lnTo>
                <a:lnTo>
                  <a:pt x="2224567" y="700356"/>
                </a:lnTo>
                <a:lnTo>
                  <a:pt x="2193463" y="700356"/>
                </a:lnTo>
                <a:lnTo>
                  <a:pt x="2150209" y="700356"/>
                </a:ln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2199907" y="527341"/>
                </a:moveTo>
                <a:cubicBezTo>
                  <a:pt x="2247327" y="527341"/>
                  <a:pt x="2295078" y="536600"/>
                  <a:pt x="2338639" y="553905"/>
                </a:cubicBezTo>
                <a:cubicBezTo>
                  <a:pt x="2382310" y="571319"/>
                  <a:pt x="2422452" y="597111"/>
                  <a:pt x="2455536" y="628855"/>
                </a:cubicBezTo>
                <a:cubicBezTo>
                  <a:pt x="2488509" y="660599"/>
                  <a:pt x="2514976" y="698846"/>
                  <a:pt x="2532621" y="739738"/>
                </a:cubicBezTo>
                <a:cubicBezTo>
                  <a:pt x="2550266" y="780740"/>
                  <a:pt x="2559419" y="825380"/>
                  <a:pt x="2559419" y="869579"/>
                </a:cubicBezTo>
                <a:cubicBezTo>
                  <a:pt x="2559419" y="913667"/>
                  <a:pt x="2550266" y="958307"/>
                  <a:pt x="2532621" y="999309"/>
                </a:cubicBezTo>
                <a:cubicBezTo>
                  <a:pt x="2514976" y="1040312"/>
                  <a:pt x="2488509" y="1078559"/>
                  <a:pt x="2455536" y="1110302"/>
                </a:cubicBezTo>
                <a:cubicBezTo>
                  <a:pt x="2422452" y="1142046"/>
                  <a:pt x="2382310" y="1167838"/>
                  <a:pt x="2338639" y="1185253"/>
                </a:cubicBezTo>
                <a:cubicBezTo>
                  <a:pt x="2295078" y="1202558"/>
                  <a:pt x="2247327" y="1211706"/>
                  <a:pt x="2199907" y="1211706"/>
                </a:cubicBezTo>
                <a:lnTo>
                  <a:pt x="2197481" y="1211706"/>
                </a:lnTo>
                <a:lnTo>
                  <a:pt x="2195055" y="1211816"/>
                </a:lnTo>
                <a:cubicBezTo>
                  <a:pt x="2070769" y="1218429"/>
                  <a:pt x="1994786" y="1181064"/>
                  <a:pt x="1921340" y="1113499"/>
                </a:cubicBezTo>
                <a:cubicBezTo>
                  <a:pt x="1854731" y="1052105"/>
                  <a:pt x="1795511" y="961614"/>
                  <a:pt x="1734195" y="862524"/>
                </a:cubicBezTo>
                <a:cubicBezTo>
                  <a:pt x="1787902" y="777875"/>
                  <a:pt x="1842159" y="700168"/>
                  <a:pt x="1903916" y="643074"/>
                </a:cubicBezTo>
                <a:cubicBezTo>
                  <a:pt x="1981884" y="570989"/>
                  <a:pt x="2066799" y="527341"/>
                  <a:pt x="2199907" y="527341"/>
                </a:cubicBezTo>
                <a:close/>
                <a:moveTo>
                  <a:pt x="1048163" y="527341"/>
                </a:moveTo>
                <a:cubicBezTo>
                  <a:pt x="1181239" y="527341"/>
                  <a:pt x="1266315" y="570989"/>
                  <a:pt x="1344218" y="643074"/>
                </a:cubicBezTo>
                <a:cubicBezTo>
                  <a:pt x="1406122" y="700168"/>
                  <a:pt x="1460301" y="777875"/>
                  <a:pt x="1514039" y="862524"/>
                </a:cubicBezTo>
                <a:cubicBezTo>
                  <a:pt x="1452798" y="961614"/>
                  <a:pt x="1393432" y="1052105"/>
                  <a:pt x="1326894" y="1113499"/>
                </a:cubicBezTo>
                <a:cubicBezTo>
                  <a:pt x="1253404" y="1181064"/>
                  <a:pt x="1177377" y="1218429"/>
                  <a:pt x="1053018" y="1211816"/>
                </a:cubicBezTo>
                <a:lnTo>
                  <a:pt x="1050591" y="1211706"/>
                </a:lnTo>
                <a:lnTo>
                  <a:pt x="1048163" y="1211706"/>
                </a:lnTo>
                <a:cubicBezTo>
                  <a:pt x="1000715" y="1211706"/>
                  <a:pt x="952825" y="1202558"/>
                  <a:pt x="909239" y="1185253"/>
                </a:cubicBezTo>
                <a:cubicBezTo>
                  <a:pt x="865653" y="1167838"/>
                  <a:pt x="825377" y="1142046"/>
                  <a:pt x="792384" y="1110302"/>
                </a:cubicBezTo>
                <a:cubicBezTo>
                  <a:pt x="759391" y="1078559"/>
                  <a:pt x="732908" y="1040312"/>
                  <a:pt x="715254" y="999309"/>
                </a:cubicBezTo>
                <a:cubicBezTo>
                  <a:pt x="697488" y="958307"/>
                  <a:pt x="688329" y="913667"/>
                  <a:pt x="688329" y="869579"/>
                </a:cubicBezTo>
                <a:cubicBezTo>
                  <a:pt x="688329" y="825380"/>
                  <a:pt x="697488" y="780740"/>
                  <a:pt x="715254" y="739738"/>
                </a:cubicBezTo>
                <a:cubicBezTo>
                  <a:pt x="732908" y="698846"/>
                  <a:pt x="759391" y="660599"/>
                  <a:pt x="792384" y="628855"/>
                </a:cubicBezTo>
                <a:cubicBezTo>
                  <a:pt x="825377" y="597111"/>
                  <a:pt x="865653" y="571319"/>
                  <a:pt x="909239" y="553905"/>
                </a:cubicBezTo>
                <a:cubicBezTo>
                  <a:pt x="952825" y="536600"/>
                  <a:pt x="1000715" y="527341"/>
                  <a:pt x="1048163" y="527341"/>
                </a:cubicBezTo>
                <a:close/>
                <a:moveTo>
                  <a:pt x="1048185" y="340718"/>
                </a:moveTo>
                <a:cubicBezTo>
                  <a:pt x="976924" y="340718"/>
                  <a:pt x="906105" y="354277"/>
                  <a:pt x="840139" y="380513"/>
                </a:cubicBezTo>
                <a:cubicBezTo>
                  <a:pt x="774174" y="406749"/>
                  <a:pt x="713834" y="445441"/>
                  <a:pt x="662981" y="494385"/>
                </a:cubicBezTo>
                <a:cubicBezTo>
                  <a:pt x="612127" y="543219"/>
                  <a:pt x="571423" y="601643"/>
                  <a:pt x="543735" y="666020"/>
                </a:cubicBezTo>
                <a:cubicBezTo>
                  <a:pt x="515936" y="730397"/>
                  <a:pt x="501706" y="799735"/>
                  <a:pt x="501706" y="869624"/>
                </a:cubicBezTo>
                <a:cubicBezTo>
                  <a:pt x="501706" y="939512"/>
                  <a:pt x="515936" y="1008850"/>
                  <a:pt x="543735" y="1073227"/>
                </a:cubicBezTo>
                <a:cubicBezTo>
                  <a:pt x="571423" y="1137493"/>
                  <a:pt x="612127" y="1196028"/>
                  <a:pt x="662981" y="1244862"/>
                </a:cubicBezTo>
                <a:cubicBezTo>
                  <a:pt x="713834" y="1293806"/>
                  <a:pt x="774174" y="1332498"/>
                  <a:pt x="840139" y="1358734"/>
                </a:cubicBezTo>
                <a:cubicBezTo>
                  <a:pt x="904671" y="1384419"/>
                  <a:pt x="973725" y="1397647"/>
                  <a:pt x="1043332" y="1398308"/>
                </a:cubicBezTo>
                <a:lnTo>
                  <a:pt x="1043332" y="1398418"/>
                </a:lnTo>
                <a:cubicBezTo>
                  <a:pt x="1044876" y="1398529"/>
                  <a:pt x="1046530" y="1398418"/>
                  <a:pt x="1048185" y="1398529"/>
                </a:cubicBezTo>
                <a:cubicBezTo>
                  <a:pt x="1217291" y="1406024"/>
                  <a:pt x="1353635" y="1342750"/>
                  <a:pt x="1453466" y="1250814"/>
                </a:cubicBezTo>
                <a:cubicBezTo>
                  <a:pt x="1521638" y="1187981"/>
                  <a:pt x="1575139" y="1113793"/>
                  <a:pt x="1624117" y="1038172"/>
                </a:cubicBezTo>
                <a:cubicBezTo>
                  <a:pt x="1672985" y="1113793"/>
                  <a:pt x="1726485" y="1187981"/>
                  <a:pt x="1794768" y="1250814"/>
                </a:cubicBezTo>
                <a:cubicBezTo>
                  <a:pt x="1894488" y="1342750"/>
                  <a:pt x="2030832" y="1406024"/>
                  <a:pt x="2200049" y="1398529"/>
                </a:cubicBezTo>
                <a:cubicBezTo>
                  <a:pt x="2201704" y="1398418"/>
                  <a:pt x="2203248" y="1398529"/>
                  <a:pt x="2204903" y="1398418"/>
                </a:cubicBezTo>
                <a:lnTo>
                  <a:pt x="2204903" y="1398308"/>
                </a:lnTo>
                <a:cubicBezTo>
                  <a:pt x="2274509" y="1397647"/>
                  <a:pt x="2343563" y="1384419"/>
                  <a:pt x="2407984" y="1358734"/>
                </a:cubicBezTo>
                <a:cubicBezTo>
                  <a:pt x="2474061" y="1332498"/>
                  <a:pt x="2534290" y="1293806"/>
                  <a:pt x="2585254" y="1244862"/>
                </a:cubicBezTo>
                <a:cubicBezTo>
                  <a:pt x="2636107" y="1196028"/>
                  <a:pt x="2676702" y="1137493"/>
                  <a:pt x="2704500" y="1073227"/>
                </a:cubicBezTo>
                <a:cubicBezTo>
                  <a:pt x="2732188" y="1008850"/>
                  <a:pt x="2746528" y="939512"/>
                  <a:pt x="2746528" y="869624"/>
                </a:cubicBezTo>
                <a:cubicBezTo>
                  <a:pt x="2746528" y="799735"/>
                  <a:pt x="2732188" y="730397"/>
                  <a:pt x="2704500" y="666020"/>
                </a:cubicBezTo>
                <a:cubicBezTo>
                  <a:pt x="2676702" y="601643"/>
                  <a:pt x="2636107" y="543219"/>
                  <a:pt x="2585254" y="494385"/>
                </a:cubicBezTo>
                <a:cubicBezTo>
                  <a:pt x="2534290" y="445441"/>
                  <a:pt x="2474061" y="406749"/>
                  <a:pt x="2407984" y="380513"/>
                </a:cubicBezTo>
                <a:cubicBezTo>
                  <a:pt x="2342019" y="354277"/>
                  <a:pt x="2271310" y="340718"/>
                  <a:pt x="2200049" y="340718"/>
                </a:cubicBezTo>
                <a:cubicBezTo>
                  <a:pt x="2021787" y="340718"/>
                  <a:pt x="1881030" y="409945"/>
                  <a:pt x="1777118" y="505960"/>
                </a:cubicBezTo>
                <a:cubicBezTo>
                  <a:pt x="1717109" y="561518"/>
                  <a:pt x="1668241" y="625013"/>
                  <a:pt x="1624117" y="689941"/>
                </a:cubicBezTo>
                <a:cubicBezTo>
                  <a:pt x="1579882" y="625013"/>
                  <a:pt x="1531125" y="561518"/>
                  <a:pt x="1471006" y="505960"/>
                </a:cubicBezTo>
                <a:cubicBezTo>
                  <a:pt x="1367093" y="409945"/>
                  <a:pt x="1226337" y="340718"/>
                  <a:pt x="1048185" y="340718"/>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 name="Arduino Logo"/>
          <p:cNvSpPr>
            <a:spLocks noChangeAspect="1"/>
          </p:cNvSpPr>
          <p:nvPr/>
        </p:nvSpPr>
        <p:spPr bwMode="auto">
          <a:xfrm>
            <a:off x="10244346" y="91397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1466" name="Arduino"/>
          <p:cNvGrpSpPr>
            <a:grpSpLocks noChangeAspect="1"/>
          </p:cNvGrpSpPr>
          <p:nvPr/>
        </p:nvGrpSpPr>
        <p:grpSpPr>
          <a:xfrm>
            <a:off x="1059017" y="2038318"/>
            <a:ext cx="4684593" cy="3336290"/>
            <a:chOff x="4748213" y="2466975"/>
            <a:chExt cx="2697163" cy="1920875"/>
          </a:xfrm>
        </p:grpSpPr>
        <p:grpSp>
          <p:nvGrpSpPr>
            <p:cNvPr id="740" name="Group 934"/>
            <p:cNvGrpSpPr>
              <a:grpSpLocks/>
            </p:cNvGrpSpPr>
            <p:nvPr/>
          </p:nvGrpSpPr>
          <p:grpSpPr bwMode="auto">
            <a:xfrm>
              <a:off x="4973638" y="2466975"/>
              <a:ext cx="2471738" cy="1920875"/>
              <a:chOff x="3133" y="1554"/>
              <a:chExt cx="1557" cy="1210"/>
            </a:xfrm>
          </p:grpSpPr>
          <p:sp>
            <p:nvSpPr>
              <p:cNvPr id="1266" name="Freeform 734"/>
              <p:cNvSpPr>
                <a:spLocks noEditPoints="1"/>
              </p:cNvSpPr>
              <p:nvPr/>
            </p:nvSpPr>
            <p:spPr bwMode="auto">
              <a:xfrm>
                <a:off x="3133" y="1554"/>
                <a:ext cx="1557" cy="1210"/>
              </a:xfrm>
              <a:custGeom>
                <a:avLst/>
                <a:gdLst>
                  <a:gd name="T0" fmla="*/ 6604 w 6858"/>
                  <a:gd name="T1" fmla="*/ 5080 h 5334"/>
                  <a:gd name="T2" fmla="*/ 0 w 6858"/>
                  <a:gd name="T3" fmla="*/ 5234 h 5334"/>
                  <a:gd name="T4" fmla="*/ 6604 w 6858"/>
                  <a:gd name="T5" fmla="*/ 1938 h 5334"/>
                  <a:gd name="T6" fmla="*/ 6444 w 6858"/>
                  <a:gd name="T7" fmla="*/ 4572 h 5334"/>
                  <a:gd name="T8" fmla="*/ 6444 w 6858"/>
                  <a:gd name="T9" fmla="*/ 4572 h 5334"/>
                  <a:gd name="T10" fmla="*/ 1364 w 6858"/>
                  <a:gd name="T11" fmla="*/ 254 h 5334"/>
                  <a:gd name="T12" fmla="*/ 1557 w 6858"/>
                  <a:gd name="T13" fmla="*/ 5080 h 5334"/>
                  <a:gd name="T14" fmla="*/ 5122 w 6858"/>
                  <a:gd name="T15" fmla="*/ 5080 h 5334"/>
                  <a:gd name="T16" fmla="*/ 5334 w 6858"/>
                  <a:gd name="T17" fmla="*/ 5123 h 5334"/>
                  <a:gd name="T18" fmla="*/ 5546 w 6858"/>
                  <a:gd name="T19" fmla="*/ 5080 h 5334"/>
                  <a:gd name="T20" fmla="*/ 5546 w 6858"/>
                  <a:gd name="T21" fmla="*/ 5080 h 5334"/>
                  <a:gd name="T22" fmla="*/ 5800 w 6858"/>
                  <a:gd name="T23" fmla="*/ 5080 h 5334"/>
                  <a:gd name="T24" fmla="*/ 6096 w 6858"/>
                  <a:gd name="T25" fmla="*/ 5037 h 5334"/>
                  <a:gd name="T26" fmla="*/ 6392 w 6858"/>
                  <a:gd name="T27" fmla="*/ 5080 h 5334"/>
                  <a:gd name="T28" fmla="*/ 6410 w 6858"/>
                  <a:gd name="T29" fmla="*/ 2286 h 5334"/>
                  <a:gd name="T30" fmla="*/ 6617 w 6858"/>
                  <a:gd name="T31" fmla="*/ 2334 h 5334"/>
                  <a:gd name="T32" fmla="*/ 6315 w 6858"/>
                  <a:gd name="T33" fmla="*/ 2540 h 5334"/>
                  <a:gd name="T34" fmla="*/ 6315 w 6858"/>
                  <a:gd name="T35" fmla="*/ 2540 h 5334"/>
                  <a:gd name="T36" fmla="*/ 6569 w 6858"/>
                  <a:gd name="T37" fmla="*/ 2540 h 5334"/>
                  <a:gd name="T38" fmla="*/ 6363 w 6858"/>
                  <a:gd name="T39" fmla="*/ 2746 h 5334"/>
                  <a:gd name="T40" fmla="*/ 6664 w 6858"/>
                  <a:gd name="T41" fmla="*/ 2794 h 5334"/>
                  <a:gd name="T42" fmla="*/ 2130 w 6858"/>
                  <a:gd name="T43" fmla="*/ 584 h 5334"/>
                  <a:gd name="T44" fmla="*/ 2083 w 6858"/>
                  <a:gd name="T45" fmla="*/ 886 h 5334"/>
                  <a:gd name="T46" fmla="*/ 1781 w 6858"/>
                  <a:gd name="T47" fmla="*/ 584 h 5334"/>
                  <a:gd name="T48" fmla="*/ 1781 w 6858"/>
                  <a:gd name="T49" fmla="*/ 584 h 5334"/>
                  <a:gd name="T50" fmla="*/ 1781 w 6858"/>
                  <a:gd name="T51" fmla="*/ 838 h 5334"/>
                  <a:gd name="T52" fmla="*/ 1527 w 6858"/>
                  <a:gd name="T53" fmla="*/ 584 h 5334"/>
                  <a:gd name="T54" fmla="*/ 4123 w 6858"/>
                  <a:gd name="T55" fmla="*/ 254 h 5334"/>
                  <a:gd name="T56" fmla="*/ 4123 w 6858"/>
                  <a:gd name="T57" fmla="*/ 254 h 5334"/>
                  <a:gd name="T58" fmla="*/ 3869 w 6858"/>
                  <a:gd name="T59" fmla="*/ 254 h 5334"/>
                  <a:gd name="T60" fmla="*/ 3700 w 6858"/>
                  <a:gd name="T61" fmla="*/ 254 h 5334"/>
                  <a:gd name="T62" fmla="*/ 3446 w 6858"/>
                  <a:gd name="T63" fmla="*/ 254 h 5334"/>
                  <a:gd name="T64" fmla="*/ 3150 w 6858"/>
                  <a:gd name="T65" fmla="*/ 297 h 5334"/>
                  <a:gd name="T66" fmla="*/ 2853 w 6858"/>
                  <a:gd name="T67" fmla="*/ 254 h 5334"/>
                  <a:gd name="T68" fmla="*/ 2853 w 6858"/>
                  <a:gd name="T69" fmla="*/ 254 h 5334"/>
                  <a:gd name="T70" fmla="*/ 2599 w 6858"/>
                  <a:gd name="T71" fmla="*/ 254 h 5334"/>
                  <a:gd name="T72" fmla="*/ 2388 w 6858"/>
                  <a:gd name="T73" fmla="*/ 211 h 5334"/>
                  <a:gd name="T74" fmla="*/ 2176 w 6858"/>
                  <a:gd name="T75" fmla="*/ 254 h 5334"/>
                  <a:gd name="T76" fmla="*/ 1922 w 6858"/>
                  <a:gd name="T77" fmla="*/ 254 h 5334"/>
                  <a:gd name="T78" fmla="*/ 6350 w 6858"/>
                  <a:gd name="T79" fmla="*/ 297 h 5334"/>
                  <a:gd name="T80" fmla="*/ 6054 w 6858"/>
                  <a:gd name="T81" fmla="*/ 254 h 5334"/>
                  <a:gd name="T82" fmla="*/ 6054 w 6858"/>
                  <a:gd name="T83" fmla="*/ 254 h 5334"/>
                  <a:gd name="T84" fmla="*/ 5800 w 6858"/>
                  <a:gd name="T85" fmla="*/ 254 h 5334"/>
                  <a:gd name="T86" fmla="*/ 5588 w 6858"/>
                  <a:gd name="T87" fmla="*/ 211 h 5334"/>
                  <a:gd name="T88" fmla="*/ 5376 w 6858"/>
                  <a:gd name="T89" fmla="*/ 254 h 5334"/>
                  <a:gd name="T90" fmla="*/ 5122 w 6858"/>
                  <a:gd name="T91" fmla="*/ 254 h 5334"/>
                  <a:gd name="T92" fmla="*/ 4826 w 6858"/>
                  <a:gd name="T93" fmla="*/ 297 h 5334"/>
                  <a:gd name="T94" fmla="*/ 4530 w 6858"/>
                  <a:gd name="T95" fmla="*/ 254 h 5334"/>
                  <a:gd name="T96" fmla="*/ 4530 w 6858"/>
                  <a:gd name="T97" fmla="*/ 254 h 5334"/>
                  <a:gd name="T98" fmla="*/ 3006 w 6858"/>
                  <a:gd name="T99" fmla="*/ 5080 h 5334"/>
                  <a:gd name="T100" fmla="*/ 2794 w 6858"/>
                  <a:gd name="T101" fmla="*/ 5037 h 5334"/>
                  <a:gd name="T102" fmla="*/ 3344 w 6858"/>
                  <a:gd name="T103" fmla="*/ 5080 h 5334"/>
                  <a:gd name="T104" fmla="*/ 3599 w 6858"/>
                  <a:gd name="T105" fmla="*/ 5080 h 5334"/>
                  <a:gd name="T106" fmla="*/ 3810 w 6858"/>
                  <a:gd name="T107" fmla="*/ 5123 h 5334"/>
                  <a:gd name="T108" fmla="*/ 4022 w 6858"/>
                  <a:gd name="T109" fmla="*/ 5080 h 5334"/>
                  <a:gd name="T110" fmla="*/ 4022 w 6858"/>
                  <a:gd name="T111" fmla="*/ 5080 h 5334"/>
                  <a:gd name="T112" fmla="*/ 4276 w 6858"/>
                  <a:gd name="T113" fmla="*/ 5080 h 5334"/>
                  <a:gd name="T114" fmla="*/ 4572 w 6858"/>
                  <a:gd name="T115" fmla="*/ 5037 h 5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58" h="5334">
                    <a:moveTo>
                      <a:pt x="6452" y="0"/>
                    </a:moveTo>
                    <a:lnTo>
                      <a:pt x="6604" y="152"/>
                    </a:lnTo>
                    <a:lnTo>
                      <a:pt x="6604" y="1295"/>
                    </a:lnTo>
                    <a:lnTo>
                      <a:pt x="6858" y="1549"/>
                    </a:lnTo>
                    <a:lnTo>
                      <a:pt x="6858" y="4826"/>
                    </a:lnTo>
                    <a:lnTo>
                      <a:pt x="6604" y="5080"/>
                    </a:lnTo>
                    <a:lnTo>
                      <a:pt x="6604" y="5234"/>
                    </a:lnTo>
                    <a:cubicBezTo>
                      <a:pt x="6604" y="5289"/>
                      <a:pt x="6559" y="5334"/>
                      <a:pt x="6504" y="5334"/>
                    </a:cubicBezTo>
                    <a:lnTo>
                      <a:pt x="6504" y="5334"/>
                    </a:lnTo>
                    <a:lnTo>
                      <a:pt x="100" y="5334"/>
                    </a:lnTo>
                    <a:cubicBezTo>
                      <a:pt x="45" y="5334"/>
                      <a:pt x="0" y="5289"/>
                      <a:pt x="0" y="5234"/>
                    </a:cubicBezTo>
                    <a:lnTo>
                      <a:pt x="0" y="5234"/>
                    </a:lnTo>
                    <a:lnTo>
                      <a:pt x="0" y="100"/>
                    </a:lnTo>
                    <a:cubicBezTo>
                      <a:pt x="0" y="45"/>
                      <a:pt x="45" y="0"/>
                      <a:pt x="100" y="0"/>
                    </a:cubicBezTo>
                    <a:lnTo>
                      <a:pt x="100" y="0"/>
                    </a:lnTo>
                    <a:lnTo>
                      <a:pt x="6452" y="0"/>
                    </a:lnTo>
                    <a:moveTo>
                      <a:pt x="6444" y="1778"/>
                    </a:moveTo>
                    <a:cubicBezTo>
                      <a:pt x="6444" y="1866"/>
                      <a:pt x="6515" y="1938"/>
                      <a:pt x="6604" y="1938"/>
                    </a:cubicBezTo>
                    <a:cubicBezTo>
                      <a:pt x="6692" y="1938"/>
                      <a:pt x="6764" y="1867"/>
                      <a:pt x="6764" y="1779"/>
                    </a:cubicBezTo>
                    <a:lnTo>
                      <a:pt x="6764" y="1778"/>
                    </a:lnTo>
                    <a:cubicBezTo>
                      <a:pt x="6764" y="1690"/>
                      <a:pt x="6693" y="1618"/>
                      <a:pt x="6604" y="1618"/>
                    </a:cubicBezTo>
                    <a:cubicBezTo>
                      <a:pt x="6516" y="1618"/>
                      <a:pt x="6444" y="1689"/>
                      <a:pt x="6444" y="1777"/>
                    </a:cubicBezTo>
                    <a:lnTo>
                      <a:pt x="6444" y="1778"/>
                    </a:lnTo>
                    <a:close/>
                    <a:moveTo>
                      <a:pt x="6444" y="4572"/>
                    </a:moveTo>
                    <a:cubicBezTo>
                      <a:pt x="6444" y="4660"/>
                      <a:pt x="6515" y="4732"/>
                      <a:pt x="6604" y="4732"/>
                    </a:cubicBezTo>
                    <a:cubicBezTo>
                      <a:pt x="6692" y="4732"/>
                      <a:pt x="6764" y="4661"/>
                      <a:pt x="6764" y="4573"/>
                    </a:cubicBezTo>
                    <a:lnTo>
                      <a:pt x="6764" y="4572"/>
                    </a:lnTo>
                    <a:cubicBezTo>
                      <a:pt x="6764" y="4484"/>
                      <a:pt x="6693" y="4412"/>
                      <a:pt x="6604" y="4412"/>
                    </a:cubicBezTo>
                    <a:cubicBezTo>
                      <a:pt x="6516" y="4412"/>
                      <a:pt x="6444" y="4483"/>
                      <a:pt x="6444" y="4571"/>
                    </a:cubicBezTo>
                    <a:lnTo>
                      <a:pt x="6444" y="4572"/>
                    </a:lnTo>
                    <a:close/>
                    <a:moveTo>
                      <a:pt x="1364" y="254"/>
                    </a:moveTo>
                    <a:cubicBezTo>
                      <a:pt x="1364" y="342"/>
                      <a:pt x="1435" y="414"/>
                      <a:pt x="1524" y="414"/>
                    </a:cubicBezTo>
                    <a:cubicBezTo>
                      <a:pt x="1612" y="414"/>
                      <a:pt x="1684" y="343"/>
                      <a:pt x="1684" y="255"/>
                    </a:cubicBezTo>
                    <a:lnTo>
                      <a:pt x="1684" y="254"/>
                    </a:lnTo>
                    <a:cubicBezTo>
                      <a:pt x="1684" y="166"/>
                      <a:pt x="1613" y="94"/>
                      <a:pt x="1524" y="94"/>
                    </a:cubicBezTo>
                    <a:cubicBezTo>
                      <a:pt x="1436" y="94"/>
                      <a:pt x="1364" y="165"/>
                      <a:pt x="1364" y="254"/>
                    </a:cubicBezTo>
                    <a:lnTo>
                      <a:pt x="1364" y="254"/>
                    </a:lnTo>
                    <a:lnTo>
                      <a:pt x="1364" y="254"/>
                    </a:lnTo>
                    <a:close/>
                    <a:moveTo>
                      <a:pt x="1237" y="5080"/>
                    </a:moveTo>
                    <a:cubicBezTo>
                      <a:pt x="1237" y="5168"/>
                      <a:pt x="1308" y="5240"/>
                      <a:pt x="1397" y="5240"/>
                    </a:cubicBezTo>
                    <a:cubicBezTo>
                      <a:pt x="1485" y="5240"/>
                      <a:pt x="1557" y="5169"/>
                      <a:pt x="1557" y="5080"/>
                    </a:cubicBezTo>
                    <a:lnTo>
                      <a:pt x="1557" y="5080"/>
                    </a:lnTo>
                    <a:cubicBezTo>
                      <a:pt x="1557" y="4992"/>
                      <a:pt x="1486" y="4920"/>
                      <a:pt x="1397" y="4920"/>
                    </a:cubicBezTo>
                    <a:cubicBezTo>
                      <a:pt x="1309" y="4920"/>
                      <a:pt x="1237" y="4991"/>
                      <a:pt x="1237" y="5079"/>
                    </a:cubicBezTo>
                    <a:lnTo>
                      <a:pt x="1237" y="5080"/>
                    </a:lnTo>
                    <a:close/>
                    <a:moveTo>
                      <a:pt x="5038" y="5080"/>
                    </a:moveTo>
                    <a:cubicBezTo>
                      <a:pt x="5037" y="5103"/>
                      <a:pt x="5056" y="5123"/>
                      <a:pt x="5080" y="5123"/>
                    </a:cubicBezTo>
                    <a:cubicBezTo>
                      <a:pt x="5103" y="5123"/>
                      <a:pt x="5122" y="5104"/>
                      <a:pt x="5122" y="5080"/>
                    </a:cubicBezTo>
                    <a:lnTo>
                      <a:pt x="5122" y="5080"/>
                    </a:lnTo>
                    <a:cubicBezTo>
                      <a:pt x="5123" y="5057"/>
                      <a:pt x="5104" y="5037"/>
                      <a:pt x="5080" y="5037"/>
                    </a:cubicBezTo>
                    <a:cubicBezTo>
                      <a:pt x="5057" y="5037"/>
                      <a:pt x="5038" y="5056"/>
                      <a:pt x="5038" y="5080"/>
                    </a:cubicBezTo>
                    <a:lnTo>
                      <a:pt x="5038" y="5080"/>
                    </a:lnTo>
                    <a:close/>
                    <a:moveTo>
                      <a:pt x="5292" y="5080"/>
                    </a:moveTo>
                    <a:cubicBezTo>
                      <a:pt x="5291" y="5103"/>
                      <a:pt x="5310" y="5123"/>
                      <a:pt x="5334" y="5123"/>
                    </a:cubicBezTo>
                    <a:cubicBezTo>
                      <a:pt x="5357" y="5123"/>
                      <a:pt x="5376" y="5104"/>
                      <a:pt x="5376" y="5080"/>
                    </a:cubicBezTo>
                    <a:lnTo>
                      <a:pt x="5376" y="5080"/>
                    </a:lnTo>
                    <a:cubicBezTo>
                      <a:pt x="5377" y="5057"/>
                      <a:pt x="5358" y="5037"/>
                      <a:pt x="5334" y="5037"/>
                    </a:cubicBezTo>
                    <a:cubicBezTo>
                      <a:pt x="5311" y="5037"/>
                      <a:pt x="5292" y="5056"/>
                      <a:pt x="5292" y="5080"/>
                    </a:cubicBezTo>
                    <a:lnTo>
                      <a:pt x="5292" y="5080"/>
                    </a:lnTo>
                    <a:close/>
                    <a:moveTo>
                      <a:pt x="5546" y="5080"/>
                    </a:moveTo>
                    <a:cubicBezTo>
                      <a:pt x="5546" y="5103"/>
                      <a:pt x="5564" y="5123"/>
                      <a:pt x="5588" y="5123"/>
                    </a:cubicBezTo>
                    <a:cubicBezTo>
                      <a:pt x="5611" y="5123"/>
                      <a:pt x="5630" y="5104"/>
                      <a:pt x="5631" y="5080"/>
                    </a:cubicBezTo>
                    <a:lnTo>
                      <a:pt x="5631" y="5080"/>
                    </a:lnTo>
                    <a:cubicBezTo>
                      <a:pt x="5631" y="5057"/>
                      <a:pt x="5612" y="5037"/>
                      <a:pt x="5588" y="5037"/>
                    </a:cubicBezTo>
                    <a:cubicBezTo>
                      <a:pt x="5565" y="5037"/>
                      <a:pt x="5546" y="5056"/>
                      <a:pt x="5546" y="5080"/>
                    </a:cubicBezTo>
                    <a:lnTo>
                      <a:pt x="5546" y="5080"/>
                    </a:lnTo>
                    <a:close/>
                    <a:moveTo>
                      <a:pt x="5800" y="5080"/>
                    </a:moveTo>
                    <a:cubicBezTo>
                      <a:pt x="5799" y="5103"/>
                      <a:pt x="5818" y="5123"/>
                      <a:pt x="5842" y="5123"/>
                    </a:cubicBezTo>
                    <a:cubicBezTo>
                      <a:pt x="5865" y="5123"/>
                      <a:pt x="5884" y="5104"/>
                      <a:pt x="5884" y="5080"/>
                    </a:cubicBezTo>
                    <a:lnTo>
                      <a:pt x="5884" y="5080"/>
                    </a:lnTo>
                    <a:cubicBezTo>
                      <a:pt x="5885" y="5057"/>
                      <a:pt x="5866" y="5037"/>
                      <a:pt x="5842" y="5037"/>
                    </a:cubicBezTo>
                    <a:cubicBezTo>
                      <a:pt x="5819" y="5037"/>
                      <a:pt x="5800" y="5056"/>
                      <a:pt x="5800" y="5080"/>
                    </a:cubicBezTo>
                    <a:lnTo>
                      <a:pt x="5800" y="5080"/>
                    </a:lnTo>
                    <a:close/>
                    <a:moveTo>
                      <a:pt x="6054" y="5080"/>
                    </a:moveTo>
                    <a:cubicBezTo>
                      <a:pt x="6053" y="5103"/>
                      <a:pt x="6072" y="5123"/>
                      <a:pt x="6096" y="5123"/>
                    </a:cubicBezTo>
                    <a:cubicBezTo>
                      <a:pt x="6119" y="5123"/>
                      <a:pt x="6138" y="5104"/>
                      <a:pt x="6139" y="5080"/>
                    </a:cubicBezTo>
                    <a:lnTo>
                      <a:pt x="6139" y="5080"/>
                    </a:lnTo>
                    <a:cubicBezTo>
                      <a:pt x="6139" y="5057"/>
                      <a:pt x="6120" y="5037"/>
                      <a:pt x="6096" y="5037"/>
                    </a:cubicBezTo>
                    <a:cubicBezTo>
                      <a:pt x="6073" y="5037"/>
                      <a:pt x="6054" y="5056"/>
                      <a:pt x="6054" y="5080"/>
                    </a:cubicBezTo>
                    <a:lnTo>
                      <a:pt x="6054" y="5080"/>
                    </a:lnTo>
                    <a:close/>
                    <a:moveTo>
                      <a:pt x="6308" y="5080"/>
                    </a:moveTo>
                    <a:cubicBezTo>
                      <a:pt x="6307" y="5103"/>
                      <a:pt x="6326" y="5123"/>
                      <a:pt x="6350" y="5123"/>
                    </a:cubicBezTo>
                    <a:cubicBezTo>
                      <a:pt x="6373" y="5123"/>
                      <a:pt x="6392" y="5104"/>
                      <a:pt x="6392" y="5080"/>
                    </a:cubicBezTo>
                    <a:lnTo>
                      <a:pt x="6392" y="5080"/>
                    </a:lnTo>
                    <a:cubicBezTo>
                      <a:pt x="6393" y="5057"/>
                      <a:pt x="6374" y="5037"/>
                      <a:pt x="6350" y="5037"/>
                    </a:cubicBezTo>
                    <a:cubicBezTo>
                      <a:pt x="6327" y="5037"/>
                      <a:pt x="6308" y="5056"/>
                      <a:pt x="6308" y="5080"/>
                    </a:cubicBezTo>
                    <a:lnTo>
                      <a:pt x="6308" y="5080"/>
                    </a:lnTo>
                    <a:close/>
                    <a:moveTo>
                      <a:pt x="6315" y="2286"/>
                    </a:moveTo>
                    <a:cubicBezTo>
                      <a:pt x="6315" y="2312"/>
                      <a:pt x="6336" y="2334"/>
                      <a:pt x="6363" y="2334"/>
                    </a:cubicBezTo>
                    <a:cubicBezTo>
                      <a:pt x="6389" y="2334"/>
                      <a:pt x="6410" y="2312"/>
                      <a:pt x="6410" y="2286"/>
                    </a:cubicBezTo>
                    <a:lnTo>
                      <a:pt x="6410" y="2286"/>
                    </a:lnTo>
                    <a:cubicBezTo>
                      <a:pt x="6410" y="2260"/>
                      <a:pt x="6389" y="2239"/>
                      <a:pt x="6363" y="2238"/>
                    </a:cubicBezTo>
                    <a:cubicBezTo>
                      <a:pt x="6337" y="2238"/>
                      <a:pt x="6315" y="2260"/>
                      <a:pt x="6315" y="2286"/>
                    </a:cubicBezTo>
                    <a:lnTo>
                      <a:pt x="6315" y="2286"/>
                    </a:lnTo>
                    <a:close/>
                    <a:moveTo>
                      <a:pt x="6569" y="2286"/>
                    </a:moveTo>
                    <a:cubicBezTo>
                      <a:pt x="6569" y="2312"/>
                      <a:pt x="6590" y="2334"/>
                      <a:pt x="6617" y="2334"/>
                    </a:cubicBezTo>
                    <a:cubicBezTo>
                      <a:pt x="6643" y="2334"/>
                      <a:pt x="6664" y="2312"/>
                      <a:pt x="6664" y="2286"/>
                    </a:cubicBezTo>
                    <a:lnTo>
                      <a:pt x="6664" y="2286"/>
                    </a:lnTo>
                    <a:cubicBezTo>
                      <a:pt x="6664" y="2260"/>
                      <a:pt x="6643" y="2239"/>
                      <a:pt x="6617" y="2238"/>
                    </a:cubicBezTo>
                    <a:cubicBezTo>
                      <a:pt x="6591" y="2238"/>
                      <a:pt x="6569" y="2260"/>
                      <a:pt x="6569" y="2286"/>
                    </a:cubicBezTo>
                    <a:lnTo>
                      <a:pt x="6569" y="2286"/>
                    </a:lnTo>
                    <a:close/>
                    <a:moveTo>
                      <a:pt x="6315" y="2540"/>
                    </a:moveTo>
                    <a:cubicBezTo>
                      <a:pt x="6315" y="2566"/>
                      <a:pt x="6336" y="2588"/>
                      <a:pt x="6363" y="2588"/>
                    </a:cubicBezTo>
                    <a:cubicBezTo>
                      <a:pt x="6389" y="2588"/>
                      <a:pt x="6410" y="2566"/>
                      <a:pt x="6410" y="2540"/>
                    </a:cubicBezTo>
                    <a:lnTo>
                      <a:pt x="6410" y="2540"/>
                    </a:lnTo>
                    <a:cubicBezTo>
                      <a:pt x="6410" y="2514"/>
                      <a:pt x="6389" y="2492"/>
                      <a:pt x="6363" y="2492"/>
                    </a:cubicBezTo>
                    <a:cubicBezTo>
                      <a:pt x="6337" y="2492"/>
                      <a:pt x="6315" y="2514"/>
                      <a:pt x="6315" y="2540"/>
                    </a:cubicBezTo>
                    <a:lnTo>
                      <a:pt x="6315" y="2540"/>
                    </a:lnTo>
                    <a:close/>
                    <a:moveTo>
                      <a:pt x="6569" y="2540"/>
                    </a:moveTo>
                    <a:cubicBezTo>
                      <a:pt x="6569" y="2566"/>
                      <a:pt x="6590" y="2588"/>
                      <a:pt x="6617" y="2588"/>
                    </a:cubicBezTo>
                    <a:cubicBezTo>
                      <a:pt x="6643" y="2588"/>
                      <a:pt x="6664" y="2566"/>
                      <a:pt x="6664" y="2540"/>
                    </a:cubicBezTo>
                    <a:lnTo>
                      <a:pt x="6664" y="2540"/>
                    </a:lnTo>
                    <a:cubicBezTo>
                      <a:pt x="6664" y="2514"/>
                      <a:pt x="6643" y="2492"/>
                      <a:pt x="6617" y="2492"/>
                    </a:cubicBezTo>
                    <a:cubicBezTo>
                      <a:pt x="6591" y="2492"/>
                      <a:pt x="6569" y="2514"/>
                      <a:pt x="6569" y="2540"/>
                    </a:cubicBezTo>
                    <a:lnTo>
                      <a:pt x="6569" y="2540"/>
                    </a:lnTo>
                    <a:close/>
                    <a:moveTo>
                      <a:pt x="6315" y="2794"/>
                    </a:moveTo>
                    <a:cubicBezTo>
                      <a:pt x="6315" y="2820"/>
                      <a:pt x="6336" y="2842"/>
                      <a:pt x="6363" y="2842"/>
                    </a:cubicBezTo>
                    <a:cubicBezTo>
                      <a:pt x="6389" y="2842"/>
                      <a:pt x="6410" y="2820"/>
                      <a:pt x="6410" y="2794"/>
                    </a:cubicBezTo>
                    <a:lnTo>
                      <a:pt x="6410" y="2794"/>
                    </a:lnTo>
                    <a:cubicBezTo>
                      <a:pt x="6410" y="2768"/>
                      <a:pt x="6389" y="2746"/>
                      <a:pt x="6363" y="2746"/>
                    </a:cubicBezTo>
                    <a:cubicBezTo>
                      <a:pt x="6337" y="2746"/>
                      <a:pt x="6315" y="2768"/>
                      <a:pt x="6315" y="2794"/>
                    </a:cubicBezTo>
                    <a:lnTo>
                      <a:pt x="6315" y="2794"/>
                    </a:lnTo>
                    <a:close/>
                    <a:moveTo>
                      <a:pt x="6569" y="2794"/>
                    </a:moveTo>
                    <a:cubicBezTo>
                      <a:pt x="6569" y="2820"/>
                      <a:pt x="6590" y="2842"/>
                      <a:pt x="6617" y="2842"/>
                    </a:cubicBezTo>
                    <a:cubicBezTo>
                      <a:pt x="6643" y="2842"/>
                      <a:pt x="6664" y="2820"/>
                      <a:pt x="6664" y="2794"/>
                    </a:cubicBezTo>
                    <a:lnTo>
                      <a:pt x="6664" y="2794"/>
                    </a:lnTo>
                    <a:cubicBezTo>
                      <a:pt x="6664" y="2768"/>
                      <a:pt x="6643" y="2746"/>
                      <a:pt x="6617" y="2746"/>
                    </a:cubicBezTo>
                    <a:cubicBezTo>
                      <a:pt x="6591" y="2746"/>
                      <a:pt x="6569" y="2768"/>
                      <a:pt x="6569" y="2794"/>
                    </a:cubicBezTo>
                    <a:lnTo>
                      <a:pt x="6569" y="2794"/>
                    </a:lnTo>
                    <a:close/>
                    <a:moveTo>
                      <a:pt x="2035" y="584"/>
                    </a:moveTo>
                    <a:cubicBezTo>
                      <a:pt x="2035" y="610"/>
                      <a:pt x="2057" y="632"/>
                      <a:pt x="2083" y="632"/>
                    </a:cubicBezTo>
                    <a:cubicBezTo>
                      <a:pt x="2109" y="632"/>
                      <a:pt x="2130" y="611"/>
                      <a:pt x="2130" y="584"/>
                    </a:cubicBezTo>
                    <a:lnTo>
                      <a:pt x="2130" y="584"/>
                    </a:lnTo>
                    <a:cubicBezTo>
                      <a:pt x="2130" y="558"/>
                      <a:pt x="2109" y="537"/>
                      <a:pt x="2083" y="537"/>
                    </a:cubicBezTo>
                    <a:cubicBezTo>
                      <a:pt x="2057" y="537"/>
                      <a:pt x="2035" y="558"/>
                      <a:pt x="2035" y="584"/>
                    </a:cubicBezTo>
                    <a:lnTo>
                      <a:pt x="2035" y="584"/>
                    </a:lnTo>
                    <a:close/>
                    <a:moveTo>
                      <a:pt x="2035" y="838"/>
                    </a:moveTo>
                    <a:cubicBezTo>
                      <a:pt x="2035" y="864"/>
                      <a:pt x="2057" y="886"/>
                      <a:pt x="2083" y="886"/>
                    </a:cubicBezTo>
                    <a:cubicBezTo>
                      <a:pt x="2109" y="886"/>
                      <a:pt x="2130" y="865"/>
                      <a:pt x="2130" y="838"/>
                    </a:cubicBezTo>
                    <a:lnTo>
                      <a:pt x="2130" y="838"/>
                    </a:lnTo>
                    <a:cubicBezTo>
                      <a:pt x="2130" y="812"/>
                      <a:pt x="2109" y="791"/>
                      <a:pt x="2083" y="791"/>
                    </a:cubicBezTo>
                    <a:cubicBezTo>
                      <a:pt x="2057" y="791"/>
                      <a:pt x="2035" y="812"/>
                      <a:pt x="2035" y="838"/>
                    </a:cubicBezTo>
                    <a:lnTo>
                      <a:pt x="2035" y="838"/>
                    </a:lnTo>
                    <a:close/>
                    <a:moveTo>
                      <a:pt x="1781" y="584"/>
                    </a:moveTo>
                    <a:cubicBezTo>
                      <a:pt x="1781" y="610"/>
                      <a:pt x="1802" y="632"/>
                      <a:pt x="1829" y="632"/>
                    </a:cubicBezTo>
                    <a:cubicBezTo>
                      <a:pt x="1855" y="632"/>
                      <a:pt x="1876" y="611"/>
                      <a:pt x="1876" y="584"/>
                    </a:cubicBezTo>
                    <a:lnTo>
                      <a:pt x="1876" y="584"/>
                    </a:lnTo>
                    <a:cubicBezTo>
                      <a:pt x="1876" y="558"/>
                      <a:pt x="1855" y="537"/>
                      <a:pt x="1829" y="537"/>
                    </a:cubicBezTo>
                    <a:cubicBezTo>
                      <a:pt x="1803" y="537"/>
                      <a:pt x="1781" y="558"/>
                      <a:pt x="1781" y="584"/>
                    </a:cubicBezTo>
                    <a:lnTo>
                      <a:pt x="1781" y="584"/>
                    </a:lnTo>
                    <a:close/>
                    <a:moveTo>
                      <a:pt x="1781" y="838"/>
                    </a:moveTo>
                    <a:cubicBezTo>
                      <a:pt x="1781" y="864"/>
                      <a:pt x="1802" y="886"/>
                      <a:pt x="1829" y="886"/>
                    </a:cubicBezTo>
                    <a:cubicBezTo>
                      <a:pt x="1855" y="886"/>
                      <a:pt x="1876" y="865"/>
                      <a:pt x="1876" y="838"/>
                    </a:cubicBezTo>
                    <a:lnTo>
                      <a:pt x="1876" y="838"/>
                    </a:lnTo>
                    <a:cubicBezTo>
                      <a:pt x="1876" y="812"/>
                      <a:pt x="1855" y="791"/>
                      <a:pt x="1829" y="791"/>
                    </a:cubicBezTo>
                    <a:cubicBezTo>
                      <a:pt x="1803" y="791"/>
                      <a:pt x="1781" y="812"/>
                      <a:pt x="1781" y="838"/>
                    </a:cubicBezTo>
                    <a:lnTo>
                      <a:pt x="1781" y="838"/>
                    </a:lnTo>
                    <a:close/>
                    <a:moveTo>
                      <a:pt x="1527" y="584"/>
                    </a:moveTo>
                    <a:cubicBezTo>
                      <a:pt x="1527" y="610"/>
                      <a:pt x="1549" y="632"/>
                      <a:pt x="1575" y="632"/>
                    </a:cubicBezTo>
                    <a:cubicBezTo>
                      <a:pt x="1601" y="632"/>
                      <a:pt x="1622" y="610"/>
                      <a:pt x="1622" y="584"/>
                    </a:cubicBezTo>
                    <a:cubicBezTo>
                      <a:pt x="1622" y="558"/>
                      <a:pt x="1601" y="537"/>
                      <a:pt x="1575" y="537"/>
                    </a:cubicBezTo>
                    <a:cubicBezTo>
                      <a:pt x="1549" y="537"/>
                      <a:pt x="1527" y="558"/>
                      <a:pt x="1527" y="584"/>
                    </a:cubicBezTo>
                    <a:close/>
                    <a:moveTo>
                      <a:pt x="1527" y="838"/>
                    </a:moveTo>
                    <a:cubicBezTo>
                      <a:pt x="1527" y="864"/>
                      <a:pt x="1549" y="886"/>
                      <a:pt x="1575" y="886"/>
                    </a:cubicBezTo>
                    <a:cubicBezTo>
                      <a:pt x="1601" y="886"/>
                      <a:pt x="1622" y="864"/>
                      <a:pt x="1622" y="838"/>
                    </a:cubicBezTo>
                    <a:cubicBezTo>
                      <a:pt x="1622" y="812"/>
                      <a:pt x="1601" y="791"/>
                      <a:pt x="1575" y="791"/>
                    </a:cubicBezTo>
                    <a:cubicBezTo>
                      <a:pt x="1549" y="791"/>
                      <a:pt x="1527" y="812"/>
                      <a:pt x="1527" y="838"/>
                    </a:cubicBezTo>
                    <a:close/>
                    <a:moveTo>
                      <a:pt x="4123" y="254"/>
                    </a:moveTo>
                    <a:cubicBezTo>
                      <a:pt x="4123" y="277"/>
                      <a:pt x="4142" y="297"/>
                      <a:pt x="4166" y="297"/>
                    </a:cubicBezTo>
                    <a:cubicBezTo>
                      <a:pt x="4189" y="297"/>
                      <a:pt x="4208" y="278"/>
                      <a:pt x="4208" y="254"/>
                    </a:cubicBezTo>
                    <a:lnTo>
                      <a:pt x="4208" y="254"/>
                    </a:lnTo>
                    <a:cubicBezTo>
                      <a:pt x="4208" y="231"/>
                      <a:pt x="4189" y="211"/>
                      <a:pt x="4166" y="211"/>
                    </a:cubicBezTo>
                    <a:cubicBezTo>
                      <a:pt x="4142" y="211"/>
                      <a:pt x="4123" y="230"/>
                      <a:pt x="4123" y="254"/>
                    </a:cubicBezTo>
                    <a:lnTo>
                      <a:pt x="4123" y="254"/>
                    </a:lnTo>
                    <a:close/>
                    <a:moveTo>
                      <a:pt x="3869" y="254"/>
                    </a:moveTo>
                    <a:cubicBezTo>
                      <a:pt x="3869" y="277"/>
                      <a:pt x="3888" y="297"/>
                      <a:pt x="3912" y="297"/>
                    </a:cubicBezTo>
                    <a:cubicBezTo>
                      <a:pt x="3935" y="297"/>
                      <a:pt x="3954" y="278"/>
                      <a:pt x="3954" y="254"/>
                    </a:cubicBezTo>
                    <a:lnTo>
                      <a:pt x="3954" y="254"/>
                    </a:lnTo>
                    <a:cubicBezTo>
                      <a:pt x="3954" y="231"/>
                      <a:pt x="3935" y="211"/>
                      <a:pt x="3912" y="211"/>
                    </a:cubicBezTo>
                    <a:cubicBezTo>
                      <a:pt x="3888" y="211"/>
                      <a:pt x="3869" y="230"/>
                      <a:pt x="3869" y="254"/>
                    </a:cubicBezTo>
                    <a:lnTo>
                      <a:pt x="3869" y="254"/>
                    </a:lnTo>
                    <a:lnTo>
                      <a:pt x="3869" y="254"/>
                    </a:lnTo>
                    <a:close/>
                    <a:moveTo>
                      <a:pt x="3615" y="254"/>
                    </a:moveTo>
                    <a:cubicBezTo>
                      <a:pt x="3615" y="277"/>
                      <a:pt x="3634" y="297"/>
                      <a:pt x="3657" y="297"/>
                    </a:cubicBezTo>
                    <a:cubicBezTo>
                      <a:pt x="3681" y="297"/>
                      <a:pt x="3700" y="278"/>
                      <a:pt x="3700" y="254"/>
                    </a:cubicBezTo>
                    <a:lnTo>
                      <a:pt x="3700" y="254"/>
                    </a:lnTo>
                    <a:cubicBezTo>
                      <a:pt x="3700" y="230"/>
                      <a:pt x="3681" y="211"/>
                      <a:pt x="3658" y="211"/>
                    </a:cubicBezTo>
                    <a:cubicBezTo>
                      <a:pt x="3634" y="211"/>
                      <a:pt x="3615" y="230"/>
                      <a:pt x="3615" y="254"/>
                    </a:cubicBezTo>
                    <a:lnTo>
                      <a:pt x="3615" y="254"/>
                    </a:lnTo>
                    <a:close/>
                    <a:moveTo>
                      <a:pt x="3361" y="254"/>
                    </a:moveTo>
                    <a:cubicBezTo>
                      <a:pt x="3361" y="277"/>
                      <a:pt x="3380" y="297"/>
                      <a:pt x="3403" y="297"/>
                    </a:cubicBezTo>
                    <a:cubicBezTo>
                      <a:pt x="3427" y="297"/>
                      <a:pt x="3446" y="278"/>
                      <a:pt x="3446" y="254"/>
                    </a:cubicBezTo>
                    <a:lnTo>
                      <a:pt x="3446" y="254"/>
                    </a:lnTo>
                    <a:cubicBezTo>
                      <a:pt x="3446" y="230"/>
                      <a:pt x="3427" y="211"/>
                      <a:pt x="3404" y="211"/>
                    </a:cubicBezTo>
                    <a:cubicBezTo>
                      <a:pt x="3380" y="211"/>
                      <a:pt x="3361" y="230"/>
                      <a:pt x="3361" y="254"/>
                    </a:cubicBezTo>
                    <a:lnTo>
                      <a:pt x="3361" y="254"/>
                    </a:lnTo>
                    <a:close/>
                    <a:moveTo>
                      <a:pt x="3107" y="254"/>
                    </a:moveTo>
                    <a:cubicBezTo>
                      <a:pt x="3107" y="277"/>
                      <a:pt x="3126" y="297"/>
                      <a:pt x="3150" y="297"/>
                    </a:cubicBezTo>
                    <a:cubicBezTo>
                      <a:pt x="3173" y="297"/>
                      <a:pt x="3192" y="278"/>
                      <a:pt x="3192" y="254"/>
                    </a:cubicBezTo>
                    <a:lnTo>
                      <a:pt x="3192" y="254"/>
                    </a:lnTo>
                    <a:cubicBezTo>
                      <a:pt x="3192" y="230"/>
                      <a:pt x="3173" y="211"/>
                      <a:pt x="3150" y="211"/>
                    </a:cubicBezTo>
                    <a:cubicBezTo>
                      <a:pt x="3126" y="211"/>
                      <a:pt x="3107" y="230"/>
                      <a:pt x="3107" y="254"/>
                    </a:cubicBezTo>
                    <a:cubicBezTo>
                      <a:pt x="3107" y="254"/>
                      <a:pt x="3107" y="254"/>
                      <a:pt x="3107" y="254"/>
                    </a:cubicBezTo>
                    <a:close/>
                    <a:moveTo>
                      <a:pt x="2853" y="254"/>
                    </a:moveTo>
                    <a:cubicBezTo>
                      <a:pt x="2853" y="277"/>
                      <a:pt x="2872" y="297"/>
                      <a:pt x="2895" y="297"/>
                    </a:cubicBezTo>
                    <a:cubicBezTo>
                      <a:pt x="2919" y="297"/>
                      <a:pt x="2938" y="278"/>
                      <a:pt x="2938" y="254"/>
                    </a:cubicBezTo>
                    <a:lnTo>
                      <a:pt x="2938" y="254"/>
                    </a:lnTo>
                    <a:cubicBezTo>
                      <a:pt x="2938" y="230"/>
                      <a:pt x="2919" y="211"/>
                      <a:pt x="2896" y="211"/>
                    </a:cubicBezTo>
                    <a:cubicBezTo>
                      <a:pt x="2872" y="211"/>
                      <a:pt x="2853" y="230"/>
                      <a:pt x="2853" y="254"/>
                    </a:cubicBezTo>
                    <a:lnTo>
                      <a:pt x="2853" y="254"/>
                    </a:lnTo>
                    <a:close/>
                    <a:moveTo>
                      <a:pt x="2599" y="254"/>
                    </a:moveTo>
                    <a:cubicBezTo>
                      <a:pt x="2599" y="277"/>
                      <a:pt x="2618" y="297"/>
                      <a:pt x="2641" y="297"/>
                    </a:cubicBezTo>
                    <a:cubicBezTo>
                      <a:pt x="2665" y="297"/>
                      <a:pt x="2684" y="278"/>
                      <a:pt x="2684" y="254"/>
                    </a:cubicBezTo>
                    <a:lnTo>
                      <a:pt x="2684" y="254"/>
                    </a:lnTo>
                    <a:cubicBezTo>
                      <a:pt x="2684" y="230"/>
                      <a:pt x="2665" y="211"/>
                      <a:pt x="2642" y="211"/>
                    </a:cubicBezTo>
                    <a:cubicBezTo>
                      <a:pt x="2618" y="211"/>
                      <a:pt x="2599" y="230"/>
                      <a:pt x="2599" y="254"/>
                    </a:cubicBezTo>
                    <a:lnTo>
                      <a:pt x="2599" y="254"/>
                    </a:lnTo>
                    <a:close/>
                    <a:moveTo>
                      <a:pt x="2345" y="254"/>
                    </a:moveTo>
                    <a:cubicBezTo>
                      <a:pt x="2345" y="277"/>
                      <a:pt x="2364" y="297"/>
                      <a:pt x="2387" y="297"/>
                    </a:cubicBezTo>
                    <a:cubicBezTo>
                      <a:pt x="2411" y="297"/>
                      <a:pt x="2430" y="278"/>
                      <a:pt x="2430" y="254"/>
                    </a:cubicBezTo>
                    <a:lnTo>
                      <a:pt x="2430" y="254"/>
                    </a:lnTo>
                    <a:cubicBezTo>
                      <a:pt x="2430" y="230"/>
                      <a:pt x="2411" y="211"/>
                      <a:pt x="2388" y="211"/>
                    </a:cubicBezTo>
                    <a:cubicBezTo>
                      <a:pt x="2364" y="211"/>
                      <a:pt x="2345" y="230"/>
                      <a:pt x="2345" y="254"/>
                    </a:cubicBezTo>
                    <a:lnTo>
                      <a:pt x="2345" y="254"/>
                    </a:lnTo>
                    <a:close/>
                    <a:moveTo>
                      <a:pt x="2091" y="254"/>
                    </a:moveTo>
                    <a:cubicBezTo>
                      <a:pt x="2091" y="277"/>
                      <a:pt x="2110" y="297"/>
                      <a:pt x="2133" y="297"/>
                    </a:cubicBezTo>
                    <a:cubicBezTo>
                      <a:pt x="2157" y="297"/>
                      <a:pt x="2176" y="278"/>
                      <a:pt x="2176" y="254"/>
                    </a:cubicBezTo>
                    <a:lnTo>
                      <a:pt x="2176" y="254"/>
                    </a:lnTo>
                    <a:cubicBezTo>
                      <a:pt x="2176" y="230"/>
                      <a:pt x="2157" y="211"/>
                      <a:pt x="2134" y="211"/>
                    </a:cubicBezTo>
                    <a:cubicBezTo>
                      <a:pt x="2110" y="211"/>
                      <a:pt x="2091" y="230"/>
                      <a:pt x="2091" y="254"/>
                    </a:cubicBezTo>
                    <a:cubicBezTo>
                      <a:pt x="2091" y="254"/>
                      <a:pt x="2091" y="254"/>
                      <a:pt x="2091" y="254"/>
                    </a:cubicBezTo>
                    <a:close/>
                    <a:moveTo>
                      <a:pt x="1837" y="254"/>
                    </a:moveTo>
                    <a:cubicBezTo>
                      <a:pt x="1837" y="277"/>
                      <a:pt x="1856" y="297"/>
                      <a:pt x="1879" y="297"/>
                    </a:cubicBezTo>
                    <a:cubicBezTo>
                      <a:pt x="1903" y="297"/>
                      <a:pt x="1922" y="278"/>
                      <a:pt x="1922" y="254"/>
                    </a:cubicBezTo>
                    <a:lnTo>
                      <a:pt x="1922" y="254"/>
                    </a:lnTo>
                    <a:cubicBezTo>
                      <a:pt x="1922" y="230"/>
                      <a:pt x="1903" y="211"/>
                      <a:pt x="1880" y="211"/>
                    </a:cubicBezTo>
                    <a:cubicBezTo>
                      <a:pt x="1856" y="211"/>
                      <a:pt x="1837" y="230"/>
                      <a:pt x="1837" y="254"/>
                    </a:cubicBezTo>
                    <a:lnTo>
                      <a:pt x="1837" y="254"/>
                    </a:lnTo>
                    <a:close/>
                    <a:moveTo>
                      <a:pt x="6308" y="254"/>
                    </a:moveTo>
                    <a:cubicBezTo>
                      <a:pt x="6307" y="277"/>
                      <a:pt x="6326" y="297"/>
                      <a:pt x="6350" y="297"/>
                    </a:cubicBezTo>
                    <a:cubicBezTo>
                      <a:pt x="6373" y="297"/>
                      <a:pt x="6392" y="278"/>
                      <a:pt x="6392" y="254"/>
                    </a:cubicBezTo>
                    <a:lnTo>
                      <a:pt x="6392" y="254"/>
                    </a:lnTo>
                    <a:cubicBezTo>
                      <a:pt x="6393" y="231"/>
                      <a:pt x="6374" y="211"/>
                      <a:pt x="6350" y="211"/>
                    </a:cubicBezTo>
                    <a:cubicBezTo>
                      <a:pt x="6327" y="211"/>
                      <a:pt x="6308" y="230"/>
                      <a:pt x="6308" y="254"/>
                    </a:cubicBezTo>
                    <a:lnTo>
                      <a:pt x="6308" y="254"/>
                    </a:lnTo>
                    <a:close/>
                    <a:moveTo>
                      <a:pt x="6054" y="254"/>
                    </a:moveTo>
                    <a:cubicBezTo>
                      <a:pt x="6053" y="277"/>
                      <a:pt x="6072" y="297"/>
                      <a:pt x="6096" y="297"/>
                    </a:cubicBezTo>
                    <a:cubicBezTo>
                      <a:pt x="6119" y="297"/>
                      <a:pt x="6138" y="278"/>
                      <a:pt x="6139" y="254"/>
                    </a:cubicBezTo>
                    <a:lnTo>
                      <a:pt x="6139" y="254"/>
                    </a:lnTo>
                    <a:cubicBezTo>
                      <a:pt x="6139" y="231"/>
                      <a:pt x="6120" y="211"/>
                      <a:pt x="6096" y="211"/>
                    </a:cubicBezTo>
                    <a:cubicBezTo>
                      <a:pt x="6073" y="211"/>
                      <a:pt x="6054" y="230"/>
                      <a:pt x="6054" y="254"/>
                    </a:cubicBezTo>
                    <a:lnTo>
                      <a:pt x="6054" y="254"/>
                    </a:lnTo>
                    <a:close/>
                    <a:moveTo>
                      <a:pt x="5800" y="254"/>
                    </a:moveTo>
                    <a:cubicBezTo>
                      <a:pt x="5799" y="277"/>
                      <a:pt x="5818" y="297"/>
                      <a:pt x="5842" y="297"/>
                    </a:cubicBezTo>
                    <a:cubicBezTo>
                      <a:pt x="5865" y="297"/>
                      <a:pt x="5884" y="278"/>
                      <a:pt x="5884" y="254"/>
                    </a:cubicBezTo>
                    <a:lnTo>
                      <a:pt x="5884" y="254"/>
                    </a:lnTo>
                    <a:cubicBezTo>
                      <a:pt x="5885" y="231"/>
                      <a:pt x="5866" y="211"/>
                      <a:pt x="5842" y="211"/>
                    </a:cubicBezTo>
                    <a:cubicBezTo>
                      <a:pt x="5819" y="211"/>
                      <a:pt x="5800" y="230"/>
                      <a:pt x="5800" y="254"/>
                    </a:cubicBezTo>
                    <a:lnTo>
                      <a:pt x="5800" y="254"/>
                    </a:lnTo>
                    <a:close/>
                    <a:moveTo>
                      <a:pt x="5546" y="254"/>
                    </a:moveTo>
                    <a:cubicBezTo>
                      <a:pt x="5546" y="277"/>
                      <a:pt x="5564" y="297"/>
                      <a:pt x="5588" y="297"/>
                    </a:cubicBezTo>
                    <a:cubicBezTo>
                      <a:pt x="5611" y="297"/>
                      <a:pt x="5630" y="278"/>
                      <a:pt x="5631" y="254"/>
                    </a:cubicBezTo>
                    <a:lnTo>
                      <a:pt x="5631" y="254"/>
                    </a:lnTo>
                    <a:cubicBezTo>
                      <a:pt x="5631" y="231"/>
                      <a:pt x="5612" y="211"/>
                      <a:pt x="5588" y="211"/>
                    </a:cubicBezTo>
                    <a:cubicBezTo>
                      <a:pt x="5565" y="211"/>
                      <a:pt x="5546" y="230"/>
                      <a:pt x="5546" y="254"/>
                    </a:cubicBezTo>
                    <a:lnTo>
                      <a:pt x="5546" y="254"/>
                    </a:lnTo>
                    <a:close/>
                    <a:moveTo>
                      <a:pt x="5292" y="254"/>
                    </a:moveTo>
                    <a:cubicBezTo>
                      <a:pt x="5291" y="277"/>
                      <a:pt x="5310" y="297"/>
                      <a:pt x="5334" y="297"/>
                    </a:cubicBezTo>
                    <a:cubicBezTo>
                      <a:pt x="5357" y="297"/>
                      <a:pt x="5376" y="278"/>
                      <a:pt x="5376" y="254"/>
                    </a:cubicBezTo>
                    <a:lnTo>
                      <a:pt x="5376" y="254"/>
                    </a:lnTo>
                    <a:cubicBezTo>
                      <a:pt x="5377" y="231"/>
                      <a:pt x="5358" y="211"/>
                      <a:pt x="5334" y="211"/>
                    </a:cubicBezTo>
                    <a:cubicBezTo>
                      <a:pt x="5311" y="211"/>
                      <a:pt x="5292" y="230"/>
                      <a:pt x="5292" y="254"/>
                    </a:cubicBezTo>
                    <a:lnTo>
                      <a:pt x="5292" y="254"/>
                    </a:lnTo>
                    <a:close/>
                    <a:moveTo>
                      <a:pt x="5038" y="254"/>
                    </a:moveTo>
                    <a:cubicBezTo>
                      <a:pt x="5037" y="277"/>
                      <a:pt x="5056" y="297"/>
                      <a:pt x="5080" y="297"/>
                    </a:cubicBezTo>
                    <a:cubicBezTo>
                      <a:pt x="5103" y="297"/>
                      <a:pt x="5122" y="278"/>
                      <a:pt x="5122" y="254"/>
                    </a:cubicBezTo>
                    <a:lnTo>
                      <a:pt x="5122" y="254"/>
                    </a:lnTo>
                    <a:cubicBezTo>
                      <a:pt x="5123" y="231"/>
                      <a:pt x="5104" y="211"/>
                      <a:pt x="5080" y="211"/>
                    </a:cubicBezTo>
                    <a:cubicBezTo>
                      <a:pt x="5057" y="211"/>
                      <a:pt x="5038" y="230"/>
                      <a:pt x="5038" y="254"/>
                    </a:cubicBezTo>
                    <a:lnTo>
                      <a:pt x="5038" y="254"/>
                    </a:lnTo>
                    <a:close/>
                    <a:moveTo>
                      <a:pt x="4784" y="254"/>
                    </a:moveTo>
                    <a:cubicBezTo>
                      <a:pt x="4783" y="277"/>
                      <a:pt x="4802" y="297"/>
                      <a:pt x="4826" y="297"/>
                    </a:cubicBezTo>
                    <a:cubicBezTo>
                      <a:pt x="4849" y="297"/>
                      <a:pt x="4868" y="278"/>
                      <a:pt x="4869" y="254"/>
                    </a:cubicBezTo>
                    <a:lnTo>
                      <a:pt x="4869" y="254"/>
                    </a:lnTo>
                    <a:cubicBezTo>
                      <a:pt x="4869" y="231"/>
                      <a:pt x="4850" y="211"/>
                      <a:pt x="4826" y="211"/>
                    </a:cubicBezTo>
                    <a:cubicBezTo>
                      <a:pt x="4803" y="211"/>
                      <a:pt x="4784" y="230"/>
                      <a:pt x="4784" y="254"/>
                    </a:cubicBezTo>
                    <a:lnTo>
                      <a:pt x="4784" y="254"/>
                    </a:lnTo>
                    <a:close/>
                    <a:moveTo>
                      <a:pt x="4530" y="254"/>
                    </a:moveTo>
                    <a:cubicBezTo>
                      <a:pt x="4529" y="277"/>
                      <a:pt x="4548" y="297"/>
                      <a:pt x="4572" y="297"/>
                    </a:cubicBezTo>
                    <a:cubicBezTo>
                      <a:pt x="4595" y="297"/>
                      <a:pt x="4614" y="278"/>
                      <a:pt x="4614" y="254"/>
                    </a:cubicBezTo>
                    <a:lnTo>
                      <a:pt x="4614" y="254"/>
                    </a:lnTo>
                    <a:cubicBezTo>
                      <a:pt x="4615" y="231"/>
                      <a:pt x="4596" y="211"/>
                      <a:pt x="4572" y="211"/>
                    </a:cubicBezTo>
                    <a:cubicBezTo>
                      <a:pt x="4549" y="211"/>
                      <a:pt x="4530" y="230"/>
                      <a:pt x="4530" y="254"/>
                    </a:cubicBezTo>
                    <a:lnTo>
                      <a:pt x="4530" y="254"/>
                    </a:lnTo>
                    <a:close/>
                    <a:moveTo>
                      <a:pt x="3006" y="5080"/>
                    </a:moveTo>
                    <a:cubicBezTo>
                      <a:pt x="3005" y="5103"/>
                      <a:pt x="3024" y="5123"/>
                      <a:pt x="3048" y="5123"/>
                    </a:cubicBezTo>
                    <a:cubicBezTo>
                      <a:pt x="3071" y="5123"/>
                      <a:pt x="3090" y="5104"/>
                      <a:pt x="3090" y="5080"/>
                    </a:cubicBezTo>
                    <a:lnTo>
                      <a:pt x="3090" y="5080"/>
                    </a:lnTo>
                    <a:cubicBezTo>
                      <a:pt x="3091" y="5057"/>
                      <a:pt x="3072" y="5037"/>
                      <a:pt x="3048" y="5037"/>
                    </a:cubicBezTo>
                    <a:cubicBezTo>
                      <a:pt x="3025" y="5037"/>
                      <a:pt x="3006" y="5056"/>
                      <a:pt x="3006" y="5080"/>
                    </a:cubicBezTo>
                    <a:lnTo>
                      <a:pt x="3006" y="5080"/>
                    </a:lnTo>
                    <a:close/>
                    <a:moveTo>
                      <a:pt x="2752" y="5080"/>
                    </a:moveTo>
                    <a:cubicBezTo>
                      <a:pt x="2751" y="5103"/>
                      <a:pt x="2770" y="5123"/>
                      <a:pt x="2794" y="5123"/>
                    </a:cubicBezTo>
                    <a:cubicBezTo>
                      <a:pt x="2817" y="5123"/>
                      <a:pt x="2836" y="5104"/>
                      <a:pt x="2837" y="5080"/>
                    </a:cubicBezTo>
                    <a:lnTo>
                      <a:pt x="2837" y="5080"/>
                    </a:lnTo>
                    <a:cubicBezTo>
                      <a:pt x="2837" y="5057"/>
                      <a:pt x="2818" y="5037"/>
                      <a:pt x="2794" y="5037"/>
                    </a:cubicBezTo>
                    <a:cubicBezTo>
                      <a:pt x="2771" y="5037"/>
                      <a:pt x="2752" y="5056"/>
                      <a:pt x="2752" y="5080"/>
                    </a:cubicBezTo>
                    <a:lnTo>
                      <a:pt x="2752" y="5080"/>
                    </a:lnTo>
                    <a:close/>
                    <a:moveTo>
                      <a:pt x="3260" y="5080"/>
                    </a:moveTo>
                    <a:cubicBezTo>
                      <a:pt x="3259" y="5103"/>
                      <a:pt x="3278" y="5123"/>
                      <a:pt x="3302" y="5123"/>
                    </a:cubicBezTo>
                    <a:cubicBezTo>
                      <a:pt x="3325" y="5123"/>
                      <a:pt x="3344" y="5104"/>
                      <a:pt x="3344" y="5080"/>
                    </a:cubicBezTo>
                    <a:lnTo>
                      <a:pt x="3344" y="5080"/>
                    </a:lnTo>
                    <a:cubicBezTo>
                      <a:pt x="3345" y="5057"/>
                      <a:pt x="3326" y="5037"/>
                      <a:pt x="3302" y="5037"/>
                    </a:cubicBezTo>
                    <a:cubicBezTo>
                      <a:pt x="3279" y="5037"/>
                      <a:pt x="3260" y="5056"/>
                      <a:pt x="3260" y="5080"/>
                    </a:cubicBezTo>
                    <a:lnTo>
                      <a:pt x="3260" y="5080"/>
                    </a:lnTo>
                    <a:close/>
                    <a:moveTo>
                      <a:pt x="3514" y="5080"/>
                    </a:moveTo>
                    <a:cubicBezTo>
                      <a:pt x="3513" y="5103"/>
                      <a:pt x="3532" y="5123"/>
                      <a:pt x="3556" y="5123"/>
                    </a:cubicBezTo>
                    <a:cubicBezTo>
                      <a:pt x="3579" y="5123"/>
                      <a:pt x="3598" y="5104"/>
                      <a:pt x="3599" y="5080"/>
                    </a:cubicBezTo>
                    <a:lnTo>
                      <a:pt x="3599" y="5080"/>
                    </a:lnTo>
                    <a:cubicBezTo>
                      <a:pt x="3599" y="5057"/>
                      <a:pt x="3580" y="5037"/>
                      <a:pt x="3556" y="5037"/>
                    </a:cubicBezTo>
                    <a:cubicBezTo>
                      <a:pt x="3533" y="5037"/>
                      <a:pt x="3514" y="5056"/>
                      <a:pt x="3514" y="5080"/>
                    </a:cubicBezTo>
                    <a:lnTo>
                      <a:pt x="3514" y="5080"/>
                    </a:lnTo>
                    <a:close/>
                    <a:moveTo>
                      <a:pt x="3768" y="5080"/>
                    </a:moveTo>
                    <a:cubicBezTo>
                      <a:pt x="3767" y="5103"/>
                      <a:pt x="3786" y="5123"/>
                      <a:pt x="3810" y="5123"/>
                    </a:cubicBezTo>
                    <a:cubicBezTo>
                      <a:pt x="3833" y="5123"/>
                      <a:pt x="3852" y="5104"/>
                      <a:pt x="3852" y="5080"/>
                    </a:cubicBezTo>
                    <a:lnTo>
                      <a:pt x="3852" y="5080"/>
                    </a:lnTo>
                    <a:cubicBezTo>
                      <a:pt x="3853" y="5057"/>
                      <a:pt x="3834" y="5037"/>
                      <a:pt x="3810" y="5037"/>
                    </a:cubicBezTo>
                    <a:cubicBezTo>
                      <a:pt x="3787" y="5037"/>
                      <a:pt x="3768" y="5056"/>
                      <a:pt x="3768" y="5080"/>
                    </a:cubicBezTo>
                    <a:lnTo>
                      <a:pt x="3768" y="5080"/>
                    </a:lnTo>
                    <a:close/>
                    <a:moveTo>
                      <a:pt x="4022" y="5080"/>
                    </a:moveTo>
                    <a:cubicBezTo>
                      <a:pt x="4021" y="5103"/>
                      <a:pt x="4040" y="5123"/>
                      <a:pt x="4064" y="5123"/>
                    </a:cubicBezTo>
                    <a:cubicBezTo>
                      <a:pt x="4087" y="5123"/>
                      <a:pt x="4106" y="5104"/>
                      <a:pt x="4106" y="5080"/>
                    </a:cubicBezTo>
                    <a:lnTo>
                      <a:pt x="4106" y="5080"/>
                    </a:lnTo>
                    <a:cubicBezTo>
                      <a:pt x="4107" y="5057"/>
                      <a:pt x="4088" y="5037"/>
                      <a:pt x="4064" y="5037"/>
                    </a:cubicBezTo>
                    <a:cubicBezTo>
                      <a:pt x="4041" y="5037"/>
                      <a:pt x="4022" y="5056"/>
                      <a:pt x="4022" y="5080"/>
                    </a:cubicBezTo>
                    <a:lnTo>
                      <a:pt x="4022" y="5080"/>
                    </a:lnTo>
                    <a:close/>
                    <a:moveTo>
                      <a:pt x="4276" y="5080"/>
                    </a:moveTo>
                    <a:cubicBezTo>
                      <a:pt x="4276" y="5103"/>
                      <a:pt x="4294" y="5123"/>
                      <a:pt x="4318" y="5123"/>
                    </a:cubicBezTo>
                    <a:cubicBezTo>
                      <a:pt x="4341" y="5123"/>
                      <a:pt x="4360" y="5104"/>
                      <a:pt x="4361" y="5080"/>
                    </a:cubicBezTo>
                    <a:lnTo>
                      <a:pt x="4361" y="5080"/>
                    </a:lnTo>
                    <a:cubicBezTo>
                      <a:pt x="4361" y="5057"/>
                      <a:pt x="4342" y="5037"/>
                      <a:pt x="4318" y="5037"/>
                    </a:cubicBezTo>
                    <a:cubicBezTo>
                      <a:pt x="4295" y="5037"/>
                      <a:pt x="4276" y="5056"/>
                      <a:pt x="4276" y="5080"/>
                    </a:cubicBezTo>
                    <a:lnTo>
                      <a:pt x="4276" y="5080"/>
                    </a:lnTo>
                    <a:close/>
                    <a:moveTo>
                      <a:pt x="4530" y="5080"/>
                    </a:moveTo>
                    <a:cubicBezTo>
                      <a:pt x="4529" y="5103"/>
                      <a:pt x="4548" y="5123"/>
                      <a:pt x="4572" y="5123"/>
                    </a:cubicBezTo>
                    <a:cubicBezTo>
                      <a:pt x="4595" y="5123"/>
                      <a:pt x="4614" y="5104"/>
                      <a:pt x="4614" y="5080"/>
                    </a:cubicBezTo>
                    <a:lnTo>
                      <a:pt x="4614" y="5080"/>
                    </a:lnTo>
                    <a:cubicBezTo>
                      <a:pt x="4615" y="5057"/>
                      <a:pt x="4596" y="5037"/>
                      <a:pt x="4572" y="5037"/>
                    </a:cubicBezTo>
                    <a:cubicBezTo>
                      <a:pt x="4549" y="5037"/>
                      <a:pt x="4530" y="5056"/>
                      <a:pt x="4530" y="5080"/>
                    </a:cubicBezTo>
                    <a:lnTo>
                      <a:pt x="4530" y="5080"/>
                    </a:ln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Oval 735"/>
              <p:cNvSpPr>
                <a:spLocks noChangeArrowheads="1"/>
              </p:cNvSpPr>
              <p:nvPr/>
            </p:nvSpPr>
            <p:spPr bwMode="auto">
              <a:xfrm>
                <a:off x="3629" y="1652"/>
                <a:ext cx="11" cy="12"/>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736"/>
              <p:cNvSpPr>
                <a:spLocks/>
              </p:cNvSpPr>
              <p:nvPr/>
            </p:nvSpPr>
            <p:spPr bwMode="auto">
              <a:xfrm>
                <a:off x="3781"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9" name="Freeform 737"/>
              <p:cNvSpPr>
                <a:spLocks/>
              </p:cNvSpPr>
              <p:nvPr/>
            </p:nvSpPr>
            <p:spPr bwMode="auto">
              <a:xfrm>
                <a:off x="3781" y="1661"/>
                <a:ext cx="22" cy="14"/>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0 w 97"/>
                  <a:gd name="T17" fmla="*/ 39 h 62"/>
                  <a:gd name="T18" fmla="*/ 40 w 97"/>
                  <a:gd name="T19" fmla="*/ 38 h 62"/>
                  <a:gd name="T20" fmla="*/ 40 w 97"/>
                  <a:gd name="T21" fmla="*/ 36 h 62"/>
                  <a:gd name="T22" fmla="*/ 36 w 97"/>
                  <a:gd name="T23" fmla="*/ 23 h 62"/>
                  <a:gd name="T24" fmla="*/ 25 w 97"/>
                  <a:gd name="T25" fmla="*/ 17 h 62"/>
                  <a:gd name="T26" fmla="*/ 14 w 97"/>
                  <a:gd name="T27" fmla="*/ 21 h 62"/>
                  <a:gd name="T28" fmla="*/ 10 w 97"/>
                  <a:gd name="T29" fmla="*/ 32 h 62"/>
                  <a:gd name="T30" fmla="*/ 14 w 97"/>
                  <a:gd name="T31" fmla="*/ 44 h 62"/>
                  <a:gd name="T32" fmla="*/ 27 w 97"/>
                  <a:gd name="T33" fmla="*/ 49 h 62"/>
                  <a:gd name="T34" fmla="*/ 25 w 97"/>
                  <a:gd name="T35" fmla="*/ 61 h 62"/>
                  <a:gd name="T36" fmla="*/ 7 w 97"/>
                  <a:gd name="T37" fmla="*/ 51 h 62"/>
                  <a:gd name="T38" fmla="*/ 0 w 97"/>
                  <a:gd name="T39" fmla="*/ 33 h 62"/>
                  <a:gd name="T40" fmla="*/ 4 w 97"/>
                  <a:gd name="T41" fmla="*/ 18 h 62"/>
                  <a:gd name="T42" fmla="*/ 13 w 97"/>
                  <a:gd name="T43" fmla="*/ 8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9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49"/>
                      <a:pt x="80" y="47"/>
                      <a:pt x="83" y="44"/>
                    </a:cubicBezTo>
                    <a:cubicBezTo>
                      <a:pt x="86" y="41"/>
                      <a:pt x="87" y="37"/>
                      <a:pt x="87" y="32"/>
                    </a:cubicBezTo>
                    <a:cubicBezTo>
                      <a:pt x="87" y="27"/>
                      <a:pt x="85" y="22"/>
                      <a:pt x="82" y="18"/>
                    </a:cubicBezTo>
                    <a:cubicBezTo>
                      <a:pt x="78" y="14"/>
                      <a:pt x="73" y="13"/>
                      <a:pt x="68" y="13"/>
                    </a:cubicBezTo>
                    <a:cubicBezTo>
                      <a:pt x="62" y="13"/>
                      <a:pt x="58" y="14"/>
                      <a:pt x="54" y="18"/>
                    </a:cubicBezTo>
                    <a:cubicBezTo>
                      <a:pt x="51" y="21"/>
                      <a:pt x="49" y="26"/>
                      <a:pt x="49" y="31"/>
                    </a:cubicBezTo>
                    <a:cubicBezTo>
                      <a:pt x="49" y="33"/>
                      <a:pt x="50" y="36"/>
                      <a:pt x="50" y="39"/>
                    </a:cubicBezTo>
                    <a:lnTo>
                      <a:pt x="40" y="38"/>
                    </a:lnTo>
                    <a:cubicBezTo>
                      <a:pt x="40" y="37"/>
                      <a:pt x="40" y="37"/>
                      <a:pt x="40" y="36"/>
                    </a:cubicBezTo>
                    <a:cubicBezTo>
                      <a:pt x="40" y="31"/>
                      <a:pt x="39" y="27"/>
                      <a:pt x="36" y="23"/>
                    </a:cubicBezTo>
                    <a:cubicBezTo>
                      <a:pt x="34" y="19"/>
                      <a:pt x="30" y="17"/>
                      <a:pt x="25" y="17"/>
                    </a:cubicBezTo>
                    <a:cubicBezTo>
                      <a:pt x="20" y="17"/>
                      <a:pt x="17" y="18"/>
                      <a:pt x="14" y="21"/>
                    </a:cubicBezTo>
                    <a:cubicBezTo>
                      <a:pt x="11" y="24"/>
                      <a:pt x="10" y="28"/>
                      <a:pt x="10" y="32"/>
                    </a:cubicBezTo>
                    <a:cubicBezTo>
                      <a:pt x="10" y="37"/>
                      <a:pt x="11" y="41"/>
                      <a:pt x="14" y="44"/>
                    </a:cubicBezTo>
                    <a:cubicBezTo>
                      <a:pt x="17" y="47"/>
                      <a:pt x="21" y="49"/>
                      <a:pt x="27" y="49"/>
                    </a:cubicBezTo>
                    <a:lnTo>
                      <a:pt x="25" y="61"/>
                    </a:lnTo>
                    <a:cubicBezTo>
                      <a:pt x="17" y="60"/>
                      <a:pt x="11" y="56"/>
                      <a:pt x="7" y="51"/>
                    </a:cubicBezTo>
                    <a:cubicBezTo>
                      <a:pt x="2" y="46"/>
                      <a:pt x="0" y="40"/>
                      <a:pt x="0" y="33"/>
                    </a:cubicBezTo>
                    <a:cubicBezTo>
                      <a:pt x="0" y="27"/>
                      <a:pt x="1" y="23"/>
                      <a:pt x="4" y="18"/>
                    </a:cubicBezTo>
                    <a:cubicBezTo>
                      <a:pt x="6" y="14"/>
                      <a:pt x="9" y="11"/>
                      <a:pt x="13" y="8"/>
                    </a:cubicBezTo>
                    <a:cubicBezTo>
                      <a:pt x="16" y="6"/>
                      <a:pt x="20" y="5"/>
                      <a:pt x="25" y="5"/>
                    </a:cubicBezTo>
                    <a:cubicBezTo>
                      <a:pt x="29" y="5"/>
                      <a:pt x="33" y="6"/>
                      <a:pt x="36" y="8"/>
                    </a:cubicBezTo>
                    <a:cubicBezTo>
                      <a:pt x="39" y="10"/>
                      <a:pt x="42" y="14"/>
                      <a:pt x="44" y="18"/>
                    </a:cubicBezTo>
                    <a:cubicBezTo>
                      <a:pt x="45" y="12"/>
                      <a:pt x="48" y="8"/>
                      <a:pt x="52" y="5"/>
                    </a:cubicBezTo>
                    <a:cubicBezTo>
                      <a:pt x="56" y="2"/>
                      <a:pt x="61" y="0"/>
                      <a:pt x="67" y="0"/>
                    </a:cubicBezTo>
                    <a:cubicBezTo>
                      <a:pt x="76" y="0"/>
                      <a:pt x="83" y="3"/>
                      <a:pt x="88" y="9"/>
                    </a:cubicBezTo>
                    <a:cubicBezTo>
                      <a:pt x="94" y="15"/>
                      <a:pt x="97" y="23"/>
                      <a:pt x="97" y="32"/>
                    </a:cubicBezTo>
                    <a:cubicBezTo>
                      <a:pt x="97" y="40"/>
                      <a:pt x="94" y="47"/>
                      <a:pt x="90" y="53"/>
                    </a:cubicBezTo>
                    <a:cubicBezTo>
                      <a:pt x="85"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738"/>
              <p:cNvSpPr>
                <a:spLocks/>
              </p:cNvSpPr>
              <p:nvPr/>
            </p:nvSpPr>
            <p:spPr bwMode="auto">
              <a:xfrm>
                <a:off x="3839"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Freeform 739"/>
              <p:cNvSpPr>
                <a:spLocks/>
              </p:cNvSpPr>
              <p:nvPr/>
            </p:nvSpPr>
            <p:spPr bwMode="auto">
              <a:xfrm>
                <a:off x="3839" y="1661"/>
                <a:ext cx="22" cy="15"/>
              </a:xfrm>
              <a:custGeom>
                <a:avLst/>
                <a:gdLst>
                  <a:gd name="T0" fmla="*/ 84 w 95"/>
                  <a:gd name="T1" fmla="*/ 0 h 63"/>
                  <a:gd name="T2" fmla="*/ 95 w 95"/>
                  <a:gd name="T3" fmla="*/ 0 h 63"/>
                  <a:gd name="T4" fmla="*/ 95 w 95"/>
                  <a:gd name="T5" fmla="*/ 63 h 63"/>
                  <a:gd name="T6" fmla="*/ 87 w 95"/>
                  <a:gd name="T7" fmla="*/ 61 h 63"/>
                  <a:gd name="T8" fmla="*/ 75 w 95"/>
                  <a:gd name="T9" fmla="*/ 54 h 63"/>
                  <a:gd name="T10" fmla="*/ 60 w 95"/>
                  <a:gd name="T11" fmla="*/ 39 h 63"/>
                  <a:gd name="T12" fmla="*/ 40 w 95"/>
                  <a:gd name="T13" fmla="*/ 18 h 63"/>
                  <a:gd name="T14" fmla="*/ 26 w 95"/>
                  <a:gd name="T15" fmla="*/ 12 h 63"/>
                  <a:gd name="T16" fmla="*/ 15 w 95"/>
                  <a:gd name="T17" fmla="*/ 17 h 63"/>
                  <a:gd name="T18" fmla="*/ 10 w 95"/>
                  <a:gd name="T19" fmla="*/ 30 h 63"/>
                  <a:gd name="T20" fmla="*/ 15 w 95"/>
                  <a:gd name="T21" fmla="*/ 43 h 63"/>
                  <a:gd name="T22" fmla="*/ 29 w 95"/>
                  <a:gd name="T23" fmla="*/ 49 h 63"/>
                  <a:gd name="T24" fmla="*/ 28 w 95"/>
                  <a:gd name="T25" fmla="*/ 61 h 63"/>
                  <a:gd name="T26" fmla="*/ 7 w 95"/>
                  <a:gd name="T27" fmla="*/ 51 h 63"/>
                  <a:gd name="T28" fmla="*/ 0 w 95"/>
                  <a:gd name="T29" fmla="*/ 30 h 63"/>
                  <a:gd name="T30" fmla="*/ 8 w 95"/>
                  <a:gd name="T31" fmla="*/ 8 h 63"/>
                  <a:gd name="T32" fmla="*/ 27 w 95"/>
                  <a:gd name="T33" fmla="*/ 0 h 63"/>
                  <a:gd name="T34" fmla="*/ 38 w 95"/>
                  <a:gd name="T35" fmla="*/ 3 h 63"/>
                  <a:gd name="T36" fmla="*/ 49 w 95"/>
                  <a:gd name="T37" fmla="*/ 10 h 63"/>
                  <a:gd name="T38" fmla="*/ 66 w 95"/>
                  <a:gd name="T39" fmla="*/ 28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2"/>
                      <a:pt x="87" y="61"/>
                    </a:cubicBezTo>
                    <a:cubicBezTo>
                      <a:pt x="83" y="60"/>
                      <a:pt x="79" y="57"/>
                      <a:pt x="75" y="54"/>
                    </a:cubicBezTo>
                    <a:cubicBezTo>
                      <a:pt x="70" y="50"/>
                      <a:pt x="66" y="45"/>
                      <a:pt x="60" y="39"/>
                    </a:cubicBezTo>
                    <a:cubicBezTo>
                      <a:pt x="52" y="28"/>
                      <a:pt x="45" y="21"/>
                      <a:pt x="40" y="18"/>
                    </a:cubicBezTo>
                    <a:cubicBezTo>
                      <a:pt x="35" y="14"/>
                      <a:pt x="31" y="12"/>
                      <a:pt x="26" y="12"/>
                    </a:cubicBezTo>
                    <a:cubicBezTo>
                      <a:pt x="22" y="12"/>
                      <a:pt x="18" y="14"/>
                      <a:pt x="15" y="17"/>
                    </a:cubicBezTo>
                    <a:cubicBezTo>
                      <a:pt x="11" y="20"/>
                      <a:pt x="10" y="25"/>
                      <a:pt x="10" y="30"/>
                    </a:cubicBezTo>
                    <a:cubicBezTo>
                      <a:pt x="10" y="36"/>
                      <a:pt x="12" y="40"/>
                      <a:pt x="15" y="43"/>
                    </a:cubicBezTo>
                    <a:cubicBezTo>
                      <a:pt x="18" y="47"/>
                      <a:pt x="23" y="49"/>
                      <a:pt x="29" y="49"/>
                    </a:cubicBezTo>
                    <a:lnTo>
                      <a:pt x="28" y="61"/>
                    </a:lnTo>
                    <a:cubicBezTo>
                      <a:pt x="19" y="60"/>
                      <a:pt x="12" y="57"/>
                      <a:pt x="7" y="51"/>
                    </a:cubicBezTo>
                    <a:cubicBezTo>
                      <a:pt x="3" y="46"/>
                      <a:pt x="0" y="39"/>
                      <a:pt x="0" y="30"/>
                    </a:cubicBezTo>
                    <a:cubicBezTo>
                      <a:pt x="0" y="21"/>
                      <a:pt x="3" y="14"/>
                      <a:pt x="8" y="8"/>
                    </a:cubicBezTo>
                    <a:cubicBezTo>
                      <a:pt x="13" y="3"/>
                      <a:pt x="19" y="0"/>
                      <a:pt x="27" y="0"/>
                    </a:cubicBezTo>
                    <a:cubicBezTo>
                      <a:pt x="30" y="0"/>
                      <a:pt x="34" y="1"/>
                      <a:pt x="38" y="3"/>
                    </a:cubicBezTo>
                    <a:cubicBezTo>
                      <a:pt x="41" y="4"/>
                      <a:pt x="45" y="7"/>
                      <a:pt x="49" y="10"/>
                    </a:cubicBezTo>
                    <a:cubicBezTo>
                      <a:pt x="53" y="14"/>
                      <a:pt x="59" y="20"/>
                      <a:pt x="66" y="28"/>
                    </a:cubicBezTo>
                    <a:cubicBezTo>
                      <a:pt x="72" y="35"/>
                      <a:pt x="76" y="40"/>
                      <a:pt x="78" y="42"/>
                    </a:cubicBezTo>
                    <a:cubicBezTo>
                      <a:pt x="80" y="44"/>
                      <a:pt x="82" y="45"/>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2" name="Freeform 740"/>
              <p:cNvSpPr>
                <a:spLocks/>
              </p:cNvSpPr>
              <p:nvPr/>
            </p:nvSpPr>
            <p:spPr bwMode="auto">
              <a:xfrm>
                <a:off x="3897" y="1682"/>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3" name="Freeform 741"/>
              <p:cNvSpPr>
                <a:spLocks/>
              </p:cNvSpPr>
              <p:nvPr/>
            </p:nvSpPr>
            <p:spPr bwMode="auto">
              <a:xfrm>
                <a:off x="3897" y="166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9"/>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4" name="Freeform 742"/>
              <p:cNvSpPr>
                <a:spLocks/>
              </p:cNvSpPr>
              <p:nvPr/>
            </p:nvSpPr>
            <p:spPr bwMode="auto">
              <a:xfrm>
                <a:off x="3954"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5" name="Freeform 743"/>
              <p:cNvSpPr>
                <a:spLocks noEditPoints="1"/>
              </p:cNvSpPr>
              <p:nvPr/>
            </p:nvSpPr>
            <p:spPr bwMode="auto">
              <a:xfrm>
                <a:off x="3954" y="1661"/>
                <a:ext cx="22" cy="14"/>
              </a:xfrm>
              <a:custGeom>
                <a:avLst/>
                <a:gdLst>
                  <a:gd name="T0" fmla="*/ 49 w 97"/>
                  <a:gd name="T1" fmla="*/ 61 h 61"/>
                  <a:gd name="T2" fmla="*/ 22 w 97"/>
                  <a:gd name="T3" fmla="*/ 58 h 61"/>
                  <a:gd name="T4" fmla="*/ 6 w 97"/>
                  <a:gd name="T5" fmla="*/ 48 h 61"/>
                  <a:gd name="T6" fmla="*/ 0 w 97"/>
                  <a:gd name="T7" fmla="*/ 30 h 61"/>
                  <a:gd name="T8" fmla="*/ 3 w 97"/>
                  <a:gd name="T9" fmla="*/ 17 h 61"/>
                  <a:gd name="T10" fmla="*/ 12 w 97"/>
                  <a:gd name="T11" fmla="*/ 8 h 61"/>
                  <a:gd name="T12" fmla="*/ 26 w 97"/>
                  <a:gd name="T13" fmla="*/ 2 h 61"/>
                  <a:gd name="T14" fmla="*/ 49 w 97"/>
                  <a:gd name="T15" fmla="*/ 0 h 61"/>
                  <a:gd name="T16" fmla="*/ 75 w 97"/>
                  <a:gd name="T17" fmla="*/ 3 h 61"/>
                  <a:gd name="T18" fmla="*/ 91 w 97"/>
                  <a:gd name="T19" fmla="*/ 13 h 61"/>
                  <a:gd name="T20" fmla="*/ 97 w 97"/>
                  <a:gd name="T21" fmla="*/ 30 h 61"/>
                  <a:gd name="T22" fmla="*/ 87 w 97"/>
                  <a:gd name="T23" fmla="*/ 52 h 61"/>
                  <a:gd name="T24" fmla="*/ 49 w 97"/>
                  <a:gd name="T25" fmla="*/ 61 h 61"/>
                  <a:gd name="T26" fmla="*/ 49 w 97"/>
                  <a:gd name="T27" fmla="*/ 49 h 61"/>
                  <a:gd name="T28" fmla="*/ 80 w 97"/>
                  <a:gd name="T29" fmla="*/ 44 h 61"/>
                  <a:gd name="T30" fmla="*/ 87 w 97"/>
                  <a:gd name="T31" fmla="*/ 30 h 61"/>
                  <a:gd name="T32" fmla="*/ 80 w 97"/>
                  <a:gd name="T33" fmla="*/ 17 h 61"/>
                  <a:gd name="T34" fmla="*/ 49 w 97"/>
                  <a:gd name="T35" fmla="*/ 11 h 61"/>
                  <a:gd name="T36" fmla="*/ 17 w 97"/>
                  <a:gd name="T37" fmla="*/ 17 h 61"/>
                  <a:gd name="T38" fmla="*/ 10 w 97"/>
                  <a:gd name="T39" fmla="*/ 31 h 61"/>
                  <a:gd name="T40" fmla="*/ 17 w 97"/>
                  <a:gd name="T41" fmla="*/ 43 h 61"/>
                  <a:gd name="T42" fmla="*/ 49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9" y="61"/>
                    </a:moveTo>
                    <a:cubicBezTo>
                      <a:pt x="37" y="61"/>
                      <a:pt x="28" y="60"/>
                      <a:pt x="22" y="58"/>
                    </a:cubicBezTo>
                    <a:cubicBezTo>
                      <a:pt x="15" y="55"/>
                      <a:pt x="9" y="52"/>
                      <a:pt x="6" y="48"/>
                    </a:cubicBezTo>
                    <a:cubicBezTo>
                      <a:pt x="2" y="43"/>
                      <a:pt x="0" y="37"/>
                      <a:pt x="0" y="30"/>
                    </a:cubicBezTo>
                    <a:cubicBezTo>
                      <a:pt x="0" y="25"/>
                      <a:pt x="1" y="21"/>
                      <a:pt x="3" y="17"/>
                    </a:cubicBezTo>
                    <a:cubicBezTo>
                      <a:pt x="5" y="13"/>
                      <a:pt x="8" y="10"/>
                      <a:pt x="12" y="8"/>
                    </a:cubicBezTo>
                    <a:cubicBezTo>
                      <a:pt x="16" y="5"/>
                      <a:pt x="21" y="3"/>
                      <a:pt x="26" y="2"/>
                    </a:cubicBezTo>
                    <a:cubicBezTo>
                      <a:pt x="32" y="0"/>
                      <a:pt x="39" y="0"/>
                      <a:pt x="49" y="0"/>
                    </a:cubicBezTo>
                    <a:cubicBezTo>
                      <a:pt x="60" y="0"/>
                      <a:pt x="69" y="1"/>
                      <a:pt x="75" y="3"/>
                    </a:cubicBezTo>
                    <a:cubicBezTo>
                      <a:pt x="82" y="5"/>
                      <a:pt x="88" y="9"/>
                      <a:pt x="91" y="13"/>
                    </a:cubicBezTo>
                    <a:cubicBezTo>
                      <a:pt x="95" y="18"/>
                      <a:pt x="97" y="23"/>
                      <a:pt x="97" y="30"/>
                    </a:cubicBezTo>
                    <a:cubicBezTo>
                      <a:pt x="97" y="40"/>
                      <a:pt x="94" y="47"/>
                      <a:pt x="87" y="52"/>
                    </a:cubicBezTo>
                    <a:cubicBezTo>
                      <a:pt x="79" y="58"/>
                      <a:pt x="66" y="61"/>
                      <a:pt x="49" y="61"/>
                    </a:cubicBezTo>
                    <a:close/>
                    <a:moveTo>
                      <a:pt x="49" y="49"/>
                    </a:moveTo>
                    <a:cubicBezTo>
                      <a:pt x="64" y="49"/>
                      <a:pt x="74" y="47"/>
                      <a:pt x="80" y="44"/>
                    </a:cubicBezTo>
                    <a:cubicBezTo>
                      <a:pt x="85" y="40"/>
                      <a:pt x="87" y="36"/>
                      <a:pt x="87" y="30"/>
                    </a:cubicBezTo>
                    <a:cubicBezTo>
                      <a:pt x="87" y="25"/>
                      <a:pt x="85" y="21"/>
                      <a:pt x="80" y="17"/>
                    </a:cubicBezTo>
                    <a:cubicBezTo>
                      <a:pt x="74" y="13"/>
                      <a:pt x="64" y="11"/>
                      <a:pt x="49" y="11"/>
                    </a:cubicBezTo>
                    <a:cubicBezTo>
                      <a:pt x="33" y="11"/>
                      <a:pt x="23" y="13"/>
                      <a:pt x="17" y="17"/>
                    </a:cubicBezTo>
                    <a:cubicBezTo>
                      <a:pt x="12" y="21"/>
                      <a:pt x="10" y="25"/>
                      <a:pt x="10" y="31"/>
                    </a:cubicBezTo>
                    <a:cubicBezTo>
                      <a:pt x="10" y="36"/>
                      <a:pt x="12" y="40"/>
                      <a:pt x="17" y="43"/>
                    </a:cubicBezTo>
                    <a:cubicBezTo>
                      <a:pt x="22" y="47"/>
                      <a:pt x="33" y="49"/>
                      <a:pt x="49"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6" name="Freeform 744"/>
              <p:cNvSpPr>
                <a:spLocks noEditPoints="1"/>
              </p:cNvSpPr>
              <p:nvPr/>
            </p:nvSpPr>
            <p:spPr bwMode="auto">
              <a:xfrm>
                <a:off x="4012" y="1656"/>
                <a:ext cx="22" cy="14"/>
              </a:xfrm>
              <a:custGeom>
                <a:avLst/>
                <a:gdLst>
                  <a:gd name="T0" fmla="*/ 73 w 97"/>
                  <a:gd name="T1" fmla="*/ 61 h 62"/>
                  <a:gd name="T2" fmla="*/ 72 w 97"/>
                  <a:gd name="T3" fmla="*/ 49 h 62"/>
                  <a:gd name="T4" fmla="*/ 84 w 97"/>
                  <a:gd name="T5" fmla="*/ 44 h 62"/>
                  <a:gd name="T6" fmla="*/ 87 w 97"/>
                  <a:gd name="T7" fmla="*/ 34 h 62"/>
                  <a:gd name="T8" fmla="*/ 85 w 97"/>
                  <a:gd name="T9" fmla="*/ 24 h 62"/>
                  <a:gd name="T10" fmla="*/ 78 w 97"/>
                  <a:gd name="T11" fmla="*/ 18 h 62"/>
                  <a:gd name="T12" fmla="*/ 67 w 97"/>
                  <a:gd name="T13" fmla="*/ 13 h 62"/>
                  <a:gd name="T14" fmla="*/ 53 w 97"/>
                  <a:gd name="T15" fmla="*/ 12 h 62"/>
                  <a:gd name="T16" fmla="*/ 51 w 97"/>
                  <a:gd name="T17" fmla="*/ 12 h 62"/>
                  <a:gd name="T18" fmla="*/ 60 w 97"/>
                  <a:gd name="T19" fmla="*/ 21 h 62"/>
                  <a:gd name="T20" fmla="*/ 63 w 97"/>
                  <a:gd name="T21" fmla="*/ 34 h 62"/>
                  <a:gd name="T22" fmla="*/ 55 w 97"/>
                  <a:gd name="T23" fmla="*/ 54 h 62"/>
                  <a:gd name="T24" fmla="*/ 32 w 97"/>
                  <a:gd name="T25" fmla="*/ 62 h 62"/>
                  <a:gd name="T26" fmla="*/ 9 w 97"/>
                  <a:gd name="T27" fmla="*/ 54 h 62"/>
                  <a:gd name="T28" fmla="*/ 0 w 97"/>
                  <a:gd name="T29" fmla="*/ 33 h 62"/>
                  <a:gd name="T30" fmla="*/ 5 w 97"/>
                  <a:gd name="T31" fmla="*/ 16 h 62"/>
                  <a:gd name="T32" fmla="*/ 19 w 97"/>
                  <a:gd name="T33" fmla="*/ 4 h 62"/>
                  <a:gd name="T34" fmla="*/ 46 w 97"/>
                  <a:gd name="T35" fmla="*/ 0 h 62"/>
                  <a:gd name="T36" fmla="*/ 75 w 97"/>
                  <a:gd name="T37" fmla="*/ 4 h 62"/>
                  <a:gd name="T38" fmla="*/ 91 w 97"/>
                  <a:gd name="T39" fmla="*/ 16 h 62"/>
                  <a:gd name="T40" fmla="*/ 97 w 97"/>
                  <a:gd name="T41" fmla="*/ 34 h 62"/>
                  <a:gd name="T42" fmla="*/ 91 w 97"/>
                  <a:gd name="T43" fmla="*/ 52 h 62"/>
                  <a:gd name="T44" fmla="*/ 73 w 97"/>
                  <a:gd name="T45" fmla="*/ 61 h 62"/>
                  <a:gd name="T46" fmla="*/ 32 w 97"/>
                  <a:gd name="T47" fmla="*/ 13 h 62"/>
                  <a:gd name="T48" fmla="*/ 16 w 97"/>
                  <a:gd name="T49" fmla="*/ 18 h 62"/>
                  <a:gd name="T50" fmla="*/ 10 w 97"/>
                  <a:gd name="T51" fmla="*/ 31 h 62"/>
                  <a:gd name="T52" fmla="*/ 16 w 97"/>
                  <a:gd name="T53" fmla="*/ 45 h 62"/>
                  <a:gd name="T54" fmla="*/ 33 w 97"/>
                  <a:gd name="T55" fmla="*/ 50 h 62"/>
                  <a:gd name="T56" fmla="*/ 47 w 97"/>
                  <a:gd name="T57" fmla="*/ 45 h 62"/>
                  <a:gd name="T58" fmla="*/ 53 w 97"/>
                  <a:gd name="T59" fmla="*/ 32 h 62"/>
                  <a:gd name="T60" fmla="*/ 47 w 97"/>
                  <a:gd name="T61" fmla="*/ 18 h 62"/>
                  <a:gd name="T62" fmla="*/ 32 w 97"/>
                  <a:gd name="T63"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2">
                    <a:moveTo>
                      <a:pt x="73" y="61"/>
                    </a:moveTo>
                    <a:lnTo>
                      <a:pt x="72" y="49"/>
                    </a:lnTo>
                    <a:cubicBezTo>
                      <a:pt x="78" y="49"/>
                      <a:pt x="81" y="47"/>
                      <a:pt x="84" y="44"/>
                    </a:cubicBezTo>
                    <a:cubicBezTo>
                      <a:pt x="86" y="41"/>
                      <a:pt x="87" y="38"/>
                      <a:pt x="87" y="34"/>
                    </a:cubicBezTo>
                    <a:cubicBezTo>
                      <a:pt x="87" y="30"/>
                      <a:pt x="87" y="27"/>
                      <a:pt x="85" y="24"/>
                    </a:cubicBezTo>
                    <a:cubicBezTo>
                      <a:pt x="83" y="22"/>
                      <a:pt x="81" y="19"/>
                      <a:pt x="78" y="18"/>
                    </a:cubicBezTo>
                    <a:cubicBezTo>
                      <a:pt x="76" y="16"/>
                      <a:pt x="72" y="15"/>
                      <a:pt x="67" y="13"/>
                    </a:cubicBezTo>
                    <a:cubicBezTo>
                      <a:pt x="63" y="12"/>
                      <a:pt x="58" y="12"/>
                      <a:pt x="53" y="12"/>
                    </a:cubicBezTo>
                    <a:cubicBezTo>
                      <a:pt x="53" y="12"/>
                      <a:pt x="52" y="12"/>
                      <a:pt x="51" y="12"/>
                    </a:cubicBezTo>
                    <a:cubicBezTo>
                      <a:pt x="54" y="14"/>
                      <a:pt x="57" y="17"/>
                      <a:pt x="60" y="21"/>
                    </a:cubicBezTo>
                    <a:cubicBezTo>
                      <a:pt x="62" y="25"/>
                      <a:pt x="63" y="30"/>
                      <a:pt x="63" y="34"/>
                    </a:cubicBezTo>
                    <a:cubicBezTo>
                      <a:pt x="63" y="42"/>
                      <a:pt x="60" y="49"/>
                      <a:pt x="55" y="54"/>
                    </a:cubicBezTo>
                    <a:cubicBezTo>
                      <a:pt x="49" y="60"/>
                      <a:pt x="41" y="62"/>
                      <a:pt x="32" y="62"/>
                    </a:cubicBezTo>
                    <a:cubicBezTo>
                      <a:pt x="23" y="62"/>
                      <a:pt x="15" y="60"/>
                      <a:pt x="9" y="54"/>
                    </a:cubicBezTo>
                    <a:cubicBezTo>
                      <a:pt x="3" y="48"/>
                      <a:pt x="0" y="41"/>
                      <a:pt x="0" y="33"/>
                    </a:cubicBezTo>
                    <a:cubicBezTo>
                      <a:pt x="0" y="26"/>
                      <a:pt x="2" y="21"/>
                      <a:pt x="5" y="16"/>
                    </a:cubicBezTo>
                    <a:cubicBezTo>
                      <a:pt x="8" y="11"/>
                      <a:pt x="13" y="7"/>
                      <a:pt x="19" y="4"/>
                    </a:cubicBezTo>
                    <a:cubicBezTo>
                      <a:pt x="25" y="1"/>
                      <a:pt x="34" y="0"/>
                      <a:pt x="46" y="0"/>
                    </a:cubicBezTo>
                    <a:cubicBezTo>
                      <a:pt x="58" y="0"/>
                      <a:pt x="68" y="1"/>
                      <a:pt x="75" y="4"/>
                    </a:cubicBezTo>
                    <a:cubicBezTo>
                      <a:pt x="82" y="7"/>
                      <a:pt x="88" y="11"/>
                      <a:pt x="91" y="16"/>
                    </a:cubicBezTo>
                    <a:cubicBezTo>
                      <a:pt x="95" y="21"/>
                      <a:pt x="97" y="27"/>
                      <a:pt x="97" y="34"/>
                    </a:cubicBezTo>
                    <a:cubicBezTo>
                      <a:pt x="97" y="41"/>
                      <a:pt x="95" y="47"/>
                      <a:pt x="91" y="52"/>
                    </a:cubicBezTo>
                    <a:cubicBezTo>
                      <a:pt x="87" y="57"/>
                      <a:pt x="81" y="60"/>
                      <a:pt x="73" y="61"/>
                    </a:cubicBezTo>
                    <a:close/>
                    <a:moveTo>
                      <a:pt x="32" y="13"/>
                    </a:moveTo>
                    <a:cubicBezTo>
                      <a:pt x="25" y="13"/>
                      <a:pt x="20" y="15"/>
                      <a:pt x="16" y="18"/>
                    </a:cubicBezTo>
                    <a:cubicBezTo>
                      <a:pt x="12" y="22"/>
                      <a:pt x="10" y="26"/>
                      <a:pt x="10" y="31"/>
                    </a:cubicBezTo>
                    <a:cubicBezTo>
                      <a:pt x="10" y="36"/>
                      <a:pt x="12" y="41"/>
                      <a:pt x="16" y="45"/>
                    </a:cubicBezTo>
                    <a:cubicBezTo>
                      <a:pt x="20" y="49"/>
                      <a:pt x="26" y="50"/>
                      <a:pt x="33" y="50"/>
                    </a:cubicBezTo>
                    <a:cubicBezTo>
                      <a:pt x="39" y="50"/>
                      <a:pt x="43" y="49"/>
                      <a:pt x="47" y="45"/>
                    </a:cubicBezTo>
                    <a:cubicBezTo>
                      <a:pt x="51" y="41"/>
                      <a:pt x="53" y="37"/>
                      <a:pt x="53" y="32"/>
                    </a:cubicBezTo>
                    <a:cubicBezTo>
                      <a:pt x="53" y="26"/>
                      <a:pt x="51" y="22"/>
                      <a:pt x="47" y="18"/>
                    </a:cubicBezTo>
                    <a:cubicBezTo>
                      <a:pt x="43"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7" name="Freeform 745"/>
              <p:cNvSpPr>
                <a:spLocks noEditPoints="1"/>
              </p:cNvSpPr>
              <p:nvPr/>
            </p:nvSpPr>
            <p:spPr bwMode="auto">
              <a:xfrm>
                <a:off x="4070" y="1656"/>
                <a:ext cx="22" cy="14"/>
              </a:xfrm>
              <a:custGeom>
                <a:avLst/>
                <a:gdLst>
                  <a:gd name="T0" fmla="*/ 44 w 97"/>
                  <a:gd name="T1" fmla="*/ 45 h 63"/>
                  <a:gd name="T2" fmla="*/ 36 w 97"/>
                  <a:gd name="T3" fmla="*/ 55 h 63"/>
                  <a:gd name="T4" fmla="*/ 25 w 97"/>
                  <a:gd name="T5" fmla="*/ 59 h 63"/>
                  <a:gd name="T6" fmla="*/ 7 w 97"/>
                  <a:gd name="T7" fmla="*/ 51 h 63"/>
                  <a:gd name="T8" fmla="*/ 0 w 97"/>
                  <a:gd name="T9" fmla="*/ 32 h 63"/>
                  <a:gd name="T10" fmla="*/ 7 w 97"/>
                  <a:gd name="T11" fmla="*/ 12 h 63"/>
                  <a:gd name="T12" fmla="*/ 25 w 97"/>
                  <a:gd name="T13" fmla="*/ 4 h 63"/>
                  <a:gd name="T14" fmla="*/ 36 w 97"/>
                  <a:gd name="T15" fmla="*/ 7 h 63"/>
                  <a:gd name="T16" fmla="*/ 44 w 97"/>
                  <a:gd name="T17" fmla="*/ 18 h 63"/>
                  <a:gd name="T18" fmla="*/ 53 w 97"/>
                  <a:gd name="T19" fmla="*/ 5 h 63"/>
                  <a:gd name="T20" fmla="*/ 68 w 97"/>
                  <a:gd name="T21" fmla="*/ 0 h 63"/>
                  <a:gd name="T22" fmla="*/ 89 w 97"/>
                  <a:gd name="T23" fmla="*/ 9 h 63"/>
                  <a:gd name="T24" fmla="*/ 97 w 97"/>
                  <a:gd name="T25" fmla="*/ 31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2 h 63"/>
                  <a:gd name="T38" fmla="*/ 39 w 97"/>
                  <a:gd name="T39" fmla="*/ 31 h 63"/>
                  <a:gd name="T40" fmla="*/ 35 w 97"/>
                  <a:gd name="T41" fmla="*/ 20 h 63"/>
                  <a:gd name="T42" fmla="*/ 25 w 97"/>
                  <a:gd name="T43" fmla="*/ 16 h 63"/>
                  <a:gd name="T44" fmla="*/ 14 w 97"/>
                  <a:gd name="T45" fmla="*/ 20 h 63"/>
                  <a:gd name="T46" fmla="*/ 10 w 97"/>
                  <a:gd name="T47" fmla="*/ 31 h 63"/>
                  <a:gd name="T48" fmla="*/ 14 w 97"/>
                  <a:gd name="T49" fmla="*/ 42 h 63"/>
                  <a:gd name="T50" fmla="*/ 24 w 97"/>
                  <a:gd name="T51" fmla="*/ 47 h 63"/>
                  <a:gd name="T52" fmla="*/ 68 w 97"/>
                  <a:gd name="T53" fmla="*/ 51 h 63"/>
                  <a:gd name="T54" fmla="*/ 78 w 97"/>
                  <a:gd name="T55" fmla="*/ 48 h 63"/>
                  <a:gd name="T56" fmla="*/ 85 w 97"/>
                  <a:gd name="T57" fmla="*/ 41 h 63"/>
                  <a:gd name="T58" fmla="*/ 87 w 97"/>
                  <a:gd name="T59" fmla="*/ 31 h 63"/>
                  <a:gd name="T60" fmla="*/ 82 w 97"/>
                  <a:gd name="T61" fmla="*/ 17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49"/>
                      <a:pt x="40" y="53"/>
                      <a:pt x="36" y="55"/>
                    </a:cubicBezTo>
                    <a:cubicBezTo>
                      <a:pt x="33" y="58"/>
                      <a:pt x="29" y="59"/>
                      <a:pt x="25" y="59"/>
                    </a:cubicBezTo>
                    <a:cubicBezTo>
                      <a:pt x="18" y="59"/>
                      <a:pt x="12" y="56"/>
                      <a:pt x="7" y="51"/>
                    </a:cubicBezTo>
                    <a:cubicBezTo>
                      <a:pt x="3" y="46"/>
                      <a:pt x="0" y="40"/>
                      <a:pt x="0" y="32"/>
                    </a:cubicBezTo>
                    <a:cubicBezTo>
                      <a:pt x="0" y="23"/>
                      <a:pt x="3" y="17"/>
                      <a:pt x="7" y="12"/>
                    </a:cubicBezTo>
                    <a:cubicBezTo>
                      <a:pt x="12" y="7"/>
                      <a:pt x="18" y="4"/>
                      <a:pt x="25" y="4"/>
                    </a:cubicBezTo>
                    <a:cubicBezTo>
                      <a:pt x="29" y="4"/>
                      <a:pt x="33" y="5"/>
                      <a:pt x="36" y="7"/>
                    </a:cubicBezTo>
                    <a:cubicBezTo>
                      <a:pt x="40" y="10"/>
                      <a:pt x="42" y="13"/>
                      <a:pt x="44" y="18"/>
                    </a:cubicBezTo>
                    <a:cubicBezTo>
                      <a:pt x="46" y="12"/>
                      <a:pt x="49" y="8"/>
                      <a:pt x="53" y="5"/>
                    </a:cubicBezTo>
                    <a:cubicBezTo>
                      <a:pt x="57" y="2"/>
                      <a:pt x="62" y="0"/>
                      <a:pt x="68" y="0"/>
                    </a:cubicBezTo>
                    <a:cubicBezTo>
                      <a:pt x="76" y="0"/>
                      <a:pt x="83" y="3"/>
                      <a:pt x="89" y="9"/>
                    </a:cubicBezTo>
                    <a:cubicBezTo>
                      <a:pt x="94" y="14"/>
                      <a:pt x="97" y="22"/>
                      <a:pt x="97" y="31"/>
                    </a:cubicBezTo>
                    <a:cubicBezTo>
                      <a:pt x="97" y="41"/>
                      <a:pt x="94" y="48"/>
                      <a:pt x="89" y="54"/>
                    </a:cubicBezTo>
                    <a:cubicBezTo>
                      <a:pt x="83" y="60"/>
                      <a:pt x="76" y="63"/>
                      <a:pt x="68" y="63"/>
                    </a:cubicBezTo>
                    <a:cubicBezTo>
                      <a:pt x="62" y="63"/>
                      <a:pt x="57" y="61"/>
                      <a:pt x="52" y="58"/>
                    </a:cubicBezTo>
                    <a:cubicBezTo>
                      <a:pt x="48" y="55"/>
                      <a:pt x="45" y="50"/>
                      <a:pt x="44" y="45"/>
                    </a:cubicBezTo>
                    <a:close/>
                    <a:moveTo>
                      <a:pt x="24" y="47"/>
                    </a:moveTo>
                    <a:cubicBezTo>
                      <a:pt x="29" y="47"/>
                      <a:pt x="32" y="45"/>
                      <a:pt x="35" y="42"/>
                    </a:cubicBezTo>
                    <a:cubicBezTo>
                      <a:pt x="38" y="40"/>
                      <a:pt x="39" y="36"/>
                      <a:pt x="39" y="31"/>
                    </a:cubicBezTo>
                    <a:cubicBezTo>
                      <a:pt x="39" y="27"/>
                      <a:pt x="38" y="23"/>
                      <a:pt x="35" y="20"/>
                    </a:cubicBezTo>
                    <a:cubicBezTo>
                      <a:pt x="32" y="17"/>
                      <a:pt x="29" y="16"/>
                      <a:pt x="25" y="16"/>
                    </a:cubicBezTo>
                    <a:cubicBezTo>
                      <a:pt x="21" y="16"/>
                      <a:pt x="17" y="17"/>
                      <a:pt x="14" y="20"/>
                    </a:cubicBezTo>
                    <a:cubicBezTo>
                      <a:pt x="11" y="23"/>
                      <a:pt x="10" y="27"/>
                      <a:pt x="10" y="31"/>
                    </a:cubicBezTo>
                    <a:cubicBezTo>
                      <a:pt x="10" y="36"/>
                      <a:pt x="11" y="40"/>
                      <a:pt x="14" y="42"/>
                    </a:cubicBezTo>
                    <a:cubicBezTo>
                      <a:pt x="17" y="45"/>
                      <a:pt x="20" y="47"/>
                      <a:pt x="24" y="47"/>
                    </a:cubicBezTo>
                    <a:close/>
                    <a:moveTo>
                      <a:pt x="68" y="51"/>
                    </a:moveTo>
                    <a:cubicBezTo>
                      <a:pt x="71" y="51"/>
                      <a:pt x="74" y="50"/>
                      <a:pt x="78" y="48"/>
                    </a:cubicBezTo>
                    <a:cubicBezTo>
                      <a:pt x="81" y="47"/>
                      <a:pt x="83" y="44"/>
                      <a:pt x="85" y="41"/>
                    </a:cubicBezTo>
                    <a:cubicBezTo>
                      <a:pt x="86" y="38"/>
                      <a:pt x="87" y="35"/>
                      <a:pt x="87" y="31"/>
                    </a:cubicBezTo>
                    <a:cubicBezTo>
                      <a:pt x="87" y="26"/>
                      <a:pt x="86" y="21"/>
                      <a:pt x="82" y="17"/>
                    </a:cubicBezTo>
                    <a:cubicBezTo>
                      <a:pt x="78" y="14"/>
                      <a:pt x="74" y="12"/>
                      <a:pt x="68" y="12"/>
                    </a:cubicBezTo>
                    <a:cubicBezTo>
                      <a:pt x="63" y="12"/>
                      <a:pt x="58" y="14"/>
                      <a:pt x="54" y="18"/>
                    </a:cubicBezTo>
                    <a:cubicBezTo>
                      <a:pt x="51" y="21"/>
                      <a:pt x="49" y="26"/>
                      <a:pt x="49" y="32"/>
                    </a:cubicBezTo>
                    <a:cubicBezTo>
                      <a:pt x="49" y="37"/>
                      <a:pt x="51" y="42"/>
                      <a:pt x="54" y="45"/>
                    </a:cubicBezTo>
                    <a:cubicBezTo>
                      <a:pt x="58" y="49"/>
                      <a:pt x="63"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8" name="Freeform 746"/>
              <p:cNvSpPr>
                <a:spLocks/>
              </p:cNvSpPr>
              <p:nvPr/>
            </p:nvSpPr>
            <p:spPr bwMode="auto">
              <a:xfrm>
                <a:off x="4162" y="1656"/>
                <a:ext cx="22" cy="14"/>
              </a:xfrm>
              <a:custGeom>
                <a:avLst/>
                <a:gdLst>
                  <a:gd name="T0" fmla="*/ 11 w 94"/>
                  <a:gd name="T1" fmla="*/ 62 h 62"/>
                  <a:gd name="T2" fmla="*/ 0 w 94"/>
                  <a:gd name="T3" fmla="*/ 62 h 62"/>
                  <a:gd name="T4" fmla="*/ 0 w 94"/>
                  <a:gd name="T5" fmla="*/ 0 h 62"/>
                  <a:gd name="T6" fmla="*/ 9 w 94"/>
                  <a:gd name="T7" fmla="*/ 0 h 62"/>
                  <a:gd name="T8" fmla="*/ 35 w 94"/>
                  <a:gd name="T9" fmla="*/ 18 h 62"/>
                  <a:gd name="T10" fmla="*/ 68 w 94"/>
                  <a:gd name="T11" fmla="*/ 32 h 62"/>
                  <a:gd name="T12" fmla="*/ 94 w 94"/>
                  <a:gd name="T13" fmla="*/ 36 h 62"/>
                  <a:gd name="T14" fmla="*/ 94 w 94"/>
                  <a:gd name="T15" fmla="*/ 48 h 62"/>
                  <a:gd name="T16" fmla="*/ 67 w 94"/>
                  <a:gd name="T17" fmla="*/ 44 h 62"/>
                  <a:gd name="T18" fmla="*/ 36 w 94"/>
                  <a:gd name="T19" fmla="*/ 32 h 62"/>
                  <a:gd name="T20" fmla="*/ 11 w 94"/>
                  <a:gd name="T21" fmla="*/ 15 h 62"/>
                  <a:gd name="T22" fmla="*/ 11 w 94"/>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2">
                    <a:moveTo>
                      <a:pt x="11" y="62"/>
                    </a:moveTo>
                    <a:lnTo>
                      <a:pt x="0" y="62"/>
                    </a:lnTo>
                    <a:lnTo>
                      <a:pt x="0" y="0"/>
                    </a:lnTo>
                    <a:lnTo>
                      <a:pt x="9" y="0"/>
                    </a:lnTo>
                    <a:cubicBezTo>
                      <a:pt x="16" y="6"/>
                      <a:pt x="24" y="12"/>
                      <a:pt x="35" y="18"/>
                    </a:cubicBezTo>
                    <a:cubicBezTo>
                      <a:pt x="45" y="24"/>
                      <a:pt x="56" y="29"/>
                      <a:pt x="68" y="32"/>
                    </a:cubicBezTo>
                    <a:cubicBezTo>
                      <a:pt x="76" y="34"/>
                      <a:pt x="84" y="36"/>
                      <a:pt x="94" y="36"/>
                    </a:cubicBezTo>
                    <a:lnTo>
                      <a:pt x="94" y="48"/>
                    </a:lnTo>
                    <a:cubicBezTo>
                      <a:pt x="86" y="48"/>
                      <a:pt x="77" y="47"/>
                      <a:pt x="67" y="44"/>
                    </a:cubicBezTo>
                    <a:cubicBezTo>
                      <a:pt x="56" y="41"/>
                      <a:pt x="46" y="37"/>
                      <a:pt x="36" y="32"/>
                    </a:cubicBezTo>
                    <a:cubicBezTo>
                      <a:pt x="26" y="27"/>
                      <a:pt x="18" y="21"/>
                      <a:pt x="11" y="15"/>
                    </a:cubicBezTo>
                    <a:lnTo>
                      <a:pt x="11" y="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9" name="Freeform 747"/>
              <p:cNvSpPr>
                <a:spLocks noEditPoints="1"/>
              </p:cNvSpPr>
              <p:nvPr/>
            </p:nvSpPr>
            <p:spPr bwMode="auto">
              <a:xfrm>
                <a:off x="4220" y="1656"/>
                <a:ext cx="22" cy="14"/>
              </a:xfrm>
              <a:custGeom>
                <a:avLst/>
                <a:gdLst>
                  <a:gd name="T0" fmla="*/ 23 w 96"/>
                  <a:gd name="T1" fmla="*/ 2 h 63"/>
                  <a:gd name="T2" fmla="*/ 24 w 96"/>
                  <a:gd name="T3" fmla="*/ 14 h 63"/>
                  <a:gd name="T4" fmla="*/ 14 w 96"/>
                  <a:gd name="T5" fmla="*/ 18 h 63"/>
                  <a:gd name="T6" fmla="*/ 9 w 96"/>
                  <a:gd name="T7" fmla="*/ 30 h 63"/>
                  <a:gd name="T8" fmla="*/ 12 w 96"/>
                  <a:gd name="T9" fmla="*/ 39 h 63"/>
                  <a:gd name="T10" fmla="*/ 24 w 96"/>
                  <a:gd name="T11" fmla="*/ 48 h 63"/>
                  <a:gd name="T12" fmla="*/ 46 w 96"/>
                  <a:gd name="T13" fmla="*/ 51 h 63"/>
                  <a:gd name="T14" fmla="*/ 36 w 96"/>
                  <a:gd name="T15" fmla="*/ 41 h 63"/>
                  <a:gd name="T16" fmla="*/ 33 w 96"/>
                  <a:gd name="T17" fmla="*/ 28 h 63"/>
                  <a:gd name="T18" fmla="*/ 42 w 96"/>
                  <a:gd name="T19" fmla="*/ 9 h 63"/>
                  <a:gd name="T20" fmla="*/ 64 w 96"/>
                  <a:gd name="T21" fmla="*/ 0 h 63"/>
                  <a:gd name="T22" fmla="*/ 81 w 96"/>
                  <a:gd name="T23" fmla="*/ 4 h 63"/>
                  <a:gd name="T24" fmla="*/ 92 w 96"/>
                  <a:gd name="T25" fmla="*/ 15 h 63"/>
                  <a:gd name="T26" fmla="*/ 96 w 96"/>
                  <a:gd name="T27" fmla="*/ 30 h 63"/>
                  <a:gd name="T28" fmla="*/ 86 w 96"/>
                  <a:gd name="T29" fmla="*/ 54 h 63"/>
                  <a:gd name="T30" fmla="*/ 50 w 96"/>
                  <a:gd name="T31" fmla="*/ 63 h 63"/>
                  <a:gd name="T32" fmla="*/ 10 w 96"/>
                  <a:gd name="T33" fmla="*/ 53 h 63"/>
                  <a:gd name="T34" fmla="*/ 0 w 96"/>
                  <a:gd name="T35" fmla="*/ 29 h 63"/>
                  <a:gd name="T36" fmla="*/ 6 w 96"/>
                  <a:gd name="T37" fmla="*/ 11 h 63"/>
                  <a:gd name="T38" fmla="*/ 23 w 96"/>
                  <a:gd name="T39" fmla="*/ 2 h 63"/>
                  <a:gd name="T40" fmla="*/ 64 w 96"/>
                  <a:gd name="T41" fmla="*/ 50 h 63"/>
                  <a:gd name="T42" fmla="*/ 75 w 96"/>
                  <a:gd name="T43" fmla="*/ 47 h 63"/>
                  <a:gd name="T44" fmla="*/ 84 w 96"/>
                  <a:gd name="T45" fmla="*/ 40 h 63"/>
                  <a:gd name="T46" fmla="*/ 87 w 96"/>
                  <a:gd name="T47" fmla="*/ 30 h 63"/>
                  <a:gd name="T48" fmla="*/ 81 w 96"/>
                  <a:gd name="T49" fmla="*/ 18 h 63"/>
                  <a:gd name="T50" fmla="*/ 65 w 96"/>
                  <a:gd name="T51" fmla="*/ 12 h 63"/>
                  <a:gd name="T52" fmla="*/ 49 w 96"/>
                  <a:gd name="T53" fmla="*/ 18 h 63"/>
                  <a:gd name="T54" fmla="*/ 44 w 96"/>
                  <a:gd name="T55" fmla="*/ 31 h 63"/>
                  <a:gd name="T56" fmla="*/ 49 w 96"/>
                  <a:gd name="T57" fmla="*/ 44 h 63"/>
                  <a:gd name="T58" fmla="*/ 64 w 96"/>
                  <a:gd name="T59" fmla="*/ 5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3">
                    <a:moveTo>
                      <a:pt x="23" y="2"/>
                    </a:moveTo>
                    <a:lnTo>
                      <a:pt x="24" y="14"/>
                    </a:lnTo>
                    <a:cubicBezTo>
                      <a:pt x="20" y="15"/>
                      <a:pt x="16" y="16"/>
                      <a:pt x="14" y="18"/>
                    </a:cubicBezTo>
                    <a:cubicBezTo>
                      <a:pt x="11" y="21"/>
                      <a:pt x="9" y="25"/>
                      <a:pt x="9" y="30"/>
                    </a:cubicBezTo>
                    <a:cubicBezTo>
                      <a:pt x="9" y="33"/>
                      <a:pt x="10" y="37"/>
                      <a:pt x="12" y="39"/>
                    </a:cubicBezTo>
                    <a:cubicBezTo>
                      <a:pt x="15" y="43"/>
                      <a:pt x="19" y="46"/>
                      <a:pt x="24" y="48"/>
                    </a:cubicBezTo>
                    <a:cubicBezTo>
                      <a:pt x="29" y="50"/>
                      <a:pt x="36" y="51"/>
                      <a:pt x="46" y="51"/>
                    </a:cubicBezTo>
                    <a:cubicBezTo>
                      <a:pt x="42" y="49"/>
                      <a:pt x="38" y="45"/>
                      <a:pt x="36" y="41"/>
                    </a:cubicBezTo>
                    <a:cubicBezTo>
                      <a:pt x="34" y="37"/>
                      <a:pt x="33" y="33"/>
                      <a:pt x="33" y="28"/>
                    </a:cubicBezTo>
                    <a:cubicBezTo>
                      <a:pt x="33" y="21"/>
                      <a:pt x="36" y="14"/>
                      <a:pt x="42" y="9"/>
                    </a:cubicBezTo>
                    <a:cubicBezTo>
                      <a:pt x="48" y="3"/>
                      <a:pt x="55" y="0"/>
                      <a:pt x="64" y="0"/>
                    </a:cubicBezTo>
                    <a:cubicBezTo>
                      <a:pt x="70" y="0"/>
                      <a:pt x="75" y="2"/>
                      <a:pt x="81" y="4"/>
                    </a:cubicBezTo>
                    <a:cubicBezTo>
                      <a:pt x="86" y="7"/>
                      <a:pt x="90" y="10"/>
                      <a:pt x="92" y="15"/>
                    </a:cubicBezTo>
                    <a:cubicBezTo>
                      <a:pt x="95" y="19"/>
                      <a:pt x="96" y="24"/>
                      <a:pt x="96" y="30"/>
                    </a:cubicBezTo>
                    <a:cubicBezTo>
                      <a:pt x="96" y="40"/>
                      <a:pt x="93" y="48"/>
                      <a:pt x="86" y="54"/>
                    </a:cubicBezTo>
                    <a:cubicBezTo>
                      <a:pt x="78" y="60"/>
                      <a:pt x="67" y="63"/>
                      <a:pt x="50" y="63"/>
                    </a:cubicBezTo>
                    <a:cubicBezTo>
                      <a:pt x="32" y="63"/>
                      <a:pt x="19" y="60"/>
                      <a:pt x="10" y="53"/>
                    </a:cubicBezTo>
                    <a:cubicBezTo>
                      <a:pt x="3" y="47"/>
                      <a:pt x="0" y="39"/>
                      <a:pt x="0" y="29"/>
                    </a:cubicBezTo>
                    <a:cubicBezTo>
                      <a:pt x="0" y="21"/>
                      <a:pt x="2" y="15"/>
                      <a:pt x="6" y="11"/>
                    </a:cubicBezTo>
                    <a:cubicBezTo>
                      <a:pt x="10" y="6"/>
                      <a:pt x="16" y="3"/>
                      <a:pt x="23" y="2"/>
                    </a:cubicBezTo>
                    <a:close/>
                    <a:moveTo>
                      <a:pt x="64" y="50"/>
                    </a:moveTo>
                    <a:cubicBezTo>
                      <a:pt x="68" y="50"/>
                      <a:pt x="72" y="49"/>
                      <a:pt x="75" y="47"/>
                    </a:cubicBezTo>
                    <a:cubicBezTo>
                      <a:pt x="79" y="45"/>
                      <a:pt x="82" y="43"/>
                      <a:pt x="84" y="40"/>
                    </a:cubicBezTo>
                    <a:cubicBezTo>
                      <a:pt x="86" y="37"/>
                      <a:pt x="87" y="34"/>
                      <a:pt x="87" y="30"/>
                    </a:cubicBezTo>
                    <a:cubicBezTo>
                      <a:pt x="87" y="25"/>
                      <a:pt x="85" y="21"/>
                      <a:pt x="81" y="18"/>
                    </a:cubicBezTo>
                    <a:cubicBezTo>
                      <a:pt x="77" y="14"/>
                      <a:pt x="71" y="12"/>
                      <a:pt x="65" y="12"/>
                    </a:cubicBezTo>
                    <a:cubicBezTo>
                      <a:pt x="58" y="12"/>
                      <a:pt x="53" y="14"/>
                      <a:pt x="49" y="18"/>
                    </a:cubicBezTo>
                    <a:cubicBezTo>
                      <a:pt x="45" y="21"/>
                      <a:pt x="44" y="25"/>
                      <a:pt x="44" y="31"/>
                    </a:cubicBezTo>
                    <a:cubicBezTo>
                      <a:pt x="44" y="36"/>
                      <a:pt x="45" y="40"/>
                      <a:pt x="49" y="44"/>
                    </a:cubicBezTo>
                    <a:cubicBezTo>
                      <a:pt x="53" y="48"/>
                      <a:pt x="58" y="50"/>
                      <a:pt x="64"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Freeform 748"/>
              <p:cNvSpPr>
                <a:spLocks/>
              </p:cNvSpPr>
              <p:nvPr/>
            </p:nvSpPr>
            <p:spPr bwMode="auto">
              <a:xfrm>
                <a:off x="4278" y="1656"/>
                <a:ext cx="21" cy="14"/>
              </a:xfrm>
              <a:custGeom>
                <a:avLst/>
                <a:gdLst>
                  <a:gd name="T0" fmla="*/ 69 w 95"/>
                  <a:gd name="T1" fmla="*/ 62 h 62"/>
                  <a:gd name="T2" fmla="*/ 68 w 95"/>
                  <a:gd name="T3" fmla="*/ 50 h 62"/>
                  <a:gd name="T4" fmla="*/ 81 w 95"/>
                  <a:gd name="T5" fmla="*/ 44 h 62"/>
                  <a:gd name="T6" fmla="*/ 86 w 95"/>
                  <a:gd name="T7" fmla="*/ 32 h 62"/>
                  <a:gd name="T8" fmla="*/ 79 w 95"/>
                  <a:gd name="T9" fmla="*/ 18 h 62"/>
                  <a:gd name="T10" fmla="*/ 63 w 95"/>
                  <a:gd name="T11" fmla="*/ 12 h 62"/>
                  <a:gd name="T12" fmla="*/ 47 w 95"/>
                  <a:gd name="T13" fmla="*/ 18 h 62"/>
                  <a:gd name="T14" fmla="*/ 41 w 95"/>
                  <a:gd name="T15" fmla="*/ 32 h 62"/>
                  <a:gd name="T16" fmla="*/ 44 w 95"/>
                  <a:gd name="T17" fmla="*/ 42 h 62"/>
                  <a:gd name="T18" fmla="*/ 50 w 95"/>
                  <a:gd name="T19" fmla="*/ 49 h 62"/>
                  <a:gd name="T20" fmla="*/ 49 w 95"/>
                  <a:gd name="T21" fmla="*/ 60 h 62"/>
                  <a:gd name="T22" fmla="*/ 0 w 95"/>
                  <a:gd name="T23" fmla="*/ 51 h 62"/>
                  <a:gd name="T24" fmla="*/ 0 w 95"/>
                  <a:gd name="T25" fmla="*/ 4 h 62"/>
                  <a:gd name="T26" fmla="*/ 11 w 95"/>
                  <a:gd name="T27" fmla="*/ 4 h 62"/>
                  <a:gd name="T28" fmla="*/ 11 w 95"/>
                  <a:gd name="T29" fmla="*/ 42 h 62"/>
                  <a:gd name="T30" fmla="*/ 37 w 95"/>
                  <a:gd name="T31" fmla="*/ 47 h 62"/>
                  <a:gd name="T32" fmla="*/ 31 w 95"/>
                  <a:gd name="T33" fmla="*/ 29 h 62"/>
                  <a:gd name="T34" fmla="*/ 39 w 95"/>
                  <a:gd name="T35" fmla="*/ 8 h 62"/>
                  <a:gd name="T36" fmla="*/ 62 w 95"/>
                  <a:gd name="T37" fmla="*/ 0 h 62"/>
                  <a:gd name="T38" fmla="*/ 84 w 95"/>
                  <a:gd name="T39" fmla="*/ 7 h 62"/>
                  <a:gd name="T40" fmla="*/ 95 w 95"/>
                  <a:gd name="T41" fmla="*/ 32 h 62"/>
                  <a:gd name="T42" fmla="*/ 88 w 95"/>
                  <a:gd name="T43" fmla="*/ 53 h 62"/>
                  <a:gd name="T44" fmla="*/ 69 w 9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69" y="62"/>
                    </a:moveTo>
                    <a:lnTo>
                      <a:pt x="68" y="50"/>
                    </a:lnTo>
                    <a:cubicBezTo>
                      <a:pt x="74" y="49"/>
                      <a:pt x="78" y="47"/>
                      <a:pt x="81" y="44"/>
                    </a:cubicBezTo>
                    <a:cubicBezTo>
                      <a:pt x="84" y="41"/>
                      <a:pt x="86" y="37"/>
                      <a:pt x="86" y="32"/>
                    </a:cubicBezTo>
                    <a:cubicBezTo>
                      <a:pt x="86" y="26"/>
                      <a:pt x="84" y="22"/>
                      <a:pt x="79" y="18"/>
                    </a:cubicBezTo>
                    <a:cubicBezTo>
                      <a:pt x="75" y="14"/>
                      <a:pt x="70" y="12"/>
                      <a:pt x="63" y="12"/>
                    </a:cubicBezTo>
                    <a:cubicBezTo>
                      <a:pt x="56" y="12"/>
                      <a:pt x="51" y="14"/>
                      <a:pt x="47" y="18"/>
                    </a:cubicBezTo>
                    <a:cubicBezTo>
                      <a:pt x="43" y="21"/>
                      <a:pt x="41" y="26"/>
                      <a:pt x="41" y="32"/>
                    </a:cubicBezTo>
                    <a:cubicBezTo>
                      <a:pt x="41" y="36"/>
                      <a:pt x="42" y="39"/>
                      <a:pt x="44" y="42"/>
                    </a:cubicBezTo>
                    <a:cubicBezTo>
                      <a:pt x="45" y="45"/>
                      <a:pt x="48" y="48"/>
                      <a:pt x="50" y="49"/>
                    </a:cubicBezTo>
                    <a:lnTo>
                      <a:pt x="49" y="60"/>
                    </a:lnTo>
                    <a:lnTo>
                      <a:pt x="0" y="51"/>
                    </a:lnTo>
                    <a:lnTo>
                      <a:pt x="0" y="4"/>
                    </a:lnTo>
                    <a:lnTo>
                      <a:pt x="11" y="4"/>
                    </a:lnTo>
                    <a:lnTo>
                      <a:pt x="11" y="42"/>
                    </a:lnTo>
                    <a:lnTo>
                      <a:pt x="37" y="47"/>
                    </a:lnTo>
                    <a:cubicBezTo>
                      <a:pt x="33" y="41"/>
                      <a:pt x="31" y="35"/>
                      <a:pt x="31" y="29"/>
                    </a:cubicBezTo>
                    <a:cubicBezTo>
                      <a:pt x="31" y="21"/>
                      <a:pt x="34" y="14"/>
                      <a:pt x="39" y="8"/>
                    </a:cubicBezTo>
                    <a:cubicBezTo>
                      <a:pt x="45" y="2"/>
                      <a:pt x="53" y="0"/>
                      <a:pt x="62" y="0"/>
                    </a:cubicBezTo>
                    <a:cubicBezTo>
                      <a:pt x="70" y="0"/>
                      <a:pt x="78" y="2"/>
                      <a:pt x="84" y="7"/>
                    </a:cubicBezTo>
                    <a:cubicBezTo>
                      <a:pt x="91" y="13"/>
                      <a:pt x="95" y="21"/>
                      <a:pt x="95" y="32"/>
                    </a:cubicBezTo>
                    <a:cubicBezTo>
                      <a:pt x="95" y="41"/>
                      <a:pt x="93" y="48"/>
                      <a:pt x="88" y="53"/>
                    </a:cubicBezTo>
                    <a:cubicBezTo>
                      <a:pt x="83" y="59"/>
                      <a:pt x="77" y="62"/>
                      <a:pt x="69"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1" name="Freeform 749"/>
              <p:cNvSpPr>
                <a:spLocks noEditPoints="1"/>
              </p:cNvSpPr>
              <p:nvPr/>
            </p:nvSpPr>
            <p:spPr bwMode="auto">
              <a:xfrm>
                <a:off x="4335" y="1656"/>
                <a:ext cx="22" cy="15"/>
              </a:xfrm>
              <a:custGeom>
                <a:avLst/>
                <a:gdLst>
                  <a:gd name="T0" fmla="*/ 95 w 95"/>
                  <a:gd name="T1" fmla="*/ 24 h 65"/>
                  <a:gd name="T2" fmla="*/ 72 w 95"/>
                  <a:gd name="T3" fmla="*/ 24 h 65"/>
                  <a:gd name="T4" fmla="*/ 72 w 95"/>
                  <a:gd name="T5" fmla="*/ 65 h 65"/>
                  <a:gd name="T6" fmla="*/ 61 w 95"/>
                  <a:gd name="T7" fmla="*/ 65 h 65"/>
                  <a:gd name="T8" fmla="*/ 0 w 95"/>
                  <a:gd name="T9" fmla="*/ 22 h 65"/>
                  <a:gd name="T10" fmla="*/ 0 w 95"/>
                  <a:gd name="T11" fmla="*/ 12 h 65"/>
                  <a:gd name="T12" fmla="*/ 61 w 95"/>
                  <a:gd name="T13" fmla="*/ 12 h 65"/>
                  <a:gd name="T14" fmla="*/ 61 w 95"/>
                  <a:gd name="T15" fmla="*/ 0 h 65"/>
                  <a:gd name="T16" fmla="*/ 72 w 95"/>
                  <a:gd name="T17" fmla="*/ 0 h 65"/>
                  <a:gd name="T18" fmla="*/ 72 w 95"/>
                  <a:gd name="T19" fmla="*/ 12 h 65"/>
                  <a:gd name="T20" fmla="*/ 95 w 95"/>
                  <a:gd name="T21" fmla="*/ 12 h 65"/>
                  <a:gd name="T22" fmla="*/ 95 w 95"/>
                  <a:gd name="T23" fmla="*/ 24 h 65"/>
                  <a:gd name="T24" fmla="*/ 61 w 95"/>
                  <a:gd name="T25" fmla="*/ 24 h 65"/>
                  <a:gd name="T26" fmla="*/ 19 w 95"/>
                  <a:gd name="T27" fmla="*/ 24 h 65"/>
                  <a:gd name="T28" fmla="*/ 61 w 95"/>
                  <a:gd name="T29" fmla="*/ 54 h 65"/>
                  <a:gd name="T30" fmla="*/ 61 w 95"/>
                  <a:gd name="T31" fmla="*/ 2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5">
                    <a:moveTo>
                      <a:pt x="95" y="24"/>
                    </a:moveTo>
                    <a:lnTo>
                      <a:pt x="72" y="24"/>
                    </a:lnTo>
                    <a:lnTo>
                      <a:pt x="72" y="65"/>
                    </a:lnTo>
                    <a:lnTo>
                      <a:pt x="61" y="65"/>
                    </a:lnTo>
                    <a:lnTo>
                      <a:pt x="0" y="22"/>
                    </a:lnTo>
                    <a:lnTo>
                      <a:pt x="0" y="12"/>
                    </a:lnTo>
                    <a:lnTo>
                      <a:pt x="61" y="12"/>
                    </a:lnTo>
                    <a:lnTo>
                      <a:pt x="61" y="0"/>
                    </a:lnTo>
                    <a:lnTo>
                      <a:pt x="72" y="0"/>
                    </a:lnTo>
                    <a:lnTo>
                      <a:pt x="72" y="12"/>
                    </a:lnTo>
                    <a:lnTo>
                      <a:pt x="95" y="12"/>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2" name="Freeform 750"/>
              <p:cNvSpPr>
                <a:spLocks/>
              </p:cNvSpPr>
              <p:nvPr/>
            </p:nvSpPr>
            <p:spPr bwMode="auto">
              <a:xfrm>
                <a:off x="4393" y="1656"/>
                <a:ext cx="22" cy="14"/>
              </a:xfrm>
              <a:custGeom>
                <a:avLst/>
                <a:gdLst>
                  <a:gd name="T0" fmla="*/ 70 w 96"/>
                  <a:gd name="T1" fmla="*/ 62 h 62"/>
                  <a:gd name="T2" fmla="*/ 68 w 96"/>
                  <a:gd name="T3" fmla="*/ 51 h 62"/>
                  <a:gd name="T4" fmla="*/ 82 w 96"/>
                  <a:gd name="T5" fmla="*/ 44 h 62"/>
                  <a:gd name="T6" fmla="*/ 87 w 96"/>
                  <a:gd name="T7" fmla="*/ 32 h 62"/>
                  <a:gd name="T8" fmla="*/ 81 w 96"/>
                  <a:gd name="T9" fmla="*/ 18 h 62"/>
                  <a:gd name="T10" fmla="*/ 67 w 96"/>
                  <a:gd name="T11" fmla="*/ 13 h 62"/>
                  <a:gd name="T12" fmla="*/ 54 w 96"/>
                  <a:gd name="T13" fmla="*/ 18 h 62"/>
                  <a:gd name="T14" fmla="*/ 49 w 96"/>
                  <a:gd name="T15" fmla="*/ 31 h 62"/>
                  <a:gd name="T16" fmla="*/ 50 w 96"/>
                  <a:gd name="T17" fmla="*/ 39 h 62"/>
                  <a:gd name="T18" fmla="*/ 40 w 96"/>
                  <a:gd name="T19" fmla="*/ 38 h 62"/>
                  <a:gd name="T20" fmla="*/ 40 w 96"/>
                  <a:gd name="T21" fmla="*/ 36 h 62"/>
                  <a:gd name="T22" fmla="*/ 36 w 96"/>
                  <a:gd name="T23" fmla="*/ 23 h 62"/>
                  <a:gd name="T24" fmla="*/ 24 w 96"/>
                  <a:gd name="T25" fmla="*/ 17 h 62"/>
                  <a:gd name="T26" fmla="*/ 13 w 96"/>
                  <a:gd name="T27" fmla="*/ 21 h 62"/>
                  <a:gd name="T28" fmla="*/ 9 w 96"/>
                  <a:gd name="T29" fmla="*/ 32 h 62"/>
                  <a:gd name="T30" fmla="*/ 13 w 96"/>
                  <a:gd name="T31" fmla="*/ 44 h 62"/>
                  <a:gd name="T32" fmla="*/ 26 w 96"/>
                  <a:gd name="T33" fmla="*/ 50 h 62"/>
                  <a:gd name="T34" fmla="*/ 24 w 96"/>
                  <a:gd name="T35" fmla="*/ 61 h 62"/>
                  <a:gd name="T36" fmla="*/ 6 w 96"/>
                  <a:gd name="T37" fmla="*/ 51 h 62"/>
                  <a:gd name="T38" fmla="*/ 0 w 96"/>
                  <a:gd name="T39" fmla="*/ 33 h 62"/>
                  <a:gd name="T40" fmla="*/ 3 w 96"/>
                  <a:gd name="T41" fmla="*/ 18 h 62"/>
                  <a:gd name="T42" fmla="*/ 12 w 96"/>
                  <a:gd name="T43" fmla="*/ 8 h 62"/>
                  <a:gd name="T44" fmla="*/ 24 w 96"/>
                  <a:gd name="T45" fmla="*/ 5 h 62"/>
                  <a:gd name="T46" fmla="*/ 35 w 96"/>
                  <a:gd name="T47" fmla="*/ 8 h 62"/>
                  <a:gd name="T48" fmla="*/ 43 w 96"/>
                  <a:gd name="T49" fmla="*/ 18 h 62"/>
                  <a:gd name="T50" fmla="*/ 51 w 96"/>
                  <a:gd name="T51" fmla="*/ 5 h 62"/>
                  <a:gd name="T52" fmla="*/ 67 w 96"/>
                  <a:gd name="T53" fmla="*/ 0 h 62"/>
                  <a:gd name="T54" fmla="*/ 88 w 96"/>
                  <a:gd name="T55" fmla="*/ 9 h 62"/>
                  <a:gd name="T56" fmla="*/ 96 w 96"/>
                  <a:gd name="T57" fmla="*/ 32 h 62"/>
                  <a:gd name="T58" fmla="*/ 89 w 96"/>
                  <a:gd name="T59" fmla="*/ 53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1"/>
                    </a:lnTo>
                    <a:cubicBezTo>
                      <a:pt x="75" y="49"/>
                      <a:pt x="79" y="47"/>
                      <a:pt x="82" y="44"/>
                    </a:cubicBezTo>
                    <a:cubicBezTo>
                      <a:pt x="85" y="41"/>
                      <a:pt x="87" y="37"/>
                      <a:pt x="87" y="32"/>
                    </a:cubicBezTo>
                    <a:cubicBezTo>
                      <a:pt x="87" y="27"/>
                      <a:pt x="85" y="22"/>
                      <a:pt x="81" y="18"/>
                    </a:cubicBezTo>
                    <a:cubicBezTo>
                      <a:pt x="77" y="15"/>
                      <a:pt x="73" y="13"/>
                      <a:pt x="67" y="13"/>
                    </a:cubicBezTo>
                    <a:cubicBezTo>
                      <a:pt x="62" y="13"/>
                      <a:pt x="57" y="14"/>
                      <a:pt x="54" y="18"/>
                    </a:cubicBezTo>
                    <a:cubicBezTo>
                      <a:pt x="50" y="21"/>
                      <a:pt x="49" y="26"/>
                      <a:pt x="49" y="31"/>
                    </a:cubicBezTo>
                    <a:cubicBezTo>
                      <a:pt x="49" y="33"/>
                      <a:pt x="49" y="36"/>
                      <a:pt x="50" y="39"/>
                    </a:cubicBezTo>
                    <a:lnTo>
                      <a:pt x="40" y="38"/>
                    </a:lnTo>
                    <a:cubicBezTo>
                      <a:pt x="40" y="37"/>
                      <a:pt x="40" y="37"/>
                      <a:pt x="40" y="36"/>
                    </a:cubicBezTo>
                    <a:cubicBezTo>
                      <a:pt x="40" y="31"/>
                      <a:pt x="38" y="27"/>
                      <a:pt x="36" y="23"/>
                    </a:cubicBezTo>
                    <a:cubicBezTo>
                      <a:pt x="33" y="19"/>
                      <a:pt x="29" y="17"/>
                      <a:pt x="24" y="17"/>
                    </a:cubicBezTo>
                    <a:cubicBezTo>
                      <a:pt x="20" y="17"/>
                      <a:pt x="16" y="18"/>
                      <a:pt x="13" y="21"/>
                    </a:cubicBezTo>
                    <a:cubicBezTo>
                      <a:pt x="11" y="24"/>
                      <a:pt x="9" y="28"/>
                      <a:pt x="9" y="32"/>
                    </a:cubicBezTo>
                    <a:cubicBezTo>
                      <a:pt x="9" y="37"/>
                      <a:pt x="11" y="41"/>
                      <a:pt x="13" y="44"/>
                    </a:cubicBezTo>
                    <a:cubicBezTo>
                      <a:pt x="16" y="47"/>
                      <a:pt x="21" y="49"/>
                      <a:pt x="26" y="50"/>
                    </a:cubicBezTo>
                    <a:lnTo>
                      <a:pt x="24" y="61"/>
                    </a:lnTo>
                    <a:cubicBezTo>
                      <a:pt x="16" y="60"/>
                      <a:pt x="10" y="57"/>
                      <a:pt x="6" y="51"/>
                    </a:cubicBezTo>
                    <a:cubicBezTo>
                      <a:pt x="2" y="46"/>
                      <a:pt x="0" y="40"/>
                      <a:pt x="0" y="33"/>
                    </a:cubicBezTo>
                    <a:cubicBezTo>
                      <a:pt x="0" y="28"/>
                      <a:pt x="1" y="23"/>
                      <a:pt x="3" y="18"/>
                    </a:cubicBezTo>
                    <a:cubicBezTo>
                      <a:pt x="5" y="14"/>
                      <a:pt x="8" y="11"/>
                      <a:pt x="12" y="8"/>
                    </a:cubicBezTo>
                    <a:cubicBezTo>
                      <a:pt x="16" y="6"/>
                      <a:pt x="20" y="5"/>
                      <a:pt x="24" y="5"/>
                    </a:cubicBezTo>
                    <a:cubicBezTo>
                      <a:pt x="28" y="5"/>
                      <a:pt x="32" y="6"/>
                      <a:pt x="35" y="8"/>
                    </a:cubicBezTo>
                    <a:cubicBezTo>
                      <a:pt x="39" y="10"/>
                      <a:pt x="41" y="14"/>
                      <a:pt x="43" y="18"/>
                    </a:cubicBezTo>
                    <a:cubicBezTo>
                      <a:pt x="45" y="12"/>
                      <a:pt x="47" y="8"/>
                      <a:pt x="51" y="5"/>
                    </a:cubicBezTo>
                    <a:cubicBezTo>
                      <a:pt x="55" y="2"/>
                      <a:pt x="61" y="0"/>
                      <a:pt x="67" y="0"/>
                    </a:cubicBezTo>
                    <a:cubicBezTo>
                      <a:pt x="75" y="0"/>
                      <a:pt x="82" y="3"/>
                      <a:pt x="88" y="9"/>
                    </a:cubicBezTo>
                    <a:cubicBezTo>
                      <a:pt x="93" y="15"/>
                      <a:pt x="96" y="23"/>
                      <a:pt x="96" y="32"/>
                    </a:cubicBezTo>
                    <a:cubicBezTo>
                      <a:pt x="96" y="41"/>
                      <a:pt x="94" y="47"/>
                      <a:pt x="89" y="53"/>
                    </a:cubicBezTo>
                    <a:cubicBezTo>
                      <a:pt x="84" y="58"/>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751"/>
              <p:cNvSpPr>
                <a:spLocks/>
              </p:cNvSpPr>
              <p:nvPr/>
            </p:nvSpPr>
            <p:spPr bwMode="auto">
              <a:xfrm>
                <a:off x="4450" y="1656"/>
                <a:ext cx="22" cy="15"/>
              </a:xfrm>
              <a:custGeom>
                <a:avLst/>
                <a:gdLst>
                  <a:gd name="T0" fmla="*/ 83 w 95"/>
                  <a:gd name="T1" fmla="*/ 0 h 63"/>
                  <a:gd name="T2" fmla="*/ 95 w 95"/>
                  <a:gd name="T3" fmla="*/ 0 h 63"/>
                  <a:gd name="T4" fmla="*/ 95 w 95"/>
                  <a:gd name="T5" fmla="*/ 63 h 63"/>
                  <a:gd name="T6" fmla="*/ 87 w 95"/>
                  <a:gd name="T7" fmla="*/ 62 h 63"/>
                  <a:gd name="T8" fmla="*/ 74 w 95"/>
                  <a:gd name="T9" fmla="*/ 54 h 63"/>
                  <a:gd name="T10" fmla="*/ 60 w 95"/>
                  <a:gd name="T11" fmla="*/ 39 h 63"/>
                  <a:gd name="T12" fmla="*/ 40 w 95"/>
                  <a:gd name="T13" fmla="*/ 18 h 63"/>
                  <a:gd name="T14" fmla="*/ 26 w 95"/>
                  <a:gd name="T15" fmla="*/ 12 h 63"/>
                  <a:gd name="T16" fmla="*/ 14 w 95"/>
                  <a:gd name="T17" fmla="*/ 17 h 63"/>
                  <a:gd name="T18" fmla="*/ 9 w 95"/>
                  <a:gd name="T19" fmla="*/ 30 h 63"/>
                  <a:gd name="T20" fmla="*/ 14 w 95"/>
                  <a:gd name="T21" fmla="*/ 44 h 63"/>
                  <a:gd name="T22" fmla="*/ 28 w 95"/>
                  <a:gd name="T23" fmla="*/ 49 h 63"/>
                  <a:gd name="T24" fmla="*/ 27 w 95"/>
                  <a:gd name="T25" fmla="*/ 61 h 63"/>
                  <a:gd name="T26" fmla="*/ 7 w 95"/>
                  <a:gd name="T27" fmla="*/ 51 h 63"/>
                  <a:gd name="T28" fmla="*/ 0 w 95"/>
                  <a:gd name="T29" fmla="*/ 30 h 63"/>
                  <a:gd name="T30" fmla="*/ 7 w 95"/>
                  <a:gd name="T31" fmla="*/ 8 h 63"/>
                  <a:gd name="T32" fmla="*/ 26 w 95"/>
                  <a:gd name="T33" fmla="*/ 0 h 63"/>
                  <a:gd name="T34" fmla="*/ 37 w 95"/>
                  <a:gd name="T35" fmla="*/ 3 h 63"/>
                  <a:gd name="T36" fmla="*/ 49 w 95"/>
                  <a:gd name="T37" fmla="*/ 10 h 63"/>
                  <a:gd name="T38" fmla="*/ 65 w 95"/>
                  <a:gd name="T39" fmla="*/ 28 h 63"/>
                  <a:gd name="T40" fmla="*/ 77 w 95"/>
                  <a:gd name="T41" fmla="*/ 42 h 63"/>
                  <a:gd name="T42" fmla="*/ 83 w 95"/>
                  <a:gd name="T43" fmla="*/ 47 h 63"/>
                  <a:gd name="T44" fmla="*/ 83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3" y="0"/>
                    </a:moveTo>
                    <a:lnTo>
                      <a:pt x="95" y="0"/>
                    </a:lnTo>
                    <a:lnTo>
                      <a:pt x="95" y="63"/>
                    </a:lnTo>
                    <a:cubicBezTo>
                      <a:pt x="92" y="63"/>
                      <a:pt x="89" y="63"/>
                      <a:pt x="87" y="62"/>
                    </a:cubicBezTo>
                    <a:cubicBezTo>
                      <a:pt x="82" y="60"/>
                      <a:pt x="78" y="57"/>
                      <a:pt x="74" y="54"/>
                    </a:cubicBezTo>
                    <a:cubicBezTo>
                      <a:pt x="70" y="50"/>
                      <a:pt x="65" y="45"/>
                      <a:pt x="60" y="39"/>
                    </a:cubicBezTo>
                    <a:cubicBezTo>
                      <a:pt x="51" y="28"/>
                      <a:pt x="45" y="21"/>
                      <a:pt x="40" y="18"/>
                    </a:cubicBezTo>
                    <a:cubicBezTo>
                      <a:pt x="35" y="14"/>
                      <a:pt x="30" y="12"/>
                      <a:pt x="26" y="12"/>
                    </a:cubicBezTo>
                    <a:cubicBezTo>
                      <a:pt x="21" y="12"/>
                      <a:pt x="17" y="14"/>
                      <a:pt x="14" y="17"/>
                    </a:cubicBezTo>
                    <a:cubicBezTo>
                      <a:pt x="11" y="21"/>
                      <a:pt x="9" y="25"/>
                      <a:pt x="9" y="30"/>
                    </a:cubicBezTo>
                    <a:cubicBezTo>
                      <a:pt x="9" y="36"/>
                      <a:pt x="11" y="40"/>
                      <a:pt x="14" y="44"/>
                    </a:cubicBezTo>
                    <a:cubicBezTo>
                      <a:pt x="18" y="47"/>
                      <a:pt x="22" y="49"/>
                      <a:pt x="28" y="49"/>
                    </a:cubicBezTo>
                    <a:lnTo>
                      <a:pt x="27" y="61"/>
                    </a:lnTo>
                    <a:cubicBezTo>
                      <a:pt x="18" y="60"/>
                      <a:pt x="11" y="57"/>
                      <a:pt x="7" y="51"/>
                    </a:cubicBezTo>
                    <a:cubicBezTo>
                      <a:pt x="2" y="46"/>
                      <a:pt x="0" y="39"/>
                      <a:pt x="0" y="30"/>
                    </a:cubicBezTo>
                    <a:cubicBezTo>
                      <a:pt x="0" y="21"/>
                      <a:pt x="2" y="14"/>
                      <a:pt x="7" y="8"/>
                    </a:cubicBezTo>
                    <a:cubicBezTo>
                      <a:pt x="12" y="3"/>
                      <a:pt x="18" y="0"/>
                      <a:pt x="26" y="0"/>
                    </a:cubicBezTo>
                    <a:cubicBezTo>
                      <a:pt x="30" y="0"/>
                      <a:pt x="33" y="1"/>
                      <a:pt x="37" y="3"/>
                    </a:cubicBezTo>
                    <a:cubicBezTo>
                      <a:pt x="41" y="4"/>
                      <a:pt x="45" y="7"/>
                      <a:pt x="49" y="10"/>
                    </a:cubicBezTo>
                    <a:cubicBezTo>
                      <a:pt x="53" y="14"/>
                      <a:pt x="58" y="20"/>
                      <a:pt x="65" y="28"/>
                    </a:cubicBezTo>
                    <a:cubicBezTo>
                      <a:pt x="71" y="35"/>
                      <a:pt x="75" y="40"/>
                      <a:pt x="77" y="42"/>
                    </a:cubicBezTo>
                    <a:cubicBezTo>
                      <a:pt x="79" y="44"/>
                      <a:pt x="81" y="45"/>
                      <a:pt x="83" y="47"/>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752"/>
              <p:cNvSpPr>
                <a:spLocks/>
              </p:cNvSpPr>
              <p:nvPr/>
            </p:nvSpPr>
            <p:spPr bwMode="auto">
              <a:xfrm>
                <a:off x="3699" y="1817"/>
                <a:ext cx="17" cy="27"/>
              </a:xfrm>
              <a:custGeom>
                <a:avLst/>
                <a:gdLst>
                  <a:gd name="T0" fmla="*/ 0 w 74"/>
                  <a:gd name="T1" fmla="*/ 118 h 118"/>
                  <a:gd name="T2" fmla="*/ 0 w 74"/>
                  <a:gd name="T3" fmla="*/ 0 h 118"/>
                  <a:gd name="T4" fmla="*/ 16 w 74"/>
                  <a:gd name="T5" fmla="*/ 0 h 118"/>
                  <a:gd name="T6" fmla="*/ 16 w 74"/>
                  <a:gd name="T7" fmla="*/ 104 h 118"/>
                  <a:gd name="T8" fmla="*/ 74 w 74"/>
                  <a:gd name="T9" fmla="*/ 104 h 118"/>
                  <a:gd name="T10" fmla="*/ 74 w 74"/>
                  <a:gd name="T11" fmla="*/ 118 h 118"/>
                  <a:gd name="T12" fmla="*/ 0 w 7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74" h="118">
                    <a:moveTo>
                      <a:pt x="0" y="118"/>
                    </a:moveTo>
                    <a:lnTo>
                      <a:pt x="0" y="0"/>
                    </a:lnTo>
                    <a:lnTo>
                      <a:pt x="16" y="0"/>
                    </a:lnTo>
                    <a:lnTo>
                      <a:pt x="16" y="104"/>
                    </a:lnTo>
                    <a:lnTo>
                      <a:pt x="74" y="104"/>
                    </a:lnTo>
                    <a:lnTo>
                      <a:pt x="74"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Freeform 753"/>
              <p:cNvSpPr>
                <a:spLocks/>
              </p:cNvSpPr>
              <p:nvPr/>
            </p:nvSpPr>
            <p:spPr bwMode="auto">
              <a:xfrm>
                <a:off x="3990" y="2653"/>
                <a:ext cx="20" cy="12"/>
              </a:xfrm>
              <a:custGeom>
                <a:avLst/>
                <a:gdLst>
                  <a:gd name="T0" fmla="*/ 61 w 85"/>
                  <a:gd name="T1" fmla="*/ 56 h 56"/>
                  <a:gd name="T2" fmla="*/ 60 w 85"/>
                  <a:gd name="T3" fmla="*/ 45 h 56"/>
                  <a:gd name="T4" fmla="*/ 72 w 85"/>
                  <a:gd name="T5" fmla="*/ 39 h 56"/>
                  <a:gd name="T6" fmla="*/ 76 w 85"/>
                  <a:gd name="T7" fmla="*/ 29 h 56"/>
                  <a:gd name="T8" fmla="*/ 70 w 85"/>
                  <a:gd name="T9" fmla="*/ 16 h 56"/>
                  <a:gd name="T10" fmla="*/ 55 w 85"/>
                  <a:gd name="T11" fmla="*/ 11 h 56"/>
                  <a:gd name="T12" fmla="*/ 41 w 85"/>
                  <a:gd name="T13" fmla="*/ 16 h 56"/>
                  <a:gd name="T14" fmla="*/ 36 w 85"/>
                  <a:gd name="T15" fmla="*/ 29 h 56"/>
                  <a:gd name="T16" fmla="*/ 39 w 85"/>
                  <a:gd name="T17" fmla="*/ 38 h 56"/>
                  <a:gd name="T18" fmla="*/ 45 w 85"/>
                  <a:gd name="T19" fmla="*/ 44 h 56"/>
                  <a:gd name="T20" fmla="*/ 43 w 85"/>
                  <a:gd name="T21" fmla="*/ 54 h 56"/>
                  <a:gd name="T22" fmla="*/ 0 w 85"/>
                  <a:gd name="T23" fmla="*/ 46 h 56"/>
                  <a:gd name="T24" fmla="*/ 0 w 85"/>
                  <a:gd name="T25" fmla="*/ 4 h 56"/>
                  <a:gd name="T26" fmla="*/ 10 w 85"/>
                  <a:gd name="T27" fmla="*/ 4 h 56"/>
                  <a:gd name="T28" fmla="*/ 10 w 85"/>
                  <a:gd name="T29" fmla="*/ 37 h 56"/>
                  <a:gd name="T30" fmla="*/ 32 w 85"/>
                  <a:gd name="T31" fmla="*/ 42 h 56"/>
                  <a:gd name="T32" fmla="*/ 27 w 85"/>
                  <a:gd name="T33" fmla="*/ 26 h 56"/>
                  <a:gd name="T34" fmla="*/ 35 w 85"/>
                  <a:gd name="T35" fmla="*/ 7 h 56"/>
                  <a:gd name="T36" fmla="*/ 55 w 85"/>
                  <a:gd name="T37" fmla="*/ 0 h 56"/>
                  <a:gd name="T38" fmla="*/ 74 w 85"/>
                  <a:gd name="T39" fmla="*/ 6 h 56"/>
                  <a:gd name="T40" fmla="*/ 85 w 85"/>
                  <a:gd name="T41" fmla="*/ 29 h 56"/>
                  <a:gd name="T42" fmla="*/ 78 w 85"/>
                  <a:gd name="T43" fmla="*/ 47 h 56"/>
                  <a:gd name="T44" fmla="*/ 61 w 85"/>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61" y="56"/>
                    </a:moveTo>
                    <a:lnTo>
                      <a:pt x="60" y="45"/>
                    </a:lnTo>
                    <a:cubicBezTo>
                      <a:pt x="65" y="44"/>
                      <a:pt x="69" y="42"/>
                      <a:pt x="72" y="39"/>
                    </a:cubicBezTo>
                    <a:cubicBezTo>
                      <a:pt x="75" y="36"/>
                      <a:pt x="76" y="33"/>
                      <a:pt x="76" y="29"/>
                    </a:cubicBezTo>
                    <a:cubicBezTo>
                      <a:pt x="76" y="24"/>
                      <a:pt x="74" y="19"/>
                      <a:pt x="70" y="16"/>
                    </a:cubicBezTo>
                    <a:cubicBezTo>
                      <a:pt x="67" y="12"/>
                      <a:pt x="62" y="11"/>
                      <a:pt x="55" y="11"/>
                    </a:cubicBezTo>
                    <a:cubicBezTo>
                      <a:pt x="50" y="11"/>
                      <a:pt x="45" y="12"/>
                      <a:pt x="41" y="16"/>
                    </a:cubicBezTo>
                    <a:cubicBezTo>
                      <a:pt x="38" y="19"/>
                      <a:pt x="36" y="23"/>
                      <a:pt x="36" y="29"/>
                    </a:cubicBezTo>
                    <a:cubicBezTo>
                      <a:pt x="36" y="32"/>
                      <a:pt x="37" y="35"/>
                      <a:pt x="39" y="38"/>
                    </a:cubicBezTo>
                    <a:cubicBezTo>
                      <a:pt x="40" y="40"/>
                      <a:pt x="42" y="43"/>
                      <a:pt x="45" y="44"/>
                    </a:cubicBezTo>
                    <a:lnTo>
                      <a:pt x="43" y="54"/>
                    </a:lnTo>
                    <a:lnTo>
                      <a:pt x="0" y="46"/>
                    </a:lnTo>
                    <a:lnTo>
                      <a:pt x="0" y="4"/>
                    </a:lnTo>
                    <a:lnTo>
                      <a:pt x="10" y="4"/>
                    </a:lnTo>
                    <a:lnTo>
                      <a:pt x="10" y="37"/>
                    </a:lnTo>
                    <a:lnTo>
                      <a:pt x="32" y="42"/>
                    </a:lnTo>
                    <a:cubicBezTo>
                      <a:pt x="29" y="37"/>
                      <a:pt x="27" y="31"/>
                      <a:pt x="27" y="26"/>
                    </a:cubicBezTo>
                    <a:cubicBezTo>
                      <a:pt x="27" y="19"/>
                      <a:pt x="30" y="12"/>
                      <a:pt x="35" y="7"/>
                    </a:cubicBezTo>
                    <a:cubicBezTo>
                      <a:pt x="40" y="2"/>
                      <a:pt x="46" y="0"/>
                      <a:pt x="55" y="0"/>
                    </a:cubicBezTo>
                    <a:cubicBezTo>
                      <a:pt x="62" y="0"/>
                      <a:pt x="69" y="2"/>
                      <a:pt x="74" y="6"/>
                    </a:cubicBezTo>
                    <a:cubicBezTo>
                      <a:pt x="81" y="12"/>
                      <a:pt x="85" y="19"/>
                      <a:pt x="85" y="29"/>
                    </a:cubicBezTo>
                    <a:cubicBezTo>
                      <a:pt x="85" y="36"/>
                      <a:pt x="82" y="42"/>
                      <a:pt x="78" y="47"/>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6" name="Freeform 754"/>
              <p:cNvSpPr>
                <a:spLocks/>
              </p:cNvSpPr>
              <p:nvPr/>
            </p:nvSpPr>
            <p:spPr bwMode="auto">
              <a:xfrm>
                <a:off x="3990" y="2634"/>
                <a:ext cx="19" cy="17"/>
              </a:xfrm>
              <a:custGeom>
                <a:avLst/>
                <a:gdLst>
                  <a:gd name="T0" fmla="*/ 84 w 84"/>
                  <a:gd name="T1" fmla="*/ 45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2 h 77"/>
                  <a:gd name="T14" fmla="*/ 0 w 84"/>
                  <a:gd name="T15" fmla="*/ 0 h 77"/>
                  <a:gd name="T16" fmla="*/ 84 w 84"/>
                  <a:gd name="T17" fmla="*/ 33 h 77"/>
                  <a:gd name="T18" fmla="*/ 84 w 84"/>
                  <a:gd name="T19"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5"/>
                    </a:moveTo>
                    <a:lnTo>
                      <a:pt x="0" y="77"/>
                    </a:lnTo>
                    <a:lnTo>
                      <a:pt x="0" y="65"/>
                    </a:lnTo>
                    <a:lnTo>
                      <a:pt x="61" y="43"/>
                    </a:lnTo>
                    <a:cubicBezTo>
                      <a:pt x="66" y="42"/>
                      <a:pt x="71" y="40"/>
                      <a:pt x="75" y="39"/>
                    </a:cubicBezTo>
                    <a:cubicBezTo>
                      <a:pt x="70" y="38"/>
                      <a:pt x="66" y="36"/>
                      <a:pt x="61" y="34"/>
                    </a:cubicBezTo>
                    <a:lnTo>
                      <a:pt x="0" y="12"/>
                    </a:lnTo>
                    <a:lnTo>
                      <a:pt x="0" y="0"/>
                    </a:lnTo>
                    <a:lnTo>
                      <a:pt x="84" y="33"/>
                    </a:lnTo>
                    <a:lnTo>
                      <a:pt x="84"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7" name="Freeform 755"/>
              <p:cNvSpPr>
                <a:spLocks noEditPoints="1"/>
              </p:cNvSpPr>
              <p:nvPr/>
            </p:nvSpPr>
            <p:spPr bwMode="auto">
              <a:xfrm>
                <a:off x="4277"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8" name="Freeform 756"/>
              <p:cNvSpPr>
                <a:spLocks noEditPoints="1"/>
              </p:cNvSpPr>
              <p:nvPr/>
            </p:nvSpPr>
            <p:spPr bwMode="auto">
              <a:xfrm>
                <a:off x="4277" y="2635"/>
                <a:ext cx="19" cy="12"/>
              </a:xfrm>
              <a:custGeom>
                <a:avLst/>
                <a:gdLst>
                  <a:gd name="T0" fmla="*/ 43 w 86"/>
                  <a:gd name="T1" fmla="*/ 55 h 55"/>
                  <a:gd name="T2" fmla="*/ 19 w 86"/>
                  <a:gd name="T3" fmla="*/ 52 h 55"/>
                  <a:gd name="T4" fmla="*/ 5 w 86"/>
                  <a:gd name="T5" fmla="*/ 43 h 55"/>
                  <a:gd name="T6" fmla="*/ 0 w 86"/>
                  <a:gd name="T7" fmla="*/ 27 h 55"/>
                  <a:gd name="T8" fmla="*/ 3 w 86"/>
                  <a:gd name="T9" fmla="*/ 15 h 55"/>
                  <a:gd name="T10" fmla="*/ 11 w 86"/>
                  <a:gd name="T11" fmla="*/ 7 h 55"/>
                  <a:gd name="T12" fmla="*/ 23 w 86"/>
                  <a:gd name="T13" fmla="*/ 2 h 55"/>
                  <a:gd name="T14" fmla="*/ 43 w 86"/>
                  <a:gd name="T15" fmla="*/ 0 h 55"/>
                  <a:gd name="T16" fmla="*/ 67 w 86"/>
                  <a:gd name="T17" fmla="*/ 3 h 55"/>
                  <a:gd name="T18" fmla="*/ 81 w 86"/>
                  <a:gd name="T19" fmla="*/ 12 h 55"/>
                  <a:gd name="T20" fmla="*/ 86 w 86"/>
                  <a:gd name="T21" fmla="*/ 27 h 55"/>
                  <a:gd name="T22" fmla="*/ 78 w 86"/>
                  <a:gd name="T23" fmla="*/ 47 h 55"/>
                  <a:gd name="T24" fmla="*/ 43 w 86"/>
                  <a:gd name="T25" fmla="*/ 55 h 55"/>
                  <a:gd name="T26" fmla="*/ 43 w 86"/>
                  <a:gd name="T27" fmla="*/ 44 h 55"/>
                  <a:gd name="T28" fmla="*/ 71 w 86"/>
                  <a:gd name="T29" fmla="*/ 39 h 55"/>
                  <a:gd name="T30" fmla="*/ 78 w 86"/>
                  <a:gd name="T31" fmla="*/ 27 h 55"/>
                  <a:gd name="T32" fmla="*/ 71 w 86"/>
                  <a:gd name="T33" fmla="*/ 15 h 55"/>
                  <a:gd name="T34" fmla="*/ 43 w 86"/>
                  <a:gd name="T35" fmla="*/ 11 h 55"/>
                  <a:gd name="T36" fmla="*/ 16 w 86"/>
                  <a:gd name="T37" fmla="*/ 15 h 55"/>
                  <a:gd name="T38" fmla="*/ 9 w 86"/>
                  <a:gd name="T39" fmla="*/ 27 h 55"/>
                  <a:gd name="T40" fmla="*/ 15 w 86"/>
                  <a:gd name="T41" fmla="*/ 39 h 55"/>
                  <a:gd name="T42" fmla="*/ 43 w 86"/>
                  <a:gd name="T4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5">
                    <a:moveTo>
                      <a:pt x="43" y="55"/>
                    </a:moveTo>
                    <a:cubicBezTo>
                      <a:pt x="33" y="55"/>
                      <a:pt x="25" y="54"/>
                      <a:pt x="19" y="52"/>
                    </a:cubicBezTo>
                    <a:cubicBezTo>
                      <a:pt x="13" y="50"/>
                      <a:pt x="9" y="47"/>
                      <a:pt x="5" y="43"/>
                    </a:cubicBezTo>
                    <a:cubicBezTo>
                      <a:pt x="2" y="39"/>
                      <a:pt x="0" y="34"/>
                      <a:pt x="0" y="27"/>
                    </a:cubicBezTo>
                    <a:cubicBezTo>
                      <a:pt x="0" y="23"/>
                      <a:pt x="1" y="19"/>
                      <a:pt x="3" y="15"/>
                    </a:cubicBezTo>
                    <a:cubicBezTo>
                      <a:pt x="5" y="12"/>
                      <a:pt x="7" y="9"/>
                      <a:pt x="11" y="7"/>
                    </a:cubicBezTo>
                    <a:cubicBezTo>
                      <a:pt x="14" y="5"/>
                      <a:pt x="19" y="3"/>
                      <a:pt x="23" y="2"/>
                    </a:cubicBezTo>
                    <a:cubicBezTo>
                      <a:pt x="28" y="1"/>
                      <a:pt x="35" y="0"/>
                      <a:pt x="43" y="0"/>
                    </a:cubicBezTo>
                    <a:cubicBezTo>
                      <a:pt x="53" y="0"/>
                      <a:pt x="61" y="1"/>
                      <a:pt x="67" y="3"/>
                    </a:cubicBezTo>
                    <a:cubicBezTo>
                      <a:pt x="73" y="5"/>
                      <a:pt x="78" y="8"/>
                      <a:pt x="81" y="12"/>
                    </a:cubicBezTo>
                    <a:cubicBezTo>
                      <a:pt x="85" y="16"/>
                      <a:pt x="86" y="21"/>
                      <a:pt x="86" y="27"/>
                    </a:cubicBezTo>
                    <a:cubicBezTo>
                      <a:pt x="86" y="36"/>
                      <a:pt x="84" y="42"/>
                      <a:pt x="78" y="47"/>
                    </a:cubicBezTo>
                    <a:cubicBezTo>
                      <a:pt x="71" y="52"/>
                      <a:pt x="59" y="55"/>
                      <a:pt x="43" y="55"/>
                    </a:cubicBezTo>
                    <a:close/>
                    <a:moveTo>
                      <a:pt x="43" y="44"/>
                    </a:moveTo>
                    <a:cubicBezTo>
                      <a:pt x="57" y="44"/>
                      <a:pt x="66" y="43"/>
                      <a:pt x="71" y="39"/>
                    </a:cubicBezTo>
                    <a:cubicBezTo>
                      <a:pt x="76" y="36"/>
                      <a:pt x="78" y="32"/>
                      <a:pt x="78" y="27"/>
                    </a:cubicBezTo>
                    <a:cubicBezTo>
                      <a:pt x="78" y="23"/>
                      <a:pt x="76" y="19"/>
                      <a:pt x="71" y="15"/>
                    </a:cubicBezTo>
                    <a:cubicBezTo>
                      <a:pt x="66" y="12"/>
                      <a:pt x="57" y="11"/>
                      <a:pt x="43" y="11"/>
                    </a:cubicBezTo>
                    <a:cubicBezTo>
                      <a:pt x="30" y="11"/>
                      <a:pt x="20" y="12"/>
                      <a:pt x="16" y="15"/>
                    </a:cubicBezTo>
                    <a:cubicBezTo>
                      <a:pt x="11" y="19"/>
                      <a:pt x="9" y="23"/>
                      <a:pt x="9" y="27"/>
                    </a:cubicBezTo>
                    <a:cubicBezTo>
                      <a:pt x="9" y="32"/>
                      <a:pt x="11" y="36"/>
                      <a:pt x="15" y="39"/>
                    </a:cubicBezTo>
                    <a:cubicBezTo>
                      <a:pt x="20" y="42"/>
                      <a:pt x="30" y="44"/>
                      <a:pt x="43" y="4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9" name="Freeform 757"/>
              <p:cNvSpPr>
                <a:spLocks noEditPoints="1"/>
              </p:cNvSpPr>
              <p:nvPr/>
            </p:nvSpPr>
            <p:spPr bwMode="auto">
              <a:xfrm>
                <a:off x="4396"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1"/>
                      <a:pt x="44" y="15"/>
                      <a:pt x="42" y="10"/>
                    </a:cubicBezTo>
                    <a:cubicBezTo>
                      <a:pt x="41" y="16"/>
                      <a:pt x="39"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0" name="Freeform 758"/>
              <p:cNvSpPr>
                <a:spLocks/>
              </p:cNvSpPr>
              <p:nvPr/>
            </p:nvSpPr>
            <p:spPr bwMode="auto">
              <a:xfrm>
                <a:off x="4418"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2 w 73"/>
                  <a:gd name="T17" fmla="*/ 20 h 93"/>
                  <a:gd name="T18" fmla="*/ 12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2" y="20"/>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1" name="Freeform 759"/>
              <p:cNvSpPr>
                <a:spLocks noEditPoints="1"/>
              </p:cNvSpPr>
              <p:nvPr/>
            </p:nvSpPr>
            <p:spPr bwMode="auto">
              <a:xfrm>
                <a:off x="4437"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4 w 87"/>
                  <a:gd name="T13" fmla="*/ 65 h 93"/>
                  <a:gd name="T14" fmla="*/ 13 w 87"/>
                  <a:gd name="T15" fmla="*/ 93 h 93"/>
                  <a:gd name="T16" fmla="*/ 0 w 87"/>
                  <a:gd name="T17" fmla="*/ 93 h 93"/>
                  <a:gd name="T18" fmla="*/ 27 w 87"/>
                  <a:gd name="T19" fmla="*/ 55 h 93"/>
                  <a:gd name="T20" fmla="*/ 59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4" y="65"/>
                    </a:lnTo>
                    <a:lnTo>
                      <a:pt x="13" y="93"/>
                    </a:lnTo>
                    <a:lnTo>
                      <a:pt x="0" y="93"/>
                    </a:lnTo>
                    <a:close/>
                    <a:moveTo>
                      <a:pt x="27" y="55"/>
                    </a:moveTo>
                    <a:lnTo>
                      <a:pt x="59" y="55"/>
                    </a:lnTo>
                    <a:lnTo>
                      <a:pt x="49" y="29"/>
                    </a:lnTo>
                    <a:cubicBezTo>
                      <a:pt x="46" y="21"/>
                      <a:pt x="44" y="15"/>
                      <a:pt x="42" y="10"/>
                    </a:cubicBezTo>
                    <a:cubicBezTo>
                      <a:pt x="41" y="16"/>
                      <a:pt x="40"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Freeform 760"/>
              <p:cNvSpPr>
                <a:spLocks/>
              </p:cNvSpPr>
              <p:nvPr/>
            </p:nvSpPr>
            <p:spPr bwMode="auto">
              <a:xfrm>
                <a:off x="4459" y="2580"/>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3" name="Freeform 761"/>
              <p:cNvSpPr>
                <a:spLocks noEditPoints="1"/>
              </p:cNvSpPr>
              <p:nvPr/>
            </p:nvSpPr>
            <p:spPr bwMode="auto">
              <a:xfrm>
                <a:off x="4474"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8"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4" name="Freeform 762"/>
              <p:cNvSpPr>
                <a:spLocks/>
              </p:cNvSpPr>
              <p:nvPr/>
            </p:nvSpPr>
            <p:spPr bwMode="auto">
              <a:xfrm>
                <a:off x="4497" y="2579"/>
                <a:ext cx="20" cy="22"/>
              </a:xfrm>
              <a:custGeom>
                <a:avLst/>
                <a:gdLst>
                  <a:gd name="T0" fmla="*/ 47 w 86"/>
                  <a:gd name="T1" fmla="*/ 58 h 96"/>
                  <a:gd name="T2" fmla="*/ 47 w 86"/>
                  <a:gd name="T3" fmla="*/ 47 h 96"/>
                  <a:gd name="T4" fmla="*/ 86 w 86"/>
                  <a:gd name="T5" fmla="*/ 47 h 96"/>
                  <a:gd name="T6" fmla="*/ 86 w 86"/>
                  <a:gd name="T7" fmla="*/ 82 h 96"/>
                  <a:gd name="T8" fmla="*/ 67 w 86"/>
                  <a:gd name="T9" fmla="*/ 93 h 96"/>
                  <a:gd name="T10" fmla="*/ 47 w 86"/>
                  <a:gd name="T11" fmla="*/ 96 h 96"/>
                  <a:gd name="T12" fmla="*/ 23 w 86"/>
                  <a:gd name="T13" fmla="*/ 90 h 96"/>
                  <a:gd name="T14" fmla="*/ 6 w 86"/>
                  <a:gd name="T15" fmla="*/ 74 h 96"/>
                  <a:gd name="T16" fmla="*/ 0 w 86"/>
                  <a:gd name="T17" fmla="*/ 49 h 96"/>
                  <a:gd name="T18" fmla="*/ 6 w 86"/>
                  <a:gd name="T19" fmla="*/ 23 h 96"/>
                  <a:gd name="T20" fmla="*/ 22 w 86"/>
                  <a:gd name="T21" fmla="*/ 6 h 96"/>
                  <a:gd name="T22" fmla="*/ 47 w 86"/>
                  <a:gd name="T23" fmla="*/ 0 h 96"/>
                  <a:gd name="T24" fmla="*/ 65 w 86"/>
                  <a:gd name="T25" fmla="*/ 4 h 96"/>
                  <a:gd name="T26" fmla="*/ 77 w 86"/>
                  <a:gd name="T27" fmla="*/ 13 h 96"/>
                  <a:gd name="T28" fmla="*/ 84 w 86"/>
                  <a:gd name="T29" fmla="*/ 28 h 96"/>
                  <a:gd name="T30" fmla="*/ 73 w 86"/>
                  <a:gd name="T31" fmla="*/ 31 h 96"/>
                  <a:gd name="T32" fmla="*/ 68 w 86"/>
                  <a:gd name="T33" fmla="*/ 20 h 96"/>
                  <a:gd name="T34" fmla="*/ 59 w 86"/>
                  <a:gd name="T35" fmla="*/ 13 h 96"/>
                  <a:gd name="T36" fmla="*/ 47 w 86"/>
                  <a:gd name="T37" fmla="*/ 11 h 96"/>
                  <a:gd name="T38" fmla="*/ 32 w 86"/>
                  <a:gd name="T39" fmla="*/ 13 h 96"/>
                  <a:gd name="T40" fmla="*/ 22 w 86"/>
                  <a:gd name="T41" fmla="*/ 20 h 96"/>
                  <a:gd name="T42" fmla="*/ 16 w 86"/>
                  <a:gd name="T43" fmla="*/ 29 h 96"/>
                  <a:gd name="T44" fmla="*/ 13 w 86"/>
                  <a:gd name="T45" fmla="*/ 48 h 96"/>
                  <a:gd name="T46" fmla="*/ 17 w 86"/>
                  <a:gd name="T47" fmla="*/ 69 h 96"/>
                  <a:gd name="T48" fmla="*/ 29 w 86"/>
                  <a:gd name="T49" fmla="*/ 81 h 96"/>
                  <a:gd name="T50" fmla="*/ 47 w 86"/>
                  <a:gd name="T51" fmla="*/ 85 h 96"/>
                  <a:gd name="T52" fmla="*/ 62 w 86"/>
                  <a:gd name="T53" fmla="*/ 82 h 96"/>
                  <a:gd name="T54" fmla="*/ 74 w 86"/>
                  <a:gd name="T55" fmla="*/ 76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2"/>
                    </a:lnTo>
                    <a:cubicBezTo>
                      <a:pt x="80" y="87"/>
                      <a:pt x="74" y="90"/>
                      <a:pt x="67" y="93"/>
                    </a:cubicBezTo>
                    <a:cubicBezTo>
                      <a:pt x="61" y="95"/>
                      <a:pt x="54" y="96"/>
                      <a:pt x="47" y="96"/>
                    </a:cubicBezTo>
                    <a:cubicBezTo>
                      <a:pt x="38" y="96"/>
                      <a:pt x="30" y="94"/>
                      <a:pt x="23" y="90"/>
                    </a:cubicBezTo>
                    <a:cubicBezTo>
                      <a:pt x="15" y="87"/>
                      <a:pt x="10" y="81"/>
                      <a:pt x="6" y="74"/>
                    </a:cubicBezTo>
                    <a:cubicBezTo>
                      <a:pt x="2" y="66"/>
                      <a:pt x="0" y="58"/>
                      <a:pt x="0" y="49"/>
                    </a:cubicBezTo>
                    <a:cubicBezTo>
                      <a:pt x="0" y="40"/>
                      <a:pt x="2" y="31"/>
                      <a:pt x="6" y="23"/>
                    </a:cubicBezTo>
                    <a:cubicBezTo>
                      <a:pt x="9" y="16"/>
                      <a:pt x="15" y="10"/>
                      <a:pt x="22" y="6"/>
                    </a:cubicBezTo>
                    <a:cubicBezTo>
                      <a:pt x="29" y="2"/>
                      <a:pt x="37" y="0"/>
                      <a:pt x="47" y="0"/>
                    </a:cubicBezTo>
                    <a:cubicBezTo>
                      <a:pt x="53" y="0"/>
                      <a:pt x="59" y="1"/>
                      <a:pt x="65" y="4"/>
                    </a:cubicBezTo>
                    <a:cubicBezTo>
                      <a:pt x="70" y="6"/>
                      <a:pt x="74" y="9"/>
                      <a:pt x="77" y="13"/>
                    </a:cubicBezTo>
                    <a:cubicBezTo>
                      <a:pt x="81" y="17"/>
                      <a:pt x="83" y="22"/>
                      <a:pt x="84" y="28"/>
                    </a:cubicBezTo>
                    <a:lnTo>
                      <a:pt x="73" y="31"/>
                    </a:lnTo>
                    <a:cubicBezTo>
                      <a:pt x="72" y="26"/>
                      <a:pt x="70" y="22"/>
                      <a:pt x="68" y="20"/>
                    </a:cubicBezTo>
                    <a:cubicBezTo>
                      <a:pt x="66" y="17"/>
                      <a:pt x="63" y="15"/>
                      <a:pt x="59" y="13"/>
                    </a:cubicBezTo>
                    <a:cubicBezTo>
                      <a:pt x="56" y="12"/>
                      <a:pt x="51" y="11"/>
                      <a:pt x="47" y="11"/>
                    </a:cubicBezTo>
                    <a:cubicBezTo>
                      <a:pt x="41" y="11"/>
                      <a:pt x="36" y="12"/>
                      <a:pt x="32" y="13"/>
                    </a:cubicBezTo>
                    <a:cubicBezTo>
                      <a:pt x="28" y="15"/>
                      <a:pt x="25" y="17"/>
                      <a:pt x="22" y="20"/>
                    </a:cubicBezTo>
                    <a:cubicBezTo>
                      <a:pt x="20" y="23"/>
                      <a:pt x="18" y="26"/>
                      <a:pt x="16" y="29"/>
                    </a:cubicBezTo>
                    <a:cubicBezTo>
                      <a:pt x="14" y="35"/>
                      <a:pt x="13" y="41"/>
                      <a:pt x="13" y="48"/>
                    </a:cubicBezTo>
                    <a:cubicBezTo>
                      <a:pt x="13" y="56"/>
                      <a:pt x="14" y="63"/>
                      <a:pt x="17" y="69"/>
                    </a:cubicBezTo>
                    <a:cubicBezTo>
                      <a:pt x="20" y="74"/>
                      <a:pt x="24" y="78"/>
                      <a:pt x="29" y="81"/>
                    </a:cubicBezTo>
                    <a:cubicBezTo>
                      <a:pt x="35" y="84"/>
                      <a:pt x="41" y="85"/>
                      <a:pt x="47" y="85"/>
                    </a:cubicBezTo>
                    <a:cubicBezTo>
                      <a:pt x="52" y="85"/>
                      <a:pt x="57" y="84"/>
                      <a:pt x="62" y="82"/>
                    </a:cubicBezTo>
                    <a:cubicBezTo>
                      <a:pt x="67" y="80"/>
                      <a:pt x="71" y="78"/>
                      <a:pt x="74" y="76"/>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5" name="Rectangle 763"/>
              <p:cNvSpPr>
                <a:spLocks noChangeArrowheads="1"/>
              </p:cNvSpPr>
              <p:nvPr/>
            </p:nvSpPr>
            <p:spPr bwMode="auto">
              <a:xfrm>
                <a:off x="4530" y="2580"/>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764"/>
              <p:cNvSpPr>
                <a:spLocks/>
              </p:cNvSpPr>
              <p:nvPr/>
            </p:nvSpPr>
            <p:spPr bwMode="auto">
              <a:xfrm>
                <a:off x="4537"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1 w 73"/>
                  <a:gd name="T17" fmla="*/ 20 h 93"/>
                  <a:gd name="T18" fmla="*/ 11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1" y="20"/>
                    </a:lnTo>
                    <a:lnTo>
                      <a:pt x="11"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765"/>
              <p:cNvSpPr>
                <a:spLocks noEditPoints="1"/>
              </p:cNvSpPr>
              <p:nvPr/>
            </p:nvSpPr>
            <p:spPr bwMode="auto">
              <a:xfrm>
                <a:off x="3664" y="1717"/>
                <a:ext cx="22" cy="20"/>
              </a:xfrm>
              <a:custGeom>
                <a:avLst/>
                <a:gdLst>
                  <a:gd name="T0" fmla="*/ 95 w 95"/>
                  <a:gd name="T1" fmla="*/ 88 h 88"/>
                  <a:gd name="T2" fmla="*/ 0 w 95"/>
                  <a:gd name="T3" fmla="*/ 52 h 88"/>
                  <a:gd name="T4" fmla="*/ 0 w 95"/>
                  <a:gd name="T5" fmla="*/ 38 h 88"/>
                  <a:gd name="T6" fmla="*/ 95 w 95"/>
                  <a:gd name="T7" fmla="*/ 0 h 88"/>
                  <a:gd name="T8" fmla="*/ 95 w 95"/>
                  <a:gd name="T9" fmla="*/ 14 h 88"/>
                  <a:gd name="T10" fmla="*/ 66 w 95"/>
                  <a:gd name="T11" fmla="*/ 25 h 88"/>
                  <a:gd name="T12" fmla="*/ 66 w 95"/>
                  <a:gd name="T13" fmla="*/ 65 h 88"/>
                  <a:gd name="T14" fmla="*/ 95 w 95"/>
                  <a:gd name="T15" fmla="*/ 75 h 88"/>
                  <a:gd name="T16" fmla="*/ 95 w 95"/>
                  <a:gd name="T17" fmla="*/ 88 h 88"/>
                  <a:gd name="T18" fmla="*/ 56 w 95"/>
                  <a:gd name="T19" fmla="*/ 61 h 88"/>
                  <a:gd name="T20" fmla="*/ 56 w 95"/>
                  <a:gd name="T21" fmla="*/ 29 h 88"/>
                  <a:gd name="T22" fmla="*/ 29 w 95"/>
                  <a:gd name="T23" fmla="*/ 39 h 88"/>
                  <a:gd name="T24" fmla="*/ 10 w 95"/>
                  <a:gd name="T25" fmla="*/ 45 h 88"/>
                  <a:gd name="T26" fmla="*/ 28 w 95"/>
                  <a:gd name="T27" fmla="*/ 51 h 88"/>
                  <a:gd name="T28" fmla="*/ 56 w 95"/>
                  <a:gd name="T29"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8">
                    <a:moveTo>
                      <a:pt x="95" y="88"/>
                    </a:moveTo>
                    <a:lnTo>
                      <a:pt x="0" y="52"/>
                    </a:lnTo>
                    <a:lnTo>
                      <a:pt x="0" y="38"/>
                    </a:lnTo>
                    <a:lnTo>
                      <a:pt x="95" y="0"/>
                    </a:lnTo>
                    <a:lnTo>
                      <a:pt x="95" y="14"/>
                    </a:lnTo>
                    <a:lnTo>
                      <a:pt x="66" y="25"/>
                    </a:lnTo>
                    <a:lnTo>
                      <a:pt x="66" y="65"/>
                    </a:lnTo>
                    <a:lnTo>
                      <a:pt x="95" y="75"/>
                    </a:lnTo>
                    <a:lnTo>
                      <a:pt x="95" y="88"/>
                    </a:lnTo>
                    <a:close/>
                    <a:moveTo>
                      <a:pt x="56" y="61"/>
                    </a:moveTo>
                    <a:lnTo>
                      <a:pt x="56" y="29"/>
                    </a:lnTo>
                    <a:lnTo>
                      <a:pt x="29" y="39"/>
                    </a:lnTo>
                    <a:cubicBezTo>
                      <a:pt x="21" y="42"/>
                      <a:pt x="15" y="44"/>
                      <a:pt x="10" y="45"/>
                    </a:cubicBezTo>
                    <a:cubicBezTo>
                      <a:pt x="16" y="47"/>
                      <a:pt x="22" y="48"/>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766"/>
              <p:cNvSpPr>
                <a:spLocks noEditPoints="1"/>
              </p:cNvSpPr>
              <p:nvPr/>
            </p:nvSpPr>
            <p:spPr bwMode="auto">
              <a:xfrm>
                <a:off x="3664" y="1696"/>
                <a:ext cx="22" cy="18"/>
              </a:xfrm>
              <a:custGeom>
                <a:avLst/>
                <a:gdLst>
                  <a:gd name="T0" fmla="*/ 95 w 95"/>
                  <a:gd name="T1" fmla="*/ 83 h 83"/>
                  <a:gd name="T2" fmla="*/ 0 w 95"/>
                  <a:gd name="T3" fmla="*/ 83 h 83"/>
                  <a:gd name="T4" fmla="*/ 0 w 95"/>
                  <a:gd name="T5" fmla="*/ 41 h 83"/>
                  <a:gd name="T6" fmla="*/ 2 w 95"/>
                  <a:gd name="T7" fmla="*/ 22 h 83"/>
                  <a:gd name="T8" fmla="*/ 11 w 95"/>
                  <a:gd name="T9" fmla="*/ 12 h 83"/>
                  <a:gd name="T10" fmla="*/ 26 w 95"/>
                  <a:gd name="T11" fmla="*/ 8 h 83"/>
                  <a:gd name="T12" fmla="*/ 43 w 95"/>
                  <a:gd name="T13" fmla="*/ 14 h 83"/>
                  <a:gd name="T14" fmla="*/ 51 w 95"/>
                  <a:gd name="T15" fmla="*/ 34 h 83"/>
                  <a:gd name="T16" fmla="*/ 56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5 w 95"/>
                  <a:gd name="T29" fmla="*/ 44 h 83"/>
                  <a:gd name="T30" fmla="*/ 53 w 95"/>
                  <a:gd name="T31" fmla="*/ 49 h 83"/>
                  <a:gd name="T32" fmla="*/ 52 w 95"/>
                  <a:gd name="T33" fmla="*/ 56 h 83"/>
                  <a:gd name="T34" fmla="*/ 52 w 95"/>
                  <a:gd name="T35" fmla="*/ 71 h 83"/>
                  <a:gd name="T36" fmla="*/ 95 w 95"/>
                  <a:gd name="T37" fmla="*/ 71 h 83"/>
                  <a:gd name="T38" fmla="*/ 95 w 95"/>
                  <a:gd name="T39" fmla="*/ 83 h 83"/>
                  <a:gd name="T40" fmla="*/ 42 w 95"/>
                  <a:gd name="T41" fmla="*/ 71 h 83"/>
                  <a:gd name="T42" fmla="*/ 42 w 95"/>
                  <a:gd name="T43" fmla="*/ 44 h 83"/>
                  <a:gd name="T44" fmla="*/ 40 w 95"/>
                  <a:gd name="T45" fmla="*/ 30 h 83"/>
                  <a:gd name="T46" fmla="*/ 34 w 95"/>
                  <a:gd name="T47" fmla="*/ 23 h 83"/>
                  <a:gd name="T48" fmla="*/ 26 w 95"/>
                  <a:gd name="T49" fmla="*/ 20 h 83"/>
                  <a:gd name="T50" fmla="*/ 15 w 95"/>
                  <a:gd name="T51" fmla="*/ 25 h 83"/>
                  <a:gd name="T52" fmla="*/ 10 w 95"/>
                  <a:gd name="T53" fmla="*/ 41 h 83"/>
                  <a:gd name="T54" fmla="*/ 10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6"/>
                      <a:pt x="2" y="22"/>
                    </a:cubicBezTo>
                    <a:cubicBezTo>
                      <a:pt x="4" y="18"/>
                      <a:pt x="7" y="14"/>
                      <a:pt x="11" y="12"/>
                    </a:cubicBezTo>
                    <a:cubicBezTo>
                      <a:pt x="16" y="9"/>
                      <a:pt x="20" y="8"/>
                      <a:pt x="26" y="8"/>
                    </a:cubicBezTo>
                    <a:cubicBezTo>
                      <a:pt x="32" y="8"/>
                      <a:pt x="38" y="10"/>
                      <a:pt x="43" y="14"/>
                    </a:cubicBezTo>
                    <a:cubicBezTo>
                      <a:pt x="47" y="18"/>
                      <a:pt x="50" y="25"/>
                      <a:pt x="51" y="34"/>
                    </a:cubicBezTo>
                    <a:cubicBezTo>
                      <a:pt x="53" y="31"/>
                      <a:pt x="55" y="28"/>
                      <a:pt x="56" y="27"/>
                    </a:cubicBezTo>
                    <a:cubicBezTo>
                      <a:pt x="60" y="23"/>
                      <a:pt x="64" y="20"/>
                      <a:pt x="69" y="16"/>
                    </a:cubicBezTo>
                    <a:lnTo>
                      <a:pt x="95" y="0"/>
                    </a:lnTo>
                    <a:lnTo>
                      <a:pt x="95" y="16"/>
                    </a:lnTo>
                    <a:lnTo>
                      <a:pt x="75" y="28"/>
                    </a:lnTo>
                    <a:cubicBezTo>
                      <a:pt x="69" y="32"/>
                      <a:pt x="65" y="35"/>
                      <a:pt x="62" y="37"/>
                    </a:cubicBezTo>
                    <a:cubicBezTo>
                      <a:pt x="59" y="40"/>
                      <a:pt x="57" y="42"/>
                      <a:pt x="55" y="44"/>
                    </a:cubicBezTo>
                    <a:cubicBezTo>
                      <a:pt x="54" y="45"/>
                      <a:pt x="53" y="47"/>
                      <a:pt x="53" y="49"/>
                    </a:cubicBezTo>
                    <a:cubicBezTo>
                      <a:pt x="53" y="51"/>
                      <a:pt x="52" y="53"/>
                      <a:pt x="52" y="56"/>
                    </a:cubicBezTo>
                    <a:lnTo>
                      <a:pt x="52" y="71"/>
                    </a:lnTo>
                    <a:lnTo>
                      <a:pt x="95" y="71"/>
                    </a:lnTo>
                    <a:lnTo>
                      <a:pt x="95" y="83"/>
                    </a:lnTo>
                    <a:close/>
                    <a:moveTo>
                      <a:pt x="42" y="71"/>
                    </a:moveTo>
                    <a:lnTo>
                      <a:pt x="42" y="44"/>
                    </a:lnTo>
                    <a:cubicBezTo>
                      <a:pt x="42" y="38"/>
                      <a:pt x="41" y="34"/>
                      <a:pt x="40" y="30"/>
                    </a:cubicBezTo>
                    <a:cubicBezTo>
                      <a:pt x="39" y="27"/>
                      <a:pt x="37" y="25"/>
                      <a:pt x="34" y="23"/>
                    </a:cubicBezTo>
                    <a:cubicBezTo>
                      <a:pt x="32" y="21"/>
                      <a:pt x="29" y="20"/>
                      <a:pt x="26" y="20"/>
                    </a:cubicBezTo>
                    <a:cubicBezTo>
                      <a:pt x="21" y="20"/>
                      <a:pt x="18" y="22"/>
                      <a:pt x="15" y="25"/>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767"/>
              <p:cNvSpPr>
                <a:spLocks/>
              </p:cNvSpPr>
              <p:nvPr/>
            </p:nvSpPr>
            <p:spPr bwMode="auto">
              <a:xfrm>
                <a:off x="3664" y="1677"/>
                <a:ext cx="22" cy="16"/>
              </a:xfrm>
              <a:custGeom>
                <a:avLst/>
                <a:gdLst>
                  <a:gd name="T0" fmla="*/ 95 w 95"/>
                  <a:gd name="T1" fmla="*/ 71 h 71"/>
                  <a:gd name="T2" fmla="*/ 0 w 95"/>
                  <a:gd name="T3" fmla="*/ 71 h 71"/>
                  <a:gd name="T4" fmla="*/ 0 w 95"/>
                  <a:gd name="T5" fmla="*/ 2 h 71"/>
                  <a:gd name="T6" fmla="*/ 11 w 95"/>
                  <a:gd name="T7" fmla="*/ 2 h 71"/>
                  <a:gd name="T8" fmla="*/ 11 w 95"/>
                  <a:gd name="T9" fmla="*/ 58 h 71"/>
                  <a:gd name="T10" fmla="*/ 40 w 95"/>
                  <a:gd name="T11" fmla="*/ 58 h 71"/>
                  <a:gd name="T12" fmla="*/ 40 w 95"/>
                  <a:gd name="T13" fmla="*/ 6 h 71"/>
                  <a:gd name="T14" fmla="*/ 51 w 95"/>
                  <a:gd name="T15" fmla="*/ 6 h 71"/>
                  <a:gd name="T16" fmla="*/ 51 w 95"/>
                  <a:gd name="T17" fmla="*/ 58 h 71"/>
                  <a:gd name="T18" fmla="*/ 83 w 95"/>
                  <a:gd name="T19" fmla="*/ 58 h 71"/>
                  <a:gd name="T20" fmla="*/ 83 w 95"/>
                  <a:gd name="T21" fmla="*/ 0 h 71"/>
                  <a:gd name="T22" fmla="*/ 95 w 95"/>
                  <a:gd name="T23" fmla="*/ 0 h 71"/>
                  <a:gd name="T24" fmla="*/ 95 w 95"/>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71">
                    <a:moveTo>
                      <a:pt x="95" y="71"/>
                    </a:moveTo>
                    <a:lnTo>
                      <a:pt x="0" y="71"/>
                    </a:lnTo>
                    <a:lnTo>
                      <a:pt x="0" y="2"/>
                    </a:lnTo>
                    <a:lnTo>
                      <a:pt x="11" y="2"/>
                    </a:lnTo>
                    <a:lnTo>
                      <a:pt x="11" y="58"/>
                    </a:lnTo>
                    <a:lnTo>
                      <a:pt x="40" y="58"/>
                    </a:lnTo>
                    <a:lnTo>
                      <a:pt x="40" y="6"/>
                    </a:lnTo>
                    <a:lnTo>
                      <a:pt x="51" y="6"/>
                    </a:lnTo>
                    <a:lnTo>
                      <a:pt x="51" y="58"/>
                    </a:lnTo>
                    <a:lnTo>
                      <a:pt x="83" y="58"/>
                    </a:lnTo>
                    <a:lnTo>
                      <a:pt x="83" y="0"/>
                    </a:lnTo>
                    <a:lnTo>
                      <a:pt x="95" y="0"/>
                    </a:lnTo>
                    <a:lnTo>
                      <a:pt x="95"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768"/>
              <p:cNvSpPr>
                <a:spLocks/>
              </p:cNvSpPr>
              <p:nvPr/>
            </p:nvSpPr>
            <p:spPr bwMode="auto">
              <a:xfrm>
                <a:off x="3664" y="1658"/>
                <a:ext cx="22" cy="15"/>
              </a:xfrm>
              <a:custGeom>
                <a:avLst/>
                <a:gdLst>
                  <a:gd name="T0" fmla="*/ 95 w 95"/>
                  <a:gd name="T1" fmla="*/ 64 h 64"/>
                  <a:gd name="T2" fmla="*/ 0 w 95"/>
                  <a:gd name="T3" fmla="*/ 64 h 64"/>
                  <a:gd name="T4" fmla="*/ 0 w 95"/>
                  <a:gd name="T5" fmla="*/ 0 h 64"/>
                  <a:gd name="T6" fmla="*/ 11 w 95"/>
                  <a:gd name="T7" fmla="*/ 0 h 64"/>
                  <a:gd name="T8" fmla="*/ 11 w 95"/>
                  <a:gd name="T9" fmla="*/ 51 h 64"/>
                  <a:gd name="T10" fmla="*/ 40 w 95"/>
                  <a:gd name="T11" fmla="*/ 51 h 64"/>
                  <a:gd name="T12" fmla="*/ 40 w 95"/>
                  <a:gd name="T13" fmla="*/ 7 h 64"/>
                  <a:gd name="T14" fmla="*/ 52 w 95"/>
                  <a:gd name="T15" fmla="*/ 7 h 64"/>
                  <a:gd name="T16" fmla="*/ 52 w 95"/>
                  <a:gd name="T17" fmla="*/ 51 h 64"/>
                  <a:gd name="T18" fmla="*/ 95 w 95"/>
                  <a:gd name="T19" fmla="*/ 51 h 64"/>
                  <a:gd name="T20" fmla="*/ 95 w 95"/>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64">
                    <a:moveTo>
                      <a:pt x="95" y="64"/>
                    </a:moveTo>
                    <a:lnTo>
                      <a:pt x="0" y="64"/>
                    </a:lnTo>
                    <a:lnTo>
                      <a:pt x="0" y="0"/>
                    </a:lnTo>
                    <a:lnTo>
                      <a:pt x="11" y="0"/>
                    </a:lnTo>
                    <a:lnTo>
                      <a:pt x="11" y="51"/>
                    </a:lnTo>
                    <a:lnTo>
                      <a:pt x="40" y="51"/>
                    </a:lnTo>
                    <a:lnTo>
                      <a:pt x="40" y="7"/>
                    </a:lnTo>
                    <a:lnTo>
                      <a:pt x="52" y="7"/>
                    </a:lnTo>
                    <a:lnTo>
                      <a:pt x="52" y="51"/>
                    </a:lnTo>
                    <a:lnTo>
                      <a:pt x="95" y="51"/>
                    </a:lnTo>
                    <a:lnTo>
                      <a:pt x="95"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769"/>
              <p:cNvSpPr>
                <a:spLocks/>
              </p:cNvSpPr>
              <p:nvPr/>
            </p:nvSpPr>
            <p:spPr bwMode="auto">
              <a:xfrm>
                <a:off x="4524" y="2047"/>
                <a:ext cx="8" cy="24"/>
              </a:xfrm>
              <a:custGeom>
                <a:avLst/>
                <a:gdLst>
                  <a:gd name="T0" fmla="*/ 39 w 39"/>
                  <a:gd name="T1" fmla="*/ 106 h 106"/>
                  <a:gd name="T2" fmla="*/ 26 w 39"/>
                  <a:gd name="T3" fmla="*/ 106 h 106"/>
                  <a:gd name="T4" fmla="*/ 26 w 39"/>
                  <a:gd name="T5" fmla="*/ 24 h 106"/>
                  <a:gd name="T6" fmla="*/ 13 w 39"/>
                  <a:gd name="T7" fmla="*/ 32 h 106"/>
                  <a:gd name="T8" fmla="*/ 0 w 39"/>
                  <a:gd name="T9" fmla="*/ 39 h 106"/>
                  <a:gd name="T10" fmla="*/ 0 w 39"/>
                  <a:gd name="T11" fmla="*/ 27 h 106"/>
                  <a:gd name="T12" fmla="*/ 19 w 39"/>
                  <a:gd name="T13" fmla="*/ 14 h 106"/>
                  <a:gd name="T14" fmla="*/ 30 w 39"/>
                  <a:gd name="T15" fmla="*/ 0 h 106"/>
                  <a:gd name="T16" fmla="*/ 39 w 39"/>
                  <a:gd name="T17" fmla="*/ 0 h 106"/>
                  <a:gd name="T18" fmla="*/ 39 w 39"/>
                  <a:gd name="T1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06">
                    <a:moveTo>
                      <a:pt x="39" y="106"/>
                    </a:moveTo>
                    <a:lnTo>
                      <a:pt x="26" y="106"/>
                    </a:lnTo>
                    <a:lnTo>
                      <a:pt x="26" y="24"/>
                    </a:lnTo>
                    <a:cubicBezTo>
                      <a:pt x="22" y="27"/>
                      <a:pt x="18" y="30"/>
                      <a:pt x="13" y="32"/>
                    </a:cubicBezTo>
                    <a:cubicBezTo>
                      <a:pt x="8" y="35"/>
                      <a:pt x="4" y="38"/>
                      <a:pt x="0" y="39"/>
                    </a:cubicBezTo>
                    <a:lnTo>
                      <a:pt x="0" y="27"/>
                    </a:lnTo>
                    <a:cubicBezTo>
                      <a:pt x="7" y="23"/>
                      <a:pt x="13" y="19"/>
                      <a:pt x="19" y="14"/>
                    </a:cubicBezTo>
                    <a:cubicBezTo>
                      <a:pt x="24" y="9"/>
                      <a:pt x="28" y="5"/>
                      <a:pt x="30" y="0"/>
                    </a:cubicBezTo>
                    <a:lnTo>
                      <a:pt x="39" y="0"/>
                    </a:lnTo>
                    <a:lnTo>
                      <a:pt x="39"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770"/>
              <p:cNvSpPr>
                <a:spLocks/>
              </p:cNvSpPr>
              <p:nvPr/>
            </p:nvSpPr>
            <p:spPr bwMode="auto">
              <a:xfrm>
                <a:off x="3724" y="1694"/>
                <a:ext cx="22"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1 h 87"/>
                  <a:gd name="T16" fmla="*/ 49 w 98"/>
                  <a:gd name="T17" fmla="*/ 87 h 87"/>
                  <a:gd name="T18" fmla="*/ 23 w 98"/>
                  <a:gd name="T19" fmla="*/ 81 h 87"/>
                  <a:gd name="T20" fmla="*/ 6 w 98"/>
                  <a:gd name="T21" fmla="*/ 65 h 87"/>
                  <a:gd name="T22" fmla="*/ 0 w 98"/>
                  <a:gd name="T23" fmla="*/ 40 h 87"/>
                  <a:gd name="T24" fmla="*/ 3 w 98"/>
                  <a:gd name="T25" fmla="*/ 21 h 87"/>
                  <a:gd name="T26" fmla="*/ 12 w 98"/>
                  <a:gd name="T27" fmla="*/ 8 h 87"/>
                  <a:gd name="T28" fmla="*/ 28 w 98"/>
                  <a:gd name="T29" fmla="*/ 1 h 87"/>
                  <a:gd name="T30" fmla="*/ 31 w 98"/>
                  <a:gd name="T31" fmla="*/ 12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4 h 87"/>
                  <a:gd name="T46" fmla="*/ 70 w 98"/>
                  <a:gd name="T47" fmla="*/ 70 h 87"/>
                  <a:gd name="T48" fmla="*/ 82 w 98"/>
                  <a:gd name="T49" fmla="*/ 57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7" y="25"/>
                      <a:pt x="98" y="32"/>
                      <a:pt x="98" y="39"/>
                    </a:cubicBezTo>
                    <a:cubicBezTo>
                      <a:pt x="98" y="48"/>
                      <a:pt x="96" y="57"/>
                      <a:pt x="92" y="64"/>
                    </a:cubicBezTo>
                    <a:cubicBezTo>
                      <a:pt x="88" y="72"/>
                      <a:pt x="82" y="77"/>
                      <a:pt x="74" y="81"/>
                    </a:cubicBezTo>
                    <a:cubicBezTo>
                      <a:pt x="67" y="85"/>
                      <a:pt x="59" y="87"/>
                      <a:pt x="49" y="87"/>
                    </a:cubicBezTo>
                    <a:cubicBezTo>
                      <a:pt x="40" y="87"/>
                      <a:pt x="31" y="85"/>
                      <a:pt x="23" y="81"/>
                    </a:cubicBezTo>
                    <a:cubicBezTo>
                      <a:pt x="15" y="78"/>
                      <a:pt x="10" y="72"/>
                      <a:pt x="6" y="65"/>
                    </a:cubicBezTo>
                    <a:cubicBezTo>
                      <a:pt x="2" y="58"/>
                      <a:pt x="0" y="49"/>
                      <a:pt x="0" y="40"/>
                    </a:cubicBezTo>
                    <a:cubicBezTo>
                      <a:pt x="0" y="33"/>
                      <a:pt x="1" y="27"/>
                      <a:pt x="3" y="21"/>
                    </a:cubicBezTo>
                    <a:cubicBezTo>
                      <a:pt x="5" y="16"/>
                      <a:pt x="8" y="11"/>
                      <a:pt x="12" y="8"/>
                    </a:cubicBezTo>
                    <a:cubicBezTo>
                      <a:pt x="16" y="5"/>
                      <a:pt x="22" y="3"/>
                      <a:pt x="28" y="1"/>
                    </a:cubicBezTo>
                    <a:lnTo>
                      <a:pt x="31" y="12"/>
                    </a:lnTo>
                    <a:cubicBezTo>
                      <a:pt x="26" y="14"/>
                      <a:pt x="22" y="16"/>
                      <a:pt x="20" y="18"/>
                    </a:cubicBezTo>
                    <a:cubicBezTo>
                      <a:pt x="17" y="20"/>
                      <a:pt x="15" y="23"/>
                      <a:pt x="13" y="27"/>
                    </a:cubicBezTo>
                    <a:cubicBezTo>
                      <a:pt x="11" y="31"/>
                      <a:pt x="11" y="35"/>
                      <a:pt x="11" y="40"/>
                    </a:cubicBezTo>
                    <a:cubicBezTo>
                      <a:pt x="11" y="45"/>
                      <a:pt x="11" y="50"/>
                      <a:pt x="13" y="55"/>
                    </a:cubicBezTo>
                    <a:cubicBezTo>
                      <a:pt x="15" y="59"/>
                      <a:pt x="17" y="62"/>
                      <a:pt x="20" y="65"/>
                    </a:cubicBezTo>
                    <a:cubicBezTo>
                      <a:pt x="23" y="67"/>
                      <a:pt x="26" y="69"/>
                      <a:pt x="29" y="71"/>
                    </a:cubicBezTo>
                    <a:cubicBezTo>
                      <a:pt x="35" y="73"/>
                      <a:pt x="42" y="74"/>
                      <a:pt x="48" y="74"/>
                    </a:cubicBezTo>
                    <a:cubicBezTo>
                      <a:pt x="57" y="74"/>
                      <a:pt x="64" y="73"/>
                      <a:pt x="70" y="70"/>
                    </a:cubicBezTo>
                    <a:cubicBezTo>
                      <a:pt x="75" y="67"/>
                      <a:pt x="80" y="63"/>
                      <a:pt x="82" y="57"/>
                    </a:cubicBezTo>
                    <a:cubicBezTo>
                      <a:pt x="85" y="52"/>
                      <a:pt x="86" y="46"/>
                      <a:pt x="86" y="40"/>
                    </a:cubicBezTo>
                    <a:cubicBezTo>
                      <a:pt x="86" y="34"/>
                      <a:pt x="85" y="29"/>
                      <a:pt x="83" y="24"/>
                    </a:cubicBezTo>
                    <a:cubicBezTo>
                      <a:pt x="81" y="18"/>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771"/>
              <p:cNvSpPr>
                <a:spLocks/>
              </p:cNvSpPr>
              <p:nvPr/>
            </p:nvSpPr>
            <p:spPr bwMode="auto">
              <a:xfrm>
                <a:off x="3724" y="1673"/>
                <a:ext cx="22" cy="17"/>
              </a:xfrm>
              <a:custGeom>
                <a:avLst/>
                <a:gdLst>
                  <a:gd name="T0" fmla="*/ 95 w 95"/>
                  <a:gd name="T1" fmla="*/ 74 h 74"/>
                  <a:gd name="T2" fmla="*/ 0 w 95"/>
                  <a:gd name="T3" fmla="*/ 74 h 74"/>
                  <a:gd name="T4" fmla="*/ 0 w 95"/>
                  <a:gd name="T5" fmla="*/ 61 h 74"/>
                  <a:gd name="T6" fmla="*/ 75 w 95"/>
                  <a:gd name="T7" fmla="*/ 12 h 74"/>
                  <a:gd name="T8" fmla="*/ 0 w 95"/>
                  <a:gd name="T9" fmla="*/ 12 h 74"/>
                  <a:gd name="T10" fmla="*/ 0 w 95"/>
                  <a:gd name="T11" fmla="*/ 0 h 74"/>
                  <a:gd name="T12" fmla="*/ 95 w 95"/>
                  <a:gd name="T13" fmla="*/ 0 h 74"/>
                  <a:gd name="T14" fmla="*/ 95 w 95"/>
                  <a:gd name="T15" fmla="*/ 13 h 74"/>
                  <a:gd name="T16" fmla="*/ 21 w 95"/>
                  <a:gd name="T17" fmla="*/ 62 h 74"/>
                  <a:gd name="T18" fmla="*/ 95 w 95"/>
                  <a:gd name="T19" fmla="*/ 62 h 74"/>
                  <a:gd name="T20" fmla="*/ 95 w 95"/>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4">
                    <a:moveTo>
                      <a:pt x="95" y="74"/>
                    </a:moveTo>
                    <a:lnTo>
                      <a:pt x="0" y="74"/>
                    </a:lnTo>
                    <a:lnTo>
                      <a:pt x="0" y="61"/>
                    </a:lnTo>
                    <a:lnTo>
                      <a:pt x="75" y="12"/>
                    </a:lnTo>
                    <a:lnTo>
                      <a:pt x="0" y="12"/>
                    </a:lnTo>
                    <a:lnTo>
                      <a:pt x="0" y="0"/>
                    </a:lnTo>
                    <a:lnTo>
                      <a:pt x="95" y="0"/>
                    </a:lnTo>
                    <a:lnTo>
                      <a:pt x="95" y="13"/>
                    </a:lnTo>
                    <a:lnTo>
                      <a:pt x="21" y="62"/>
                    </a:lnTo>
                    <a:lnTo>
                      <a:pt x="95" y="62"/>
                    </a:lnTo>
                    <a:lnTo>
                      <a:pt x="95"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772"/>
              <p:cNvSpPr>
                <a:spLocks noEditPoints="1"/>
              </p:cNvSpPr>
              <p:nvPr/>
            </p:nvSpPr>
            <p:spPr bwMode="auto">
              <a:xfrm>
                <a:off x="3724" y="1650"/>
                <a:ext cx="22" cy="18"/>
              </a:xfrm>
              <a:custGeom>
                <a:avLst/>
                <a:gdLst>
                  <a:gd name="T0" fmla="*/ 95 w 95"/>
                  <a:gd name="T1" fmla="*/ 79 h 79"/>
                  <a:gd name="T2" fmla="*/ 0 w 95"/>
                  <a:gd name="T3" fmla="*/ 79 h 79"/>
                  <a:gd name="T4" fmla="*/ 0 w 95"/>
                  <a:gd name="T5" fmla="*/ 46 h 79"/>
                  <a:gd name="T6" fmla="*/ 2 w 95"/>
                  <a:gd name="T7" fmla="*/ 29 h 79"/>
                  <a:gd name="T8" fmla="*/ 9 w 95"/>
                  <a:gd name="T9" fmla="*/ 15 h 79"/>
                  <a:gd name="T10" fmla="*/ 25 w 95"/>
                  <a:gd name="T11" fmla="*/ 4 h 79"/>
                  <a:gd name="T12" fmla="*/ 47 w 95"/>
                  <a:gd name="T13" fmla="*/ 0 h 79"/>
                  <a:gd name="T14" fmla="*/ 66 w 95"/>
                  <a:gd name="T15" fmla="*/ 3 h 79"/>
                  <a:gd name="T16" fmla="*/ 80 w 95"/>
                  <a:gd name="T17" fmla="*/ 9 h 79"/>
                  <a:gd name="T18" fmla="*/ 89 w 95"/>
                  <a:gd name="T19" fmla="*/ 18 h 79"/>
                  <a:gd name="T20" fmla="*/ 94 w 95"/>
                  <a:gd name="T21" fmla="*/ 29 h 79"/>
                  <a:gd name="T22" fmla="*/ 95 w 95"/>
                  <a:gd name="T23" fmla="*/ 44 h 79"/>
                  <a:gd name="T24" fmla="*/ 95 w 95"/>
                  <a:gd name="T25" fmla="*/ 79 h 79"/>
                  <a:gd name="T26" fmla="*/ 84 w 95"/>
                  <a:gd name="T27" fmla="*/ 66 h 79"/>
                  <a:gd name="T28" fmla="*/ 84 w 95"/>
                  <a:gd name="T29" fmla="*/ 46 h 79"/>
                  <a:gd name="T30" fmla="*/ 82 w 95"/>
                  <a:gd name="T31" fmla="*/ 31 h 79"/>
                  <a:gd name="T32" fmla="*/ 77 w 95"/>
                  <a:gd name="T33" fmla="*/ 23 h 79"/>
                  <a:gd name="T34" fmla="*/ 65 w 95"/>
                  <a:gd name="T35" fmla="*/ 16 h 79"/>
                  <a:gd name="T36" fmla="*/ 47 w 95"/>
                  <a:gd name="T37" fmla="*/ 13 h 79"/>
                  <a:gd name="T38" fmla="*/ 24 w 95"/>
                  <a:gd name="T39" fmla="*/ 18 h 79"/>
                  <a:gd name="T40" fmla="*/ 14 w 95"/>
                  <a:gd name="T41" fmla="*/ 30 h 79"/>
                  <a:gd name="T42" fmla="*/ 12 w 95"/>
                  <a:gd name="T43" fmla="*/ 46 h 79"/>
                  <a:gd name="T44" fmla="*/ 12 w 95"/>
                  <a:gd name="T45" fmla="*/ 66 h 79"/>
                  <a:gd name="T46" fmla="*/ 84 w 95"/>
                  <a:gd name="T47"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9">
                    <a:moveTo>
                      <a:pt x="95" y="79"/>
                    </a:moveTo>
                    <a:lnTo>
                      <a:pt x="0" y="79"/>
                    </a:lnTo>
                    <a:lnTo>
                      <a:pt x="0" y="46"/>
                    </a:lnTo>
                    <a:cubicBezTo>
                      <a:pt x="0" y="39"/>
                      <a:pt x="1" y="33"/>
                      <a:pt x="2" y="29"/>
                    </a:cubicBezTo>
                    <a:cubicBezTo>
                      <a:pt x="3" y="24"/>
                      <a:pt x="5" y="19"/>
                      <a:pt x="9" y="15"/>
                    </a:cubicBezTo>
                    <a:cubicBezTo>
                      <a:pt x="13" y="10"/>
                      <a:pt x="18" y="6"/>
                      <a:pt x="25" y="4"/>
                    </a:cubicBezTo>
                    <a:cubicBezTo>
                      <a:pt x="31" y="2"/>
                      <a:pt x="39" y="0"/>
                      <a:pt x="47" y="0"/>
                    </a:cubicBezTo>
                    <a:cubicBezTo>
                      <a:pt x="54" y="0"/>
                      <a:pt x="61" y="1"/>
                      <a:pt x="66" y="3"/>
                    </a:cubicBezTo>
                    <a:cubicBezTo>
                      <a:pt x="72" y="4"/>
                      <a:pt x="77" y="7"/>
                      <a:pt x="80" y="9"/>
                    </a:cubicBezTo>
                    <a:cubicBezTo>
                      <a:pt x="84" y="12"/>
                      <a:pt x="87" y="15"/>
                      <a:pt x="89" y="18"/>
                    </a:cubicBezTo>
                    <a:cubicBezTo>
                      <a:pt x="91" y="21"/>
                      <a:pt x="92" y="25"/>
                      <a:pt x="94" y="29"/>
                    </a:cubicBezTo>
                    <a:cubicBezTo>
                      <a:pt x="95" y="34"/>
                      <a:pt x="95" y="39"/>
                      <a:pt x="95" y="44"/>
                    </a:cubicBezTo>
                    <a:lnTo>
                      <a:pt x="95" y="79"/>
                    </a:lnTo>
                    <a:close/>
                    <a:moveTo>
                      <a:pt x="84" y="66"/>
                    </a:moveTo>
                    <a:lnTo>
                      <a:pt x="84" y="46"/>
                    </a:lnTo>
                    <a:cubicBezTo>
                      <a:pt x="84" y="40"/>
                      <a:pt x="83" y="35"/>
                      <a:pt x="82" y="31"/>
                    </a:cubicBezTo>
                    <a:cubicBezTo>
                      <a:pt x="81" y="28"/>
                      <a:pt x="79" y="25"/>
                      <a:pt x="77" y="23"/>
                    </a:cubicBezTo>
                    <a:cubicBezTo>
                      <a:pt x="74" y="20"/>
                      <a:pt x="70" y="17"/>
                      <a:pt x="65" y="16"/>
                    </a:cubicBezTo>
                    <a:cubicBezTo>
                      <a:pt x="60" y="14"/>
                      <a:pt x="54" y="13"/>
                      <a:pt x="47" y="13"/>
                    </a:cubicBezTo>
                    <a:cubicBezTo>
                      <a:pt x="37" y="13"/>
                      <a:pt x="30" y="15"/>
                      <a:pt x="24" y="18"/>
                    </a:cubicBezTo>
                    <a:cubicBezTo>
                      <a:pt x="19" y="21"/>
                      <a:pt x="15" y="25"/>
                      <a:pt x="14" y="30"/>
                    </a:cubicBezTo>
                    <a:cubicBezTo>
                      <a:pt x="12" y="33"/>
                      <a:pt x="12" y="39"/>
                      <a:pt x="12" y="46"/>
                    </a:cubicBezTo>
                    <a:lnTo>
                      <a:pt x="12" y="66"/>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773"/>
              <p:cNvSpPr>
                <a:spLocks/>
              </p:cNvSpPr>
              <p:nvPr/>
            </p:nvSpPr>
            <p:spPr bwMode="auto">
              <a:xfrm>
                <a:off x="3667" y="1922"/>
                <a:ext cx="22" cy="27"/>
              </a:xfrm>
              <a:custGeom>
                <a:avLst/>
                <a:gdLst>
                  <a:gd name="T0" fmla="*/ 39 w 94"/>
                  <a:gd name="T1" fmla="*/ 118 h 118"/>
                  <a:gd name="T2" fmla="*/ 39 w 94"/>
                  <a:gd name="T3" fmla="*/ 14 h 118"/>
                  <a:gd name="T4" fmla="*/ 0 w 94"/>
                  <a:gd name="T5" fmla="*/ 14 h 118"/>
                  <a:gd name="T6" fmla="*/ 0 w 94"/>
                  <a:gd name="T7" fmla="*/ 0 h 118"/>
                  <a:gd name="T8" fmla="*/ 94 w 94"/>
                  <a:gd name="T9" fmla="*/ 0 h 118"/>
                  <a:gd name="T10" fmla="*/ 94 w 94"/>
                  <a:gd name="T11" fmla="*/ 14 h 118"/>
                  <a:gd name="T12" fmla="*/ 55 w 94"/>
                  <a:gd name="T13" fmla="*/ 14 h 118"/>
                  <a:gd name="T14" fmla="*/ 55 w 94"/>
                  <a:gd name="T15" fmla="*/ 118 h 118"/>
                  <a:gd name="T16" fmla="*/ 39 w 94"/>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8">
                    <a:moveTo>
                      <a:pt x="39" y="118"/>
                    </a:moveTo>
                    <a:lnTo>
                      <a:pt x="39" y="14"/>
                    </a:lnTo>
                    <a:lnTo>
                      <a:pt x="0" y="14"/>
                    </a:lnTo>
                    <a:lnTo>
                      <a:pt x="0" y="0"/>
                    </a:lnTo>
                    <a:lnTo>
                      <a:pt x="94" y="0"/>
                    </a:lnTo>
                    <a:lnTo>
                      <a:pt x="94" y="14"/>
                    </a:lnTo>
                    <a:lnTo>
                      <a:pt x="55" y="14"/>
                    </a:lnTo>
                    <a:lnTo>
                      <a:pt x="55" y="118"/>
                    </a:lnTo>
                    <a:lnTo>
                      <a:pt x="39"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774"/>
              <p:cNvSpPr>
                <a:spLocks/>
              </p:cNvSpPr>
              <p:nvPr/>
            </p:nvSpPr>
            <p:spPr bwMode="auto">
              <a:xfrm>
                <a:off x="3689" y="1922"/>
                <a:ext cx="25" cy="27"/>
              </a:xfrm>
              <a:custGeom>
                <a:avLst/>
                <a:gdLst>
                  <a:gd name="T0" fmla="*/ 0 w 108"/>
                  <a:gd name="T1" fmla="*/ 118 h 118"/>
                  <a:gd name="T2" fmla="*/ 46 w 108"/>
                  <a:gd name="T3" fmla="*/ 56 h 118"/>
                  <a:gd name="T4" fmla="*/ 6 w 108"/>
                  <a:gd name="T5" fmla="*/ 0 h 118"/>
                  <a:gd name="T6" fmla="*/ 24 w 108"/>
                  <a:gd name="T7" fmla="*/ 0 h 118"/>
                  <a:gd name="T8" fmla="*/ 46 w 108"/>
                  <a:gd name="T9" fmla="*/ 30 h 118"/>
                  <a:gd name="T10" fmla="*/ 55 w 108"/>
                  <a:gd name="T11" fmla="*/ 44 h 118"/>
                  <a:gd name="T12" fmla="*/ 64 w 108"/>
                  <a:gd name="T13" fmla="*/ 31 h 118"/>
                  <a:gd name="T14" fmla="*/ 88 w 108"/>
                  <a:gd name="T15" fmla="*/ 0 h 118"/>
                  <a:gd name="T16" fmla="*/ 105 w 108"/>
                  <a:gd name="T17" fmla="*/ 0 h 118"/>
                  <a:gd name="T18" fmla="*/ 64 w 108"/>
                  <a:gd name="T19" fmla="*/ 55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6"/>
                    </a:lnTo>
                    <a:lnTo>
                      <a:pt x="6" y="0"/>
                    </a:lnTo>
                    <a:lnTo>
                      <a:pt x="24" y="0"/>
                    </a:lnTo>
                    <a:lnTo>
                      <a:pt x="46" y="30"/>
                    </a:lnTo>
                    <a:cubicBezTo>
                      <a:pt x="50" y="36"/>
                      <a:pt x="53" y="41"/>
                      <a:pt x="55" y="44"/>
                    </a:cubicBezTo>
                    <a:cubicBezTo>
                      <a:pt x="58" y="40"/>
                      <a:pt x="61" y="36"/>
                      <a:pt x="64" y="31"/>
                    </a:cubicBezTo>
                    <a:lnTo>
                      <a:pt x="88" y="0"/>
                    </a:lnTo>
                    <a:lnTo>
                      <a:pt x="105" y="0"/>
                    </a:lnTo>
                    <a:lnTo>
                      <a:pt x="64" y="55"/>
                    </a:lnTo>
                    <a:lnTo>
                      <a:pt x="108" y="118"/>
                    </a:lnTo>
                    <a:lnTo>
                      <a:pt x="89" y="118"/>
                    </a:lnTo>
                    <a:lnTo>
                      <a:pt x="59" y="76"/>
                    </a:lnTo>
                    <a:cubicBezTo>
                      <a:pt x="58" y="73"/>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775"/>
              <p:cNvSpPr>
                <a:spLocks noEditPoints="1"/>
              </p:cNvSpPr>
              <p:nvPr/>
            </p:nvSpPr>
            <p:spPr bwMode="auto">
              <a:xfrm>
                <a:off x="3670" y="1977"/>
                <a:ext cx="24" cy="26"/>
              </a:xfrm>
              <a:custGeom>
                <a:avLst/>
                <a:gdLst>
                  <a:gd name="T0" fmla="*/ 0 w 104"/>
                  <a:gd name="T1" fmla="*/ 118 h 118"/>
                  <a:gd name="T2" fmla="*/ 0 w 104"/>
                  <a:gd name="T3" fmla="*/ 0 h 118"/>
                  <a:gd name="T4" fmla="*/ 53 w 104"/>
                  <a:gd name="T5" fmla="*/ 0 h 118"/>
                  <a:gd name="T6" fmla="*/ 77 w 104"/>
                  <a:gd name="T7" fmla="*/ 3 h 118"/>
                  <a:gd name="T8" fmla="*/ 90 w 104"/>
                  <a:gd name="T9" fmla="*/ 14 h 118"/>
                  <a:gd name="T10" fmla="*/ 95 w 104"/>
                  <a:gd name="T11" fmla="*/ 32 h 118"/>
                  <a:gd name="T12" fmla="*/ 86 w 104"/>
                  <a:gd name="T13" fmla="*/ 53 h 118"/>
                  <a:gd name="T14" fmla="*/ 61 w 104"/>
                  <a:gd name="T15" fmla="*/ 64 h 118"/>
                  <a:gd name="T16" fmla="*/ 71 w 104"/>
                  <a:gd name="T17" fmla="*/ 70 h 118"/>
                  <a:gd name="T18" fmla="*/ 84 w 104"/>
                  <a:gd name="T19" fmla="*/ 86 h 118"/>
                  <a:gd name="T20" fmla="*/ 104 w 104"/>
                  <a:gd name="T21" fmla="*/ 118 h 118"/>
                  <a:gd name="T22" fmla="*/ 85 w 104"/>
                  <a:gd name="T23" fmla="*/ 118 h 118"/>
                  <a:gd name="T24" fmla="*/ 69 w 104"/>
                  <a:gd name="T25" fmla="*/ 94 h 118"/>
                  <a:gd name="T26" fmla="*/ 58 w 104"/>
                  <a:gd name="T27" fmla="*/ 77 h 118"/>
                  <a:gd name="T28" fmla="*/ 50 w 104"/>
                  <a:gd name="T29" fmla="*/ 69 h 118"/>
                  <a:gd name="T30" fmla="*/ 43 w 104"/>
                  <a:gd name="T31" fmla="*/ 66 h 118"/>
                  <a:gd name="T32" fmla="*/ 34 w 104"/>
                  <a:gd name="T33" fmla="*/ 66 h 118"/>
                  <a:gd name="T34" fmla="*/ 16 w 104"/>
                  <a:gd name="T35" fmla="*/ 66 h 118"/>
                  <a:gd name="T36" fmla="*/ 16 w 104"/>
                  <a:gd name="T37" fmla="*/ 118 h 118"/>
                  <a:gd name="T38" fmla="*/ 0 w 104"/>
                  <a:gd name="T39" fmla="*/ 118 h 118"/>
                  <a:gd name="T40" fmla="*/ 16 w 104"/>
                  <a:gd name="T41" fmla="*/ 52 h 118"/>
                  <a:gd name="T42" fmla="*/ 49 w 104"/>
                  <a:gd name="T43" fmla="*/ 52 h 118"/>
                  <a:gd name="T44" fmla="*/ 66 w 104"/>
                  <a:gd name="T45" fmla="*/ 50 h 118"/>
                  <a:gd name="T46" fmla="*/ 75 w 104"/>
                  <a:gd name="T47" fmla="*/ 43 h 118"/>
                  <a:gd name="T48" fmla="*/ 79 w 104"/>
                  <a:gd name="T49" fmla="*/ 32 h 118"/>
                  <a:gd name="T50" fmla="*/ 72 w 104"/>
                  <a:gd name="T51" fmla="*/ 18 h 118"/>
                  <a:gd name="T52" fmla="*/ 53 w 104"/>
                  <a:gd name="T53" fmla="*/ 13 h 118"/>
                  <a:gd name="T54" fmla="*/ 16 w 104"/>
                  <a:gd name="T55" fmla="*/ 13 h 118"/>
                  <a:gd name="T56" fmla="*/ 16 w 104"/>
                  <a:gd name="T57"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118">
                    <a:moveTo>
                      <a:pt x="0" y="118"/>
                    </a:moveTo>
                    <a:lnTo>
                      <a:pt x="0" y="0"/>
                    </a:lnTo>
                    <a:lnTo>
                      <a:pt x="53" y="0"/>
                    </a:lnTo>
                    <a:cubicBezTo>
                      <a:pt x="63" y="0"/>
                      <a:pt x="71" y="1"/>
                      <a:pt x="77" y="3"/>
                    </a:cubicBezTo>
                    <a:cubicBezTo>
                      <a:pt x="82" y="5"/>
                      <a:pt x="86" y="9"/>
                      <a:pt x="90" y="14"/>
                    </a:cubicBezTo>
                    <a:cubicBezTo>
                      <a:pt x="93" y="20"/>
                      <a:pt x="95" y="26"/>
                      <a:pt x="95" y="32"/>
                    </a:cubicBezTo>
                    <a:cubicBezTo>
                      <a:pt x="95" y="41"/>
                      <a:pt x="92" y="48"/>
                      <a:pt x="86" y="53"/>
                    </a:cubicBezTo>
                    <a:cubicBezTo>
                      <a:pt x="81" y="59"/>
                      <a:pt x="73" y="63"/>
                      <a:pt x="61" y="64"/>
                    </a:cubicBezTo>
                    <a:cubicBezTo>
                      <a:pt x="65" y="66"/>
                      <a:pt x="69" y="68"/>
                      <a:pt x="71" y="70"/>
                    </a:cubicBezTo>
                    <a:cubicBezTo>
                      <a:pt x="75" y="74"/>
                      <a:pt x="80" y="80"/>
                      <a:pt x="84" y="86"/>
                    </a:cubicBezTo>
                    <a:lnTo>
                      <a:pt x="104" y="118"/>
                    </a:lnTo>
                    <a:lnTo>
                      <a:pt x="85" y="118"/>
                    </a:lnTo>
                    <a:lnTo>
                      <a:pt x="69" y="94"/>
                    </a:lnTo>
                    <a:cubicBezTo>
                      <a:pt x="64" y="86"/>
                      <a:pt x="61" y="81"/>
                      <a:pt x="58" y="77"/>
                    </a:cubicBezTo>
                    <a:cubicBezTo>
                      <a:pt x="55" y="73"/>
                      <a:pt x="52" y="71"/>
                      <a:pt x="50" y="69"/>
                    </a:cubicBezTo>
                    <a:cubicBezTo>
                      <a:pt x="47" y="68"/>
                      <a:pt x="45" y="67"/>
                      <a:pt x="43" y="66"/>
                    </a:cubicBezTo>
                    <a:cubicBezTo>
                      <a:pt x="41" y="66"/>
                      <a:pt x="38" y="66"/>
                      <a:pt x="34" y="66"/>
                    </a:cubicBezTo>
                    <a:lnTo>
                      <a:pt x="16" y="66"/>
                    </a:lnTo>
                    <a:lnTo>
                      <a:pt x="16" y="118"/>
                    </a:lnTo>
                    <a:lnTo>
                      <a:pt x="0" y="118"/>
                    </a:lnTo>
                    <a:close/>
                    <a:moveTo>
                      <a:pt x="16" y="52"/>
                    </a:moveTo>
                    <a:lnTo>
                      <a:pt x="49" y="52"/>
                    </a:lnTo>
                    <a:cubicBezTo>
                      <a:pt x="57" y="52"/>
                      <a:pt x="62" y="51"/>
                      <a:pt x="66" y="50"/>
                    </a:cubicBezTo>
                    <a:cubicBezTo>
                      <a:pt x="70" y="48"/>
                      <a:pt x="73" y="46"/>
                      <a:pt x="75" y="43"/>
                    </a:cubicBezTo>
                    <a:cubicBezTo>
                      <a:pt x="77" y="40"/>
                      <a:pt x="79" y="36"/>
                      <a:pt x="79" y="32"/>
                    </a:cubicBezTo>
                    <a:cubicBezTo>
                      <a:pt x="79" y="27"/>
                      <a:pt x="76" y="22"/>
                      <a:pt x="72" y="18"/>
                    </a:cubicBezTo>
                    <a:cubicBezTo>
                      <a:pt x="68" y="15"/>
                      <a:pt x="62" y="13"/>
                      <a:pt x="53" y="13"/>
                    </a:cubicBezTo>
                    <a:lnTo>
                      <a:pt x="16" y="13"/>
                    </a:lnTo>
                    <a:lnTo>
                      <a:pt x="16"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776"/>
              <p:cNvSpPr>
                <a:spLocks/>
              </p:cNvSpPr>
              <p:nvPr/>
            </p:nvSpPr>
            <p:spPr bwMode="auto">
              <a:xfrm>
                <a:off x="3694" y="1977"/>
                <a:ext cx="25" cy="26"/>
              </a:xfrm>
              <a:custGeom>
                <a:avLst/>
                <a:gdLst>
                  <a:gd name="T0" fmla="*/ 0 w 108"/>
                  <a:gd name="T1" fmla="*/ 118 h 118"/>
                  <a:gd name="T2" fmla="*/ 46 w 108"/>
                  <a:gd name="T3" fmla="*/ 57 h 118"/>
                  <a:gd name="T4" fmla="*/ 6 w 108"/>
                  <a:gd name="T5" fmla="*/ 0 h 118"/>
                  <a:gd name="T6" fmla="*/ 24 w 108"/>
                  <a:gd name="T7" fmla="*/ 0 h 118"/>
                  <a:gd name="T8" fmla="*/ 46 w 108"/>
                  <a:gd name="T9" fmla="*/ 30 h 118"/>
                  <a:gd name="T10" fmla="*/ 55 w 108"/>
                  <a:gd name="T11" fmla="*/ 45 h 118"/>
                  <a:gd name="T12" fmla="*/ 64 w 108"/>
                  <a:gd name="T13" fmla="*/ 31 h 118"/>
                  <a:gd name="T14" fmla="*/ 88 w 108"/>
                  <a:gd name="T15" fmla="*/ 0 h 118"/>
                  <a:gd name="T16" fmla="*/ 105 w 108"/>
                  <a:gd name="T17" fmla="*/ 0 h 118"/>
                  <a:gd name="T18" fmla="*/ 64 w 108"/>
                  <a:gd name="T19" fmla="*/ 56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7"/>
                    </a:lnTo>
                    <a:lnTo>
                      <a:pt x="6" y="0"/>
                    </a:lnTo>
                    <a:lnTo>
                      <a:pt x="24" y="0"/>
                    </a:lnTo>
                    <a:lnTo>
                      <a:pt x="46" y="30"/>
                    </a:lnTo>
                    <a:cubicBezTo>
                      <a:pt x="50" y="37"/>
                      <a:pt x="53" y="41"/>
                      <a:pt x="55" y="45"/>
                    </a:cubicBezTo>
                    <a:cubicBezTo>
                      <a:pt x="58" y="40"/>
                      <a:pt x="61" y="36"/>
                      <a:pt x="64" y="31"/>
                    </a:cubicBezTo>
                    <a:lnTo>
                      <a:pt x="88" y="0"/>
                    </a:lnTo>
                    <a:lnTo>
                      <a:pt x="105" y="0"/>
                    </a:lnTo>
                    <a:lnTo>
                      <a:pt x="64" y="56"/>
                    </a:lnTo>
                    <a:lnTo>
                      <a:pt x="108" y="118"/>
                    </a:lnTo>
                    <a:lnTo>
                      <a:pt x="89" y="118"/>
                    </a:lnTo>
                    <a:lnTo>
                      <a:pt x="59" y="76"/>
                    </a:lnTo>
                    <a:cubicBezTo>
                      <a:pt x="58" y="74"/>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777"/>
              <p:cNvSpPr>
                <a:spLocks noEditPoints="1"/>
              </p:cNvSpPr>
              <p:nvPr/>
            </p:nvSpPr>
            <p:spPr bwMode="auto">
              <a:xfrm>
                <a:off x="3869" y="264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7 w 84"/>
                  <a:gd name="T25" fmla="*/ 25 h 74"/>
                  <a:gd name="T26" fmla="*/ 55 w 84"/>
                  <a:gd name="T27" fmla="*/ 33 h 74"/>
                  <a:gd name="T28" fmla="*/ 50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6 w 84"/>
                  <a:gd name="T45" fmla="*/ 27 h 74"/>
                  <a:gd name="T46" fmla="*/ 31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1" y="24"/>
                      <a:pt x="2" y="20"/>
                    </a:cubicBezTo>
                    <a:cubicBezTo>
                      <a:pt x="4" y="16"/>
                      <a:pt x="6" y="13"/>
                      <a:pt x="10" y="10"/>
                    </a:cubicBezTo>
                    <a:cubicBezTo>
                      <a:pt x="14" y="8"/>
                      <a:pt x="18" y="7"/>
                      <a:pt x="23" y="7"/>
                    </a:cubicBezTo>
                    <a:cubicBezTo>
                      <a:pt x="29" y="7"/>
                      <a:pt x="34" y="9"/>
                      <a:pt x="38" y="13"/>
                    </a:cubicBezTo>
                    <a:cubicBezTo>
                      <a:pt x="42" y="16"/>
                      <a:pt x="45" y="22"/>
                      <a:pt x="46" y="31"/>
                    </a:cubicBezTo>
                    <a:cubicBezTo>
                      <a:pt x="47" y="28"/>
                      <a:pt x="49" y="25"/>
                      <a:pt x="50" y="24"/>
                    </a:cubicBezTo>
                    <a:cubicBezTo>
                      <a:pt x="53" y="21"/>
                      <a:pt x="57" y="17"/>
                      <a:pt x="61" y="15"/>
                    </a:cubicBezTo>
                    <a:lnTo>
                      <a:pt x="84" y="0"/>
                    </a:lnTo>
                    <a:lnTo>
                      <a:pt x="84"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4" y="63"/>
                    </a:lnTo>
                    <a:lnTo>
                      <a:pt x="84" y="74"/>
                    </a:lnTo>
                    <a:close/>
                    <a:moveTo>
                      <a:pt x="37" y="63"/>
                    </a:moveTo>
                    <a:lnTo>
                      <a:pt x="37" y="39"/>
                    </a:lnTo>
                    <a:cubicBezTo>
                      <a:pt x="37" y="34"/>
                      <a:pt x="37" y="30"/>
                      <a:pt x="36" y="27"/>
                    </a:cubicBezTo>
                    <a:cubicBezTo>
                      <a:pt x="35" y="24"/>
                      <a:pt x="33" y="22"/>
                      <a:pt x="31" y="21"/>
                    </a:cubicBezTo>
                    <a:cubicBezTo>
                      <a:pt x="28" y="19"/>
                      <a:pt x="26" y="18"/>
                      <a:pt x="23" y="18"/>
                    </a:cubicBezTo>
                    <a:cubicBezTo>
                      <a:pt x="19" y="18"/>
                      <a:pt x="16" y="20"/>
                      <a:pt x="13" y="23"/>
                    </a:cubicBezTo>
                    <a:cubicBezTo>
                      <a:pt x="11"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778"/>
              <p:cNvSpPr>
                <a:spLocks/>
              </p:cNvSpPr>
              <p:nvPr/>
            </p:nvSpPr>
            <p:spPr bwMode="auto">
              <a:xfrm>
                <a:off x="3869" y="2628"/>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779"/>
              <p:cNvSpPr>
                <a:spLocks/>
              </p:cNvSpPr>
              <p:nvPr/>
            </p:nvSpPr>
            <p:spPr bwMode="auto">
              <a:xfrm>
                <a:off x="3869" y="2610"/>
                <a:ext cx="20" cy="15"/>
              </a:xfrm>
              <a:custGeom>
                <a:avLst/>
                <a:gdLst>
                  <a:gd name="T0" fmla="*/ 58 w 87"/>
                  <a:gd name="T1" fmla="*/ 67 h 67"/>
                  <a:gd name="T2" fmla="*/ 57 w 87"/>
                  <a:gd name="T3" fmla="*/ 57 h 67"/>
                  <a:gd name="T4" fmla="*/ 68 w 87"/>
                  <a:gd name="T5" fmla="*/ 53 h 67"/>
                  <a:gd name="T6" fmla="*/ 74 w 87"/>
                  <a:gd name="T7" fmla="*/ 45 h 67"/>
                  <a:gd name="T8" fmla="*/ 77 w 87"/>
                  <a:gd name="T9" fmla="*/ 32 h 67"/>
                  <a:gd name="T10" fmla="*/ 75 w 87"/>
                  <a:gd name="T11" fmla="*/ 21 h 67"/>
                  <a:gd name="T12" fmla="*/ 70 w 87"/>
                  <a:gd name="T13" fmla="*/ 13 h 67"/>
                  <a:gd name="T14" fmla="*/ 62 w 87"/>
                  <a:gd name="T15" fmla="*/ 11 h 67"/>
                  <a:gd name="T16" fmla="*/ 56 w 87"/>
                  <a:gd name="T17" fmla="*/ 13 h 67"/>
                  <a:gd name="T18" fmla="*/ 51 w 87"/>
                  <a:gd name="T19" fmla="*/ 21 h 67"/>
                  <a:gd name="T20" fmla="*/ 46 w 87"/>
                  <a:gd name="T21" fmla="*/ 36 h 67"/>
                  <a:gd name="T22" fmla="*/ 41 w 87"/>
                  <a:gd name="T23" fmla="*/ 52 h 67"/>
                  <a:gd name="T24" fmla="*/ 33 w 87"/>
                  <a:gd name="T25" fmla="*/ 61 h 67"/>
                  <a:gd name="T26" fmla="*/ 23 w 87"/>
                  <a:gd name="T27" fmla="*/ 64 h 67"/>
                  <a:gd name="T28" fmla="*/ 11 w 87"/>
                  <a:gd name="T29" fmla="*/ 60 h 67"/>
                  <a:gd name="T30" fmla="*/ 2 w 87"/>
                  <a:gd name="T31" fmla="*/ 50 h 67"/>
                  <a:gd name="T32" fmla="*/ 0 w 87"/>
                  <a:gd name="T33" fmla="*/ 34 h 67"/>
                  <a:gd name="T34" fmla="*/ 3 w 87"/>
                  <a:gd name="T35" fmla="*/ 18 h 67"/>
                  <a:gd name="T36" fmla="*/ 12 w 87"/>
                  <a:gd name="T37" fmla="*/ 7 h 67"/>
                  <a:gd name="T38" fmla="*/ 25 w 87"/>
                  <a:gd name="T39" fmla="*/ 3 h 67"/>
                  <a:gd name="T40" fmla="*/ 26 w 87"/>
                  <a:gd name="T41" fmla="*/ 13 h 67"/>
                  <a:gd name="T42" fmla="*/ 14 w 87"/>
                  <a:gd name="T43" fmla="*/ 19 h 67"/>
                  <a:gd name="T44" fmla="*/ 9 w 87"/>
                  <a:gd name="T45" fmla="*/ 34 h 67"/>
                  <a:gd name="T46" fmla="*/ 13 w 87"/>
                  <a:gd name="T47" fmla="*/ 49 h 67"/>
                  <a:gd name="T48" fmla="*/ 22 w 87"/>
                  <a:gd name="T49" fmla="*/ 53 h 67"/>
                  <a:gd name="T50" fmla="*/ 30 w 87"/>
                  <a:gd name="T51" fmla="*/ 50 h 67"/>
                  <a:gd name="T52" fmla="*/ 36 w 87"/>
                  <a:gd name="T53" fmla="*/ 33 h 67"/>
                  <a:gd name="T54" fmla="*/ 41 w 87"/>
                  <a:gd name="T55" fmla="*/ 15 h 67"/>
                  <a:gd name="T56" fmla="*/ 50 w 87"/>
                  <a:gd name="T57" fmla="*/ 4 h 67"/>
                  <a:gd name="T58" fmla="*/ 62 w 87"/>
                  <a:gd name="T59" fmla="*/ 0 h 67"/>
                  <a:gd name="T60" fmla="*/ 74 w 87"/>
                  <a:gd name="T61" fmla="*/ 4 h 67"/>
                  <a:gd name="T62" fmla="*/ 84 w 87"/>
                  <a:gd name="T63" fmla="*/ 15 h 67"/>
                  <a:gd name="T64" fmla="*/ 87 w 87"/>
                  <a:gd name="T65" fmla="*/ 31 h 67"/>
                  <a:gd name="T66" fmla="*/ 83 w 87"/>
                  <a:gd name="T67" fmla="*/ 51 h 67"/>
                  <a:gd name="T68" fmla="*/ 73 w 87"/>
                  <a:gd name="T69" fmla="*/ 63 h 67"/>
                  <a:gd name="T70" fmla="*/ 58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8" y="67"/>
                    </a:moveTo>
                    <a:lnTo>
                      <a:pt x="57" y="57"/>
                    </a:lnTo>
                    <a:cubicBezTo>
                      <a:pt x="62" y="56"/>
                      <a:pt x="65" y="55"/>
                      <a:pt x="68" y="53"/>
                    </a:cubicBezTo>
                    <a:cubicBezTo>
                      <a:pt x="70" y="51"/>
                      <a:pt x="73" y="49"/>
                      <a:pt x="74" y="45"/>
                    </a:cubicBezTo>
                    <a:cubicBezTo>
                      <a:pt x="76" y="41"/>
                      <a:pt x="77" y="37"/>
                      <a:pt x="77" y="32"/>
                    </a:cubicBezTo>
                    <a:cubicBezTo>
                      <a:pt x="77" y="28"/>
                      <a:pt x="76" y="24"/>
                      <a:pt x="75" y="21"/>
                    </a:cubicBezTo>
                    <a:cubicBezTo>
                      <a:pt x="74" y="17"/>
                      <a:pt x="72" y="15"/>
                      <a:pt x="70" y="13"/>
                    </a:cubicBezTo>
                    <a:cubicBezTo>
                      <a:pt x="68" y="12"/>
                      <a:pt x="65" y="11"/>
                      <a:pt x="62" y="11"/>
                    </a:cubicBezTo>
                    <a:cubicBezTo>
                      <a:pt x="60" y="11"/>
                      <a:pt x="58" y="12"/>
                      <a:pt x="56" y="13"/>
                    </a:cubicBezTo>
                    <a:cubicBezTo>
                      <a:pt x="54" y="15"/>
                      <a:pt x="52" y="17"/>
                      <a:pt x="51" y="21"/>
                    </a:cubicBezTo>
                    <a:cubicBezTo>
                      <a:pt x="50" y="23"/>
                      <a:pt x="48" y="28"/>
                      <a:pt x="46" y="36"/>
                    </a:cubicBezTo>
                    <a:cubicBezTo>
                      <a:pt x="45" y="44"/>
                      <a:pt x="43" y="49"/>
                      <a:pt x="41" y="52"/>
                    </a:cubicBezTo>
                    <a:cubicBezTo>
                      <a:pt x="39" y="56"/>
                      <a:pt x="36" y="59"/>
                      <a:pt x="33" y="61"/>
                    </a:cubicBezTo>
                    <a:cubicBezTo>
                      <a:pt x="30" y="63"/>
                      <a:pt x="27" y="64"/>
                      <a:pt x="23" y="64"/>
                    </a:cubicBezTo>
                    <a:cubicBezTo>
                      <a:pt x="19" y="64"/>
                      <a:pt x="15" y="63"/>
                      <a:pt x="11" y="60"/>
                    </a:cubicBezTo>
                    <a:cubicBezTo>
                      <a:pt x="7" y="58"/>
                      <a:pt x="4" y="55"/>
                      <a:pt x="2" y="50"/>
                    </a:cubicBezTo>
                    <a:cubicBezTo>
                      <a:pt x="1" y="45"/>
                      <a:pt x="0" y="40"/>
                      <a:pt x="0" y="34"/>
                    </a:cubicBezTo>
                    <a:cubicBezTo>
                      <a:pt x="0" y="28"/>
                      <a:pt x="1" y="23"/>
                      <a:pt x="3" y="18"/>
                    </a:cubicBezTo>
                    <a:cubicBezTo>
                      <a:pt x="5" y="13"/>
                      <a:pt x="8" y="9"/>
                      <a:pt x="12" y="7"/>
                    </a:cubicBezTo>
                    <a:cubicBezTo>
                      <a:pt x="15" y="4"/>
                      <a:pt x="20" y="3"/>
                      <a:pt x="25" y="3"/>
                    </a:cubicBezTo>
                    <a:lnTo>
                      <a:pt x="26" y="13"/>
                    </a:lnTo>
                    <a:cubicBezTo>
                      <a:pt x="20" y="14"/>
                      <a:pt x="16" y="16"/>
                      <a:pt x="14" y="19"/>
                    </a:cubicBezTo>
                    <a:cubicBezTo>
                      <a:pt x="11" y="23"/>
                      <a:pt x="9" y="27"/>
                      <a:pt x="9" y="34"/>
                    </a:cubicBezTo>
                    <a:cubicBezTo>
                      <a:pt x="9" y="41"/>
                      <a:pt x="11" y="46"/>
                      <a:pt x="13" y="49"/>
                    </a:cubicBezTo>
                    <a:cubicBezTo>
                      <a:pt x="16" y="52"/>
                      <a:pt x="19" y="53"/>
                      <a:pt x="22" y="53"/>
                    </a:cubicBezTo>
                    <a:cubicBezTo>
                      <a:pt x="25" y="53"/>
                      <a:pt x="28" y="52"/>
                      <a:pt x="30" y="50"/>
                    </a:cubicBezTo>
                    <a:cubicBezTo>
                      <a:pt x="32" y="48"/>
                      <a:pt x="34" y="42"/>
                      <a:pt x="36" y="33"/>
                    </a:cubicBezTo>
                    <a:cubicBezTo>
                      <a:pt x="38" y="24"/>
                      <a:pt x="39" y="18"/>
                      <a:pt x="41" y="15"/>
                    </a:cubicBezTo>
                    <a:cubicBezTo>
                      <a:pt x="43" y="10"/>
                      <a:pt x="46" y="6"/>
                      <a:pt x="50" y="4"/>
                    </a:cubicBezTo>
                    <a:cubicBezTo>
                      <a:pt x="53" y="1"/>
                      <a:pt x="57" y="0"/>
                      <a:pt x="62" y="0"/>
                    </a:cubicBezTo>
                    <a:cubicBezTo>
                      <a:pt x="66" y="0"/>
                      <a:pt x="70" y="1"/>
                      <a:pt x="74" y="4"/>
                    </a:cubicBezTo>
                    <a:cubicBezTo>
                      <a:pt x="78" y="7"/>
                      <a:pt x="81" y="10"/>
                      <a:pt x="84" y="15"/>
                    </a:cubicBezTo>
                    <a:cubicBezTo>
                      <a:pt x="86" y="20"/>
                      <a:pt x="87" y="25"/>
                      <a:pt x="87" y="31"/>
                    </a:cubicBezTo>
                    <a:cubicBezTo>
                      <a:pt x="87" y="39"/>
                      <a:pt x="86" y="45"/>
                      <a:pt x="83" y="51"/>
                    </a:cubicBezTo>
                    <a:cubicBezTo>
                      <a:pt x="81" y="56"/>
                      <a:pt x="78" y="60"/>
                      <a:pt x="73" y="63"/>
                    </a:cubicBezTo>
                    <a:cubicBezTo>
                      <a:pt x="69" y="66"/>
                      <a:pt x="64" y="67"/>
                      <a:pt x="58"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780"/>
              <p:cNvSpPr>
                <a:spLocks/>
              </p:cNvSpPr>
              <p:nvPr/>
            </p:nvSpPr>
            <p:spPr bwMode="auto">
              <a:xfrm>
                <a:off x="3869" y="2592"/>
                <a:ext cx="19" cy="14"/>
              </a:xfrm>
              <a:custGeom>
                <a:avLst/>
                <a:gdLst>
                  <a:gd name="T0" fmla="*/ 84 w 84"/>
                  <a:gd name="T1" fmla="*/ 63 h 63"/>
                  <a:gd name="T2" fmla="*/ 0 w 84"/>
                  <a:gd name="T3" fmla="*/ 63 h 63"/>
                  <a:gd name="T4" fmla="*/ 0 w 84"/>
                  <a:gd name="T5" fmla="*/ 2 h 63"/>
                  <a:gd name="T6" fmla="*/ 10 w 84"/>
                  <a:gd name="T7" fmla="*/ 2 h 63"/>
                  <a:gd name="T8" fmla="*/ 10 w 84"/>
                  <a:gd name="T9" fmla="*/ 51 h 63"/>
                  <a:gd name="T10" fmla="*/ 36 w 84"/>
                  <a:gd name="T11" fmla="*/ 51 h 63"/>
                  <a:gd name="T12" fmla="*/ 36 w 84"/>
                  <a:gd name="T13" fmla="*/ 5 h 63"/>
                  <a:gd name="T14" fmla="*/ 46 w 84"/>
                  <a:gd name="T15" fmla="*/ 5 h 63"/>
                  <a:gd name="T16" fmla="*/ 46 w 84"/>
                  <a:gd name="T17" fmla="*/ 51 h 63"/>
                  <a:gd name="T18" fmla="*/ 74 w 84"/>
                  <a:gd name="T19" fmla="*/ 51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1"/>
                    </a:lnTo>
                    <a:lnTo>
                      <a:pt x="36" y="51"/>
                    </a:lnTo>
                    <a:lnTo>
                      <a:pt x="36" y="5"/>
                    </a:lnTo>
                    <a:lnTo>
                      <a:pt x="46" y="5"/>
                    </a:lnTo>
                    <a:lnTo>
                      <a:pt x="46" y="51"/>
                    </a:lnTo>
                    <a:lnTo>
                      <a:pt x="74" y="51"/>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781"/>
              <p:cNvSpPr>
                <a:spLocks/>
              </p:cNvSpPr>
              <p:nvPr/>
            </p:nvSpPr>
            <p:spPr bwMode="auto">
              <a:xfrm>
                <a:off x="3869" y="2575"/>
                <a:ext cx="19" cy="15"/>
              </a:xfrm>
              <a:custGeom>
                <a:avLst/>
                <a:gdLst>
                  <a:gd name="T0" fmla="*/ 84 w 84"/>
                  <a:gd name="T1" fmla="*/ 39 h 66"/>
                  <a:gd name="T2" fmla="*/ 10 w 84"/>
                  <a:gd name="T3" fmla="*/ 39 h 66"/>
                  <a:gd name="T4" fmla="*/ 10 w 84"/>
                  <a:gd name="T5" fmla="*/ 66 h 66"/>
                  <a:gd name="T6" fmla="*/ 0 w 84"/>
                  <a:gd name="T7" fmla="*/ 66 h 66"/>
                  <a:gd name="T8" fmla="*/ 0 w 84"/>
                  <a:gd name="T9" fmla="*/ 0 h 66"/>
                  <a:gd name="T10" fmla="*/ 10 w 84"/>
                  <a:gd name="T11" fmla="*/ 0 h 66"/>
                  <a:gd name="T12" fmla="*/ 10 w 84"/>
                  <a:gd name="T13" fmla="*/ 27 h 66"/>
                  <a:gd name="T14" fmla="*/ 84 w 84"/>
                  <a:gd name="T15" fmla="*/ 27 h 66"/>
                  <a:gd name="T16" fmla="*/ 84 w 84"/>
                  <a:gd name="T1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6">
                    <a:moveTo>
                      <a:pt x="84" y="39"/>
                    </a:moveTo>
                    <a:lnTo>
                      <a:pt x="10" y="39"/>
                    </a:lnTo>
                    <a:lnTo>
                      <a:pt x="10" y="66"/>
                    </a:lnTo>
                    <a:lnTo>
                      <a:pt x="0" y="66"/>
                    </a:lnTo>
                    <a:lnTo>
                      <a:pt x="0" y="0"/>
                    </a:lnTo>
                    <a:lnTo>
                      <a:pt x="10" y="0"/>
                    </a:lnTo>
                    <a:lnTo>
                      <a:pt x="10" y="27"/>
                    </a:lnTo>
                    <a:lnTo>
                      <a:pt x="84" y="27"/>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782"/>
              <p:cNvSpPr>
                <a:spLocks/>
              </p:cNvSpPr>
              <p:nvPr/>
            </p:nvSpPr>
            <p:spPr bwMode="auto">
              <a:xfrm>
                <a:off x="3933" y="2652"/>
                <a:ext cx="19" cy="13"/>
              </a:xfrm>
              <a:custGeom>
                <a:avLst/>
                <a:gdLst>
                  <a:gd name="T0" fmla="*/ 63 w 86"/>
                  <a:gd name="T1" fmla="*/ 55 h 55"/>
                  <a:gd name="T2" fmla="*/ 61 w 86"/>
                  <a:gd name="T3" fmla="*/ 45 h 55"/>
                  <a:gd name="T4" fmla="*/ 74 w 86"/>
                  <a:gd name="T5" fmla="*/ 39 h 55"/>
                  <a:gd name="T6" fmla="*/ 78 w 86"/>
                  <a:gd name="T7" fmla="*/ 28 h 55"/>
                  <a:gd name="T8" fmla="*/ 73 w 86"/>
                  <a:gd name="T9" fmla="*/ 16 h 55"/>
                  <a:gd name="T10" fmla="*/ 60 w 86"/>
                  <a:gd name="T11" fmla="*/ 11 h 55"/>
                  <a:gd name="T12" fmla="*/ 48 w 86"/>
                  <a:gd name="T13" fmla="*/ 16 h 55"/>
                  <a:gd name="T14" fmla="*/ 44 w 86"/>
                  <a:gd name="T15" fmla="*/ 27 h 55"/>
                  <a:gd name="T16" fmla="*/ 45 w 86"/>
                  <a:gd name="T17" fmla="*/ 35 h 55"/>
                  <a:gd name="T18" fmla="*/ 36 w 86"/>
                  <a:gd name="T19" fmla="*/ 34 h 55"/>
                  <a:gd name="T20" fmla="*/ 36 w 86"/>
                  <a:gd name="T21" fmla="*/ 32 h 55"/>
                  <a:gd name="T22" fmla="*/ 32 w 86"/>
                  <a:gd name="T23" fmla="*/ 20 h 55"/>
                  <a:gd name="T24" fmla="*/ 22 w 86"/>
                  <a:gd name="T25" fmla="*/ 15 h 55"/>
                  <a:gd name="T26" fmla="*/ 12 w 86"/>
                  <a:gd name="T27" fmla="*/ 19 h 55"/>
                  <a:gd name="T28" fmla="*/ 9 w 86"/>
                  <a:gd name="T29" fmla="*/ 29 h 55"/>
                  <a:gd name="T30" fmla="*/ 12 w 86"/>
                  <a:gd name="T31" fmla="*/ 39 h 55"/>
                  <a:gd name="T32" fmla="*/ 24 w 86"/>
                  <a:gd name="T33" fmla="*/ 44 h 55"/>
                  <a:gd name="T34" fmla="*/ 22 w 86"/>
                  <a:gd name="T35" fmla="*/ 54 h 55"/>
                  <a:gd name="T36" fmla="*/ 6 w 86"/>
                  <a:gd name="T37" fmla="*/ 46 h 55"/>
                  <a:gd name="T38" fmla="*/ 0 w 86"/>
                  <a:gd name="T39" fmla="*/ 29 h 55"/>
                  <a:gd name="T40" fmla="*/ 3 w 86"/>
                  <a:gd name="T41" fmla="*/ 16 h 55"/>
                  <a:gd name="T42" fmla="*/ 11 w 86"/>
                  <a:gd name="T43" fmla="*/ 7 h 55"/>
                  <a:gd name="T44" fmla="*/ 22 w 86"/>
                  <a:gd name="T45" fmla="*/ 4 h 55"/>
                  <a:gd name="T46" fmla="*/ 32 w 86"/>
                  <a:gd name="T47" fmla="*/ 7 h 55"/>
                  <a:gd name="T48" fmla="*/ 39 w 86"/>
                  <a:gd name="T49" fmla="*/ 16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4"/>
                      <a:pt x="71" y="42"/>
                      <a:pt x="74" y="39"/>
                    </a:cubicBezTo>
                    <a:cubicBezTo>
                      <a:pt x="76" y="36"/>
                      <a:pt x="78" y="32"/>
                      <a:pt x="78" y="28"/>
                    </a:cubicBezTo>
                    <a:cubicBezTo>
                      <a:pt x="78" y="23"/>
                      <a:pt x="76" y="19"/>
                      <a:pt x="73" y="16"/>
                    </a:cubicBezTo>
                    <a:cubicBezTo>
                      <a:pt x="69" y="13"/>
                      <a:pt x="65" y="11"/>
                      <a:pt x="60" y="11"/>
                    </a:cubicBezTo>
                    <a:cubicBezTo>
                      <a:pt x="55" y="11"/>
                      <a:pt x="51" y="13"/>
                      <a:pt x="48" y="16"/>
                    </a:cubicBezTo>
                    <a:cubicBezTo>
                      <a:pt x="45" y="19"/>
                      <a:pt x="44" y="23"/>
                      <a:pt x="44" y="27"/>
                    </a:cubicBezTo>
                    <a:cubicBezTo>
                      <a:pt x="44" y="29"/>
                      <a:pt x="44" y="32"/>
                      <a:pt x="45" y="35"/>
                    </a:cubicBezTo>
                    <a:lnTo>
                      <a:pt x="36" y="34"/>
                    </a:lnTo>
                    <a:cubicBezTo>
                      <a:pt x="36" y="33"/>
                      <a:pt x="36" y="32"/>
                      <a:pt x="36" y="32"/>
                    </a:cubicBezTo>
                    <a:cubicBezTo>
                      <a:pt x="36" y="28"/>
                      <a:pt x="35" y="24"/>
                      <a:pt x="32" y="20"/>
                    </a:cubicBezTo>
                    <a:cubicBezTo>
                      <a:pt x="30" y="17"/>
                      <a:pt x="27" y="15"/>
                      <a:pt x="22" y="15"/>
                    </a:cubicBezTo>
                    <a:cubicBezTo>
                      <a:pt x="18" y="15"/>
                      <a:pt x="15" y="16"/>
                      <a:pt x="12" y="19"/>
                    </a:cubicBezTo>
                    <a:cubicBezTo>
                      <a:pt x="10" y="21"/>
                      <a:pt x="9" y="25"/>
                      <a:pt x="9" y="29"/>
                    </a:cubicBezTo>
                    <a:cubicBezTo>
                      <a:pt x="9" y="33"/>
                      <a:pt x="10" y="36"/>
                      <a:pt x="12" y="39"/>
                    </a:cubicBezTo>
                    <a:cubicBezTo>
                      <a:pt x="15" y="41"/>
                      <a:pt x="19" y="43"/>
                      <a:pt x="24" y="44"/>
                    </a:cubicBezTo>
                    <a:lnTo>
                      <a:pt x="22" y="54"/>
                    </a:lnTo>
                    <a:cubicBezTo>
                      <a:pt x="15" y="53"/>
                      <a:pt x="10" y="50"/>
                      <a:pt x="6" y="46"/>
                    </a:cubicBezTo>
                    <a:cubicBezTo>
                      <a:pt x="2" y="41"/>
                      <a:pt x="0" y="35"/>
                      <a:pt x="0" y="29"/>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6"/>
                    </a:cubicBezTo>
                    <a:cubicBezTo>
                      <a:pt x="40" y="11"/>
                      <a:pt x="43" y="7"/>
                      <a:pt x="46" y="4"/>
                    </a:cubicBezTo>
                    <a:cubicBezTo>
                      <a:pt x="50" y="1"/>
                      <a:pt x="54" y="0"/>
                      <a:pt x="60" y="0"/>
                    </a:cubicBezTo>
                    <a:cubicBezTo>
                      <a:pt x="67" y="0"/>
                      <a:pt x="73" y="3"/>
                      <a:pt x="79" y="8"/>
                    </a:cubicBezTo>
                    <a:cubicBezTo>
                      <a:pt x="84" y="13"/>
                      <a:pt x="86" y="20"/>
                      <a:pt x="86" y="28"/>
                    </a:cubicBezTo>
                    <a:cubicBezTo>
                      <a:pt x="86" y="36"/>
                      <a:pt x="84" y="42"/>
                      <a:pt x="80" y="47"/>
                    </a:cubicBezTo>
                    <a:cubicBezTo>
                      <a:pt x="75" y="52"/>
                      <a:pt x="70" y="55"/>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783"/>
              <p:cNvSpPr>
                <a:spLocks/>
              </p:cNvSpPr>
              <p:nvPr/>
            </p:nvSpPr>
            <p:spPr bwMode="auto">
              <a:xfrm>
                <a:off x="3933" y="2634"/>
                <a:ext cx="19" cy="17"/>
              </a:xfrm>
              <a:custGeom>
                <a:avLst/>
                <a:gdLst>
                  <a:gd name="T0" fmla="*/ 85 w 85"/>
                  <a:gd name="T1" fmla="*/ 44 h 77"/>
                  <a:gd name="T2" fmla="*/ 0 w 85"/>
                  <a:gd name="T3" fmla="*/ 77 h 77"/>
                  <a:gd name="T4" fmla="*/ 0 w 85"/>
                  <a:gd name="T5" fmla="*/ 65 h 77"/>
                  <a:gd name="T6" fmla="*/ 62 w 85"/>
                  <a:gd name="T7" fmla="*/ 43 h 77"/>
                  <a:gd name="T8" fmla="*/ 76 w 85"/>
                  <a:gd name="T9" fmla="*/ 39 h 77"/>
                  <a:gd name="T10" fmla="*/ 62 w 85"/>
                  <a:gd name="T11" fmla="*/ 34 h 77"/>
                  <a:gd name="T12" fmla="*/ 0 w 85"/>
                  <a:gd name="T13" fmla="*/ 11 h 77"/>
                  <a:gd name="T14" fmla="*/ 0 w 85"/>
                  <a:gd name="T15" fmla="*/ 0 h 77"/>
                  <a:gd name="T16" fmla="*/ 85 w 85"/>
                  <a:gd name="T17" fmla="*/ 33 h 77"/>
                  <a:gd name="T18" fmla="*/ 85 w 85"/>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85" y="44"/>
                    </a:moveTo>
                    <a:lnTo>
                      <a:pt x="0" y="77"/>
                    </a:lnTo>
                    <a:lnTo>
                      <a:pt x="0" y="65"/>
                    </a:lnTo>
                    <a:lnTo>
                      <a:pt x="62" y="43"/>
                    </a:lnTo>
                    <a:cubicBezTo>
                      <a:pt x="67" y="41"/>
                      <a:pt x="71" y="40"/>
                      <a:pt x="76" y="39"/>
                    </a:cubicBezTo>
                    <a:cubicBezTo>
                      <a:pt x="71" y="37"/>
                      <a:pt x="66" y="36"/>
                      <a:pt x="62" y="34"/>
                    </a:cubicBezTo>
                    <a:lnTo>
                      <a:pt x="0" y="11"/>
                    </a:lnTo>
                    <a:lnTo>
                      <a:pt x="0" y="0"/>
                    </a:lnTo>
                    <a:lnTo>
                      <a:pt x="85" y="33"/>
                    </a:lnTo>
                    <a:lnTo>
                      <a:pt x="8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784"/>
              <p:cNvSpPr>
                <a:spLocks/>
              </p:cNvSpPr>
              <p:nvPr/>
            </p:nvSpPr>
            <p:spPr bwMode="auto">
              <a:xfrm>
                <a:off x="3933" y="2620"/>
                <a:ext cx="19" cy="12"/>
              </a:xfrm>
              <a:custGeom>
                <a:avLst/>
                <a:gdLst>
                  <a:gd name="T0" fmla="*/ 63 w 86"/>
                  <a:gd name="T1" fmla="*/ 55 h 55"/>
                  <a:gd name="T2" fmla="*/ 61 w 86"/>
                  <a:gd name="T3" fmla="*/ 45 h 55"/>
                  <a:gd name="T4" fmla="*/ 74 w 86"/>
                  <a:gd name="T5" fmla="*/ 38 h 55"/>
                  <a:gd name="T6" fmla="*/ 78 w 86"/>
                  <a:gd name="T7" fmla="*/ 28 h 55"/>
                  <a:gd name="T8" fmla="*/ 73 w 86"/>
                  <a:gd name="T9" fmla="*/ 16 h 55"/>
                  <a:gd name="T10" fmla="*/ 60 w 86"/>
                  <a:gd name="T11" fmla="*/ 11 h 55"/>
                  <a:gd name="T12" fmla="*/ 48 w 86"/>
                  <a:gd name="T13" fmla="*/ 15 h 55"/>
                  <a:gd name="T14" fmla="*/ 44 w 86"/>
                  <a:gd name="T15" fmla="*/ 27 h 55"/>
                  <a:gd name="T16" fmla="*/ 45 w 86"/>
                  <a:gd name="T17" fmla="*/ 34 h 55"/>
                  <a:gd name="T18" fmla="*/ 36 w 86"/>
                  <a:gd name="T19" fmla="*/ 33 h 55"/>
                  <a:gd name="T20" fmla="*/ 36 w 86"/>
                  <a:gd name="T21" fmla="*/ 32 h 55"/>
                  <a:gd name="T22" fmla="*/ 32 w 86"/>
                  <a:gd name="T23" fmla="*/ 20 h 55"/>
                  <a:gd name="T24" fmla="*/ 22 w 86"/>
                  <a:gd name="T25" fmla="*/ 14 h 55"/>
                  <a:gd name="T26" fmla="*/ 12 w 86"/>
                  <a:gd name="T27" fmla="*/ 18 h 55"/>
                  <a:gd name="T28" fmla="*/ 9 w 86"/>
                  <a:gd name="T29" fmla="*/ 28 h 55"/>
                  <a:gd name="T30" fmla="*/ 12 w 86"/>
                  <a:gd name="T31" fmla="*/ 38 h 55"/>
                  <a:gd name="T32" fmla="*/ 24 w 86"/>
                  <a:gd name="T33" fmla="*/ 44 h 55"/>
                  <a:gd name="T34" fmla="*/ 22 w 86"/>
                  <a:gd name="T35" fmla="*/ 54 h 55"/>
                  <a:gd name="T36" fmla="*/ 6 w 86"/>
                  <a:gd name="T37" fmla="*/ 45 h 55"/>
                  <a:gd name="T38" fmla="*/ 0 w 86"/>
                  <a:gd name="T39" fmla="*/ 28 h 55"/>
                  <a:gd name="T40" fmla="*/ 3 w 86"/>
                  <a:gd name="T41" fmla="*/ 16 h 55"/>
                  <a:gd name="T42" fmla="*/ 11 w 86"/>
                  <a:gd name="T43" fmla="*/ 7 h 55"/>
                  <a:gd name="T44" fmla="*/ 22 w 86"/>
                  <a:gd name="T45" fmla="*/ 4 h 55"/>
                  <a:gd name="T46" fmla="*/ 32 w 86"/>
                  <a:gd name="T47" fmla="*/ 7 h 55"/>
                  <a:gd name="T48" fmla="*/ 39 w 86"/>
                  <a:gd name="T49" fmla="*/ 15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3"/>
                      <a:pt x="71" y="41"/>
                      <a:pt x="74" y="38"/>
                    </a:cubicBezTo>
                    <a:cubicBezTo>
                      <a:pt x="76" y="36"/>
                      <a:pt x="78" y="32"/>
                      <a:pt x="78" y="28"/>
                    </a:cubicBezTo>
                    <a:cubicBezTo>
                      <a:pt x="78" y="23"/>
                      <a:pt x="76" y="19"/>
                      <a:pt x="73" y="16"/>
                    </a:cubicBezTo>
                    <a:cubicBezTo>
                      <a:pt x="69" y="12"/>
                      <a:pt x="65" y="11"/>
                      <a:pt x="60" y="11"/>
                    </a:cubicBezTo>
                    <a:cubicBezTo>
                      <a:pt x="55" y="11"/>
                      <a:pt x="51" y="12"/>
                      <a:pt x="48" y="15"/>
                    </a:cubicBezTo>
                    <a:cubicBezTo>
                      <a:pt x="45" y="18"/>
                      <a:pt x="44" y="22"/>
                      <a:pt x="44" y="27"/>
                    </a:cubicBezTo>
                    <a:cubicBezTo>
                      <a:pt x="44" y="29"/>
                      <a:pt x="44" y="32"/>
                      <a:pt x="45" y="34"/>
                    </a:cubicBezTo>
                    <a:lnTo>
                      <a:pt x="36" y="33"/>
                    </a:lnTo>
                    <a:cubicBezTo>
                      <a:pt x="36" y="33"/>
                      <a:pt x="36" y="32"/>
                      <a:pt x="36" y="32"/>
                    </a:cubicBezTo>
                    <a:cubicBezTo>
                      <a:pt x="36" y="27"/>
                      <a:pt x="35" y="23"/>
                      <a:pt x="32" y="20"/>
                    </a:cubicBezTo>
                    <a:cubicBezTo>
                      <a:pt x="30" y="16"/>
                      <a:pt x="27" y="14"/>
                      <a:pt x="22" y="14"/>
                    </a:cubicBezTo>
                    <a:cubicBezTo>
                      <a:pt x="18" y="14"/>
                      <a:pt x="15" y="16"/>
                      <a:pt x="12" y="18"/>
                    </a:cubicBezTo>
                    <a:cubicBezTo>
                      <a:pt x="10" y="21"/>
                      <a:pt x="9" y="24"/>
                      <a:pt x="9" y="28"/>
                    </a:cubicBezTo>
                    <a:cubicBezTo>
                      <a:pt x="9" y="32"/>
                      <a:pt x="10" y="36"/>
                      <a:pt x="12" y="38"/>
                    </a:cubicBezTo>
                    <a:cubicBezTo>
                      <a:pt x="15" y="41"/>
                      <a:pt x="19" y="43"/>
                      <a:pt x="24" y="44"/>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5"/>
                    </a:cubicBezTo>
                    <a:cubicBezTo>
                      <a:pt x="40" y="10"/>
                      <a:pt x="43" y="7"/>
                      <a:pt x="46" y="4"/>
                    </a:cubicBezTo>
                    <a:cubicBezTo>
                      <a:pt x="50" y="1"/>
                      <a:pt x="54" y="0"/>
                      <a:pt x="60" y="0"/>
                    </a:cubicBezTo>
                    <a:cubicBezTo>
                      <a:pt x="67" y="0"/>
                      <a:pt x="73" y="2"/>
                      <a:pt x="79" y="8"/>
                    </a:cubicBezTo>
                    <a:cubicBezTo>
                      <a:pt x="84" y="13"/>
                      <a:pt x="86" y="20"/>
                      <a:pt x="86" y="28"/>
                    </a:cubicBezTo>
                    <a:cubicBezTo>
                      <a:pt x="86" y="35"/>
                      <a:pt x="84" y="42"/>
                      <a:pt x="80" y="47"/>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785"/>
              <p:cNvSpPr>
                <a:spLocks noEditPoints="1"/>
              </p:cNvSpPr>
              <p:nvPr/>
            </p:nvSpPr>
            <p:spPr bwMode="auto">
              <a:xfrm>
                <a:off x="4335"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8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8"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786"/>
              <p:cNvSpPr>
                <a:spLocks/>
              </p:cNvSpPr>
              <p:nvPr/>
            </p:nvSpPr>
            <p:spPr bwMode="auto">
              <a:xfrm>
                <a:off x="4335" y="2639"/>
                <a:ext cx="19" cy="7"/>
              </a:xfrm>
              <a:custGeom>
                <a:avLst/>
                <a:gdLst>
                  <a:gd name="T0" fmla="*/ 85 w 85"/>
                  <a:gd name="T1" fmla="*/ 0 h 31"/>
                  <a:gd name="T2" fmla="*/ 85 w 85"/>
                  <a:gd name="T3" fmla="*/ 10 h 31"/>
                  <a:gd name="T4" fmla="*/ 19 w 85"/>
                  <a:gd name="T5" fmla="*/ 10 h 31"/>
                  <a:gd name="T6" fmla="*/ 26 w 85"/>
                  <a:gd name="T7" fmla="*/ 20 h 31"/>
                  <a:gd name="T8" fmla="*/ 31 w 85"/>
                  <a:gd name="T9" fmla="*/ 31 h 31"/>
                  <a:gd name="T10" fmla="*/ 21 w 85"/>
                  <a:gd name="T11" fmla="*/ 31 h 31"/>
                  <a:gd name="T12" fmla="*/ 12 w 85"/>
                  <a:gd name="T13" fmla="*/ 16 h 31"/>
                  <a:gd name="T14" fmla="*/ 0 w 85"/>
                  <a:gd name="T15" fmla="*/ 7 h 31"/>
                  <a:gd name="T16" fmla="*/ 0 w 85"/>
                  <a:gd name="T17" fmla="*/ 0 h 31"/>
                  <a:gd name="T18" fmla="*/ 85 w 85"/>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1">
                    <a:moveTo>
                      <a:pt x="85" y="0"/>
                    </a:moveTo>
                    <a:lnTo>
                      <a:pt x="85" y="10"/>
                    </a:lnTo>
                    <a:lnTo>
                      <a:pt x="19" y="10"/>
                    </a:lnTo>
                    <a:cubicBezTo>
                      <a:pt x="21" y="13"/>
                      <a:pt x="24" y="16"/>
                      <a:pt x="26" y="20"/>
                    </a:cubicBezTo>
                    <a:cubicBezTo>
                      <a:pt x="28" y="24"/>
                      <a:pt x="30" y="28"/>
                      <a:pt x="31" y="31"/>
                    </a:cubicBezTo>
                    <a:lnTo>
                      <a:pt x="21" y="31"/>
                    </a:lnTo>
                    <a:cubicBezTo>
                      <a:pt x="19" y="25"/>
                      <a:pt x="15" y="20"/>
                      <a:pt x="12" y="16"/>
                    </a:cubicBezTo>
                    <a:cubicBezTo>
                      <a:pt x="8" y="11"/>
                      <a:pt x="4" y="8"/>
                      <a:pt x="0" y="7"/>
                    </a:cubicBezTo>
                    <a:lnTo>
                      <a:pt x="0" y="0"/>
                    </a:lnTo>
                    <a:lnTo>
                      <a:pt x="8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787"/>
              <p:cNvSpPr>
                <a:spLocks noEditPoints="1"/>
              </p:cNvSpPr>
              <p:nvPr/>
            </p:nvSpPr>
            <p:spPr bwMode="auto">
              <a:xfrm>
                <a:off x="4393"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9 w 84"/>
                  <a:gd name="T11" fmla="*/ 22 h 79"/>
                  <a:gd name="T12" fmla="*/ 59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9" y="22"/>
                    </a:lnTo>
                    <a:lnTo>
                      <a:pt x="59"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788"/>
              <p:cNvSpPr>
                <a:spLocks/>
              </p:cNvSpPr>
              <p:nvPr/>
            </p:nvSpPr>
            <p:spPr bwMode="auto">
              <a:xfrm>
                <a:off x="4392" y="2635"/>
                <a:ext cx="20" cy="13"/>
              </a:xfrm>
              <a:custGeom>
                <a:avLst/>
                <a:gdLst>
                  <a:gd name="T0" fmla="*/ 75 w 85"/>
                  <a:gd name="T1" fmla="*/ 0 h 56"/>
                  <a:gd name="T2" fmla="*/ 85 w 85"/>
                  <a:gd name="T3" fmla="*/ 0 h 56"/>
                  <a:gd name="T4" fmla="*/ 85 w 85"/>
                  <a:gd name="T5" fmla="*/ 56 h 56"/>
                  <a:gd name="T6" fmla="*/ 78 w 85"/>
                  <a:gd name="T7" fmla="*/ 55 h 56"/>
                  <a:gd name="T8" fmla="*/ 67 w 85"/>
                  <a:gd name="T9" fmla="*/ 48 h 56"/>
                  <a:gd name="T10" fmla="*/ 54 w 85"/>
                  <a:gd name="T11" fmla="*/ 35 h 56"/>
                  <a:gd name="T12" fmla="*/ 36 w 85"/>
                  <a:gd name="T13" fmla="*/ 16 h 56"/>
                  <a:gd name="T14" fmla="*/ 24 w 85"/>
                  <a:gd name="T15" fmla="*/ 11 h 56"/>
                  <a:gd name="T16" fmla="*/ 13 w 85"/>
                  <a:gd name="T17" fmla="*/ 16 h 56"/>
                  <a:gd name="T18" fmla="*/ 9 w 85"/>
                  <a:gd name="T19" fmla="*/ 27 h 56"/>
                  <a:gd name="T20" fmla="*/ 13 w 85"/>
                  <a:gd name="T21" fmla="*/ 39 h 56"/>
                  <a:gd name="T22" fmla="*/ 26 w 85"/>
                  <a:gd name="T23" fmla="*/ 44 h 56"/>
                  <a:gd name="T24" fmla="*/ 25 w 85"/>
                  <a:gd name="T25" fmla="*/ 54 h 56"/>
                  <a:gd name="T26" fmla="*/ 7 w 85"/>
                  <a:gd name="T27" fmla="*/ 46 h 56"/>
                  <a:gd name="T28" fmla="*/ 0 w 85"/>
                  <a:gd name="T29" fmla="*/ 27 h 56"/>
                  <a:gd name="T30" fmla="*/ 7 w 85"/>
                  <a:gd name="T31" fmla="*/ 8 h 56"/>
                  <a:gd name="T32" fmla="*/ 24 w 85"/>
                  <a:gd name="T33" fmla="*/ 1 h 56"/>
                  <a:gd name="T34" fmla="*/ 34 w 85"/>
                  <a:gd name="T35" fmla="*/ 3 h 56"/>
                  <a:gd name="T36" fmla="*/ 44 w 85"/>
                  <a:gd name="T37" fmla="*/ 10 h 56"/>
                  <a:gd name="T38" fmla="*/ 59 w 85"/>
                  <a:gd name="T39" fmla="*/ 25 h 56"/>
                  <a:gd name="T40" fmla="*/ 70 w 85"/>
                  <a:gd name="T41" fmla="*/ 37 h 56"/>
                  <a:gd name="T42" fmla="*/ 75 w 85"/>
                  <a:gd name="T43" fmla="*/ 42 h 56"/>
                  <a:gd name="T44" fmla="*/ 75 w 85"/>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75" y="0"/>
                    </a:moveTo>
                    <a:lnTo>
                      <a:pt x="85" y="0"/>
                    </a:lnTo>
                    <a:lnTo>
                      <a:pt x="85" y="56"/>
                    </a:lnTo>
                    <a:cubicBezTo>
                      <a:pt x="83" y="56"/>
                      <a:pt x="80" y="56"/>
                      <a:pt x="78" y="55"/>
                    </a:cubicBezTo>
                    <a:cubicBezTo>
                      <a:pt x="74" y="54"/>
                      <a:pt x="70" y="51"/>
                      <a:pt x="67" y="48"/>
                    </a:cubicBezTo>
                    <a:cubicBezTo>
                      <a:pt x="63" y="45"/>
                      <a:pt x="59" y="41"/>
                      <a:pt x="54" y="35"/>
                    </a:cubicBezTo>
                    <a:cubicBezTo>
                      <a:pt x="46" y="25"/>
                      <a:pt x="40" y="19"/>
                      <a:pt x="36" y="16"/>
                    </a:cubicBezTo>
                    <a:cubicBezTo>
                      <a:pt x="32" y="13"/>
                      <a:pt x="28" y="11"/>
                      <a:pt x="24" y="11"/>
                    </a:cubicBezTo>
                    <a:cubicBezTo>
                      <a:pt x="19" y="11"/>
                      <a:pt x="16" y="13"/>
                      <a:pt x="13" y="16"/>
                    </a:cubicBezTo>
                    <a:cubicBezTo>
                      <a:pt x="10" y="19"/>
                      <a:pt x="9" y="22"/>
                      <a:pt x="9" y="27"/>
                    </a:cubicBezTo>
                    <a:cubicBezTo>
                      <a:pt x="9" y="32"/>
                      <a:pt x="10" y="36"/>
                      <a:pt x="13" y="39"/>
                    </a:cubicBezTo>
                    <a:cubicBezTo>
                      <a:pt x="16" y="42"/>
                      <a:pt x="21" y="44"/>
                      <a:pt x="26" y="44"/>
                    </a:cubicBezTo>
                    <a:lnTo>
                      <a:pt x="25" y="54"/>
                    </a:lnTo>
                    <a:cubicBezTo>
                      <a:pt x="17" y="54"/>
                      <a:pt x="11" y="51"/>
                      <a:pt x="7" y="46"/>
                    </a:cubicBezTo>
                    <a:cubicBezTo>
                      <a:pt x="2" y="41"/>
                      <a:pt x="0" y="35"/>
                      <a:pt x="0" y="27"/>
                    </a:cubicBezTo>
                    <a:cubicBezTo>
                      <a:pt x="0" y="19"/>
                      <a:pt x="3" y="12"/>
                      <a:pt x="7" y="8"/>
                    </a:cubicBezTo>
                    <a:cubicBezTo>
                      <a:pt x="12" y="3"/>
                      <a:pt x="17" y="1"/>
                      <a:pt x="24" y="1"/>
                    </a:cubicBezTo>
                    <a:cubicBezTo>
                      <a:pt x="27" y="1"/>
                      <a:pt x="31" y="1"/>
                      <a:pt x="34" y="3"/>
                    </a:cubicBezTo>
                    <a:cubicBezTo>
                      <a:pt x="37" y="4"/>
                      <a:pt x="40" y="6"/>
                      <a:pt x="44" y="10"/>
                    </a:cubicBezTo>
                    <a:cubicBezTo>
                      <a:pt x="48" y="13"/>
                      <a:pt x="53" y="18"/>
                      <a:pt x="59" y="25"/>
                    </a:cubicBezTo>
                    <a:cubicBezTo>
                      <a:pt x="64" y="32"/>
                      <a:pt x="68" y="36"/>
                      <a:pt x="70" y="37"/>
                    </a:cubicBezTo>
                    <a:cubicBezTo>
                      <a:pt x="71" y="39"/>
                      <a:pt x="73" y="41"/>
                      <a:pt x="75" y="42"/>
                    </a:cubicBezTo>
                    <a:lnTo>
                      <a:pt x="7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789"/>
              <p:cNvSpPr>
                <a:spLocks noEditPoints="1"/>
              </p:cNvSpPr>
              <p:nvPr/>
            </p:nvSpPr>
            <p:spPr bwMode="auto">
              <a:xfrm>
                <a:off x="4450"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790"/>
              <p:cNvSpPr>
                <a:spLocks/>
              </p:cNvSpPr>
              <p:nvPr/>
            </p:nvSpPr>
            <p:spPr bwMode="auto">
              <a:xfrm>
                <a:off x="4450" y="2635"/>
                <a:ext cx="20" cy="12"/>
              </a:xfrm>
              <a:custGeom>
                <a:avLst/>
                <a:gdLst>
                  <a:gd name="T0" fmla="*/ 63 w 87"/>
                  <a:gd name="T1" fmla="*/ 55 h 55"/>
                  <a:gd name="T2" fmla="*/ 61 w 87"/>
                  <a:gd name="T3" fmla="*/ 44 h 55"/>
                  <a:gd name="T4" fmla="*/ 74 w 87"/>
                  <a:gd name="T5" fmla="*/ 38 h 55"/>
                  <a:gd name="T6" fmla="*/ 78 w 87"/>
                  <a:gd name="T7" fmla="*/ 28 h 55"/>
                  <a:gd name="T8" fmla="*/ 73 w 87"/>
                  <a:gd name="T9" fmla="*/ 16 h 55"/>
                  <a:gd name="T10" fmla="*/ 60 w 87"/>
                  <a:gd name="T11" fmla="*/ 11 h 55"/>
                  <a:gd name="T12" fmla="*/ 49 w 87"/>
                  <a:gd name="T13" fmla="*/ 15 h 55"/>
                  <a:gd name="T14" fmla="*/ 44 w 87"/>
                  <a:gd name="T15" fmla="*/ 27 h 55"/>
                  <a:gd name="T16" fmla="*/ 45 w 87"/>
                  <a:gd name="T17" fmla="*/ 34 h 55"/>
                  <a:gd name="T18" fmla="*/ 36 w 87"/>
                  <a:gd name="T19" fmla="*/ 33 h 55"/>
                  <a:gd name="T20" fmla="*/ 36 w 87"/>
                  <a:gd name="T21" fmla="*/ 32 h 55"/>
                  <a:gd name="T22" fmla="*/ 33 w 87"/>
                  <a:gd name="T23" fmla="*/ 20 h 55"/>
                  <a:gd name="T24" fmla="*/ 22 w 87"/>
                  <a:gd name="T25" fmla="*/ 14 h 55"/>
                  <a:gd name="T26" fmla="*/ 13 w 87"/>
                  <a:gd name="T27" fmla="*/ 18 h 55"/>
                  <a:gd name="T28" fmla="*/ 9 w 87"/>
                  <a:gd name="T29" fmla="*/ 28 h 55"/>
                  <a:gd name="T30" fmla="*/ 13 w 87"/>
                  <a:gd name="T31" fmla="*/ 38 h 55"/>
                  <a:gd name="T32" fmla="*/ 24 w 87"/>
                  <a:gd name="T33" fmla="*/ 43 h 55"/>
                  <a:gd name="T34" fmla="*/ 22 w 87"/>
                  <a:gd name="T35" fmla="*/ 54 h 55"/>
                  <a:gd name="T36" fmla="*/ 6 w 87"/>
                  <a:gd name="T37" fmla="*/ 45 h 55"/>
                  <a:gd name="T38" fmla="*/ 0 w 87"/>
                  <a:gd name="T39" fmla="*/ 28 h 55"/>
                  <a:gd name="T40" fmla="*/ 3 w 87"/>
                  <a:gd name="T41" fmla="*/ 16 h 55"/>
                  <a:gd name="T42" fmla="*/ 11 w 87"/>
                  <a:gd name="T43" fmla="*/ 7 h 55"/>
                  <a:gd name="T44" fmla="*/ 22 w 87"/>
                  <a:gd name="T45" fmla="*/ 4 h 55"/>
                  <a:gd name="T46" fmla="*/ 32 w 87"/>
                  <a:gd name="T47" fmla="*/ 7 h 55"/>
                  <a:gd name="T48" fmla="*/ 39 w 87"/>
                  <a:gd name="T49" fmla="*/ 15 h 55"/>
                  <a:gd name="T50" fmla="*/ 46 w 87"/>
                  <a:gd name="T51" fmla="*/ 4 h 55"/>
                  <a:gd name="T52" fmla="*/ 60 w 87"/>
                  <a:gd name="T53" fmla="*/ 0 h 55"/>
                  <a:gd name="T54" fmla="*/ 79 w 87"/>
                  <a:gd name="T55" fmla="*/ 8 h 55"/>
                  <a:gd name="T56" fmla="*/ 87 w 87"/>
                  <a:gd name="T57" fmla="*/ 28 h 55"/>
                  <a:gd name="T58" fmla="*/ 80 w 87"/>
                  <a:gd name="T59" fmla="*/ 46 h 55"/>
                  <a:gd name="T60" fmla="*/ 63 w 87"/>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55">
                    <a:moveTo>
                      <a:pt x="63" y="55"/>
                    </a:moveTo>
                    <a:lnTo>
                      <a:pt x="61" y="44"/>
                    </a:lnTo>
                    <a:cubicBezTo>
                      <a:pt x="67" y="43"/>
                      <a:pt x="71" y="41"/>
                      <a:pt x="74" y="38"/>
                    </a:cubicBezTo>
                    <a:cubicBezTo>
                      <a:pt x="77" y="36"/>
                      <a:pt x="78" y="32"/>
                      <a:pt x="78" y="28"/>
                    </a:cubicBezTo>
                    <a:cubicBezTo>
                      <a:pt x="78" y="23"/>
                      <a:pt x="76" y="19"/>
                      <a:pt x="73" y="16"/>
                    </a:cubicBezTo>
                    <a:cubicBezTo>
                      <a:pt x="69" y="12"/>
                      <a:pt x="65" y="11"/>
                      <a:pt x="60" y="11"/>
                    </a:cubicBezTo>
                    <a:cubicBezTo>
                      <a:pt x="56" y="11"/>
                      <a:pt x="52" y="12"/>
                      <a:pt x="49" y="15"/>
                    </a:cubicBezTo>
                    <a:cubicBezTo>
                      <a:pt x="45" y="18"/>
                      <a:pt x="44" y="22"/>
                      <a:pt x="44" y="27"/>
                    </a:cubicBezTo>
                    <a:cubicBezTo>
                      <a:pt x="44" y="29"/>
                      <a:pt x="44" y="31"/>
                      <a:pt x="45" y="34"/>
                    </a:cubicBezTo>
                    <a:lnTo>
                      <a:pt x="36" y="33"/>
                    </a:lnTo>
                    <a:cubicBezTo>
                      <a:pt x="36" y="33"/>
                      <a:pt x="36" y="32"/>
                      <a:pt x="36" y="32"/>
                    </a:cubicBezTo>
                    <a:cubicBezTo>
                      <a:pt x="36" y="27"/>
                      <a:pt x="35" y="23"/>
                      <a:pt x="33" y="20"/>
                    </a:cubicBezTo>
                    <a:cubicBezTo>
                      <a:pt x="30" y="16"/>
                      <a:pt x="27" y="14"/>
                      <a:pt x="22" y="14"/>
                    </a:cubicBezTo>
                    <a:cubicBezTo>
                      <a:pt x="18" y="14"/>
                      <a:pt x="15" y="16"/>
                      <a:pt x="13" y="18"/>
                    </a:cubicBezTo>
                    <a:cubicBezTo>
                      <a:pt x="10" y="21"/>
                      <a:pt x="9" y="24"/>
                      <a:pt x="9" y="28"/>
                    </a:cubicBezTo>
                    <a:cubicBezTo>
                      <a:pt x="9" y="32"/>
                      <a:pt x="10" y="36"/>
                      <a:pt x="13" y="38"/>
                    </a:cubicBezTo>
                    <a:cubicBezTo>
                      <a:pt x="15" y="41"/>
                      <a:pt x="19" y="43"/>
                      <a:pt x="24" y="43"/>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8" y="12"/>
                      <a:pt x="39" y="15"/>
                    </a:cubicBezTo>
                    <a:cubicBezTo>
                      <a:pt x="40" y="10"/>
                      <a:pt x="43" y="6"/>
                      <a:pt x="46" y="4"/>
                    </a:cubicBezTo>
                    <a:cubicBezTo>
                      <a:pt x="50" y="1"/>
                      <a:pt x="55" y="0"/>
                      <a:pt x="60" y="0"/>
                    </a:cubicBezTo>
                    <a:cubicBezTo>
                      <a:pt x="67" y="0"/>
                      <a:pt x="74" y="2"/>
                      <a:pt x="79" y="8"/>
                    </a:cubicBezTo>
                    <a:cubicBezTo>
                      <a:pt x="84" y="13"/>
                      <a:pt x="87" y="20"/>
                      <a:pt x="87" y="28"/>
                    </a:cubicBezTo>
                    <a:cubicBezTo>
                      <a:pt x="87" y="35"/>
                      <a:pt x="84" y="42"/>
                      <a:pt x="80" y="46"/>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Freeform 791"/>
              <p:cNvSpPr>
                <a:spLocks noEditPoints="1"/>
              </p:cNvSpPr>
              <p:nvPr/>
            </p:nvSpPr>
            <p:spPr bwMode="auto">
              <a:xfrm>
                <a:off x="4508"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792"/>
              <p:cNvSpPr>
                <a:spLocks noEditPoints="1"/>
              </p:cNvSpPr>
              <p:nvPr/>
            </p:nvSpPr>
            <p:spPr bwMode="auto">
              <a:xfrm>
                <a:off x="4508" y="2635"/>
                <a:ext cx="19" cy="13"/>
              </a:xfrm>
              <a:custGeom>
                <a:avLst/>
                <a:gdLst>
                  <a:gd name="T0" fmla="*/ 84 w 84"/>
                  <a:gd name="T1" fmla="*/ 22 h 58"/>
                  <a:gd name="T2" fmla="*/ 64 w 84"/>
                  <a:gd name="T3" fmla="*/ 22 h 58"/>
                  <a:gd name="T4" fmla="*/ 64 w 84"/>
                  <a:gd name="T5" fmla="*/ 58 h 58"/>
                  <a:gd name="T6" fmla="*/ 54 w 84"/>
                  <a:gd name="T7" fmla="*/ 58 h 58"/>
                  <a:gd name="T8" fmla="*/ 0 w 84"/>
                  <a:gd name="T9" fmla="*/ 20 h 58"/>
                  <a:gd name="T10" fmla="*/ 0 w 84"/>
                  <a:gd name="T11" fmla="*/ 11 h 58"/>
                  <a:gd name="T12" fmla="*/ 54 w 84"/>
                  <a:gd name="T13" fmla="*/ 11 h 58"/>
                  <a:gd name="T14" fmla="*/ 54 w 84"/>
                  <a:gd name="T15" fmla="*/ 0 h 58"/>
                  <a:gd name="T16" fmla="*/ 64 w 84"/>
                  <a:gd name="T17" fmla="*/ 0 h 58"/>
                  <a:gd name="T18" fmla="*/ 64 w 84"/>
                  <a:gd name="T19" fmla="*/ 11 h 58"/>
                  <a:gd name="T20" fmla="*/ 84 w 84"/>
                  <a:gd name="T21" fmla="*/ 11 h 58"/>
                  <a:gd name="T22" fmla="*/ 84 w 84"/>
                  <a:gd name="T23" fmla="*/ 22 h 58"/>
                  <a:gd name="T24" fmla="*/ 54 w 84"/>
                  <a:gd name="T25" fmla="*/ 22 h 58"/>
                  <a:gd name="T26" fmla="*/ 16 w 84"/>
                  <a:gd name="T27" fmla="*/ 22 h 58"/>
                  <a:gd name="T28" fmla="*/ 54 w 84"/>
                  <a:gd name="T29" fmla="*/ 48 h 58"/>
                  <a:gd name="T30" fmla="*/ 54 w 84"/>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58">
                    <a:moveTo>
                      <a:pt x="84" y="22"/>
                    </a:moveTo>
                    <a:lnTo>
                      <a:pt x="64" y="22"/>
                    </a:lnTo>
                    <a:lnTo>
                      <a:pt x="64" y="58"/>
                    </a:lnTo>
                    <a:lnTo>
                      <a:pt x="54" y="58"/>
                    </a:lnTo>
                    <a:lnTo>
                      <a:pt x="0" y="20"/>
                    </a:lnTo>
                    <a:lnTo>
                      <a:pt x="0" y="11"/>
                    </a:lnTo>
                    <a:lnTo>
                      <a:pt x="54" y="11"/>
                    </a:lnTo>
                    <a:lnTo>
                      <a:pt x="54" y="0"/>
                    </a:lnTo>
                    <a:lnTo>
                      <a:pt x="64" y="0"/>
                    </a:lnTo>
                    <a:lnTo>
                      <a:pt x="64" y="11"/>
                    </a:lnTo>
                    <a:lnTo>
                      <a:pt x="84" y="11"/>
                    </a:lnTo>
                    <a:lnTo>
                      <a:pt x="84" y="22"/>
                    </a:lnTo>
                    <a:close/>
                    <a:moveTo>
                      <a:pt x="54" y="22"/>
                    </a:moveTo>
                    <a:lnTo>
                      <a:pt x="16" y="22"/>
                    </a:lnTo>
                    <a:lnTo>
                      <a:pt x="54" y="48"/>
                    </a:lnTo>
                    <a:lnTo>
                      <a:pt x="54" y="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793"/>
              <p:cNvSpPr>
                <a:spLocks noEditPoints="1"/>
              </p:cNvSpPr>
              <p:nvPr/>
            </p:nvSpPr>
            <p:spPr bwMode="auto">
              <a:xfrm>
                <a:off x="4566"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794"/>
              <p:cNvSpPr>
                <a:spLocks/>
              </p:cNvSpPr>
              <p:nvPr/>
            </p:nvSpPr>
            <p:spPr bwMode="auto">
              <a:xfrm>
                <a:off x="4566" y="2635"/>
                <a:ext cx="19" cy="12"/>
              </a:xfrm>
              <a:custGeom>
                <a:avLst/>
                <a:gdLst>
                  <a:gd name="T0" fmla="*/ 61 w 84"/>
                  <a:gd name="T1" fmla="*/ 56 h 56"/>
                  <a:gd name="T2" fmla="*/ 60 w 84"/>
                  <a:gd name="T3" fmla="*/ 45 h 56"/>
                  <a:gd name="T4" fmla="*/ 72 w 84"/>
                  <a:gd name="T5" fmla="*/ 39 h 56"/>
                  <a:gd name="T6" fmla="*/ 76 w 84"/>
                  <a:gd name="T7" fmla="*/ 29 h 56"/>
                  <a:gd name="T8" fmla="*/ 70 w 84"/>
                  <a:gd name="T9" fmla="*/ 16 h 56"/>
                  <a:gd name="T10" fmla="*/ 55 w 84"/>
                  <a:gd name="T11" fmla="*/ 11 h 56"/>
                  <a:gd name="T12" fmla="*/ 41 w 84"/>
                  <a:gd name="T13" fmla="*/ 16 h 56"/>
                  <a:gd name="T14" fmla="*/ 36 w 84"/>
                  <a:gd name="T15" fmla="*/ 29 h 56"/>
                  <a:gd name="T16" fmla="*/ 38 w 84"/>
                  <a:gd name="T17" fmla="*/ 38 h 56"/>
                  <a:gd name="T18" fmla="*/ 44 w 84"/>
                  <a:gd name="T19" fmla="*/ 44 h 56"/>
                  <a:gd name="T20" fmla="*/ 43 w 84"/>
                  <a:gd name="T21" fmla="*/ 54 h 56"/>
                  <a:gd name="T22" fmla="*/ 0 w 84"/>
                  <a:gd name="T23" fmla="*/ 46 h 56"/>
                  <a:gd name="T24" fmla="*/ 0 w 84"/>
                  <a:gd name="T25" fmla="*/ 4 h 56"/>
                  <a:gd name="T26" fmla="*/ 10 w 84"/>
                  <a:gd name="T27" fmla="*/ 4 h 56"/>
                  <a:gd name="T28" fmla="*/ 10 w 84"/>
                  <a:gd name="T29" fmla="*/ 38 h 56"/>
                  <a:gd name="T30" fmla="*/ 32 w 84"/>
                  <a:gd name="T31" fmla="*/ 42 h 56"/>
                  <a:gd name="T32" fmla="*/ 27 w 84"/>
                  <a:gd name="T33" fmla="*/ 26 h 56"/>
                  <a:gd name="T34" fmla="*/ 35 w 84"/>
                  <a:gd name="T35" fmla="*/ 8 h 56"/>
                  <a:gd name="T36" fmla="*/ 54 w 84"/>
                  <a:gd name="T37" fmla="*/ 0 h 56"/>
                  <a:gd name="T38" fmla="*/ 74 w 84"/>
                  <a:gd name="T39" fmla="*/ 7 h 56"/>
                  <a:gd name="T40" fmla="*/ 84 w 84"/>
                  <a:gd name="T41" fmla="*/ 29 h 56"/>
                  <a:gd name="T42" fmla="*/ 78 w 84"/>
                  <a:gd name="T43" fmla="*/ 48 h 56"/>
                  <a:gd name="T44" fmla="*/ 61 w 84"/>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56">
                    <a:moveTo>
                      <a:pt x="61" y="56"/>
                    </a:moveTo>
                    <a:lnTo>
                      <a:pt x="60" y="45"/>
                    </a:lnTo>
                    <a:cubicBezTo>
                      <a:pt x="65" y="44"/>
                      <a:pt x="69" y="42"/>
                      <a:pt x="72" y="39"/>
                    </a:cubicBezTo>
                    <a:cubicBezTo>
                      <a:pt x="75" y="36"/>
                      <a:pt x="76" y="33"/>
                      <a:pt x="76" y="29"/>
                    </a:cubicBezTo>
                    <a:cubicBezTo>
                      <a:pt x="76" y="24"/>
                      <a:pt x="74" y="20"/>
                      <a:pt x="70" y="16"/>
                    </a:cubicBezTo>
                    <a:cubicBezTo>
                      <a:pt x="67" y="13"/>
                      <a:pt x="62" y="11"/>
                      <a:pt x="55" y="11"/>
                    </a:cubicBezTo>
                    <a:cubicBezTo>
                      <a:pt x="49" y="11"/>
                      <a:pt x="45" y="13"/>
                      <a:pt x="41" y="16"/>
                    </a:cubicBezTo>
                    <a:cubicBezTo>
                      <a:pt x="38" y="19"/>
                      <a:pt x="36" y="24"/>
                      <a:pt x="36" y="29"/>
                    </a:cubicBezTo>
                    <a:cubicBezTo>
                      <a:pt x="36" y="32"/>
                      <a:pt x="37" y="35"/>
                      <a:pt x="38" y="38"/>
                    </a:cubicBezTo>
                    <a:cubicBezTo>
                      <a:pt x="40" y="41"/>
                      <a:pt x="42" y="43"/>
                      <a:pt x="44" y="44"/>
                    </a:cubicBezTo>
                    <a:lnTo>
                      <a:pt x="43" y="54"/>
                    </a:lnTo>
                    <a:lnTo>
                      <a:pt x="0" y="46"/>
                    </a:lnTo>
                    <a:lnTo>
                      <a:pt x="0" y="4"/>
                    </a:lnTo>
                    <a:lnTo>
                      <a:pt x="10" y="4"/>
                    </a:lnTo>
                    <a:lnTo>
                      <a:pt x="10" y="38"/>
                    </a:lnTo>
                    <a:lnTo>
                      <a:pt x="32" y="42"/>
                    </a:lnTo>
                    <a:cubicBezTo>
                      <a:pt x="29" y="37"/>
                      <a:pt x="27" y="32"/>
                      <a:pt x="27" y="26"/>
                    </a:cubicBezTo>
                    <a:cubicBezTo>
                      <a:pt x="27" y="19"/>
                      <a:pt x="30" y="13"/>
                      <a:pt x="35" y="8"/>
                    </a:cubicBezTo>
                    <a:cubicBezTo>
                      <a:pt x="40" y="2"/>
                      <a:pt x="46" y="0"/>
                      <a:pt x="54" y="0"/>
                    </a:cubicBezTo>
                    <a:cubicBezTo>
                      <a:pt x="62" y="0"/>
                      <a:pt x="69" y="2"/>
                      <a:pt x="74" y="7"/>
                    </a:cubicBezTo>
                    <a:cubicBezTo>
                      <a:pt x="81" y="12"/>
                      <a:pt x="84" y="19"/>
                      <a:pt x="84" y="29"/>
                    </a:cubicBezTo>
                    <a:cubicBezTo>
                      <a:pt x="84" y="36"/>
                      <a:pt x="82" y="43"/>
                      <a:pt x="78" y="48"/>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795"/>
              <p:cNvSpPr>
                <a:spLocks/>
              </p:cNvSpPr>
              <p:nvPr/>
            </p:nvSpPr>
            <p:spPr bwMode="auto">
              <a:xfrm>
                <a:off x="4163" y="2649"/>
                <a:ext cx="19" cy="17"/>
              </a:xfrm>
              <a:custGeom>
                <a:avLst/>
                <a:gdLst>
                  <a:gd name="T0" fmla="*/ 84 w 84"/>
                  <a:gd name="T1" fmla="*/ 44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1 h 77"/>
                  <a:gd name="T14" fmla="*/ 0 w 84"/>
                  <a:gd name="T15" fmla="*/ 0 h 77"/>
                  <a:gd name="T16" fmla="*/ 84 w 84"/>
                  <a:gd name="T17" fmla="*/ 33 h 77"/>
                  <a:gd name="T18" fmla="*/ 84 w 84"/>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4"/>
                    </a:moveTo>
                    <a:lnTo>
                      <a:pt x="0" y="77"/>
                    </a:lnTo>
                    <a:lnTo>
                      <a:pt x="0" y="65"/>
                    </a:lnTo>
                    <a:lnTo>
                      <a:pt x="61" y="43"/>
                    </a:lnTo>
                    <a:cubicBezTo>
                      <a:pt x="66" y="41"/>
                      <a:pt x="71" y="40"/>
                      <a:pt x="75" y="39"/>
                    </a:cubicBezTo>
                    <a:cubicBezTo>
                      <a:pt x="70" y="37"/>
                      <a:pt x="66" y="36"/>
                      <a:pt x="61" y="34"/>
                    </a:cubicBezTo>
                    <a:lnTo>
                      <a:pt x="0" y="11"/>
                    </a:lnTo>
                    <a:lnTo>
                      <a:pt x="0" y="0"/>
                    </a:lnTo>
                    <a:lnTo>
                      <a:pt x="84" y="33"/>
                    </a:lnTo>
                    <a:lnTo>
                      <a:pt x="84"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Rectangle 796"/>
              <p:cNvSpPr>
                <a:spLocks noChangeArrowheads="1"/>
              </p:cNvSpPr>
              <p:nvPr/>
            </p:nvSpPr>
            <p:spPr bwMode="auto">
              <a:xfrm>
                <a:off x="4163" y="2644"/>
                <a:ext cx="19"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797"/>
              <p:cNvSpPr>
                <a:spLocks/>
              </p:cNvSpPr>
              <p:nvPr/>
            </p:nvSpPr>
            <p:spPr bwMode="auto">
              <a:xfrm>
                <a:off x="4163" y="2624"/>
                <a:ext cx="19" cy="15"/>
              </a:xfrm>
              <a:custGeom>
                <a:avLst/>
                <a:gdLst>
                  <a:gd name="T0" fmla="*/ 84 w 84"/>
                  <a:gd name="T1" fmla="*/ 66 h 66"/>
                  <a:gd name="T2" fmla="*/ 0 w 84"/>
                  <a:gd name="T3" fmla="*/ 66 h 66"/>
                  <a:gd name="T4" fmla="*/ 0 w 84"/>
                  <a:gd name="T5" fmla="*/ 55 h 66"/>
                  <a:gd name="T6" fmla="*/ 66 w 84"/>
                  <a:gd name="T7" fmla="*/ 10 h 66"/>
                  <a:gd name="T8" fmla="*/ 0 w 84"/>
                  <a:gd name="T9" fmla="*/ 10 h 66"/>
                  <a:gd name="T10" fmla="*/ 0 w 84"/>
                  <a:gd name="T11" fmla="*/ 0 h 66"/>
                  <a:gd name="T12" fmla="*/ 84 w 84"/>
                  <a:gd name="T13" fmla="*/ 0 h 66"/>
                  <a:gd name="T14" fmla="*/ 84 w 84"/>
                  <a:gd name="T15" fmla="*/ 11 h 66"/>
                  <a:gd name="T16" fmla="*/ 18 w 84"/>
                  <a:gd name="T17" fmla="*/ 55 h 66"/>
                  <a:gd name="T18" fmla="*/ 84 w 84"/>
                  <a:gd name="T19" fmla="*/ 55 h 66"/>
                  <a:gd name="T20" fmla="*/ 84 w 84"/>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6">
                    <a:moveTo>
                      <a:pt x="84" y="66"/>
                    </a:moveTo>
                    <a:lnTo>
                      <a:pt x="0" y="66"/>
                    </a:lnTo>
                    <a:lnTo>
                      <a:pt x="0" y="55"/>
                    </a:lnTo>
                    <a:lnTo>
                      <a:pt x="66" y="10"/>
                    </a:lnTo>
                    <a:lnTo>
                      <a:pt x="0" y="10"/>
                    </a:lnTo>
                    <a:lnTo>
                      <a:pt x="0" y="0"/>
                    </a:lnTo>
                    <a:lnTo>
                      <a:pt x="84" y="0"/>
                    </a:lnTo>
                    <a:lnTo>
                      <a:pt x="84" y="11"/>
                    </a:lnTo>
                    <a:lnTo>
                      <a:pt x="18" y="55"/>
                    </a:lnTo>
                    <a:lnTo>
                      <a:pt x="84" y="55"/>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798"/>
              <p:cNvSpPr>
                <a:spLocks/>
              </p:cNvSpPr>
              <p:nvPr/>
            </p:nvSpPr>
            <p:spPr bwMode="auto">
              <a:xfrm>
                <a:off x="4047"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2 h 78"/>
                  <a:gd name="T32" fmla="*/ 18 w 87"/>
                  <a:gd name="T33" fmla="*/ 16 h 78"/>
                  <a:gd name="T34" fmla="*/ 12 w 87"/>
                  <a:gd name="T35" fmla="*/ 24 h 78"/>
                  <a:gd name="T36" fmla="*/ 10 w 87"/>
                  <a:gd name="T37" fmla="*/ 36 h 78"/>
                  <a:gd name="T38" fmla="*/ 12 w 87"/>
                  <a:gd name="T39" fmla="*/ 49 h 78"/>
                  <a:gd name="T40" fmla="*/ 18 w 87"/>
                  <a:gd name="T41" fmla="*/ 58 h 78"/>
                  <a:gd name="T42" fmla="*/ 27 w 87"/>
                  <a:gd name="T43" fmla="*/ 64 h 78"/>
                  <a:gd name="T44" fmla="*/ 44 w 87"/>
                  <a:gd name="T45" fmla="*/ 67 h 78"/>
                  <a:gd name="T46" fmla="*/ 62 w 87"/>
                  <a:gd name="T47" fmla="*/ 63 h 78"/>
                  <a:gd name="T48" fmla="*/ 74 w 87"/>
                  <a:gd name="T49" fmla="*/ 52 h 78"/>
                  <a:gd name="T50" fmla="*/ 77 w 87"/>
                  <a:gd name="T51" fmla="*/ 36 h 78"/>
                  <a:gd name="T52" fmla="*/ 75 w 87"/>
                  <a:gd name="T53" fmla="*/ 22 h 78"/>
                  <a:gd name="T54" fmla="*/ 69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9" y="6"/>
                      <a:pt x="82" y="11"/>
                      <a:pt x="84" y="17"/>
                    </a:cubicBezTo>
                    <a:cubicBezTo>
                      <a:pt x="86" y="23"/>
                      <a:pt x="87" y="29"/>
                      <a:pt x="87" y="35"/>
                    </a:cubicBezTo>
                    <a:cubicBezTo>
                      <a:pt x="87" y="43"/>
                      <a:pt x="86" y="51"/>
                      <a:pt x="82" y="58"/>
                    </a:cubicBezTo>
                    <a:cubicBezTo>
                      <a:pt x="79" y="64"/>
                      <a:pt x="73" y="70"/>
                      <a:pt x="67" y="73"/>
                    </a:cubicBezTo>
                    <a:cubicBezTo>
                      <a:pt x="60" y="77"/>
                      <a:pt x="53" y="78"/>
                      <a:pt x="44" y="78"/>
                    </a:cubicBezTo>
                    <a:cubicBezTo>
                      <a:pt x="36" y="78"/>
                      <a:pt x="28" y="77"/>
                      <a:pt x="21" y="73"/>
                    </a:cubicBezTo>
                    <a:cubicBezTo>
                      <a:pt x="14" y="70"/>
                      <a:pt x="9" y="65"/>
                      <a:pt x="5" y="58"/>
                    </a:cubicBezTo>
                    <a:cubicBezTo>
                      <a:pt x="2" y="52"/>
                      <a:pt x="0" y="44"/>
                      <a:pt x="0" y="36"/>
                    </a:cubicBezTo>
                    <a:cubicBezTo>
                      <a:pt x="0" y="30"/>
                      <a:pt x="1" y="24"/>
                      <a:pt x="3" y="19"/>
                    </a:cubicBezTo>
                    <a:cubicBezTo>
                      <a:pt x="5" y="15"/>
                      <a:pt x="8" y="11"/>
                      <a:pt x="11" y="8"/>
                    </a:cubicBezTo>
                    <a:cubicBezTo>
                      <a:pt x="15" y="5"/>
                      <a:pt x="20" y="3"/>
                      <a:pt x="25" y="1"/>
                    </a:cubicBezTo>
                    <a:lnTo>
                      <a:pt x="28" y="12"/>
                    </a:lnTo>
                    <a:cubicBezTo>
                      <a:pt x="24" y="13"/>
                      <a:pt x="20" y="14"/>
                      <a:pt x="18" y="16"/>
                    </a:cubicBezTo>
                    <a:cubicBezTo>
                      <a:pt x="15" y="18"/>
                      <a:pt x="13" y="21"/>
                      <a:pt x="12" y="24"/>
                    </a:cubicBezTo>
                    <a:cubicBezTo>
                      <a:pt x="11" y="28"/>
                      <a:pt x="10" y="32"/>
                      <a:pt x="10" y="36"/>
                    </a:cubicBezTo>
                    <a:cubicBezTo>
                      <a:pt x="10" y="41"/>
                      <a:pt x="11" y="45"/>
                      <a:pt x="12" y="49"/>
                    </a:cubicBezTo>
                    <a:cubicBezTo>
                      <a:pt x="14" y="53"/>
                      <a:pt x="16" y="56"/>
                      <a:pt x="18" y="58"/>
                    </a:cubicBezTo>
                    <a:cubicBezTo>
                      <a:pt x="21" y="60"/>
                      <a:pt x="24" y="62"/>
                      <a:pt x="27" y="64"/>
                    </a:cubicBezTo>
                    <a:cubicBezTo>
                      <a:pt x="32" y="66"/>
                      <a:pt x="37" y="67"/>
                      <a:pt x="44" y="67"/>
                    </a:cubicBezTo>
                    <a:cubicBezTo>
                      <a:pt x="51" y="67"/>
                      <a:pt x="57" y="65"/>
                      <a:pt x="62" y="63"/>
                    </a:cubicBezTo>
                    <a:cubicBezTo>
                      <a:pt x="67" y="60"/>
                      <a:pt x="71" y="56"/>
                      <a:pt x="74" y="52"/>
                    </a:cubicBezTo>
                    <a:cubicBezTo>
                      <a:pt x="76" y="47"/>
                      <a:pt x="77" y="41"/>
                      <a:pt x="77" y="36"/>
                    </a:cubicBezTo>
                    <a:cubicBezTo>
                      <a:pt x="77" y="31"/>
                      <a:pt x="76" y="26"/>
                      <a:pt x="75" y="22"/>
                    </a:cubicBezTo>
                    <a:cubicBezTo>
                      <a:pt x="73" y="17"/>
                      <a:pt x="71" y="14"/>
                      <a:pt x="69"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799"/>
              <p:cNvSpPr>
                <a:spLocks/>
              </p:cNvSpPr>
              <p:nvPr/>
            </p:nvSpPr>
            <p:spPr bwMode="auto">
              <a:xfrm>
                <a:off x="4048" y="2628"/>
                <a:ext cx="19" cy="16"/>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800"/>
              <p:cNvSpPr>
                <a:spLocks noEditPoints="1"/>
              </p:cNvSpPr>
              <p:nvPr/>
            </p:nvSpPr>
            <p:spPr bwMode="auto">
              <a:xfrm>
                <a:off x="4048" y="2608"/>
                <a:ext cx="19" cy="16"/>
              </a:xfrm>
              <a:custGeom>
                <a:avLst/>
                <a:gdLst>
                  <a:gd name="T0" fmla="*/ 84 w 84"/>
                  <a:gd name="T1" fmla="*/ 70 h 70"/>
                  <a:gd name="T2" fmla="*/ 0 w 84"/>
                  <a:gd name="T3" fmla="*/ 70 h 70"/>
                  <a:gd name="T4" fmla="*/ 0 w 84"/>
                  <a:gd name="T5" fmla="*/ 41 h 70"/>
                  <a:gd name="T6" fmla="*/ 1 w 84"/>
                  <a:gd name="T7" fmla="*/ 26 h 70"/>
                  <a:gd name="T8" fmla="*/ 7 w 84"/>
                  <a:gd name="T9" fmla="*/ 13 h 70"/>
                  <a:gd name="T10" fmla="*/ 21 w 84"/>
                  <a:gd name="T11" fmla="*/ 3 h 70"/>
                  <a:gd name="T12" fmla="*/ 41 w 84"/>
                  <a:gd name="T13" fmla="*/ 0 h 70"/>
                  <a:gd name="T14" fmla="*/ 58 w 84"/>
                  <a:gd name="T15" fmla="*/ 2 h 70"/>
                  <a:gd name="T16" fmla="*/ 71 w 84"/>
                  <a:gd name="T17" fmla="*/ 8 h 70"/>
                  <a:gd name="T18" fmla="*/ 78 w 84"/>
                  <a:gd name="T19" fmla="*/ 16 h 70"/>
                  <a:gd name="T20" fmla="*/ 83 w 84"/>
                  <a:gd name="T21" fmla="*/ 26 h 70"/>
                  <a:gd name="T22" fmla="*/ 84 w 84"/>
                  <a:gd name="T23" fmla="*/ 39 h 70"/>
                  <a:gd name="T24" fmla="*/ 84 w 84"/>
                  <a:gd name="T25" fmla="*/ 70 h 70"/>
                  <a:gd name="T26" fmla="*/ 74 w 84"/>
                  <a:gd name="T27" fmla="*/ 58 h 70"/>
                  <a:gd name="T28" fmla="*/ 74 w 84"/>
                  <a:gd name="T29" fmla="*/ 40 h 70"/>
                  <a:gd name="T30" fmla="*/ 73 w 84"/>
                  <a:gd name="T31" fmla="*/ 27 h 70"/>
                  <a:gd name="T32" fmla="*/ 68 w 84"/>
                  <a:gd name="T33" fmla="*/ 20 h 70"/>
                  <a:gd name="T34" fmla="*/ 57 w 84"/>
                  <a:gd name="T35" fmla="*/ 14 h 70"/>
                  <a:gd name="T36" fmla="*/ 41 w 84"/>
                  <a:gd name="T37" fmla="*/ 11 h 70"/>
                  <a:gd name="T38" fmla="*/ 21 w 84"/>
                  <a:gd name="T39" fmla="*/ 16 h 70"/>
                  <a:gd name="T40" fmla="*/ 11 w 84"/>
                  <a:gd name="T41" fmla="*/ 26 h 70"/>
                  <a:gd name="T42" fmla="*/ 10 w 84"/>
                  <a:gd name="T43" fmla="*/ 41 h 70"/>
                  <a:gd name="T44" fmla="*/ 10 w 84"/>
                  <a:gd name="T45" fmla="*/ 58 h 70"/>
                  <a:gd name="T46" fmla="*/ 74 w 84"/>
                  <a:gd name="T47"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70">
                    <a:moveTo>
                      <a:pt x="84" y="70"/>
                    </a:moveTo>
                    <a:lnTo>
                      <a:pt x="0" y="70"/>
                    </a:lnTo>
                    <a:lnTo>
                      <a:pt x="0" y="41"/>
                    </a:lnTo>
                    <a:cubicBezTo>
                      <a:pt x="0" y="34"/>
                      <a:pt x="0" y="29"/>
                      <a:pt x="1" y="26"/>
                    </a:cubicBezTo>
                    <a:cubicBezTo>
                      <a:pt x="2" y="21"/>
                      <a:pt x="4" y="17"/>
                      <a:pt x="7" y="13"/>
                    </a:cubicBezTo>
                    <a:cubicBezTo>
                      <a:pt x="11" y="9"/>
                      <a:pt x="15" y="5"/>
                      <a:pt x="21" y="3"/>
                    </a:cubicBezTo>
                    <a:cubicBezTo>
                      <a:pt x="27" y="1"/>
                      <a:pt x="34" y="0"/>
                      <a:pt x="41" y="0"/>
                    </a:cubicBezTo>
                    <a:cubicBezTo>
                      <a:pt x="48" y="0"/>
                      <a:pt x="53" y="1"/>
                      <a:pt x="58" y="2"/>
                    </a:cubicBezTo>
                    <a:cubicBezTo>
                      <a:pt x="63" y="4"/>
                      <a:pt x="67" y="6"/>
                      <a:pt x="71" y="8"/>
                    </a:cubicBezTo>
                    <a:cubicBezTo>
                      <a:pt x="74" y="10"/>
                      <a:pt x="76" y="13"/>
                      <a:pt x="78" y="16"/>
                    </a:cubicBezTo>
                    <a:cubicBezTo>
                      <a:pt x="80" y="18"/>
                      <a:pt x="82" y="22"/>
                      <a:pt x="83" y="26"/>
                    </a:cubicBezTo>
                    <a:cubicBezTo>
                      <a:pt x="84" y="30"/>
                      <a:pt x="84" y="34"/>
                      <a:pt x="84" y="39"/>
                    </a:cubicBezTo>
                    <a:lnTo>
                      <a:pt x="84" y="70"/>
                    </a:lnTo>
                    <a:close/>
                    <a:moveTo>
                      <a:pt x="74" y="58"/>
                    </a:moveTo>
                    <a:lnTo>
                      <a:pt x="74" y="40"/>
                    </a:lnTo>
                    <a:cubicBezTo>
                      <a:pt x="74" y="35"/>
                      <a:pt x="74" y="31"/>
                      <a:pt x="73" y="27"/>
                    </a:cubicBezTo>
                    <a:cubicBezTo>
                      <a:pt x="71" y="24"/>
                      <a:pt x="70" y="22"/>
                      <a:pt x="68" y="20"/>
                    </a:cubicBezTo>
                    <a:cubicBezTo>
                      <a:pt x="65" y="17"/>
                      <a:pt x="62" y="15"/>
                      <a:pt x="57" y="14"/>
                    </a:cubicBezTo>
                    <a:cubicBezTo>
                      <a:pt x="53" y="12"/>
                      <a:pt x="48" y="11"/>
                      <a:pt x="41" y="11"/>
                    </a:cubicBezTo>
                    <a:cubicBezTo>
                      <a:pt x="32" y="11"/>
                      <a:pt x="26" y="13"/>
                      <a:pt x="21" y="16"/>
                    </a:cubicBezTo>
                    <a:cubicBezTo>
                      <a:pt x="16" y="19"/>
                      <a:pt x="13" y="22"/>
                      <a:pt x="11" y="26"/>
                    </a:cubicBezTo>
                    <a:cubicBezTo>
                      <a:pt x="10" y="29"/>
                      <a:pt x="10" y="34"/>
                      <a:pt x="10" y="41"/>
                    </a:cubicBezTo>
                    <a:lnTo>
                      <a:pt x="10" y="58"/>
                    </a:lnTo>
                    <a:lnTo>
                      <a:pt x="74"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801"/>
              <p:cNvSpPr>
                <a:spLocks/>
              </p:cNvSpPr>
              <p:nvPr/>
            </p:nvSpPr>
            <p:spPr bwMode="auto">
              <a:xfrm>
                <a:off x="4103"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7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1 h 78"/>
                  <a:gd name="T32" fmla="*/ 18 w 87"/>
                  <a:gd name="T33" fmla="*/ 16 h 78"/>
                  <a:gd name="T34" fmla="*/ 12 w 87"/>
                  <a:gd name="T35" fmla="*/ 24 h 78"/>
                  <a:gd name="T36" fmla="*/ 10 w 87"/>
                  <a:gd name="T37" fmla="*/ 36 h 78"/>
                  <a:gd name="T38" fmla="*/ 12 w 87"/>
                  <a:gd name="T39" fmla="*/ 49 h 78"/>
                  <a:gd name="T40" fmla="*/ 18 w 87"/>
                  <a:gd name="T41" fmla="*/ 58 h 78"/>
                  <a:gd name="T42" fmla="*/ 26 w 87"/>
                  <a:gd name="T43" fmla="*/ 63 h 78"/>
                  <a:gd name="T44" fmla="*/ 43 w 87"/>
                  <a:gd name="T45" fmla="*/ 66 h 78"/>
                  <a:gd name="T46" fmla="*/ 62 w 87"/>
                  <a:gd name="T47" fmla="*/ 63 h 78"/>
                  <a:gd name="T48" fmla="*/ 74 w 87"/>
                  <a:gd name="T49" fmla="*/ 51 h 78"/>
                  <a:gd name="T50" fmla="*/ 77 w 87"/>
                  <a:gd name="T51" fmla="*/ 35 h 78"/>
                  <a:gd name="T52" fmla="*/ 74 w 87"/>
                  <a:gd name="T53" fmla="*/ 21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5"/>
                      <a:pt x="82" y="11"/>
                      <a:pt x="84" y="17"/>
                    </a:cubicBezTo>
                    <a:cubicBezTo>
                      <a:pt x="86" y="23"/>
                      <a:pt x="87" y="29"/>
                      <a:pt x="87" y="35"/>
                    </a:cubicBezTo>
                    <a:cubicBezTo>
                      <a:pt x="87" y="43"/>
                      <a:pt x="85" y="51"/>
                      <a:pt x="82" y="57"/>
                    </a:cubicBezTo>
                    <a:cubicBezTo>
                      <a:pt x="78" y="64"/>
                      <a:pt x="73" y="69"/>
                      <a:pt x="67" y="73"/>
                    </a:cubicBezTo>
                    <a:cubicBezTo>
                      <a:pt x="60" y="76"/>
                      <a:pt x="52" y="78"/>
                      <a:pt x="44" y="78"/>
                    </a:cubicBezTo>
                    <a:cubicBezTo>
                      <a:pt x="36" y="78"/>
                      <a:pt x="28" y="76"/>
                      <a:pt x="21" y="73"/>
                    </a:cubicBezTo>
                    <a:cubicBezTo>
                      <a:pt x="14" y="69"/>
                      <a:pt x="9" y="64"/>
                      <a:pt x="5" y="58"/>
                    </a:cubicBezTo>
                    <a:cubicBezTo>
                      <a:pt x="2" y="52"/>
                      <a:pt x="0" y="44"/>
                      <a:pt x="0" y="36"/>
                    </a:cubicBezTo>
                    <a:cubicBezTo>
                      <a:pt x="0" y="30"/>
                      <a:pt x="1" y="24"/>
                      <a:pt x="3" y="19"/>
                    </a:cubicBezTo>
                    <a:cubicBezTo>
                      <a:pt x="5" y="14"/>
                      <a:pt x="8" y="10"/>
                      <a:pt x="11" y="8"/>
                    </a:cubicBezTo>
                    <a:cubicBezTo>
                      <a:pt x="15" y="5"/>
                      <a:pt x="19" y="3"/>
                      <a:pt x="25" y="1"/>
                    </a:cubicBezTo>
                    <a:lnTo>
                      <a:pt x="28" y="11"/>
                    </a:lnTo>
                    <a:cubicBezTo>
                      <a:pt x="24" y="12"/>
                      <a:pt x="20" y="14"/>
                      <a:pt x="18" y="16"/>
                    </a:cubicBezTo>
                    <a:cubicBezTo>
                      <a:pt x="15" y="18"/>
                      <a:pt x="13" y="21"/>
                      <a:pt x="12" y="24"/>
                    </a:cubicBezTo>
                    <a:cubicBezTo>
                      <a:pt x="10" y="27"/>
                      <a:pt x="10" y="31"/>
                      <a:pt x="10" y="36"/>
                    </a:cubicBezTo>
                    <a:cubicBezTo>
                      <a:pt x="10" y="41"/>
                      <a:pt x="10" y="45"/>
                      <a:pt x="12" y="49"/>
                    </a:cubicBezTo>
                    <a:cubicBezTo>
                      <a:pt x="13" y="53"/>
                      <a:pt x="15" y="56"/>
                      <a:pt x="18" y="58"/>
                    </a:cubicBezTo>
                    <a:cubicBezTo>
                      <a:pt x="21" y="60"/>
                      <a:pt x="23" y="62"/>
                      <a:pt x="26" y="63"/>
                    </a:cubicBezTo>
                    <a:cubicBezTo>
                      <a:pt x="32" y="65"/>
                      <a:pt x="37" y="66"/>
                      <a:pt x="43" y="66"/>
                    </a:cubicBezTo>
                    <a:cubicBezTo>
                      <a:pt x="51" y="66"/>
                      <a:pt x="57" y="65"/>
                      <a:pt x="62" y="63"/>
                    </a:cubicBezTo>
                    <a:cubicBezTo>
                      <a:pt x="67" y="60"/>
                      <a:pt x="71" y="56"/>
                      <a:pt x="74" y="51"/>
                    </a:cubicBezTo>
                    <a:cubicBezTo>
                      <a:pt x="76" y="46"/>
                      <a:pt x="77" y="41"/>
                      <a:pt x="77" y="35"/>
                    </a:cubicBezTo>
                    <a:cubicBezTo>
                      <a:pt x="77" y="31"/>
                      <a:pt x="76" y="26"/>
                      <a:pt x="74" y="21"/>
                    </a:cubicBezTo>
                    <a:cubicBezTo>
                      <a:pt x="73" y="17"/>
                      <a:pt x="71" y="13"/>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802"/>
              <p:cNvSpPr>
                <a:spLocks/>
              </p:cNvSpPr>
              <p:nvPr/>
            </p:nvSpPr>
            <p:spPr bwMode="auto">
              <a:xfrm>
                <a:off x="4104" y="2628"/>
                <a:ext cx="19"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803"/>
              <p:cNvSpPr>
                <a:spLocks noEditPoints="1"/>
              </p:cNvSpPr>
              <p:nvPr/>
            </p:nvSpPr>
            <p:spPr bwMode="auto">
              <a:xfrm>
                <a:off x="4104" y="2608"/>
                <a:ext cx="19" cy="16"/>
              </a:xfrm>
              <a:custGeom>
                <a:avLst/>
                <a:gdLst>
                  <a:gd name="T0" fmla="*/ 85 w 85"/>
                  <a:gd name="T1" fmla="*/ 69 h 69"/>
                  <a:gd name="T2" fmla="*/ 0 w 85"/>
                  <a:gd name="T3" fmla="*/ 69 h 69"/>
                  <a:gd name="T4" fmla="*/ 0 w 85"/>
                  <a:gd name="T5" fmla="*/ 40 h 69"/>
                  <a:gd name="T6" fmla="*/ 2 w 85"/>
                  <a:gd name="T7" fmla="*/ 25 h 69"/>
                  <a:gd name="T8" fmla="*/ 8 w 85"/>
                  <a:gd name="T9" fmla="*/ 13 h 69"/>
                  <a:gd name="T10" fmla="*/ 22 w 85"/>
                  <a:gd name="T11" fmla="*/ 3 h 69"/>
                  <a:gd name="T12" fmla="*/ 42 w 85"/>
                  <a:gd name="T13" fmla="*/ 0 h 69"/>
                  <a:gd name="T14" fmla="*/ 59 w 85"/>
                  <a:gd name="T15" fmla="*/ 2 h 69"/>
                  <a:gd name="T16" fmla="*/ 71 w 85"/>
                  <a:gd name="T17" fmla="*/ 8 h 69"/>
                  <a:gd name="T18" fmla="*/ 79 w 85"/>
                  <a:gd name="T19" fmla="*/ 15 h 69"/>
                  <a:gd name="T20" fmla="*/ 83 w 85"/>
                  <a:gd name="T21" fmla="*/ 25 h 69"/>
                  <a:gd name="T22" fmla="*/ 85 w 85"/>
                  <a:gd name="T23" fmla="*/ 39 h 69"/>
                  <a:gd name="T24" fmla="*/ 85 w 85"/>
                  <a:gd name="T25" fmla="*/ 69 h 69"/>
                  <a:gd name="T26" fmla="*/ 75 w 85"/>
                  <a:gd name="T27" fmla="*/ 58 h 69"/>
                  <a:gd name="T28" fmla="*/ 75 w 85"/>
                  <a:gd name="T29" fmla="*/ 40 h 69"/>
                  <a:gd name="T30" fmla="*/ 73 w 85"/>
                  <a:gd name="T31" fmla="*/ 27 h 69"/>
                  <a:gd name="T32" fmla="*/ 69 w 85"/>
                  <a:gd name="T33" fmla="*/ 19 h 69"/>
                  <a:gd name="T34" fmla="*/ 58 w 85"/>
                  <a:gd name="T35" fmla="*/ 13 h 69"/>
                  <a:gd name="T36" fmla="*/ 42 w 85"/>
                  <a:gd name="T37" fmla="*/ 11 h 69"/>
                  <a:gd name="T38" fmla="*/ 22 w 85"/>
                  <a:gd name="T39" fmla="*/ 15 h 69"/>
                  <a:gd name="T40" fmla="*/ 12 w 85"/>
                  <a:gd name="T41" fmla="*/ 26 h 69"/>
                  <a:gd name="T42" fmla="*/ 10 w 85"/>
                  <a:gd name="T43" fmla="*/ 40 h 69"/>
                  <a:gd name="T44" fmla="*/ 10 w 85"/>
                  <a:gd name="T45" fmla="*/ 58 h 69"/>
                  <a:gd name="T46" fmla="*/ 75 w 85"/>
                  <a:gd name="T4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69">
                    <a:moveTo>
                      <a:pt x="85" y="69"/>
                    </a:moveTo>
                    <a:lnTo>
                      <a:pt x="0" y="69"/>
                    </a:lnTo>
                    <a:lnTo>
                      <a:pt x="0" y="40"/>
                    </a:lnTo>
                    <a:cubicBezTo>
                      <a:pt x="0" y="34"/>
                      <a:pt x="1" y="29"/>
                      <a:pt x="2" y="25"/>
                    </a:cubicBezTo>
                    <a:cubicBezTo>
                      <a:pt x="3" y="20"/>
                      <a:pt x="5" y="16"/>
                      <a:pt x="8" y="13"/>
                    </a:cubicBezTo>
                    <a:cubicBezTo>
                      <a:pt x="11" y="8"/>
                      <a:pt x="16" y="5"/>
                      <a:pt x="22" y="3"/>
                    </a:cubicBezTo>
                    <a:cubicBezTo>
                      <a:pt x="28" y="1"/>
                      <a:pt x="35" y="0"/>
                      <a:pt x="42" y="0"/>
                    </a:cubicBezTo>
                    <a:cubicBezTo>
                      <a:pt x="49" y="0"/>
                      <a:pt x="54" y="0"/>
                      <a:pt x="59" y="2"/>
                    </a:cubicBezTo>
                    <a:cubicBezTo>
                      <a:pt x="64" y="3"/>
                      <a:pt x="68" y="5"/>
                      <a:pt x="71" y="8"/>
                    </a:cubicBezTo>
                    <a:cubicBezTo>
                      <a:pt x="75" y="10"/>
                      <a:pt x="77" y="12"/>
                      <a:pt x="79" y="15"/>
                    </a:cubicBezTo>
                    <a:cubicBezTo>
                      <a:pt x="81" y="18"/>
                      <a:pt x="82" y="21"/>
                      <a:pt x="83" y="25"/>
                    </a:cubicBezTo>
                    <a:cubicBezTo>
                      <a:pt x="84" y="29"/>
                      <a:pt x="85" y="34"/>
                      <a:pt x="85" y="39"/>
                    </a:cubicBezTo>
                    <a:lnTo>
                      <a:pt x="85" y="69"/>
                    </a:lnTo>
                    <a:close/>
                    <a:moveTo>
                      <a:pt x="75" y="58"/>
                    </a:moveTo>
                    <a:lnTo>
                      <a:pt x="75" y="40"/>
                    </a:lnTo>
                    <a:cubicBezTo>
                      <a:pt x="75" y="35"/>
                      <a:pt x="74" y="30"/>
                      <a:pt x="73" y="27"/>
                    </a:cubicBezTo>
                    <a:cubicBezTo>
                      <a:pt x="72" y="24"/>
                      <a:pt x="71" y="21"/>
                      <a:pt x="69" y="19"/>
                    </a:cubicBezTo>
                    <a:cubicBezTo>
                      <a:pt x="66" y="17"/>
                      <a:pt x="63" y="15"/>
                      <a:pt x="58" y="13"/>
                    </a:cubicBezTo>
                    <a:cubicBezTo>
                      <a:pt x="54" y="12"/>
                      <a:pt x="48" y="11"/>
                      <a:pt x="42" y="11"/>
                    </a:cubicBezTo>
                    <a:cubicBezTo>
                      <a:pt x="33" y="11"/>
                      <a:pt x="26" y="13"/>
                      <a:pt x="22" y="15"/>
                    </a:cubicBezTo>
                    <a:cubicBezTo>
                      <a:pt x="17" y="18"/>
                      <a:pt x="14" y="22"/>
                      <a:pt x="12" y="26"/>
                    </a:cubicBezTo>
                    <a:cubicBezTo>
                      <a:pt x="11" y="29"/>
                      <a:pt x="10" y="34"/>
                      <a:pt x="10" y="40"/>
                    </a:cubicBezTo>
                    <a:lnTo>
                      <a:pt x="10" y="58"/>
                    </a:lnTo>
                    <a:lnTo>
                      <a:pt x="75"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804"/>
              <p:cNvSpPr>
                <a:spLocks noEditPoints="1"/>
              </p:cNvSpPr>
              <p:nvPr/>
            </p:nvSpPr>
            <p:spPr bwMode="auto">
              <a:xfrm>
                <a:off x="4154" y="1751"/>
                <a:ext cx="17" cy="21"/>
              </a:xfrm>
              <a:custGeom>
                <a:avLst/>
                <a:gdLst>
                  <a:gd name="T0" fmla="*/ 0 w 77"/>
                  <a:gd name="T1" fmla="*/ 93 h 93"/>
                  <a:gd name="T2" fmla="*/ 0 w 77"/>
                  <a:gd name="T3" fmla="*/ 0 h 93"/>
                  <a:gd name="T4" fmla="*/ 32 w 77"/>
                  <a:gd name="T5" fmla="*/ 0 h 93"/>
                  <a:gd name="T6" fmla="*/ 48 w 77"/>
                  <a:gd name="T7" fmla="*/ 2 h 93"/>
                  <a:gd name="T8" fmla="*/ 62 w 77"/>
                  <a:gd name="T9" fmla="*/ 8 h 93"/>
                  <a:gd name="T10" fmla="*/ 73 w 77"/>
                  <a:gd name="T11" fmla="*/ 24 h 93"/>
                  <a:gd name="T12" fmla="*/ 77 w 77"/>
                  <a:gd name="T13" fmla="*/ 46 h 93"/>
                  <a:gd name="T14" fmla="*/ 74 w 77"/>
                  <a:gd name="T15" fmla="*/ 65 h 93"/>
                  <a:gd name="T16" fmla="*/ 68 w 77"/>
                  <a:gd name="T17" fmla="*/ 79 h 93"/>
                  <a:gd name="T18" fmla="*/ 59 w 77"/>
                  <a:gd name="T19" fmla="*/ 87 h 93"/>
                  <a:gd name="T20" fmla="*/ 48 w 77"/>
                  <a:gd name="T21" fmla="*/ 92 h 93"/>
                  <a:gd name="T22" fmla="*/ 33 w 77"/>
                  <a:gd name="T23" fmla="*/ 93 h 93"/>
                  <a:gd name="T24" fmla="*/ 0 w 77"/>
                  <a:gd name="T25" fmla="*/ 93 h 93"/>
                  <a:gd name="T26" fmla="*/ 12 w 77"/>
                  <a:gd name="T27" fmla="*/ 82 h 93"/>
                  <a:gd name="T28" fmla="*/ 32 w 77"/>
                  <a:gd name="T29" fmla="*/ 82 h 93"/>
                  <a:gd name="T30" fmla="*/ 46 w 77"/>
                  <a:gd name="T31" fmla="*/ 81 h 93"/>
                  <a:gd name="T32" fmla="*/ 55 w 77"/>
                  <a:gd name="T33" fmla="*/ 76 h 93"/>
                  <a:gd name="T34" fmla="*/ 61 w 77"/>
                  <a:gd name="T35" fmla="*/ 64 h 93"/>
                  <a:gd name="T36" fmla="*/ 64 w 77"/>
                  <a:gd name="T37" fmla="*/ 46 h 93"/>
                  <a:gd name="T38" fmla="*/ 59 w 77"/>
                  <a:gd name="T39" fmla="*/ 24 h 93"/>
                  <a:gd name="T40" fmla="*/ 47 w 77"/>
                  <a:gd name="T41" fmla="*/ 13 h 93"/>
                  <a:gd name="T42" fmla="*/ 32 w 77"/>
                  <a:gd name="T43" fmla="*/ 11 h 93"/>
                  <a:gd name="T44" fmla="*/ 12 w 77"/>
                  <a:gd name="T45" fmla="*/ 11 h 93"/>
                  <a:gd name="T46" fmla="*/ 12 w 77"/>
                  <a:gd name="T47"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93">
                    <a:moveTo>
                      <a:pt x="0" y="93"/>
                    </a:moveTo>
                    <a:lnTo>
                      <a:pt x="0" y="0"/>
                    </a:lnTo>
                    <a:lnTo>
                      <a:pt x="32" y="0"/>
                    </a:lnTo>
                    <a:cubicBezTo>
                      <a:pt x="39" y="0"/>
                      <a:pt x="45" y="1"/>
                      <a:pt x="48" y="2"/>
                    </a:cubicBezTo>
                    <a:cubicBezTo>
                      <a:pt x="54" y="3"/>
                      <a:pt x="58" y="5"/>
                      <a:pt x="62" y="8"/>
                    </a:cubicBezTo>
                    <a:cubicBezTo>
                      <a:pt x="67" y="13"/>
                      <a:pt x="70" y="18"/>
                      <a:pt x="73" y="24"/>
                    </a:cubicBezTo>
                    <a:cubicBezTo>
                      <a:pt x="75" y="31"/>
                      <a:pt x="77" y="38"/>
                      <a:pt x="77" y="46"/>
                    </a:cubicBezTo>
                    <a:cubicBezTo>
                      <a:pt x="77" y="53"/>
                      <a:pt x="76" y="60"/>
                      <a:pt x="74" y="65"/>
                    </a:cubicBezTo>
                    <a:cubicBezTo>
                      <a:pt x="72" y="71"/>
                      <a:pt x="70" y="75"/>
                      <a:pt x="68" y="79"/>
                    </a:cubicBezTo>
                    <a:cubicBezTo>
                      <a:pt x="65" y="82"/>
                      <a:pt x="62" y="85"/>
                      <a:pt x="59" y="87"/>
                    </a:cubicBezTo>
                    <a:cubicBezTo>
                      <a:pt x="56" y="89"/>
                      <a:pt x="53" y="91"/>
                      <a:pt x="48" y="92"/>
                    </a:cubicBezTo>
                    <a:cubicBezTo>
                      <a:pt x="44" y="93"/>
                      <a:pt x="39" y="93"/>
                      <a:pt x="33" y="93"/>
                    </a:cubicBezTo>
                    <a:lnTo>
                      <a:pt x="0" y="93"/>
                    </a:lnTo>
                    <a:close/>
                    <a:moveTo>
                      <a:pt x="12" y="82"/>
                    </a:moveTo>
                    <a:lnTo>
                      <a:pt x="32" y="82"/>
                    </a:lnTo>
                    <a:cubicBezTo>
                      <a:pt x="38" y="82"/>
                      <a:pt x="43" y="82"/>
                      <a:pt x="46" y="81"/>
                    </a:cubicBezTo>
                    <a:cubicBezTo>
                      <a:pt x="50" y="79"/>
                      <a:pt x="53" y="78"/>
                      <a:pt x="55" y="76"/>
                    </a:cubicBezTo>
                    <a:cubicBezTo>
                      <a:pt x="58" y="73"/>
                      <a:pt x="60" y="69"/>
                      <a:pt x="61" y="64"/>
                    </a:cubicBezTo>
                    <a:cubicBezTo>
                      <a:pt x="63" y="59"/>
                      <a:pt x="64" y="53"/>
                      <a:pt x="64" y="46"/>
                    </a:cubicBezTo>
                    <a:cubicBezTo>
                      <a:pt x="64" y="36"/>
                      <a:pt x="62" y="29"/>
                      <a:pt x="59" y="24"/>
                    </a:cubicBezTo>
                    <a:cubicBezTo>
                      <a:pt x="56" y="19"/>
                      <a:pt x="52" y="15"/>
                      <a:pt x="47" y="13"/>
                    </a:cubicBezTo>
                    <a:cubicBezTo>
                      <a:pt x="44" y="12"/>
                      <a:pt x="39" y="11"/>
                      <a:pt x="32" y="11"/>
                    </a:cubicBezTo>
                    <a:lnTo>
                      <a:pt x="12" y="11"/>
                    </a:lnTo>
                    <a:lnTo>
                      <a:pt x="12" y="8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Rectangle 805"/>
              <p:cNvSpPr>
                <a:spLocks noChangeArrowheads="1"/>
              </p:cNvSpPr>
              <p:nvPr/>
            </p:nvSpPr>
            <p:spPr bwMode="auto">
              <a:xfrm>
                <a:off x="4176" y="1751"/>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806"/>
              <p:cNvSpPr>
                <a:spLocks/>
              </p:cNvSpPr>
              <p:nvPr/>
            </p:nvSpPr>
            <p:spPr bwMode="auto">
              <a:xfrm>
                <a:off x="4183" y="1751"/>
                <a:ext cx="19" cy="22"/>
              </a:xfrm>
              <a:custGeom>
                <a:avLst/>
                <a:gdLst>
                  <a:gd name="T0" fmla="*/ 47 w 86"/>
                  <a:gd name="T1" fmla="*/ 58 h 96"/>
                  <a:gd name="T2" fmla="*/ 47 w 86"/>
                  <a:gd name="T3" fmla="*/ 47 h 96"/>
                  <a:gd name="T4" fmla="*/ 86 w 86"/>
                  <a:gd name="T5" fmla="*/ 47 h 96"/>
                  <a:gd name="T6" fmla="*/ 86 w 86"/>
                  <a:gd name="T7" fmla="*/ 81 h 96"/>
                  <a:gd name="T8" fmla="*/ 68 w 86"/>
                  <a:gd name="T9" fmla="*/ 92 h 96"/>
                  <a:gd name="T10" fmla="*/ 48 w 86"/>
                  <a:gd name="T11" fmla="*/ 96 h 96"/>
                  <a:gd name="T12" fmla="*/ 23 w 86"/>
                  <a:gd name="T13" fmla="*/ 90 h 96"/>
                  <a:gd name="T14" fmla="*/ 6 w 86"/>
                  <a:gd name="T15" fmla="*/ 73 h 96"/>
                  <a:gd name="T16" fmla="*/ 0 w 86"/>
                  <a:gd name="T17" fmla="*/ 48 h 96"/>
                  <a:gd name="T18" fmla="*/ 6 w 86"/>
                  <a:gd name="T19" fmla="*/ 23 h 96"/>
                  <a:gd name="T20" fmla="*/ 22 w 86"/>
                  <a:gd name="T21" fmla="*/ 6 h 96"/>
                  <a:gd name="T22" fmla="*/ 47 w 86"/>
                  <a:gd name="T23" fmla="*/ 0 h 96"/>
                  <a:gd name="T24" fmla="*/ 65 w 86"/>
                  <a:gd name="T25" fmla="*/ 3 h 96"/>
                  <a:gd name="T26" fmla="*/ 78 w 86"/>
                  <a:gd name="T27" fmla="*/ 12 h 96"/>
                  <a:gd name="T28" fmla="*/ 85 w 86"/>
                  <a:gd name="T29" fmla="*/ 27 h 96"/>
                  <a:gd name="T30" fmla="*/ 74 w 86"/>
                  <a:gd name="T31" fmla="*/ 30 h 96"/>
                  <a:gd name="T32" fmla="*/ 69 w 86"/>
                  <a:gd name="T33" fmla="*/ 19 h 96"/>
                  <a:gd name="T34" fmla="*/ 60 w 86"/>
                  <a:gd name="T35" fmla="*/ 13 h 96"/>
                  <a:gd name="T36" fmla="*/ 47 w 86"/>
                  <a:gd name="T37" fmla="*/ 10 h 96"/>
                  <a:gd name="T38" fmla="*/ 32 w 86"/>
                  <a:gd name="T39" fmla="*/ 13 h 96"/>
                  <a:gd name="T40" fmla="*/ 22 w 86"/>
                  <a:gd name="T41" fmla="*/ 20 h 96"/>
                  <a:gd name="T42" fmla="*/ 17 w 86"/>
                  <a:gd name="T43" fmla="*/ 29 h 96"/>
                  <a:gd name="T44" fmla="*/ 13 w 86"/>
                  <a:gd name="T45" fmla="*/ 48 h 96"/>
                  <a:gd name="T46" fmla="*/ 17 w 86"/>
                  <a:gd name="T47" fmla="*/ 68 h 96"/>
                  <a:gd name="T48" fmla="*/ 30 w 86"/>
                  <a:gd name="T49" fmla="*/ 81 h 96"/>
                  <a:gd name="T50" fmla="*/ 47 w 86"/>
                  <a:gd name="T51" fmla="*/ 85 h 96"/>
                  <a:gd name="T52" fmla="*/ 63 w 86"/>
                  <a:gd name="T53" fmla="*/ 82 h 96"/>
                  <a:gd name="T54" fmla="*/ 74 w 86"/>
                  <a:gd name="T55" fmla="*/ 75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1"/>
                    </a:lnTo>
                    <a:cubicBezTo>
                      <a:pt x="80" y="86"/>
                      <a:pt x="74" y="90"/>
                      <a:pt x="68" y="92"/>
                    </a:cubicBezTo>
                    <a:cubicBezTo>
                      <a:pt x="61" y="95"/>
                      <a:pt x="55" y="96"/>
                      <a:pt x="48" y="96"/>
                    </a:cubicBezTo>
                    <a:cubicBezTo>
                      <a:pt x="39" y="96"/>
                      <a:pt x="30" y="94"/>
                      <a:pt x="23" y="90"/>
                    </a:cubicBezTo>
                    <a:cubicBezTo>
                      <a:pt x="15" y="86"/>
                      <a:pt x="10" y="80"/>
                      <a:pt x="6" y="73"/>
                    </a:cubicBezTo>
                    <a:cubicBezTo>
                      <a:pt x="2" y="66"/>
                      <a:pt x="0" y="57"/>
                      <a:pt x="0" y="48"/>
                    </a:cubicBezTo>
                    <a:cubicBezTo>
                      <a:pt x="0" y="39"/>
                      <a:pt x="2" y="31"/>
                      <a:pt x="6" y="23"/>
                    </a:cubicBezTo>
                    <a:cubicBezTo>
                      <a:pt x="10" y="15"/>
                      <a:pt x="15" y="9"/>
                      <a:pt x="22" y="6"/>
                    </a:cubicBezTo>
                    <a:cubicBezTo>
                      <a:pt x="29" y="2"/>
                      <a:pt x="38" y="0"/>
                      <a:pt x="47" y="0"/>
                    </a:cubicBezTo>
                    <a:cubicBezTo>
                      <a:pt x="54" y="0"/>
                      <a:pt x="60" y="1"/>
                      <a:pt x="65" y="3"/>
                    </a:cubicBezTo>
                    <a:cubicBezTo>
                      <a:pt x="70" y="5"/>
                      <a:pt x="75" y="8"/>
                      <a:pt x="78" y="12"/>
                    </a:cubicBezTo>
                    <a:cubicBezTo>
                      <a:pt x="81" y="16"/>
                      <a:pt x="83" y="21"/>
                      <a:pt x="85" y="27"/>
                    </a:cubicBezTo>
                    <a:lnTo>
                      <a:pt x="74" y="30"/>
                    </a:lnTo>
                    <a:cubicBezTo>
                      <a:pt x="72" y="26"/>
                      <a:pt x="71" y="22"/>
                      <a:pt x="69" y="19"/>
                    </a:cubicBezTo>
                    <a:cubicBezTo>
                      <a:pt x="66" y="17"/>
                      <a:pt x="64" y="14"/>
                      <a:pt x="60" y="13"/>
                    </a:cubicBezTo>
                    <a:cubicBezTo>
                      <a:pt x="56" y="11"/>
                      <a:pt x="52" y="10"/>
                      <a:pt x="47" y="10"/>
                    </a:cubicBezTo>
                    <a:cubicBezTo>
                      <a:pt x="41" y="10"/>
                      <a:pt x="36" y="11"/>
                      <a:pt x="32" y="13"/>
                    </a:cubicBezTo>
                    <a:cubicBezTo>
                      <a:pt x="28" y="15"/>
                      <a:pt x="25" y="17"/>
                      <a:pt x="22" y="20"/>
                    </a:cubicBezTo>
                    <a:cubicBezTo>
                      <a:pt x="20" y="22"/>
                      <a:pt x="18" y="26"/>
                      <a:pt x="17" y="29"/>
                    </a:cubicBezTo>
                    <a:cubicBezTo>
                      <a:pt x="14" y="35"/>
                      <a:pt x="13" y="41"/>
                      <a:pt x="13" y="48"/>
                    </a:cubicBezTo>
                    <a:cubicBezTo>
                      <a:pt x="13" y="56"/>
                      <a:pt x="14" y="63"/>
                      <a:pt x="17" y="68"/>
                    </a:cubicBezTo>
                    <a:cubicBezTo>
                      <a:pt x="20" y="74"/>
                      <a:pt x="24" y="78"/>
                      <a:pt x="30" y="81"/>
                    </a:cubicBezTo>
                    <a:cubicBezTo>
                      <a:pt x="35" y="83"/>
                      <a:pt x="41" y="85"/>
                      <a:pt x="47" y="85"/>
                    </a:cubicBezTo>
                    <a:cubicBezTo>
                      <a:pt x="52" y="85"/>
                      <a:pt x="58" y="84"/>
                      <a:pt x="63" y="82"/>
                    </a:cubicBezTo>
                    <a:cubicBezTo>
                      <a:pt x="68" y="80"/>
                      <a:pt x="72" y="77"/>
                      <a:pt x="74" y="75"/>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Rectangle 807"/>
              <p:cNvSpPr>
                <a:spLocks noChangeArrowheads="1"/>
              </p:cNvSpPr>
              <p:nvPr/>
            </p:nvSpPr>
            <p:spPr bwMode="auto">
              <a:xfrm>
                <a:off x="4207" y="1751"/>
                <a:ext cx="3"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808"/>
              <p:cNvSpPr>
                <a:spLocks/>
              </p:cNvSpPr>
              <p:nvPr/>
            </p:nvSpPr>
            <p:spPr bwMode="auto">
              <a:xfrm>
                <a:off x="4213" y="1751"/>
                <a:ext cx="17" cy="21"/>
              </a:xfrm>
              <a:custGeom>
                <a:avLst/>
                <a:gdLst>
                  <a:gd name="T0" fmla="*/ 31 w 74"/>
                  <a:gd name="T1" fmla="*/ 93 h 93"/>
                  <a:gd name="T2" fmla="*/ 31 w 74"/>
                  <a:gd name="T3" fmla="*/ 11 h 93"/>
                  <a:gd name="T4" fmla="*/ 0 w 74"/>
                  <a:gd name="T5" fmla="*/ 11 h 93"/>
                  <a:gd name="T6" fmla="*/ 0 w 74"/>
                  <a:gd name="T7" fmla="*/ 0 h 93"/>
                  <a:gd name="T8" fmla="*/ 74 w 74"/>
                  <a:gd name="T9" fmla="*/ 0 h 93"/>
                  <a:gd name="T10" fmla="*/ 74 w 74"/>
                  <a:gd name="T11" fmla="*/ 11 h 93"/>
                  <a:gd name="T12" fmla="*/ 43 w 74"/>
                  <a:gd name="T13" fmla="*/ 11 h 93"/>
                  <a:gd name="T14" fmla="*/ 43 w 74"/>
                  <a:gd name="T15" fmla="*/ 93 h 93"/>
                  <a:gd name="T16" fmla="*/ 31 w 74"/>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3">
                    <a:moveTo>
                      <a:pt x="31" y="93"/>
                    </a:moveTo>
                    <a:lnTo>
                      <a:pt x="31" y="11"/>
                    </a:lnTo>
                    <a:lnTo>
                      <a:pt x="0" y="11"/>
                    </a:lnTo>
                    <a:lnTo>
                      <a:pt x="0" y="0"/>
                    </a:lnTo>
                    <a:lnTo>
                      <a:pt x="74" y="0"/>
                    </a:lnTo>
                    <a:lnTo>
                      <a:pt x="74" y="11"/>
                    </a:lnTo>
                    <a:lnTo>
                      <a:pt x="43" y="11"/>
                    </a:lnTo>
                    <a:lnTo>
                      <a:pt x="43" y="93"/>
                    </a:lnTo>
                    <a:lnTo>
                      <a:pt x="31"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809"/>
              <p:cNvSpPr>
                <a:spLocks noEditPoints="1"/>
              </p:cNvSpPr>
              <p:nvPr/>
            </p:nvSpPr>
            <p:spPr bwMode="auto">
              <a:xfrm>
                <a:off x="4230" y="1751"/>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8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2"/>
                      <a:pt x="44" y="15"/>
                      <a:pt x="42" y="10"/>
                    </a:cubicBezTo>
                    <a:cubicBezTo>
                      <a:pt x="41" y="16"/>
                      <a:pt x="39" y="22"/>
                      <a:pt x="37" y="28"/>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810"/>
              <p:cNvSpPr>
                <a:spLocks/>
              </p:cNvSpPr>
              <p:nvPr/>
            </p:nvSpPr>
            <p:spPr bwMode="auto">
              <a:xfrm>
                <a:off x="4252" y="1751"/>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811"/>
              <p:cNvSpPr>
                <a:spLocks/>
              </p:cNvSpPr>
              <p:nvPr/>
            </p:nvSpPr>
            <p:spPr bwMode="auto">
              <a:xfrm>
                <a:off x="4276" y="1751"/>
                <a:ext cx="7" cy="28"/>
              </a:xfrm>
              <a:custGeom>
                <a:avLst/>
                <a:gdLst>
                  <a:gd name="T0" fmla="*/ 22 w 31"/>
                  <a:gd name="T1" fmla="*/ 122 h 122"/>
                  <a:gd name="T2" fmla="*/ 7 w 31"/>
                  <a:gd name="T3" fmla="*/ 94 h 122"/>
                  <a:gd name="T4" fmla="*/ 0 w 31"/>
                  <a:gd name="T5" fmla="*/ 61 h 122"/>
                  <a:gd name="T6" fmla="*/ 5 w 31"/>
                  <a:gd name="T7" fmla="*/ 32 h 122"/>
                  <a:gd name="T8" fmla="*/ 22 w 31"/>
                  <a:gd name="T9" fmla="*/ 0 h 122"/>
                  <a:gd name="T10" fmla="*/ 31 w 31"/>
                  <a:gd name="T11" fmla="*/ 0 h 122"/>
                  <a:gd name="T12" fmla="*/ 21 w 31"/>
                  <a:gd name="T13" fmla="*/ 19 h 122"/>
                  <a:gd name="T14" fmla="*/ 14 w 31"/>
                  <a:gd name="T15" fmla="*/ 37 h 122"/>
                  <a:gd name="T16" fmla="*/ 12 w 31"/>
                  <a:gd name="T17" fmla="*/ 61 h 122"/>
                  <a:gd name="T18" fmla="*/ 31 w 31"/>
                  <a:gd name="T19" fmla="*/ 122 h 122"/>
                  <a:gd name="T20" fmla="*/ 22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22" y="122"/>
                    </a:moveTo>
                    <a:cubicBezTo>
                      <a:pt x="16" y="114"/>
                      <a:pt x="11" y="104"/>
                      <a:pt x="7" y="94"/>
                    </a:cubicBezTo>
                    <a:cubicBezTo>
                      <a:pt x="2" y="83"/>
                      <a:pt x="0" y="72"/>
                      <a:pt x="0" y="61"/>
                    </a:cubicBezTo>
                    <a:cubicBezTo>
                      <a:pt x="0" y="51"/>
                      <a:pt x="2" y="41"/>
                      <a:pt x="5" y="32"/>
                    </a:cubicBezTo>
                    <a:cubicBezTo>
                      <a:pt x="9" y="21"/>
                      <a:pt x="15" y="10"/>
                      <a:pt x="22" y="0"/>
                    </a:cubicBezTo>
                    <a:lnTo>
                      <a:pt x="31" y="0"/>
                    </a:lnTo>
                    <a:cubicBezTo>
                      <a:pt x="26" y="9"/>
                      <a:pt x="22" y="15"/>
                      <a:pt x="21" y="19"/>
                    </a:cubicBezTo>
                    <a:cubicBezTo>
                      <a:pt x="18" y="24"/>
                      <a:pt x="16" y="31"/>
                      <a:pt x="14" y="37"/>
                    </a:cubicBezTo>
                    <a:cubicBezTo>
                      <a:pt x="13" y="45"/>
                      <a:pt x="12" y="53"/>
                      <a:pt x="12" y="61"/>
                    </a:cubicBezTo>
                    <a:cubicBezTo>
                      <a:pt x="12" y="81"/>
                      <a:pt x="18" y="101"/>
                      <a:pt x="31" y="122"/>
                    </a:cubicBezTo>
                    <a:lnTo>
                      <a:pt x="22"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812"/>
              <p:cNvSpPr>
                <a:spLocks noEditPoints="1"/>
              </p:cNvSpPr>
              <p:nvPr/>
            </p:nvSpPr>
            <p:spPr bwMode="auto">
              <a:xfrm>
                <a:off x="4286" y="1751"/>
                <a:ext cx="16" cy="21"/>
              </a:xfrm>
              <a:custGeom>
                <a:avLst/>
                <a:gdLst>
                  <a:gd name="T0" fmla="*/ 0 w 71"/>
                  <a:gd name="T1" fmla="*/ 93 h 93"/>
                  <a:gd name="T2" fmla="*/ 0 w 71"/>
                  <a:gd name="T3" fmla="*/ 0 h 93"/>
                  <a:gd name="T4" fmla="*/ 35 w 71"/>
                  <a:gd name="T5" fmla="*/ 0 h 93"/>
                  <a:gd name="T6" fmla="*/ 50 w 71"/>
                  <a:gd name="T7" fmla="*/ 1 h 93"/>
                  <a:gd name="T8" fmla="*/ 61 w 71"/>
                  <a:gd name="T9" fmla="*/ 6 h 93"/>
                  <a:gd name="T10" fmla="*/ 68 w 71"/>
                  <a:gd name="T11" fmla="*/ 15 h 93"/>
                  <a:gd name="T12" fmla="*/ 71 w 71"/>
                  <a:gd name="T13" fmla="*/ 27 h 93"/>
                  <a:gd name="T14" fmla="*/ 64 w 71"/>
                  <a:gd name="T15" fmla="*/ 47 h 93"/>
                  <a:gd name="T16" fmla="*/ 37 w 71"/>
                  <a:gd name="T17" fmla="*/ 56 h 93"/>
                  <a:gd name="T18" fmla="*/ 13 w 71"/>
                  <a:gd name="T19" fmla="*/ 56 h 93"/>
                  <a:gd name="T20" fmla="*/ 13 w 71"/>
                  <a:gd name="T21" fmla="*/ 93 h 93"/>
                  <a:gd name="T22" fmla="*/ 0 w 71"/>
                  <a:gd name="T23" fmla="*/ 93 h 93"/>
                  <a:gd name="T24" fmla="*/ 13 w 71"/>
                  <a:gd name="T25" fmla="*/ 45 h 93"/>
                  <a:gd name="T26" fmla="*/ 37 w 71"/>
                  <a:gd name="T27" fmla="*/ 45 h 93"/>
                  <a:gd name="T28" fmla="*/ 54 w 71"/>
                  <a:gd name="T29" fmla="*/ 40 h 93"/>
                  <a:gd name="T30" fmla="*/ 59 w 71"/>
                  <a:gd name="T31" fmla="*/ 28 h 93"/>
                  <a:gd name="T32" fmla="*/ 56 w 71"/>
                  <a:gd name="T33" fmla="*/ 18 h 93"/>
                  <a:gd name="T34" fmla="*/ 48 w 71"/>
                  <a:gd name="T35" fmla="*/ 12 h 93"/>
                  <a:gd name="T36" fmla="*/ 36 w 71"/>
                  <a:gd name="T37" fmla="*/ 11 h 93"/>
                  <a:gd name="T38" fmla="*/ 13 w 71"/>
                  <a:gd name="T39" fmla="*/ 11 h 93"/>
                  <a:gd name="T40" fmla="*/ 13 w 71"/>
                  <a:gd name="T41" fmla="*/ 4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2" y="0"/>
                      <a:pt x="46" y="1"/>
                      <a:pt x="50" y="1"/>
                    </a:cubicBezTo>
                    <a:cubicBezTo>
                      <a:pt x="54" y="2"/>
                      <a:pt x="58" y="4"/>
                      <a:pt x="61" y="6"/>
                    </a:cubicBezTo>
                    <a:cubicBezTo>
                      <a:pt x="64" y="8"/>
                      <a:pt x="67" y="11"/>
                      <a:pt x="68" y="15"/>
                    </a:cubicBezTo>
                    <a:cubicBezTo>
                      <a:pt x="70" y="18"/>
                      <a:pt x="71" y="23"/>
                      <a:pt x="71" y="27"/>
                    </a:cubicBezTo>
                    <a:cubicBezTo>
                      <a:pt x="71" y="35"/>
                      <a:pt x="69" y="42"/>
                      <a:pt x="64" y="47"/>
                    </a:cubicBezTo>
                    <a:cubicBezTo>
                      <a:pt x="59" y="53"/>
                      <a:pt x="50" y="56"/>
                      <a:pt x="37" y="56"/>
                    </a:cubicBezTo>
                    <a:lnTo>
                      <a:pt x="13" y="56"/>
                    </a:lnTo>
                    <a:lnTo>
                      <a:pt x="13" y="93"/>
                    </a:lnTo>
                    <a:lnTo>
                      <a:pt x="0" y="93"/>
                    </a:lnTo>
                    <a:close/>
                    <a:moveTo>
                      <a:pt x="13" y="45"/>
                    </a:moveTo>
                    <a:lnTo>
                      <a:pt x="37" y="45"/>
                    </a:lnTo>
                    <a:cubicBezTo>
                      <a:pt x="45" y="45"/>
                      <a:pt x="50" y="43"/>
                      <a:pt x="54" y="40"/>
                    </a:cubicBezTo>
                    <a:cubicBezTo>
                      <a:pt x="57" y="37"/>
                      <a:pt x="59" y="33"/>
                      <a:pt x="59" y="28"/>
                    </a:cubicBezTo>
                    <a:cubicBezTo>
                      <a:pt x="59" y="24"/>
                      <a:pt x="58" y="20"/>
                      <a:pt x="56" y="18"/>
                    </a:cubicBezTo>
                    <a:cubicBezTo>
                      <a:pt x="54" y="15"/>
                      <a:pt x="51" y="13"/>
                      <a:pt x="48" y="12"/>
                    </a:cubicBezTo>
                    <a:cubicBezTo>
                      <a:pt x="46" y="12"/>
                      <a:pt x="42" y="11"/>
                      <a:pt x="36" y="11"/>
                    </a:cubicBezTo>
                    <a:lnTo>
                      <a:pt x="13" y="11"/>
                    </a:lnTo>
                    <a:lnTo>
                      <a:pt x="13"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813"/>
              <p:cNvSpPr>
                <a:spLocks/>
              </p:cNvSpPr>
              <p:nvPr/>
            </p:nvSpPr>
            <p:spPr bwMode="auto">
              <a:xfrm>
                <a:off x="4304" y="1751"/>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4 w 119"/>
                  <a:gd name="T11" fmla="*/ 63 h 93"/>
                  <a:gd name="T12" fmla="*/ 52 w 119"/>
                  <a:gd name="T13" fmla="*/ 0 h 93"/>
                  <a:gd name="T14" fmla="*/ 67 w 119"/>
                  <a:gd name="T15" fmla="*/ 0 h 93"/>
                  <a:gd name="T16" fmla="*/ 80 w 119"/>
                  <a:gd name="T17" fmla="*/ 47 h 93"/>
                  <a:gd name="T18" fmla="*/ 87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3 h 93"/>
                  <a:gd name="T32" fmla="*/ 59 w 119"/>
                  <a:gd name="T33" fmla="*/ 12 h 93"/>
                  <a:gd name="T34" fmla="*/ 56 w 119"/>
                  <a:gd name="T35" fmla="*/ 23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8"/>
                      <a:pt x="29" y="74"/>
                      <a:pt x="30" y="80"/>
                    </a:cubicBezTo>
                    <a:cubicBezTo>
                      <a:pt x="33" y="70"/>
                      <a:pt x="34" y="65"/>
                      <a:pt x="34" y="63"/>
                    </a:cubicBezTo>
                    <a:lnTo>
                      <a:pt x="52" y="0"/>
                    </a:lnTo>
                    <a:lnTo>
                      <a:pt x="67" y="0"/>
                    </a:lnTo>
                    <a:lnTo>
                      <a:pt x="80" y="47"/>
                    </a:lnTo>
                    <a:cubicBezTo>
                      <a:pt x="84" y="59"/>
                      <a:pt x="86" y="70"/>
                      <a:pt x="87" y="80"/>
                    </a:cubicBezTo>
                    <a:cubicBezTo>
                      <a:pt x="89" y="74"/>
                      <a:pt x="90" y="68"/>
                      <a:pt x="92" y="60"/>
                    </a:cubicBezTo>
                    <a:lnTo>
                      <a:pt x="107" y="0"/>
                    </a:lnTo>
                    <a:lnTo>
                      <a:pt x="119" y="0"/>
                    </a:lnTo>
                    <a:lnTo>
                      <a:pt x="94" y="93"/>
                    </a:lnTo>
                    <a:lnTo>
                      <a:pt x="82" y="93"/>
                    </a:lnTo>
                    <a:lnTo>
                      <a:pt x="62" y="23"/>
                    </a:lnTo>
                    <a:cubicBezTo>
                      <a:pt x="60" y="17"/>
                      <a:pt x="60" y="13"/>
                      <a:pt x="59" y="12"/>
                    </a:cubicBezTo>
                    <a:cubicBezTo>
                      <a:pt x="58" y="16"/>
                      <a:pt x="57" y="20"/>
                      <a:pt x="56" y="23"/>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814"/>
              <p:cNvSpPr>
                <a:spLocks/>
              </p:cNvSpPr>
              <p:nvPr/>
            </p:nvSpPr>
            <p:spPr bwMode="auto">
              <a:xfrm>
                <a:off x="4334" y="1751"/>
                <a:ext cx="20" cy="21"/>
              </a:xfrm>
              <a:custGeom>
                <a:avLst/>
                <a:gdLst>
                  <a:gd name="T0" fmla="*/ 0 w 89"/>
                  <a:gd name="T1" fmla="*/ 93 h 93"/>
                  <a:gd name="T2" fmla="*/ 0 w 89"/>
                  <a:gd name="T3" fmla="*/ 0 h 93"/>
                  <a:gd name="T4" fmla="*/ 18 w 89"/>
                  <a:gd name="T5" fmla="*/ 0 h 93"/>
                  <a:gd name="T6" fmla="*/ 40 w 89"/>
                  <a:gd name="T7" fmla="*/ 66 h 93"/>
                  <a:gd name="T8" fmla="*/ 45 w 89"/>
                  <a:gd name="T9" fmla="*/ 80 h 93"/>
                  <a:gd name="T10" fmla="*/ 50 w 89"/>
                  <a:gd name="T11" fmla="*/ 65 h 93"/>
                  <a:gd name="T12" fmla="*/ 72 w 89"/>
                  <a:gd name="T13" fmla="*/ 0 h 93"/>
                  <a:gd name="T14" fmla="*/ 89 w 89"/>
                  <a:gd name="T15" fmla="*/ 0 h 93"/>
                  <a:gd name="T16" fmla="*/ 89 w 89"/>
                  <a:gd name="T17" fmla="*/ 93 h 93"/>
                  <a:gd name="T18" fmla="*/ 77 w 89"/>
                  <a:gd name="T19" fmla="*/ 93 h 93"/>
                  <a:gd name="T20" fmla="*/ 77 w 89"/>
                  <a:gd name="T21" fmla="*/ 16 h 93"/>
                  <a:gd name="T22" fmla="*/ 50 w 89"/>
                  <a:gd name="T23" fmla="*/ 93 h 93"/>
                  <a:gd name="T24" fmla="*/ 39 w 89"/>
                  <a:gd name="T25" fmla="*/ 93 h 93"/>
                  <a:gd name="T26" fmla="*/ 12 w 89"/>
                  <a:gd name="T27" fmla="*/ 14 h 93"/>
                  <a:gd name="T28" fmla="*/ 12 w 89"/>
                  <a:gd name="T29" fmla="*/ 93 h 93"/>
                  <a:gd name="T30" fmla="*/ 0 w 89"/>
                  <a:gd name="T3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3">
                    <a:moveTo>
                      <a:pt x="0" y="93"/>
                    </a:moveTo>
                    <a:lnTo>
                      <a:pt x="0" y="0"/>
                    </a:lnTo>
                    <a:lnTo>
                      <a:pt x="18" y="0"/>
                    </a:lnTo>
                    <a:lnTo>
                      <a:pt x="40" y="66"/>
                    </a:lnTo>
                    <a:cubicBezTo>
                      <a:pt x="42" y="72"/>
                      <a:pt x="44" y="77"/>
                      <a:pt x="45" y="80"/>
                    </a:cubicBezTo>
                    <a:cubicBezTo>
                      <a:pt x="46" y="77"/>
                      <a:pt x="48" y="72"/>
                      <a:pt x="50" y="65"/>
                    </a:cubicBezTo>
                    <a:lnTo>
                      <a:pt x="72" y="0"/>
                    </a:lnTo>
                    <a:lnTo>
                      <a:pt x="89" y="0"/>
                    </a:lnTo>
                    <a:lnTo>
                      <a:pt x="89" y="93"/>
                    </a:lnTo>
                    <a:lnTo>
                      <a:pt x="77" y="93"/>
                    </a:lnTo>
                    <a:lnTo>
                      <a:pt x="77" y="16"/>
                    </a:lnTo>
                    <a:lnTo>
                      <a:pt x="50" y="93"/>
                    </a:lnTo>
                    <a:lnTo>
                      <a:pt x="39" y="93"/>
                    </a:lnTo>
                    <a:lnTo>
                      <a:pt x="12" y="14"/>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815"/>
              <p:cNvSpPr>
                <a:spLocks noEditPoints="1"/>
              </p:cNvSpPr>
              <p:nvPr/>
            </p:nvSpPr>
            <p:spPr bwMode="auto">
              <a:xfrm>
                <a:off x="4358" y="1758"/>
                <a:ext cx="14" cy="8"/>
              </a:xfrm>
              <a:custGeom>
                <a:avLst/>
                <a:gdLst>
                  <a:gd name="T0" fmla="*/ 61 w 61"/>
                  <a:gd name="T1" fmla="*/ 11 h 39"/>
                  <a:gd name="T2" fmla="*/ 0 w 61"/>
                  <a:gd name="T3" fmla="*/ 11 h 39"/>
                  <a:gd name="T4" fmla="*/ 0 w 61"/>
                  <a:gd name="T5" fmla="*/ 0 h 39"/>
                  <a:gd name="T6" fmla="*/ 61 w 61"/>
                  <a:gd name="T7" fmla="*/ 0 h 39"/>
                  <a:gd name="T8" fmla="*/ 61 w 61"/>
                  <a:gd name="T9" fmla="*/ 11 h 39"/>
                  <a:gd name="T10" fmla="*/ 61 w 61"/>
                  <a:gd name="T11" fmla="*/ 39 h 39"/>
                  <a:gd name="T12" fmla="*/ 0 w 61"/>
                  <a:gd name="T13" fmla="*/ 39 h 39"/>
                  <a:gd name="T14" fmla="*/ 0 w 61"/>
                  <a:gd name="T15" fmla="*/ 28 h 39"/>
                  <a:gd name="T16" fmla="*/ 61 w 61"/>
                  <a:gd name="T17" fmla="*/ 28 h 39"/>
                  <a:gd name="T18" fmla="*/ 61 w 61"/>
                  <a:gd name="T1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61" y="11"/>
                    </a:moveTo>
                    <a:lnTo>
                      <a:pt x="0" y="11"/>
                    </a:lnTo>
                    <a:lnTo>
                      <a:pt x="0" y="0"/>
                    </a:lnTo>
                    <a:lnTo>
                      <a:pt x="61" y="0"/>
                    </a:lnTo>
                    <a:lnTo>
                      <a:pt x="61" y="11"/>
                    </a:lnTo>
                    <a:close/>
                    <a:moveTo>
                      <a:pt x="61" y="39"/>
                    </a:moveTo>
                    <a:lnTo>
                      <a:pt x="0" y="39"/>
                    </a:lnTo>
                    <a:lnTo>
                      <a:pt x="0" y="28"/>
                    </a:lnTo>
                    <a:lnTo>
                      <a:pt x="61" y="28"/>
                    </a:lnTo>
                    <a:lnTo>
                      <a:pt x="61"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816"/>
              <p:cNvSpPr>
                <a:spLocks/>
              </p:cNvSpPr>
              <p:nvPr/>
            </p:nvSpPr>
            <p:spPr bwMode="auto">
              <a:xfrm>
                <a:off x="4449" y="1751"/>
                <a:ext cx="7" cy="28"/>
              </a:xfrm>
              <a:custGeom>
                <a:avLst/>
                <a:gdLst>
                  <a:gd name="T0" fmla="*/ 9 w 31"/>
                  <a:gd name="T1" fmla="*/ 122 h 122"/>
                  <a:gd name="T2" fmla="*/ 0 w 31"/>
                  <a:gd name="T3" fmla="*/ 122 h 122"/>
                  <a:gd name="T4" fmla="*/ 19 w 31"/>
                  <a:gd name="T5" fmla="*/ 61 h 122"/>
                  <a:gd name="T6" fmla="*/ 17 w 31"/>
                  <a:gd name="T7" fmla="*/ 37 h 122"/>
                  <a:gd name="T8" fmla="*/ 11 w 31"/>
                  <a:gd name="T9" fmla="*/ 19 h 122"/>
                  <a:gd name="T10" fmla="*/ 0 w 31"/>
                  <a:gd name="T11" fmla="*/ 0 h 122"/>
                  <a:gd name="T12" fmla="*/ 9 w 31"/>
                  <a:gd name="T13" fmla="*/ 0 h 122"/>
                  <a:gd name="T14" fmla="*/ 26 w 31"/>
                  <a:gd name="T15" fmla="*/ 32 h 122"/>
                  <a:gd name="T16" fmla="*/ 31 w 31"/>
                  <a:gd name="T17" fmla="*/ 61 h 122"/>
                  <a:gd name="T18" fmla="*/ 24 w 31"/>
                  <a:gd name="T19" fmla="*/ 94 h 122"/>
                  <a:gd name="T20" fmla="*/ 9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9" y="122"/>
                    </a:moveTo>
                    <a:lnTo>
                      <a:pt x="0" y="122"/>
                    </a:lnTo>
                    <a:cubicBezTo>
                      <a:pt x="13" y="101"/>
                      <a:pt x="19" y="81"/>
                      <a:pt x="19" y="61"/>
                    </a:cubicBezTo>
                    <a:cubicBezTo>
                      <a:pt x="19" y="53"/>
                      <a:pt x="18" y="45"/>
                      <a:pt x="17" y="37"/>
                    </a:cubicBezTo>
                    <a:cubicBezTo>
                      <a:pt x="15" y="31"/>
                      <a:pt x="13" y="25"/>
                      <a:pt x="11" y="19"/>
                    </a:cubicBezTo>
                    <a:cubicBezTo>
                      <a:pt x="9" y="15"/>
                      <a:pt x="6" y="9"/>
                      <a:pt x="0" y="0"/>
                    </a:cubicBezTo>
                    <a:lnTo>
                      <a:pt x="9" y="0"/>
                    </a:lnTo>
                    <a:cubicBezTo>
                      <a:pt x="16" y="10"/>
                      <a:pt x="22" y="21"/>
                      <a:pt x="26" y="32"/>
                    </a:cubicBezTo>
                    <a:cubicBezTo>
                      <a:pt x="29" y="41"/>
                      <a:pt x="31" y="51"/>
                      <a:pt x="31" y="61"/>
                    </a:cubicBezTo>
                    <a:cubicBezTo>
                      <a:pt x="31" y="72"/>
                      <a:pt x="29" y="83"/>
                      <a:pt x="24" y="94"/>
                    </a:cubicBezTo>
                    <a:cubicBezTo>
                      <a:pt x="20" y="104"/>
                      <a:pt x="15" y="114"/>
                      <a:pt x="9" y="12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817"/>
              <p:cNvSpPr>
                <a:spLocks/>
              </p:cNvSpPr>
              <p:nvPr/>
            </p:nvSpPr>
            <p:spPr bwMode="auto">
              <a:xfrm>
                <a:off x="3963" y="1703"/>
                <a:ext cx="7" cy="20"/>
              </a:xfrm>
              <a:custGeom>
                <a:avLst/>
                <a:gdLst>
                  <a:gd name="T0" fmla="*/ 27 w 28"/>
                  <a:gd name="T1" fmla="*/ 89 h 90"/>
                  <a:gd name="T2" fmla="*/ 0 w 28"/>
                  <a:gd name="T3" fmla="*/ 68 h 90"/>
                  <a:gd name="T4" fmla="*/ 8 w 28"/>
                  <a:gd name="T5" fmla="*/ 43 h 90"/>
                  <a:gd name="T6" fmla="*/ 16 w 28"/>
                  <a:gd name="T7" fmla="*/ 21 h 90"/>
                  <a:gd name="T8" fmla="*/ 1 w 28"/>
                  <a:gd name="T9" fmla="*/ 11 h 90"/>
                  <a:gd name="T10" fmla="*/ 1 w 28"/>
                  <a:gd name="T11" fmla="*/ 1 h 90"/>
                  <a:gd name="T12" fmla="*/ 28 w 28"/>
                  <a:gd name="T13" fmla="*/ 21 h 90"/>
                  <a:gd name="T14" fmla="*/ 20 w 28"/>
                  <a:gd name="T15" fmla="*/ 47 h 90"/>
                  <a:gd name="T16" fmla="*/ 12 w 28"/>
                  <a:gd name="T17" fmla="*/ 68 h 90"/>
                  <a:gd name="T18" fmla="*/ 27 w 28"/>
                  <a:gd name="T19" fmla="*/ 78 h 90"/>
                  <a:gd name="T20" fmla="*/ 27 w 28"/>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90">
                    <a:moveTo>
                      <a:pt x="27" y="89"/>
                    </a:moveTo>
                    <a:cubicBezTo>
                      <a:pt x="9" y="90"/>
                      <a:pt x="0" y="80"/>
                      <a:pt x="0" y="68"/>
                    </a:cubicBezTo>
                    <a:cubicBezTo>
                      <a:pt x="0" y="60"/>
                      <a:pt x="3" y="55"/>
                      <a:pt x="8" y="43"/>
                    </a:cubicBezTo>
                    <a:cubicBezTo>
                      <a:pt x="13" y="34"/>
                      <a:pt x="16" y="27"/>
                      <a:pt x="16" y="21"/>
                    </a:cubicBezTo>
                    <a:cubicBezTo>
                      <a:pt x="16" y="15"/>
                      <a:pt x="11" y="12"/>
                      <a:pt x="1" y="11"/>
                    </a:cubicBezTo>
                    <a:lnTo>
                      <a:pt x="1" y="1"/>
                    </a:lnTo>
                    <a:cubicBezTo>
                      <a:pt x="21" y="0"/>
                      <a:pt x="28" y="10"/>
                      <a:pt x="28" y="21"/>
                    </a:cubicBezTo>
                    <a:cubicBezTo>
                      <a:pt x="28" y="28"/>
                      <a:pt x="25" y="34"/>
                      <a:pt x="20" y="47"/>
                    </a:cubicBezTo>
                    <a:cubicBezTo>
                      <a:pt x="16" y="55"/>
                      <a:pt x="12" y="62"/>
                      <a:pt x="12" y="68"/>
                    </a:cubicBezTo>
                    <a:cubicBezTo>
                      <a:pt x="12" y="74"/>
                      <a:pt x="16" y="78"/>
                      <a:pt x="27" y="78"/>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818"/>
              <p:cNvSpPr>
                <a:spLocks/>
              </p:cNvSpPr>
              <p:nvPr/>
            </p:nvSpPr>
            <p:spPr bwMode="auto">
              <a:xfrm>
                <a:off x="3904" y="1703"/>
                <a:ext cx="6" cy="20"/>
              </a:xfrm>
              <a:custGeom>
                <a:avLst/>
                <a:gdLst>
                  <a:gd name="T0" fmla="*/ 26 w 27"/>
                  <a:gd name="T1" fmla="*/ 89 h 90"/>
                  <a:gd name="T2" fmla="*/ 0 w 27"/>
                  <a:gd name="T3" fmla="*/ 68 h 90"/>
                  <a:gd name="T4" fmla="*/ 7 w 27"/>
                  <a:gd name="T5" fmla="*/ 43 h 90"/>
                  <a:gd name="T6" fmla="*/ 15 w 27"/>
                  <a:gd name="T7" fmla="*/ 21 h 90"/>
                  <a:gd name="T8" fmla="*/ 0 w 27"/>
                  <a:gd name="T9" fmla="*/ 11 h 90"/>
                  <a:gd name="T10" fmla="*/ 0 w 27"/>
                  <a:gd name="T11" fmla="*/ 1 h 90"/>
                  <a:gd name="T12" fmla="*/ 27 w 27"/>
                  <a:gd name="T13" fmla="*/ 21 h 90"/>
                  <a:gd name="T14" fmla="*/ 19 w 27"/>
                  <a:gd name="T15" fmla="*/ 47 h 90"/>
                  <a:gd name="T16" fmla="*/ 11 w 27"/>
                  <a:gd name="T17" fmla="*/ 68 h 90"/>
                  <a:gd name="T18" fmla="*/ 26 w 27"/>
                  <a:gd name="T19" fmla="*/ 78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0"/>
                      <a:pt x="2" y="55"/>
                      <a:pt x="7" y="43"/>
                    </a:cubicBezTo>
                    <a:cubicBezTo>
                      <a:pt x="12" y="34"/>
                      <a:pt x="15" y="27"/>
                      <a:pt x="15" y="21"/>
                    </a:cubicBezTo>
                    <a:cubicBezTo>
                      <a:pt x="15" y="15"/>
                      <a:pt x="10" y="12"/>
                      <a:pt x="0" y="11"/>
                    </a:cubicBezTo>
                    <a:lnTo>
                      <a:pt x="0" y="1"/>
                    </a:lnTo>
                    <a:cubicBezTo>
                      <a:pt x="20" y="0"/>
                      <a:pt x="27" y="10"/>
                      <a:pt x="27" y="21"/>
                    </a:cubicBezTo>
                    <a:cubicBezTo>
                      <a:pt x="27" y="28"/>
                      <a:pt x="25" y="34"/>
                      <a:pt x="19" y="47"/>
                    </a:cubicBezTo>
                    <a:cubicBezTo>
                      <a:pt x="15" y="55"/>
                      <a:pt x="11" y="62"/>
                      <a:pt x="11" y="68"/>
                    </a:cubicBezTo>
                    <a:cubicBezTo>
                      <a:pt x="11" y="74"/>
                      <a:pt x="16" y="78"/>
                      <a:pt x="26" y="78"/>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819"/>
              <p:cNvSpPr>
                <a:spLocks/>
              </p:cNvSpPr>
              <p:nvPr/>
            </p:nvSpPr>
            <p:spPr bwMode="auto">
              <a:xfrm>
                <a:off x="4283"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820"/>
              <p:cNvSpPr>
                <a:spLocks/>
              </p:cNvSpPr>
              <p:nvPr/>
            </p:nvSpPr>
            <p:spPr bwMode="auto">
              <a:xfrm>
                <a:off x="4399"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821"/>
              <p:cNvSpPr>
                <a:spLocks/>
              </p:cNvSpPr>
              <p:nvPr/>
            </p:nvSpPr>
            <p:spPr bwMode="auto">
              <a:xfrm>
                <a:off x="4229"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822"/>
              <p:cNvSpPr>
                <a:spLocks/>
              </p:cNvSpPr>
              <p:nvPr/>
            </p:nvSpPr>
            <p:spPr bwMode="auto">
              <a:xfrm>
                <a:off x="4018"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823"/>
              <p:cNvSpPr>
                <a:spLocks noEditPoints="1"/>
              </p:cNvSpPr>
              <p:nvPr/>
            </p:nvSpPr>
            <p:spPr bwMode="auto">
              <a:xfrm>
                <a:off x="3862" y="1961"/>
                <a:ext cx="33" cy="35"/>
              </a:xfrm>
              <a:custGeom>
                <a:avLst/>
                <a:gdLst>
                  <a:gd name="T0" fmla="*/ 0 w 144"/>
                  <a:gd name="T1" fmla="*/ 155 h 155"/>
                  <a:gd name="T2" fmla="*/ 59 w 144"/>
                  <a:gd name="T3" fmla="*/ 0 h 155"/>
                  <a:gd name="T4" fmla="*/ 81 w 144"/>
                  <a:gd name="T5" fmla="*/ 0 h 155"/>
                  <a:gd name="T6" fmla="*/ 144 w 144"/>
                  <a:gd name="T7" fmla="*/ 155 h 155"/>
                  <a:gd name="T8" fmla="*/ 121 w 144"/>
                  <a:gd name="T9" fmla="*/ 155 h 155"/>
                  <a:gd name="T10" fmla="*/ 103 w 144"/>
                  <a:gd name="T11" fmla="*/ 108 h 155"/>
                  <a:gd name="T12" fmla="*/ 38 w 144"/>
                  <a:gd name="T13" fmla="*/ 108 h 155"/>
                  <a:gd name="T14" fmla="*/ 21 w 144"/>
                  <a:gd name="T15" fmla="*/ 155 h 155"/>
                  <a:gd name="T16" fmla="*/ 0 w 144"/>
                  <a:gd name="T17" fmla="*/ 155 h 155"/>
                  <a:gd name="T18" fmla="*/ 44 w 144"/>
                  <a:gd name="T19" fmla="*/ 91 h 155"/>
                  <a:gd name="T20" fmla="*/ 97 w 144"/>
                  <a:gd name="T21" fmla="*/ 91 h 155"/>
                  <a:gd name="T22" fmla="*/ 80 w 144"/>
                  <a:gd name="T23" fmla="*/ 48 h 155"/>
                  <a:gd name="T24" fmla="*/ 69 w 144"/>
                  <a:gd name="T25" fmla="*/ 16 h 155"/>
                  <a:gd name="T26" fmla="*/ 61 w 144"/>
                  <a:gd name="T27" fmla="*/ 46 h 155"/>
                  <a:gd name="T28" fmla="*/ 44 w 144"/>
                  <a:gd name="T29"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55">
                    <a:moveTo>
                      <a:pt x="0" y="155"/>
                    </a:moveTo>
                    <a:lnTo>
                      <a:pt x="59" y="0"/>
                    </a:lnTo>
                    <a:lnTo>
                      <a:pt x="81" y="0"/>
                    </a:lnTo>
                    <a:lnTo>
                      <a:pt x="144" y="155"/>
                    </a:lnTo>
                    <a:lnTo>
                      <a:pt x="121" y="155"/>
                    </a:lnTo>
                    <a:lnTo>
                      <a:pt x="103" y="108"/>
                    </a:lnTo>
                    <a:lnTo>
                      <a:pt x="38" y="108"/>
                    </a:lnTo>
                    <a:lnTo>
                      <a:pt x="21" y="155"/>
                    </a:lnTo>
                    <a:lnTo>
                      <a:pt x="0" y="155"/>
                    </a:lnTo>
                    <a:close/>
                    <a:moveTo>
                      <a:pt x="44" y="91"/>
                    </a:moveTo>
                    <a:lnTo>
                      <a:pt x="97" y="91"/>
                    </a:lnTo>
                    <a:lnTo>
                      <a:pt x="80" y="48"/>
                    </a:lnTo>
                    <a:cubicBezTo>
                      <a:pt x="75" y="35"/>
                      <a:pt x="72" y="25"/>
                      <a:pt x="69" y="16"/>
                    </a:cubicBezTo>
                    <a:cubicBezTo>
                      <a:pt x="67" y="26"/>
                      <a:pt x="65" y="36"/>
                      <a:pt x="61" y="46"/>
                    </a:cubicBezTo>
                    <a:lnTo>
                      <a:pt x="44" y="9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824"/>
              <p:cNvSpPr>
                <a:spLocks/>
              </p:cNvSpPr>
              <p:nvPr/>
            </p:nvSpPr>
            <p:spPr bwMode="auto">
              <a:xfrm>
                <a:off x="3898" y="1970"/>
                <a:ext cx="14" cy="26"/>
              </a:xfrm>
              <a:custGeom>
                <a:avLst/>
                <a:gdLst>
                  <a:gd name="T0" fmla="*/ 0 w 61"/>
                  <a:gd name="T1" fmla="*/ 115 h 115"/>
                  <a:gd name="T2" fmla="*/ 0 w 61"/>
                  <a:gd name="T3" fmla="*/ 3 h 115"/>
                  <a:gd name="T4" fmla="*/ 17 w 61"/>
                  <a:gd name="T5" fmla="*/ 3 h 115"/>
                  <a:gd name="T6" fmla="*/ 17 w 61"/>
                  <a:gd name="T7" fmla="*/ 20 h 115"/>
                  <a:gd name="T8" fmla="*/ 29 w 61"/>
                  <a:gd name="T9" fmla="*/ 4 h 115"/>
                  <a:gd name="T10" fmla="*/ 41 w 61"/>
                  <a:gd name="T11" fmla="*/ 0 h 115"/>
                  <a:gd name="T12" fmla="*/ 61 w 61"/>
                  <a:gd name="T13" fmla="*/ 6 h 115"/>
                  <a:gd name="T14" fmla="*/ 54 w 61"/>
                  <a:gd name="T15" fmla="*/ 24 h 115"/>
                  <a:gd name="T16" fmla="*/ 40 w 61"/>
                  <a:gd name="T17" fmla="*/ 20 h 115"/>
                  <a:gd name="T18" fmla="*/ 29 w 61"/>
                  <a:gd name="T19" fmla="*/ 23 h 115"/>
                  <a:gd name="T20" fmla="*/ 22 w 61"/>
                  <a:gd name="T21" fmla="*/ 34 h 115"/>
                  <a:gd name="T22" fmla="*/ 19 w 61"/>
                  <a:gd name="T23" fmla="*/ 56 h 115"/>
                  <a:gd name="T24" fmla="*/ 19 w 61"/>
                  <a:gd name="T25" fmla="*/ 115 h 115"/>
                  <a:gd name="T26" fmla="*/ 0 w 61"/>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15">
                    <a:moveTo>
                      <a:pt x="0" y="115"/>
                    </a:moveTo>
                    <a:lnTo>
                      <a:pt x="0" y="3"/>
                    </a:lnTo>
                    <a:lnTo>
                      <a:pt x="17" y="3"/>
                    </a:lnTo>
                    <a:lnTo>
                      <a:pt x="17" y="20"/>
                    </a:lnTo>
                    <a:cubicBezTo>
                      <a:pt x="22" y="12"/>
                      <a:pt x="26" y="6"/>
                      <a:pt x="29" y="4"/>
                    </a:cubicBezTo>
                    <a:cubicBezTo>
                      <a:pt x="33" y="1"/>
                      <a:pt x="37" y="0"/>
                      <a:pt x="41" y="0"/>
                    </a:cubicBezTo>
                    <a:cubicBezTo>
                      <a:pt x="48" y="0"/>
                      <a:pt x="54" y="2"/>
                      <a:pt x="61" y="6"/>
                    </a:cubicBezTo>
                    <a:lnTo>
                      <a:pt x="54" y="24"/>
                    </a:lnTo>
                    <a:cubicBezTo>
                      <a:pt x="50" y="21"/>
                      <a:pt x="45" y="20"/>
                      <a:pt x="40" y="20"/>
                    </a:cubicBezTo>
                    <a:cubicBezTo>
                      <a:pt x="36" y="20"/>
                      <a:pt x="33" y="21"/>
                      <a:pt x="29" y="23"/>
                    </a:cubicBezTo>
                    <a:cubicBezTo>
                      <a:pt x="26" y="26"/>
                      <a:pt x="24" y="29"/>
                      <a:pt x="22" y="34"/>
                    </a:cubicBezTo>
                    <a:cubicBezTo>
                      <a:pt x="20" y="41"/>
                      <a:pt x="19" y="48"/>
                      <a:pt x="19" y="56"/>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Freeform 825"/>
              <p:cNvSpPr>
                <a:spLocks noEditPoints="1"/>
              </p:cNvSpPr>
              <p:nvPr/>
            </p:nvSpPr>
            <p:spPr bwMode="auto">
              <a:xfrm>
                <a:off x="3913" y="1961"/>
                <a:ext cx="22" cy="35"/>
              </a:xfrm>
              <a:custGeom>
                <a:avLst/>
                <a:gdLst>
                  <a:gd name="T0" fmla="*/ 79 w 97"/>
                  <a:gd name="T1" fmla="*/ 155 h 157"/>
                  <a:gd name="T2" fmla="*/ 79 w 97"/>
                  <a:gd name="T3" fmla="*/ 140 h 157"/>
                  <a:gd name="T4" fmla="*/ 48 w 97"/>
                  <a:gd name="T5" fmla="*/ 157 h 157"/>
                  <a:gd name="T6" fmla="*/ 23 w 97"/>
                  <a:gd name="T7" fmla="*/ 150 h 157"/>
                  <a:gd name="T8" fmla="*/ 6 w 97"/>
                  <a:gd name="T9" fmla="*/ 129 h 157"/>
                  <a:gd name="T10" fmla="*/ 0 w 97"/>
                  <a:gd name="T11" fmla="*/ 99 h 157"/>
                  <a:gd name="T12" fmla="*/ 5 w 97"/>
                  <a:gd name="T13" fmla="*/ 68 h 157"/>
                  <a:gd name="T14" fmla="*/ 22 w 97"/>
                  <a:gd name="T15" fmla="*/ 47 h 157"/>
                  <a:gd name="T16" fmla="*/ 47 w 97"/>
                  <a:gd name="T17" fmla="*/ 40 h 157"/>
                  <a:gd name="T18" fmla="*/ 65 w 97"/>
                  <a:gd name="T19" fmla="*/ 44 h 157"/>
                  <a:gd name="T20" fmla="*/ 78 w 97"/>
                  <a:gd name="T21" fmla="*/ 55 h 157"/>
                  <a:gd name="T22" fmla="*/ 78 w 97"/>
                  <a:gd name="T23" fmla="*/ 0 h 157"/>
                  <a:gd name="T24" fmla="*/ 97 w 97"/>
                  <a:gd name="T25" fmla="*/ 0 h 157"/>
                  <a:gd name="T26" fmla="*/ 97 w 97"/>
                  <a:gd name="T27" fmla="*/ 155 h 157"/>
                  <a:gd name="T28" fmla="*/ 79 w 97"/>
                  <a:gd name="T29" fmla="*/ 155 h 157"/>
                  <a:gd name="T30" fmla="*/ 19 w 97"/>
                  <a:gd name="T31" fmla="*/ 99 h 157"/>
                  <a:gd name="T32" fmla="*/ 28 w 97"/>
                  <a:gd name="T33" fmla="*/ 131 h 157"/>
                  <a:gd name="T34" fmla="*/ 50 w 97"/>
                  <a:gd name="T35" fmla="*/ 142 h 157"/>
                  <a:gd name="T36" fmla="*/ 71 w 97"/>
                  <a:gd name="T37" fmla="*/ 131 h 157"/>
                  <a:gd name="T38" fmla="*/ 79 w 97"/>
                  <a:gd name="T39" fmla="*/ 100 h 157"/>
                  <a:gd name="T40" fmla="*/ 71 w 97"/>
                  <a:gd name="T41" fmla="*/ 67 h 157"/>
                  <a:gd name="T42" fmla="*/ 49 w 97"/>
                  <a:gd name="T43" fmla="*/ 56 h 157"/>
                  <a:gd name="T44" fmla="*/ 28 w 97"/>
                  <a:gd name="T45" fmla="*/ 66 h 157"/>
                  <a:gd name="T46" fmla="*/ 19 w 97"/>
                  <a:gd name="T4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57">
                    <a:moveTo>
                      <a:pt x="79" y="155"/>
                    </a:moveTo>
                    <a:lnTo>
                      <a:pt x="79" y="140"/>
                    </a:lnTo>
                    <a:cubicBezTo>
                      <a:pt x="72" y="152"/>
                      <a:pt x="62" y="157"/>
                      <a:pt x="48" y="157"/>
                    </a:cubicBezTo>
                    <a:cubicBezTo>
                      <a:pt x="39" y="157"/>
                      <a:pt x="31" y="155"/>
                      <a:pt x="23" y="150"/>
                    </a:cubicBezTo>
                    <a:cubicBezTo>
                      <a:pt x="16" y="145"/>
                      <a:pt x="10" y="138"/>
                      <a:pt x="6" y="129"/>
                    </a:cubicBezTo>
                    <a:cubicBezTo>
                      <a:pt x="2" y="120"/>
                      <a:pt x="0" y="110"/>
                      <a:pt x="0" y="99"/>
                    </a:cubicBezTo>
                    <a:cubicBezTo>
                      <a:pt x="0" y="88"/>
                      <a:pt x="1" y="77"/>
                      <a:pt x="5" y="68"/>
                    </a:cubicBezTo>
                    <a:cubicBezTo>
                      <a:pt x="9" y="59"/>
                      <a:pt x="14" y="52"/>
                      <a:pt x="22" y="47"/>
                    </a:cubicBezTo>
                    <a:cubicBezTo>
                      <a:pt x="29" y="43"/>
                      <a:pt x="38" y="40"/>
                      <a:pt x="47" y="40"/>
                    </a:cubicBezTo>
                    <a:cubicBezTo>
                      <a:pt x="54" y="40"/>
                      <a:pt x="60" y="42"/>
                      <a:pt x="65" y="44"/>
                    </a:cubicBezTo>
                    <a:cubicBezTo>
                      <a:pt x="70" y="47"/>
                      <a:pt x="75" y="51"/>
                      <a:pt x="78" y="55"/>
                    </a:cubicBezTo>
                    <a:lnTo>
                      <a:pt x="78" y="0"/>
                    </a:lnTo>
                    <a:lnTo>
                      <a:pt x="97" y="0"/>
                    </a:lnTo>
                    <a:lnTo>
                      <a:pt x="97" y="155"/>
                    </a:lnTo>
                    <a:lnTo>
                      <a:pt x="79" y="155"/>
                    </a:lnTo>
                    <a:close/>
                    <a:moveTo>
                      <a:pt x="19" y="99"/>
                    </a:moveTo>
                    <a:cubicBezTo>
                      <a:pt x="19" y="113"/>
                      <a:pt x="22" y="124"/>
                      <a:pt x="28" y="131"/>
                    </a:cubicBezTo>
                    <a:cubicBezTo>
                      <a:pt x="34" y="138"/>
                      <a:pt x="41" y="142"/>
                      <a:pt x="50" y="142"/>
                    </a:cubicBezTo>
                    <a:cubicBezTo>
                      <a:pt x="58" y="142"/>
                      <a:pt x="65" y="138"/>
                      <a:pt x="71" y="131"/>
                    </a:cubicBezTo>
                    <a:cubicBezTo>
                      <a:pt x="76" y="125"/>
                      <a:pt x="79" y="114"/>
                      <a:pt x="79" y="100"/>
                    </a:cubicBezTo>
                    <a:cubicBezTo>
                      <a:pt x="79" y="85"/>
                      <a:pt x="76" y="74"/>
                      <a:pt x="71" y="67"/>
                    </a:cubicBezTo>
                    <a:cubicBezTo>
                      <a:pt x="65" y="59"/>
                      <a:pt x="57" y="56"/>
                      <a:pt x="49" y="56"/>
                    </a:cubicBezTo>
                    <a:cubicBezTo>
                      <a:pt x="40" y="56"/>
                      <a:pt x="33" y="59"/>
                      <a:pt x="28" y="66"/>
                    </a:cubicBezTo>
                    <a:cubicBezTo>
                      <a:pt x="22" y="73"/>
                      <a:pt x="19" y="84"/>
                      <a:pt x="19" y="9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826"/>
              <p:cNvSpPr>
                <a:spLocks/>
              </p:cNvSpPr>
              <p:nvPr/>
            </p:nvSpPr>
            <p:spPr bwMode="auto">
              <a:xfrm>
                <a:off x="3942" y="1970"/>
                <a:ext cx="20" cy="26"/>
              </a:xfrm>
              <a:custGeom>
                <a:avLst/>
                <a:gdLst>
                  <a:gd name="T0" fmla="*/ 74 w 91"/>
                  <a:gd name="T1" fmla="*/ 112 h 114"/>
                  <a:gd name="T2" fmla="*/ 74 w 91"/>
                  <a:gd name="T3" fmla="*/ 95 h 114"/>
                  <a:gd name="T4" fmla="*/ 38 w 91"/>
                  <a:gd name="T5" fmla="*/ 114 h 114"/>
                  <a:gd name="T6" fmla="*/ 20 w 91"/>
                  <a:gd name="T7" fmla="*/ 110 h 114"/>
                  <a:gd name="T8" fmla="*/ 7 w 91"/>
                  <a:gd name="T9" fmla="*/ 101 h 114"/>
                  <a:gd name="T10" fmla="*/ 1 w 91"/>
                  <a:gd name="T11" fmla="*/ 87 h 114"/>
                  <a:gd name="T12" fmla="*/ 0 w 91"/>
                  <a:gd name="T13" fmla="*/ 69 h 114"/>
                  <a:gd name="T14" fmla="*/ 0 w 91"/>
                  <a:gd name="T15" fmla="*/ 0 h 114"/>
                  <a:gd name="T16" fmla="*/ 19 w 91"/>
                  <a:gd name="T17" fmla="*/ 0 h 114"/>
                  <a:gd name="T18" fmla="*/ 19 w 91"/>
                  <a:gd name="T19" fmla="*/ 62 h 114"/>
                  <a:gd name="T20" fmla="*/ 20 w 91"/>
                  <a:gd name="T21" fmla="*/ 82 h 114"/>
                  <a:gd name="T22" fmla="*/ 28 w 91"/>
                  <a:gd name="T23" fmla="*/ 94 h 114"/>
                  <a:gd name="T24" fmla="*/ 42 w 91"/>
                  <a:gd name="T25" fmla="*/ 98 h 114"/>
                  <a:gd name="T26" fmla="*/ 58 w 91"/>
                  <a:gd name="T27" fmla="*/ 93 h 114"/>
                  <a:gd name="T28" fmla="*/ 69 w 91"/>
                  <a:gd name="T29" fmla="*/ 81 h 114"/>
                  <a:gd name="T30" fmla="*/ 72 w 91"/>
                  <a:gd name="T31" fmla="*/ 60 h 114"/>
                  <a:gd name="T32" fmla="*/ 72 w 91"/>
                  <a:gd name="T33" fmla="*/ 0 h 114"/>
                  <a:gd name="T34" fmla="*/ 91 w 91"/>
                  <a:gd name="T35" fmla="*/ 0 h 114"/>
                  <a:gd name="T36" fmla="*/ 91 w 91"/>
                  <a:gd name="T37" fmla="*/ 112 h 114"/>
                  <a:gd name="T38" fmla="*/ 74 w 91"/>
                  <a:gd name="T39" fmla="*/ 11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14">
                    <a:moveTo>
                      <a:pt x="74" y="112"/>
                    </a:moveTo>
                    <a:lnTo>
                      <a:pt x="74" y="95"/>
                    </a:lnTo>
                    <a:cubicBezTo>
                      <a:pt x="65" y="108"/>
                      <a:pt x="53" y="114"/>
                      <a:pt x="38" y="114"/>
                    </a:cubicBezTo>
                    <a:cubicBezTo>
                      <a:pt x="32" y="114"/>
                      <a:pt x="26" y="113"/>
                      <a:pt x="20" y="110"/>
                    </a:cubicBezTo>
                    <a:cubicBezTo>
                      <a:pt x="14" y="108"/>
                      <a:pt x="10" y="105"/>
                      <a:pt x="7" y="101"/>
                    </a:cubicBezTo>
                    <a:cubicBezTo>
                      <a:pt x="4" y="97"/>
                      <a:pt x="2" y="92"/>
                      <a:pt x="1" y="87"/>
                    </a:cubicBezTo>
                    <a:cubicBezTo>
                      <a:pt x="1" y="83"/>
                      <a:pt x="0" y="77"/>
                      <a:pt x="0" y="69"/>
                    </a:cubicBezTo>
                    <a:lnTo>
                      <a:pt x="0" y="0"/>
                    </a:lnTo>
                    <a:lnTo>
                      <a:pt x="19" y="0"/>
                    </a:lnTo>
                    <a:lnTo>
                      <a:pt x="19" y="62"/>
                    </a:lnTo>
                    <a:cubicBezTo>
                      <a:pt x="19" y="72"/>
                      <a:pt x="20" y="78"/>
                      <a:pt x="20" y="82"/>
                    </a:cubicBezTo>
                    <a:cubicBezTo>
                      <a:pt x="22" y="87"/>
                      <a:pt x="24" y="91"/>
                      <a:pt x="28" y="94"/>
                    </a:cubicBezTo>
                    <a:cubicBezTo>
                      <a:pt x="32" y="96"/>
                      <a:pt x="37" y="98"/>
                      <a:pt x="42" y="98"/>
                    </a:cubicBezTo>
                    <a:cubicBezTo>
                      <a:pt x="48" y="98"/>
                      <a:pt x="53" y="96"/>
                      <a:pt x="58" y="93"/>
                    </a:cubicBezTo>
                    <a:cubicBezTo>
                      <a:pt x="63" y="90"/>
                      <a:pt x="67" y="87"/>
                      <a:pt x="69" y="81"/>
                    </a:cubicBezTo>
                    <a:cubicBezTo>
                      <a:pt x="71" y="76"/>
                      <a:pt x="72" y="69"/>
                      <a:pt x="72" y="60"/>
                    </a:cubicBezTo>
                    <a:lnTo>
                      <a:pt x="72" y="0"/>
                    </a:lnTo>
                    <a:lnTo>
                      <a:pt x="91" y="0"/>
                    </a:lnTo>
                    <a:lnTo>
                      <a:pt x="91" y="112"/>
                    </a:lnTo>
                    <a:lnTo>
                      <a:pt x="74" y="11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827"/>
              <p:cNvSpPr>
                <a:spLocks noEditPoints="1"/>
              </p:cNvSpPr>
              <p:nvPr/>
            </p:nvSpPr>
            <p:spPr bwMode="auto">
              <a:xfrm>
                <a:off x="3969" y="1961"/>
                <a:ext cx="4" cy="35"/>
              </a:xfrm>
              <a:custGeom>
                <a:avLst/>
                <a:gdLst>
                  <a:gd name="T0" fmla="*/ 0 w 19"/>
                  <a:gd name="T1" fmla="*/ 22 h 155"/>
                  <a:gd name="T2" fmla="*/ 0 w 19"/>
                  <a:gd name="T3" fmla="*/ 0 h 155"/>
                  <a:gd name="T4" fmla="*/ 19 w 19"/>
                  <a:gd name="T5" fmla="*/ 0 h 155"/>
                  <a:gd name="T6" fmla="*/ 19 w 19"/>
                  <a:gd name="T7" fmla="*/ 22 h 155"/>
                  <a:gd name="T8" fmla="*/ 0 w 19"/>
                  <a:gd name="T9" fmla="*/ 22 h 155"/>
                  <a:gd name="T10" fmla="*/ 0 w 19"/>
                  <a:gd name="T11" fmla="*/ 155 h 155"/>
                  <a:gd name="T12" fmla="*/ 0 w 19"/>
                  <a:gd name="T13" fmla="*/ 43 h 155"/>
                  <a:gd name="T14" fmla="*/ 19 w 19"/>
                  <a:gd name="T15" fmla="*/ 43 h 155"/>
                  <a:gd name="T16" fmla="*/ 19 w 19"/>
                  <a:gd name="T17" fmla="*/ 155 h 155"/>
                  <a:gd name="T18" fmla="*/ 0 w 19"/>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5">
                    <a:moveTo>
                      <a:pt x="0" y="22"/>
                    </a:moveTo>
                    <a:lnTo>
                      <a:pt x="0" y="0"/>
                    </a:lnTo>
                    <a:lnTo>
                      <a:pt x="19" y="0"/>
                    </a:lnTo>
                    <a:lnTo>
                      <a:pt x="19" y="22"/>
                    </a:lnTo>
                    <a:lnTo>
                      <a:pt x="0" y="22"/>
                    </a:lnTo>
                    <a:close/>
                    <a:moveTo>
                      <a:pt x="0" y="155"/>
                    </a:moveTo>
                    <a:lnTo>
                      <a:pt x="0" y="43"/>
                    </a:lnTo>
                    <a:lnTo>
                      <a:pt x="19" y="43"/>
                    </a:lnTo>
                    <a:lnTo>
                      <a:pt x="19" y="155"/>
                    </a:lnTo>
                    <a:lnTo>
                      <a:pt x="0" y="1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Freeform 828"/>
              <p:cNvSpPr>
                <a:spLocks/>
              </p:cNvSpPr>
              <p:nvPr/>
            </p:nvSpPr>
            <p:spPr bwMode="auto">
              <a:xfrm>
                <a:off x="3980" y="1970"/>
                <a:ext cx="21" cy="26"/>
              </a:xfrm>
              <a:custGeom>
                <a:avLst/>
                <a:gdLst>
                  <a:gd name="T0" fmla="*/ 0 w 91"/>
                  <a:gd name="T1" fmla="*/ 115 h 115"/>
                  <a:gd name="T2" fmla="*/ 0 w 91"/>
                  <a:gd name="T3" fmla="*/ 3 h 115"/>
                  <a:gd name="T4" fmla="*/ 17 w 91"/>
                  <a:gd name="T5" fmla="*/ 3 h 115"/>
                  <a:gd name="T6" fmla="*/ 17 w 91"/>
                  <a:gd name="T7" fmla="*/ 19 h 115"/>
                  <a:gd name="T8" fmla="*/ 53 w 91"/>
                  <a:gd name="T9" fmla="*/ 0 h 115"/>
                  <a:gd name="T10" fmla="*/ 71 w 91"/>
                  <a:gd name="T11" fmla="*/ 4 h 115"/>
                  <a:gd name="T12" fmla="*/ 84 w 91"/>
                  <a:gd name="T13" fmla="*/ 13 h 115"/>
                  <a:gd name="T14" fmla="*/ 90 w 91"/>
                  <a:gd name="T15" fmla="*/ 27 h 115"/>
                  <a:gd name="T16" fmla="*/ 91 w 91"/>
                  <a:gd name="T17" fmla="*/ 46 h 115"/>
                  <a:gd name="T18" fmla="*/ 91 w 91"/>
                  <a:gd name="T19" fmla="*/ 115 h 115"/>
                  <a:gd name="T20" fmla="*/ 72 w 91"/>
                  <a:gd name="T21" fmla="*/ 115 h 115"/>
                  <a:gd name="T22" fmla="*/ 72 w 91"/>
                  <a:gd name="T23" fmla="*/ 46 h 115"/>
                  <a:gd name="T24" fmla="*/ 70 w 91"/>
                  <a:gd name="T25" fmla="*/ 29 h 115"/>
                  <a:gd name="T26" fmla="*/ 62 w 91"/>
                  <a:gd name="T27" fmla="*/ 20 h 115"/>
                  <a:gd name="T28" fmla="*/ 49 w 91"/>
                  <a:gd name="T29" fmla="*/ 17 h 115"/>
                  <a:gd name="T30" fmla="*/ 28 w 91"/>
                  <a:gd name="T31" fmla="*/ 24 h 115"/>
                  <a:gd name="T32" fmla="*/ 19 w 91"/>
                  <a:gd name="T33" fmla="*/ 53 h 115"/>
                  <a:gd name="T34" fmla="*/ 19 w 91"/>
                  <a:gd name="T35" fmla="*/ 115 h 115"/>
                  <a:gd name="T36" fmla="*/ 0 w 91"/>
                  <a:gd name="T3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5">
                    <a:moveTo>
                      <a:pt x="0" y="115"/>
                    </a:moveTo>
                    <a:lnTo>
                      <a:pt x="0" y="3"/>
                    </a:lnTo>
                    <a:lnTo>
                      <a:pt x="17" y="3"/>
                    </a:lnTo>
                    <a:lnTo>
                      <a:pt x="17" y="19"/>
                    </a:lnTo>
                    <a:cubicBezTo>
                      <a:pt x="25" y="6"/>
                      <a:pt x="37" y="0"/>
                      <a:pt x="53" y="0"/>
                    </a:cubicBezTo>
                    <a:cubicBezTo>
                      <a:pt x="59" y="0"/>
                      <a:pt x="66" y="1"/>
                      <a:pt x="71" y="4"/>
                    </a:cubicBezTo>
                    <a:cubicBezTo>
                      <a:pt x="77" y="6"/>
                      <a:pt x="81" y="9"/>
                      <a:pt x="84" y="13"/>
                    </a:cubicBezTo>
                    <a:cubicBezTo>
                      <a:pt x="87" y="17"/>
                      <a:pt x="89" y="22"/>
                      <a:pt x="90" y="27"/>
                    </a:cubicBezTo>
                    <a:cubicBezTo>
                      <a:pt x="91" y="31"/>
                      <a:pt x="91" y="37"/>
                      <a:pt x="91" y="46"/>
                    </a:cubicBezTo>
                    <a:lnTo>
                      <a:pt x="91" y="115"/>
                    </a:lnTo>
                    <a:lnTo>
                      <a:pt x="72" y="115"/>
                    </a:lnTo>
                    <a:lnTo>
                      <a:pt x="72" y="46"/>
                    </a:lnTo>
                    <a:cubicBezTo>
                      <a:pt x="72" y="39"/>
                      <a:pt x="71" y="33"/>
                      <a:pt x="70" y="29"/>
                    </a:cubicBezTo>
                    <a:cubicBezTo>
                      <a:pt x="68" y="25"/>
                      <a:pt x="66" y="22"/>
                      <a:pt x="62" y="20"/>
                    </a:cubicBezTo>
                    <a:cubicBezTo>
                      <a:pt x="58" y="18"/>
                      <a:pt x="54" y="17"/>
                      <a:pt x="49" y="17"/>
                    </a:cubicBezTo>
                    <a:cubicBezTo>
                      <a:pt x="41" y="17"/>
                      <a:pt x="34" y="19"/>
                      <a:pt x="28" y="24"/>
                    </a:cubicBezTo>
                    <a:cubicBezTo>
                      <a:pt x="22" y="29"/>
                      <a:pt x="19" y="39"/>
                      <a:pt x="19" y="53"/>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829"/>
              <p:cNvSpPr>
                <a:spLocks noEditPoints="1"/>
              </p:cNvSpPr>
              <p:nvPr/>
            </p:nvSpPr>
            <p:spPr bwMode="auto">
              <a:xfrm>
                <a:off x="4006" y="1970"/>
                <a:ext cx="24" cy="26"/>
              </a:xfrm>
              <a:custGeom>
                <a:avLst/>
                <a:gdLst>
                  <a:gd name="T0" fmla="*/ 0 w 105"/>
                  <a:gd name="T1" fmla="*/ 59 h 117"/>
                  <a:gd name="T2" fmla="*/ 17 w 105"/>
                  <a:gd name="T3" fmla="*/ 13 h 117"/>
                  <a:gd name="T4" fmla="*/ 53 w 105"/>
                  <a:gd name="T5" fmla="*/ 0 h 117"/>
                  <a:gd name="T6" fmla="*/ 90 w 105"/>
                  <a:gd name="T7" fmla="*/ 15 h 117"/>
                  <a:gd name="T8" fmla="*/ 105 w 105"/>
                  <a:gd name="T9" fmla="*/ 57 h 117"/>
                  <a:gd name="T10" fmla="*/ 98 w 105"/>
                  <a:gd name="T11" fmla="*/ 91 h 117"/>
                  <a:gd name="T12" fmla="*/ 80 w 105"/>
                  <a:gd name="T13" fmla="*/ 110 h 117"/>
                  <a:gd name="T14" fmla="*/ 53 w 105"/>
                  <a:gd name="T15" fmla="*/ 117 h 117"/>
                  <a:gd name="T16" fmla="*/ 15 w 105"/>
                  <a:gd name="T17" fmla="*/ 102 h 117"/>
                  <a:gd name="T18" fmla="*/ 0 w 105"/>
                  <a:gd name="T19" fmla="*/ 59 h 117"/>
                  <a:gd name="T20" fmla="*/ 20 w 105"/>
                  <a:gd name="T21" fmla="*/ 59 h 117"/>
                  <a:gd name="T22" fmla="*/ 29 w 105"/>
                  <a:gd name="T23" fmla="*/ 91 h 117"/>
                  <a:gd name="T24" fmla="*/ 53 w 105"/>
                  <a:gd name="T25" fmla="*/ 102 h 117"/>
                  <a:gd name="T26" fmla="*/ 76 w 105"/>
                  <a:gd name="T27" fmla="*/ 91 h 117"/>
                  <a:gd name="T28" fmla="*/ 85 w 105"/>
                  <a:gd name="T29" fmla="*/ 58 h 117"/>
                  <a:gd name="T30" fmla="*/ 76 w 105"/>
                  <a:gd name="T31" fmla="*/ 27 h 117"/>
                  <a:gd name="T32" fmla="*/ 53 w 105"/>
                  <a:gd name="T33" fmla="*/ 16 h 117"/>
                  <a:gd name="T34" fmla="*/ 29 w 105"/>
                  <a:gd name="T35" fmla="*/ 26 h 117"/>
                  <a:gd name="T36" fmla="*/ 20 w 105"/>
                  <a:gd name="T3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17">
                    <a:moveTo>
                      <a:pt x="0" y="59"/>
                    </a:moveTo>
                    <a:cubicBezTo>
                      <a:pt x="0" y="38"/>
                      <a:pt x="6" y="23"/>
                      <a:pt x="17" y="13"/>
                    </a:cubicBezTo>
                    <a:cubicBezTo>
                      <a:pt x="27" y="4"/>
                      <a:pt x="39" y="0"/>
                      <a:pt x="53" y="0"/>
                    </a:cubicBezTo>
                    <a:cubicBezTo>
                      <a:pt x="68" y="0"/>
                      <a:pt x="81" y="5"/>
                      <a:pt x="90" y="15"/>
                    </a:cubicBezTo>
                    <a:cubicBezTo>
                      <a:pt x="100" y="25"/>
                      <a:pt x="105" y="39"/>
                      <a:pt x="105" y="57"/>
                    </a:cubicBezTo>
                    <a:cubicBezTo>
                      <a:pt x="105" y="71"/>
                      <a:pt x="103" y="83"/>
                      <a:pt x="98" y="91"/>
                    </a:cubicBezTo>
                    <a:cubicBezTo>
                      <a:pt x="94" y="99"/>
                      <a:pt x="88" y="106"/>
                      <a:pt x="80" y="110"/>
                    </a:cubicBezTo>
                    <a:cubicBezTo>
                      <a:pt x="71" y="115"/>
                      <a:pt x="62" y="117"/>
                      <a:pt x="53" y="117"/>
                    </a:cubicBezTo>
                    <a:cubicBezTo>
                      <a:pt x="37" y="117"/>
                      <a:pt x="24" y="112"/>
                      <a:pt x="15" y="102"/>
                    </a:cubicBezTo>
                    <a:cubicBezTo>
                      <a:pt x="5" y="92"/>
                      <a:pt x="0" y="78"/>
                      <a:pt x="0" y="59"/>
                    </a:cubicBezTo>
                    <a:close/>
                    <a:moveTo>
                      <a:pt x="20" y="59"/>
                    </a:moveTo>
                    <a:cubicBezTo>
                      <a:pt x="20" y="73"/>
                      <a:pt x="23" y="84"/>
                      <a:pt x="29" y="91"/>
                    </a:cubicBezTo>
                    <a:cubicBezTo>
                      <a:pt x="35" y="98"/>
                      <a:pt x="43" y="102"/>
                      <a:pt x="53" y="102"/>
                    </a:cubicBezTo>
                    <a:cubicBezTo>
                      <a:pt x="62" y="102"/>
                      <a:pt x="70" y="98"/>
                      <a:pt x="76" y="91"/>
                    </a:cubicBezTo>
                    <a:cubicBezTo>
                      <a:pt x="82" y="84"/>
                      <a:pt x="85" y="73"/>
                      <a:pt x="85" y="58"/>
                    </a:cubicBezTo>
                    <a:cubicBezTo>
                      <a:pt x="85" y="44"/>
                      <a:pt x="82" y="34"/>
                      <a:pt x="76" y="27"/>
                    </a:cubicBezTo>
                    <a:cubicBezTo>
                      <a:pt x="70" y="19"/>
                      <a:pt x="62" y="16"/>
                      <a:pt x="53" y="16"/>
                    </a:cubicBezTo>
                    <a:cubicBezTo>
                      <a:pt x="43" y="16"/>
                      <a:pt x="35" y="19"/>
                      <a:pt x="29" y="26"/>
                    </a:cubicBezTo>
                    <a:cubicBezTo>
                      <a:pt x="23" y="34"/>
                      <a:pt x="20" y="44"/>
                      <a:pt x="2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830"/>
              <p:cNvSpPr>
                <a:spLocks/>
              </p:cNvSpPr>
              <p:nvPr/>
            </p:nvSpPr>
            <p:spPr bwMode="auto">
              <a:xfrm>
                <a:off x="4103" y="1954"/>
                <a:ext cx="10" cy="13"/>
              </a:xfrm>
              <a:custGeom>
                <a:avLst/>
                <a:gdLst>
                  <a:gd name="T0" fmla="*/ 19 w 45"/>
                  <a:gd name="T1" fmla="*/ 57 h 57"/>
                  <a:gd name="T2" fmla="*/ 19 w 45"/>
                  <a:gd name="T3" fmla="*/ 7 h 57"/>
                  <a:gd name="T4" fmla="*/ 0 w 45"/>
                  <a:gd name="T5" fmla="*/ 7 h 57"/>
                  <a:gd name="T6" fmla="*/ 0 w 45"/>
                  <a:gd name="T7" fmla="*/ 0 h 57"/>
                  <a:gd name="T8" fmla="*/ 45 w 45"/>
                  <a:gd name="T9" fmla="*/ 0 h 57"/>
                  <a:gd name="T10" fmla="*/ 45 w 45"/>
                  <a:gd name="T11" fmla="*/ 7 h 57"/>
                  <a:gd name="T12" fmla="*/ 26 w 45"/>
                  <a:gd name="T13" fmla="*/ 7 h 57"/>
                  <a:gd name="T14" fmla="*/ 26 w 45"/>
                  <a:gd name="T15" fmla="*/ 57 h 57"/>
                  <a:gd name="T16" fmla="*/ 19 w 4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7">
                    <a:moveTo>
                      <a:pt x="19" y="57"/>
                    </a:moveTo>
                    <a:lnTo>
                      <a:pt x="19" y="7"/>
                    </a:lnTo>
                    <a:lnTo>
                      <a:pt x="0" y="7"/>
                    </a:lnTo>
                    <a:lnTo>
                      <a:pt x="0" y="0"/>
                    </a:lnTo>
                    <a:lnTo>
                      <a:pt x="45" y="0"/>
                    </a:lnTo>
                    <a:lnTo>
                      <a:pt x="45" y="7"/>
                    </a:lnTo>
                    <a:lnTo>
                      <a:pt x="26" y="7"/>
                    </a:lnTo>
                    <a:lnTo>
                      <a:pt x="26" y="57"/>
                    </a:lnTo>
                    <a:lnTo>
                      <a:pt x="19"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831"/>
              <p:cNvSpPr>
                <a:spLocks/>
              </p:cNvSpPr>
              <p:nvPr/>
            </p:nvSpPr>
            <p:spPr bwMode="auto">
              <a:xfrm>
                <a:off x="4114" y="1954"/>
                <a:ext cx="13" cy="13"/>
              </a:xfrm>
              <a:custGeom>
                <a:avLst/>
                <a:gdLst>
                  <a:gd name="T0" fmla="*/ 0 w 54"/>
                  <a:gd name="T1" fmla="*/ 57 h 57"/>
                  <a:gd name="T2" fmla="*/ 0 w 54"/>
                  <a:gd name="T3" fmla="*/ 0 h 57"/>
                  <a:gd name="T4" fmla="*/ 12 w 54"/>
                  <a:gd name="T5" fmla="*/ 0 h 57"/>
                  <a:gd name="T6" fmla="*/ 25 w 54"/>
                  <a:gd name="T7" fmla="*/ 40 h 57"/>
                  <a:gd name="T8" fmla="*/ 28 w 54"/>
                  <a:gd name="T9" fmla="*/ 49 h 57"/>
                  <a:gd name="T10" fmla="*/ 31 w 54"/>
                  <a:gd name="T11" fmla="*/ 40 h 57"/>
                  <a:gd name="T12" fmla="*/ 44 w 54"/>
                  <a:gd name="T13" fmla="*/ 0 h 57"/>
                  <a:gd name="T14" fmla="*/ 54 w 54"/>
                  <a:gd name="T15" fmla="*/ 0 h 57"/>
                  <a:gd name="T16" fmla="*/ 54 w 54"/>
                  <a:gd name="T17" fmla="*/ 57 h 57"/>
                  <a:gd name="T18" fmla="*/ 47 w 54"/>
                  <a:gd name="T19" fmla="*/ 57 h 57"/>
                  <a:gd name="T20" fmla="*/ 47 w 54"/>
                  <a:gd name="T21" fmla="*/ 10 h 57"/>
                  <a:gd name="T22" fmla="*/ 31 w 54"/>
                  <a:gd name="T23" fmla="*/ 57 h 57"/>
                  <a:gd name="T24" fmla="*/ 24 w 54"/>
                  <a:gd name="T25" fmla="*/ 57 h 57"/>
                  <a:gd name="T26" fmla="*/ 8 w 54"/>
                  <a:gd name="T27" fmla="*/ 9 h 57"/>
                  <a:gd name="T28" fmla="*/ 8 w 54"/>
                  <a:gd name="T29" fmla="*/ 57 h 57"/>
                  <a:gd name="T30" fmla="*/ 0 w 54"/>
                  <a:gd name="T3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7">
                    <a:moveTo>
                      <a:pt x="0" y="57"/>
                    </a:moveTo>
                    <a:lnTo>
                      <a:pt x="0" y="0"/>
                    </a:lnTo>
                    <a:lnTo>
                      <a:pt x="12" y="0"/>
                    </a:lnTo>
                    <a:lnTo>
                      <a:pt x="25" y="40"/>
                    </a:lnTo>
                    <a:cubicBezTo>
                      <a:pt x="26" y="44"/>
                      <a:pt x="27" y="47"/>
                      <a:pt x="28" y="49"/>
                    </a:cubicBezTo>
                    <a:cubicBezTo>
                      <a:pt x="28" y="47"/>
                      <a:pt x="29" y="44"/>
                      <a:pt x="31" y="40"/>
                    </a:cubicBezTo>
                    <a:lnTo>
                      <a:pt x="44" y="0"/>
                    </a:lnTo>
                    <a:lnTo>
                      <a:pt x="54" y="0"/>
                    </a:lnTo>
                    <a:lnTo>
                      <a:pt x="54" y="57"/>
                    </a:lnTo>
                    <a:lnTo>
                      <a:pt x="47" y="57"/>
                    </a:lnTo>
                    <a:lnTo>
                      <a:pt x="47" y="10"/>
                    </a:lnTo>
                    <a:lnTo>
                      <a:pt x="31" y="57"/>
                    </a:lnTo>
                    <a:lnTo>
                      <a:pt x="24" y="57"/>
                    </a:lnTo>
                    <a:lnTo>
                      <a:pt x="8" y="9"/>
                    </a:lnTo>
                    <a:lnTo>
                      <a:pt x="8" y="57"/>
                    </a:lnTo>
                    <a:lnTo>
                      <a:pt x="0"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Rectangle 832"/>
              <p:cNvSpPr>
                <a:spLocks noChangeArrowheads="1"/>
              </p:cNvSpPr>
              <p:nvPr/>
            </p:nvSpPr>
            <p:spPr bwMode="auto">
              <a:xfrm>
                <a:off x="3820" y="2658"/>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833"/>
              <p:cNvSpPr>
                <a:spLocks noEditPoints="1"/>
              </p:cNvSpPr>
              <p:nvPr/>
            </p:nvSpPr>
            <p:spPr bwMode="auto">
              <a:xfrm>
                <a:off x="3820" y="2636"/>
                <a:ext cx="20" cy="18"/>
              </a:xfrm>
              <a:custGeom>
                <a:avLst/>
                <a:gdLst>
                  <a:gd name="T0" fmla="*/ 44 w 87"/>
                  <a:gd name="T1" fmla="*/ 81 h 81"/>
                  <a:gd name="T2" fmla="*/ 12 w 87"/>
                  <a:gd name="T3" fmla="*/ 70 h 81"/>
                  <a:gd name="T4" fmla="*/ 0 w 87"/>
                  <a:gd name="T5" fmla="*/ 41 h 81"/>
                  <a:gd name="T6" fmla="*/ 5 w 87"/>
                  <a:gd name="T7" fmla="*/ 20 h 81"/>
                  <a:gd name="T8" fmla="*/ 21 w 87"/>
                  <a:gd name="T9" fmla="*/ 5 h 81"/>
                  <a:gd name="T10" fmla="*/ 43 w 87"/>
                  <a:gd name="T11" fmla="*/ 0 h 81"/>
                  <a:gd name="T12" fmla="*/ 66 w 87"/>
                  <a:gd name="T13" fmla="*/ 6 h 81"/>
                  <a:gd name="T14" fmla="*/ 82 w 87"/>
                  <a:gd name="T15" fmla="*/ 20 h 81"/>
                  <a:gd name="T16" fmla="*/ 87 w 87"/>
                  <a:gd name="T17" fmla="*/ 41 h 81"/>
                  <a:gd name="T18" fmla="*/ 81 w 87"/>
                  <a:gd name="T19" fmla="*/ 62 h 81"/>
                  <a:gd name="T20" fmla="*/ 65 w 87"/>
                  <a:gd name="T21" fmla="*/ 76 h 81"/>
                  <a:gd name="T22" fmla="*/ 44 w 87"/>
                  <a:gd name="T23" fmla="*/ 81 h 81"/>
                  <a:gd name="T24" fmla="*/ 45 w 87"/>
                  <a:gd name="T25" fmla="*/ 70 h 81"/>
                  <a:gd name="T26" fmla="*/ 69 w 87"/>
                  <a:gd name="T27" fmla="*/ 61 h 81"/>
                  <a:gd name="T28" fmla="*/ 77 w 87"/>
                  <a:gd name="T29" fmla="*/ 41 h 81"/>
                  <a:gd name="T30" fmla="*/ 69 w 87"/>
                  <a:gd name="T31" fmla="*/ 20 h 81"/>
                  <a:gd name="T32" fmla="*/ 43 w 87"/>
                  <a:gd name="T33" fmla="*/ 12 h 81"/>
                  <a:gd name="T34" fmla="*/ 25 w 87"/>
                  <a:gd name="T35" fmla="*/ 15 h 81"/>
                  <a:gd name="T36" fmla="*/ 13 w 87"/>
                  <a:gd name="T37" fmla="*/ 26 h 81"/>
                  <a:gd name="T38" fmla="*/ 9 w 87"/>
                  <a:gd name="T39" fmla="*/ 41 h 81"/>
                  <a:gd name="T40" fmla="*/ 17 w 87"/>
                  <a:gd name="T41" fmla="*/ 61 h 81"/>
                  <a:gd name="T42" fmla="*/ 45 w 87"/>
                  <a:gd name="T43"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4" y="81"/>
                    </a:moveTo>
                    <a:cubicBezTo>
                      <a:pt x="30" y="81"/>
                      <a:pt x="19" y="77"/>
                      <a:pt x="12" y="70"/>
                    </a:cubicBezTo>
                    <a:cubicBezTo>
                      <a:pt x="4" y="62"/>
                      <a:pt x="0" y="53"/>
                      <a:pt x="0" y="41"/>
                    </a:cubicBezTo>
                    <a:cubicBezTo>
                      <a:pt x="0" y="33"/>
                      <a:pt x="2" y="26"/>
                      <a:pt x="5" y="20"/>
                    </a:cubicBezTo>
                    <a:cubicBezTo>
                      <a:pt x="9" y="13"/>
                      <a:pt x="14" y="9"/>
                      <a:pt x="21" y="5"/>
                    </a:cubicBezTo>
                    <a:cubicBezTo>
                      <a:pt x="27" y="2"/>
                      <a:pt x="35" y="0"/>
                      <a:pt x="43" y="0"/>
                    </a:cubicBezTo>
                    <a:cubicBezTo>
                      <a:pt x="52" y="0"/>
                      <a:pt x="60" y="2"/>
                      <a:pt x="66" y="6"/>
                    </a:cubicBezTo>
                    <a:cubicBezTo>
                      <a:pt x="73" y="9"/>
                      <a:pt x="78" y="14"/>
                      <a:pt x="82" y="20"/>
                    </a:cubicBezTo>
                    <a:cubicBezTo>
                      <a:pt x="85" y="27"/>
                      <a:pt x="87" y="33"/>
                      <a:pt x="87" y="41"/>
                    </a:cubicBezTo>
                    <a:cubicBezTo>
                      <a:pt x="87" y="49"/>
                      <a:pt x="85" y="56"/>
                      <a:pt x="81" y="62"/>
                    </a:cubicBezTo>
                    <a:cubicBezTo>
                      <a:pt x="77" y="68"/>
                      <a:pt x="72" y="73"/>
                      <a:pt x="65" y="76"/>
                    </a:cubicBezTo>
                    <a:cubicBezTo>
                      <a:pt x="59" y="80"/>
                      <a:pt x="52" y="81"/>
                      <a:pt x="44" y="81"/>
                    </a:cubicBezTo>
                    <a:close/>
                    <a:moveTo>
                      <a:pt x="45" y="70"/>
                    </a:moveTo>
                    <a:cubicBezTo>
                      <a:pt x="55" y="70"/>
                      <a:pt x="63" y="67"/>
                      <a:pt x="69" y="61"/>
                    </a:cubicBezTo>
                    <a:cubicBezTo>
                      <a:pt x="74" y="56"/>
                      <a:pt x="77" y="49"/>
                      <a:pt x="77" y="41"/>
                    </a:cubicBezTo>
                    <a:cubicBezTo>
                      <a:pt x="77" y="32"/>
                      <a:pt x="74" y="26"/>
                      <a:pt x="69" y="20"/>
                    </a:cubicBezTo>
                    <a:cubicBezTo>
                      <a:pt x="63" y="15"/>
                      <a:pt x="54" y="12"/>
                      <a:pt x="43" y="12"/>
                    </a:cubicBezTo>
                    <a:cubicBezTo>
                      <a:pt x="37" y="12"/>
                      <a:pt x="31" y="13"/>
                      <a:pt x="25" y="15"/>
                    </a:cubicBezTo>
                    <a:cubicBezTo>
                      <a:pt x="20" y="18"/>
                      <a:pt x="16" y="21"/>
                      <a:pt x="13" y="26"/>
                    </a:cubicBezTo>
                    <a:cubicBezTo>
                      <a:pt x="11" y="30"/>
                      <a:pt x="9" y="35"/>
                      <a:pt x="9" y="41"/>
                    </a:cubicBezTo>
                    <a:cubicBezTo>
                      <a:pt x="9" y="49"/>
                      <a:pt x="12" y="55"/>
                      <a:pt x="17" y="61"/>
                    </a:cubicBezTo>
                    <a:cubicBezTo>
                      <a:pt x="23" y="67"/>
                      <a:pt x="32" y="70"/>
                      <a:pt x="45"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834"/>
              <p:cNvSpPr>
                <a:spLocks noEditPoints="1"/>
              </p:cNvSpPr>
              <p:nvPr/>
            </p:nvSpPr>
            <p:spPr bwMode="auto">
              <a:xfrm>
                <a:off x="3820" y="2616"/>
                <a:ext cx="19" cy="17"/>
              </a:xfrm>
              <a:custGeom>
                <a:avLst/>
                <a:gdLst>
                  <a:gd name="T0" fmla="*/ 85 w 85"/>
                  <a:gd name="T1" fmla="*/ 74 h 74"/>
                  <a:gd name="T2" fmla="*/ 0 w 85"/>
                  <a:gd name="T3" fmla="*/ 74 h 74"/>
                  <a:gd name="T4" fmla="*/ 0 w 85"/>
                  <a:gd name="T5" fmla="*/ 37 h 74"/>
                  <a:gd name="T6" fmla="*/ 2 w 85"/>
                  <a:gd name="T7" fmla="*/ 19 h 74"/>
                  <a:gd name="T8" fmla="*/ 10 w 85"/>
                  <a:gd name="T9" fmla="*/ 10 h 74"/>
                  <a:gd name="T10" fmla="*/ 23 w 85"/>
                  <a:gd name="T11" fmla="*/ 6 h 74"/>
                  <a:gd name="T12" fmla="*/ 38 w 85"/>
                  <a:gd name="T13" fmla="*/ 12 h 74"/>
                  <a:gd name="T14" fmla="*/ 46 w 85"/>
                  <a:gd name="T15" fmla="*/ 30 h 74"/>
                  <a:gd name="T16" fmla="*/ 50 w 85"/>
                  <a:gd name="T17" fmla="*/ 24 h 74"/>
                  <a:gd name="T18" fmla="*/ 62 w 85"/>
                  <a:gd name="T19" fmla="*/ 14 h 74"/>
                  <a:gd name="T20" fmla="*/ 85 w 85"/>
                  <a:gd name="T21" fmla="*/ 0 h 74"/>
                  <a:gd name="T22" fmla="*/ 85 w 85"/>
                  <a:gd name="T23" fmla="*/ 14 h 74"/>
                  <a:gd name="T24" fmla="*/ 67 w 85"/>
                  <a:gd name="T25" fmla="*/ 25 h 74"/>
                  <a:gd name="T26" fmla="*/ 55 w 85"/>
                  <a:gd name="T27" fmla="*/ 33 h 74"/>
                  <a:gd name="T28" fmla="*/ 50 w 85"/>
                  <a:gd name="T29" fmla="*/ 39 h 74"/>
                  <a:gd name="T30" fmla="*/ 47 w 85"/>
                  <a:gd name="T31" fmla="*/ 44 h 74"/>
                  <a:gd name="T32" fmla="*/ 47 w 85"/>
                  <a:gd name="T33" fmla="*/ 50 h 74"/>
                  <a:gd name="T34" fmla="*/ 47 w 85"/>
                  <a:gd name="T35" fmla="*/ 63 h 74"/>
                  <a:gd name="T36" fmla="*/ 85 w 85"/>
                  <a:gd name="T37" fmla="*/ 63 h 74"/>
                  <a:gd name="T38" fmla="*/ 85 w 85"/>
                  <a:gd name="T39" fmla="*/ 74 h 74"/>
                  <a:gd name="T40" fmla="*/ 37 w 85"/>
                  <a:gd name="T41" fmla="*/ 63 h 74"/>
                  <a:gd name="T42" fmla="*/ 37 w 85"/>
                  <a:gd name="T43" fmla="*/ 39 h 74"/>
                  <a:gd name="T44" fmla="*/ 36 w 85"/>
                  <a:gd name="T45" fmla="*/ 27 h 74"/>
                  <a:gd name="T46" fmla="*/ 31 w 85"/>
                  <a:gd name="T47" fmla="*/ 20 h 74"/>
                  <a:gd name="T48" fmla="*/ 23 w 85"/>
                  <a:gd name="T49" fmla="*/ 18 h 74"/>
                  <a:gd name="T50" fmla="*/ 13 w 85"/>
                  <a:gd name="T51" fmla="*/ 22 h 74"/>
                  <a:gd name="T52" fmla="*/ 9 w 85"/>
                  <a:gd name="T53" fmla="*/ 36 h 74"/>
                  <a:gd name="T54" fmla="*/ 9 w 85"/>
                  <a:gd name="T55" fmla="*/ 63 h 74"/>
                  <a:gd name="T56" fmla="*/ 37 w 85"/>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74">
                    <a:moveTo>
                      <a:pt x="85" y="74"/>
                    </a:moveTo>
                    <a:lnTo>
                      <a:pt x="0" y="74"/>
                    </a:lnTo>
                    <a:lnTo>
                      <a:pt x="0" y="37"/>
                    </a:lnTo>
                    <a:cubicBezTo>
                      <a:pt x="0" y="29"/>
                      <a:pt x="1" y="23"/>
                      <a:pt x="2" y="19"/>
                    </a:cubicBezTo>
                    <a:cubicBezTo>
                      <a:pt x="4" y="15"/>
                      <a:pt x="7" y="12"/>
                      <a:pt x="10" y="10"/>
                    </a:cubicBezTo>
                    <a:cubicBezTo>
                      <a:pt x="14" y="8"/>
                      <a:pt x="19" y="6"/>
                      <a:pt x="23" y="6"/>
                    </a:cubicBezTo>
                    <a:cubicBezTo>
                      <a:pt x="29" y="6"/>
                      <a:pt x="34" y="8"/>
                      <a:pt x="38" y="12"/>
                    </a:cubicBezTo>
                    <a:cubicBezTo>
                      <a:pt x="42" y="16"/>
                      <a:pt x="45" y="22"/>
                      <a:pt x="46" y="30"/>
                    </a:cubicBezTo>
                    <a:cubicBezTo>
                      <a:pt x="48" y="27"/>
                      <a:pt x="49" y="25"/>
                      <a:pt x="50" y="24"/>
                    </a:cubicBezTo>
                    <a:cubicBezTo>
                      <a:pt x="53" y="20"/>
                      <a:pt x="57" y="17"/>
                      <a:pt x="62" y="14"/>
                    </a:cubicBezTo>
                    <a:lnTo>
                      <a:pt x="85" y="0"/>
                    </a:lnTo>
                    <a:lnTo>
                      <a:pt x="85"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5" y="63"/>
                    </a:lnTo>
                    <a:lnTo>
                      <a:pt x="85" y="74"/>
                    </a:lnTo>
                    <a:close/>
                    <a:moveTo>
                      <a:pt x="37" y="63"/>
                    </a:moveTo>
                    <a:lnTo>
                      <a:pt x="37" y="39"/>
                    </a:lnTo>
                    <a:cubicBezTo>
                      <a:pt x="37" y="34"/>
                      <a:pt x="37" y="30"/>
                      <a:pt x="36" y="27"/>
                    </a:cubicBezTo>
                    <a:cubicBezTo>
                      <a:pt x="35" y="24"/>
                      <a:pt x="33" y="22"/>
                      <a:pt x="31" y="20"/>
                    </a:cubicBezTo>
                    <a:cubicBezTo>
                      <a:pt x="28" y="19"/>
                      <a:pt x="26" y="18"/>
                      <a:pt x="23" y="18"/>
                    </a:cubicBezTo>
                    <a:cubicBezTo>
                      <a:pt x="19" y="18"/>
                      <a:pt x="16" y="19"/>
                      <a:pt x="13" y="22"/>
                    </a:cubicBezTo>
                    <a:cubicBezTo>
                      <a:pt x="11" y="25"/>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Freeform 835"/>
              <p:cNvSpPr>
                <a:spLocks/>
              </p:cNvSpPr>
              <p:nvPr/>
            </p:nvSpPr>
            <p:spPr bwMode="auto">
              <a:xfrm>
                <a:off x="3820" y="2599"/>
                <a:ext cx="19" cy="15"/>
              </a:xfrm>
              <a:custGeom>
                <a:avLst/>
                <a:gdLst>
                  <a:gd name="T0" fmla="*/ 85 w 85"/>
                  <a:gd name="T1" fmla="*/ 63 h 63"/>
                  <a:gd name="T2" fmla="*/ 0 w 85"/>
                  <a:gd name="T3" fmla="*/ 63 h 63"/>
                  <a:gd name="T4" fmla="*/ 0 w 85"/>
                  <a:gd name="T5" fmla="*/ 2 h 63"/>
                  <a:gd name="T6" fmla="*/ 10 w 85"/>
                  <a:gd name="T7" fmla="*/ 2 h 63"/>
                  <a:gd name="T8" fmla="*/ 10 w 85"/>
                  <a:gd name="T9" fmla="*/ 52 h 63"/>
                  <a:gd name="T10" fmla="*/ 36 w 85"/>
                  <a:gd name="T11" fmla="*/ 52 h 63"/>
                  <a:gd name="T12" fmla="*/ 36 w 85"/>
                  <a:gd name="T13" fmla="*/ 5 h 63"/>
                  <a:gd name="T14" fmla="*/ 46 w 85"/>
                  <a:gd name="T15" fmla="*/ 5 h 63"/>
                  <a:gd name="T16" fmla="*/ 46 w 85"/>
                  <a:gd name="T17" fmla="*/ 52 h 63"/>
                  <a:gd name="T18" fmla="*/ 75 w 85"/>
                  <a:gd name="T19" fmla="*/ 52 h 63"/>
                  <a:gd name="T20" fmla="*/ 75 w 85"/>
                  <a:gd name="T21" fmla="*/ 0 h 63"/>
                  <a:gd name="T22" fmla="*/ 85 w 85"/>
                  <a:gd name="T23" fmla="*/ 0 h 63"/>
                  <a:gd name="T24" fmla="*/ 85 w 85"/>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63">
                    <a:moveTo>
                      <a:pt x="85" y="63"/>
                    </a:moveTo>
                    <a:lnTo>
                      <a:pt x="0" y="63"/>
                    </a:lnTo>
                    <a:lnTo>
                      <a:pt x="0" y="2"/>
                    </a:lnTo>
                    <a:lnTo>
                      <a:pt x="10" y="2"/>
                    </a:lnTo>
                    <a:lnTo>
                      <a:pt x="10" y="52"/>
                    </a:lnTo>
                    <a:lnTo>
                      <a:pt x="36" y="52"/>
                    </a:lnTo>
                    <a:lnTo>
                      <a:pt x="36" y="5"/>
                    </a:lnTo>
                    <a:lnTo>
                      <a:pt x="46" y="5"/>
                    </a:lnTo>
                    <a:lnTo>
                      <a:pt x="46" y="52"/>
                    </a:lnTo>
                    <a:lnTo>
                      <a:pt x="75" y="52"/>
                    </a:lnTo>
                    <a:lnTo>
                      <a:pt x="75" y="0"/>
                    </a:lnTo>
                    <a:lnTo>
                      <a:pt x="85" y="0"/>
                    </a:lnTo>
                    <a:lnTo>
                      <a:pt x="85"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836"/>
              <p:cNvSpPr>
                <a:spLocks/>
              </p:cNvSpPr>
              <p:nvPr/>
            </p:nvSpPr>
            <p:spPr bwMode="auto">
              <a:xfrm>
                <a:off x="3820" y="2583"/>
                <a:ext cx="19" cy="13"/>
              </a:xfrm>
              <a:custGeom>
                <a:avLst/>
                <a:gdLst>
                  <a:gd name="T0" fmla="*/ 85 w 85"/>
                  <a:gd name="T1" fmla="*/ 57 h 57"/>
                  <a:gd name="T2" fmla="*/ 0 w 85"/>
                  <a:gd name="T3" fmla="*/ 57 h 57"/>
                  <a:gd name="T4" fmla="*/ 0 w 85"/>
                  <a:gd name="T5" fmla="*/ 0 h 57"/>
                  <a:gd name="T6" fmla="*/ 10 w 85"/>
                  <a:gd name="T7" fmla="*/ 0 h 57"/>
                  <a:gd name="T8" fmla="*/ 10 w 85"/>
                  <a:gd name="T9" fmla="*/ 45 h 57"/>
                  <a:gd name="T10" fmla="*/ 36 w 85"/>
                  <a:gd name="T11" fmla="*/ 45 h 57"/>
                  <a:gd name="T12" fmla="*/ 36 w 85"/>
                  <a:gd name="T13" fmla="*/ 6 h 57"/>
                  <a:gd name="T14" fmla="*/ 46 w 85"/>
                  <a:gd name="T15" fmla="*/ 6 h 57"/>
                  <a:gd name="T16" fmla="*/ 46 w 85"/>
                  <a:gd name="T17" fmla="*/ 45 h 57"/>
                  <a:gd name="T18" fmla="*/ 85 w 85"/>
                  <a:gd name="T19" fmla="*/ 45 h 57"/>
                  <a:gd name="T20" fmla="*/ 85 w 85"/>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57">
                    <a:moveTo>
                      <a:pt x="85" y="57"/>
                    </a:moveTo>
                    <a:lnTo>
                      <a:pt x="0" y="57"/>
                    </a:lnTo>
                    <a:lnTo>
                      <a:pt x="0" y="0"/>
                    </a:lnTo>
                    <a:lnTo>
                      <a:pt x="10" y="0"/>
                    </a:lnTo>
                    <a:lnTo>
                      <a:pt x="10" y="45"/>
                    </a:lnTo>
                    <a:lnTo>
                      <a:pt x="36" y="45"/>
                    </a:lnTo>
                    <a:lnTo>
                      <a:pt x="36" y="6"/>
                    </a:lnTo>
                    <a:lnTo>
                      <a:pt x="46" y="6"/>
                    </a:lnTo>
                    <a:lnTo>
                      <a:pt x="46" y="45"/>
                    </a:lnTo>
                    <a:lnTo>
                      <a:pt x="85" y="45"/>
                    </a:lnTo>
                    <a:lnTo>
                      <a:pt x="85"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Rectangle 837"/>
              <p:cNvSpPr>
                <a:spLocks noChangeArrowheads="1"/>
              </p:cNvSpPr>
              <p:nvPr/>
            </p:nvSpPr>
            <p:spPr bwMode="auto">
              <a:xfrm>
                <a:off x="4517" y="2213"/>
                <a:ext cx="24"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838"/>
              <p:cNvSpPr>
                <a:spLocks/>
              </p:cNvSpPr>
              <p:nvPr/>
            </p:nvSpPr>
            <p:spPr bwMode="auto">
              <a:xfrm>
                <a:off x="4517" y="2187"/>
                <a:ext cx="24" cy="21"/>
              </a:xfrm>
              <a:custGeom>
                <a:avLst/>
                <a:gdLst>
                  <a:gd name="T0" fmla="*/ 70 w 109"/>
                  <a:gd name="T1" fmla="*/ 14 h 93"/>
                  <a:gd name="T2" fmla="*/ 73 w 109"/>
                  <a:gd name="T3" fmla="*/ 0 h 93"/>
                  <a:gd name="T4" fmla="*/ 100 w 109"/>
                  <a:gd name="T5" fmla="*/ 16 h 93"/>
                  <a:gd name="T6" fmla="*/ 109 w 109"/>
                  <a:gd name="T7" fmla="*/ 43 h 93"/>
                  <a:gd name="T8" fmla="*/ 102 w 109"/>
                  <a:gd name="T9" fmla="*/ 71 h 93"/>
                  <a:gd name="T10" fmla="*/ 82 w 109"/>
                  <a:gd name="T11" fmla="*/ 87 h 93"/>
                  <a:gd name="T12" fmla="*/ 53 w 109"/>
                  <a:gd name="T13" fmla="*/ 93 h 93"/>
                  <a:gd name="T14" fmla="*/ 25 w 109"/>
                  <a:gd name="T15" fmla="*/ 87 h 93"/>
                  <a:gd name="T16" fmla="*/ 6 w 109"/>
                  <a:gd name="T17" fmla="*/ 69 h 93"/>
                  <a:gd name="T18" fmla="*/ 0 w 109"/>
                  <a:gd name="T19" fmla="*/ 43 h 93"/>
                  <a:gd name="T20" fmla="*/ 8 w 109"/>
                  <a:gd name="T21" fmla="*/ 17 h 93"/>
                  <a:gd name="T22" fmla="*/ 30 w 109"/>
                  <a:gd name="T23" fmla="*/ 2 h 93"/>
                  <a:gd name="T24" fmla="*/ 33 w 109"/>
                  <a:gd name="T25" fmla="*/ 15 h 93"/>
                  <a:gd name="T26" fmla="*/ 17 w 109"/>
                  <a:gd name="T27" fmla="*/ 26 h 93"/>
                  <a:gd name="T28" fmla="*/ 11 w 109"/>
                  <a:gd name="T29" fmla="*/ 43 h 93"/>
                  <a:gd name="T30" fmla="*/ 17 w 109"/>
                  <a:gd name="T31" fmla="*/ 64 h 93"/>
                  <a:gd name="T32" fmla="*/ 33 w 109"/>
                  <a:gd name="T33" fmla="*/ 75 h 93"/>
                  <a:gd name="T34" fmla="*/ 53 w 109"/>
                  <a:gd name="T35" fmla="*/ 79 h 93"/>
                  <a:gd name="T36" fmla="*/ 77 w 109"/>
                  <a:gd name="T37" fmla="*/ 75 h 93"/>
                  <a:gd name="T38" fmla="*/ 92 w 109"/>
                  <a:gd name="T39" fmla="*/ 62 h 93"/>
                  <a:gd name="T40" fmla="*/ 97 w 109"/>
                  <a:gd name="T41" fmla="*/ 45 h 93"/>
                  <a:gd name="T42" fmla="*/ 90 w 109"/>
                  <a:gd name="T43" fmla="*/ 25 h 93"/>
                  <a:gd name="T44" fmla="*/ 70 w 109"/>
                  <a:gd name="T45"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93">
                    <a:moveTo>
                      <a:pt x="70" y="14"/>
                    </a:moveTo>
                    <a:lnTo>
                      <a:pt x="73" y="0"/>
                    </a:lnTo>
                    <a:cubicBezTo>
                      <a:pt x="85" y="3"/>
                      <a:pt x="94" y="8"/>
                      <a:pt x="100" y="16"/>
                    </a:cubicBezTo>
                    <a:cubicBezTo>
                      <a:pt x="106" y="23"/>
                      <a:pt x="109" y="32"/>
                      <a:pt x="109" y="43"/>
                    </a:cubicBezTo>
                    <a:cubicBezTo>
                      <a:pt x="109" y="55"/>
                      <a:pt x="106" y="64"/>
                      <a:pt x="102" y="71"/>
                    </a:cubicBezTo>
                    <a:cubicBezTo>
                      <a:pt x="97" y="78"/>
                      <a:pt x="90" y="84"/>
                      <a:pt x="82" y="87"/>
                    </a:cubicBezTo>
                    <a:cubicBezTo>
                      <a:pt x="73" y="91"/>
                      <a:pt x="63" y="93"/>
                      <a:pt x="53" y="93"/>
                    </a:cubicBezTo>
                    <a:cubicBezTo>
                      <a:pt x="42" y="93"/>
                      <a:pt x="33" y="91"/>
                      <a:pt x="25" y="87"/>
                    </a:cubicBezTo>
                    <a:cubicBezTo>
                      <a:pt x="16" y="82"/>
                      <a:pt x="10" y="76"/>
                      <a:pt x="6" y="69"/>
                    </a:cubicBezTo>
                    <a:cubicBezTo>
                      <a:pt x="2" y="61"/>
                      <a:pt x="0" y="52"/>
                      <a:pt x="0" y="43"/>
                    </a:cubicBezTo>
                    <a:cubicBezTo>
                      <a:pt x="0" y="33"/>
                      <a:pt x="2" y="24"/>
                      <a:pt x="8" y="17"/>
                    </a:cubicBezTo>
                    <a:cubicBezTo>
                      <a:pt x="13" y="9"/>
                      <a:pt x="21" y="4"/>
                      <a:pt x="30" y="2"/>
                    </a:cubicBezTo>
                    <a:lnTo>
                      <a:pt x="33" y="15"/>
                    </a:lnTo>
                    <a:cubicBezTo>
                      <a:pt x="26" y="18"/>
                      <a:pt x="20" y="21"/>
                      <a:pt x="17" y="26"/>
                    </a:cubicBezTo>
                    <a:cubicBezTo>
                      <a:pt x="13" y="31"/>
                      <a:pt x="11" y="36"/>
                      <a:pt x="11" y="43"/>
                    </a:cubicBezTo>
                    <a:cubicBezTo>
                      <a:pt x="11" y="52"/>
                      <a:pt x="13" y="58"/>
                      <a:pt x="17" y="64"/>
                    </a:cubicBezTo>
                    <a:cubicBezTo>
                      <a:pt x="21" y="69"/>
                      <a:pt x="26" y="73"/>
                      <a:pt x="33" y="75"/>
                    </a:cubicBezTo>
                    <a:cubicBezTo>
                      <a:pt x="39" y="77"/>
                      <a:pt x="46" y="79"/>
                      <a:pt x="53" y="79"/>
                    </a:cubicBezTo>
                    <a:cubicBezTo>
                      <a:pt x="62" y="79"/>
                      <a:pt x="70" y="77"/>
                      <a:pt x="77" y="75"/>
                    </a:cubicBezTo>
                    <a:cubicBezTo>
                      <a:pt x="83" y="72"/>
                      <a:pt x="88" y="68"/>
                      <a:pt x="92" y="62"/>
                    </a:cubicBezTo>
                    <a:cubicBezTo>
                      <a:pt x="95" y="57"/>
                      <a:pt x="97" y="51"/>
                      <a:pt x="97" y="45"/>
                    </a:cubicBezTo>
                    <a:cubicBezTo>
                      <a:pt x="97" y="37"/>
                      <a:pt x="94" y="30"/>
                      <a:pt x="90" y="25"/>
                    </a:cubicBezTo>
                    <a:cubicBezTo>
                      <a:pt x="85" y="19"/>
                      <a:pt x="79" y="16"/>
                      <a:pt x="70" y="1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839"/>
              <p:cNvSpPr>
                <a:spLocks/>
              </p:cNvSpPr>
              <p:nvPr/>
            </p:nvSpPr>
            <p:spPr bwMode="auto">
              <a:xfrm>
                <a:off x="4517" y="2165"/>
                <a:ext cx="24" cy="19"/>
              </a:xfrm>
              <a:custGeom>
                <a:avLst/>
                <a:gdLst>
                  <a:gd name="T0" fmla="*/ 73 w 109"/>
                  <a:gd name="T1" fmla="*/ 84 h 84"/>
                  <a:gd name="T2" fmla="*/ 72 w 109"/>
                  <a:gd name="T3" fmla="*/ 71 h 84"/>
                  <a:gd name="T4" fmla="*/ 85 w 109"/>
                  <a:gd name="T5" fmla="*/ 67 h 84"/>
                  <a:gd name="T6" fmla="*/ 93 w 109"/>
                  <a:gd name="T7" fmla="*/ 56 h 84"/>
                  <a:gd name="T8" fmla="*/ 96 w 109"/>
                  <a:gd name="T9" fmla="*/ 40 h 84"/>
                  <a:gd name="T10" fmla="*/ 94 w 109"/>
                  <a:gd name="T11" fmla="*/ 26 h 84"/>
                  <a:gd name="T12" fmla="*/ 87 w 109"/>
                  <a:gd name="T13" fmla="*/ 17 h 84"/>
                  <a:gd name="T14" fmla="*/ 78 w 109"/>
                  <a:gd name="T15" fmla="*/ 14 h 84"/>
                  <a:gd name="T16" fmla="*/ 69 w 109"/>
                  <a:gd name="T17" fmla="*/ 17 h 84"/>
                  <a:gd name="T18" fmla="*/ 63 w 109"/>
                  <a:gd name="T19" fmla="*/ 26 h 84"/>
                  <a:gd name="T20" fmla="*/ 58 w 109"/>
                  <a:gd name="T21" fmla="*/ 45 h 84"/>
                  <a:gd name="T22" fmla="*/ 52 w 109"/>
                  <a:gd name="T23" fmla="*/ 65 h 84"/>
                  <a:gd name="T24" fmla="*/ 42 w 109"/>
                  <a:gd name="T25" fmla="*/ 76 h 84"/>
                  <a:gd name="T26" fmla="*/ 29 w 109"/>
                  <a:gd name="T27" fmla="*/ 80 h 84"/>
                  <a:gd name="T28" fmla="*/ 14 w 109"/>
                  <a:gd name="T29" fmla="*/ 76 h 84"/>
                  <a:gd name="T30" fmla="*/ 3 w 109"/>
                  <a:gd name="T31" fmla="*/ 62 h 84"/>
                  <a:gd name="T32" fmla="*/ 0 w 109"/>
                  <a:gd name="T33" fmla="*/ 43 h 84"/>
                  <a:gd name="T34" fmla="*/ 3 w 109"/>
                  <a:gd name="T35" fmla="*/ 22 h 84"/>
                  <a:gd name="T36" fmla="*/ 14 w 109"/>
                  <a:gd name="T37" fmla="*/ 9 h 84"/>
                  <a:gd name="T38" fmla="*/ 31 w 109"/>
                  <a:gd name="T39" fmla="*/ 3 h 84"/>
                  <a:gd name="T40" fmla="*/ 32 w 109"/>
                  <a:gd name="T41" fmla="*/ 17 h 84"/>
                  <a:gd name="T42" fmla="*/ 17 w 109"/>
                  <a:gd name="T43" fmla="*/ 24 h 84"/>
                  <a:gd name="T44" fmla="*/ 12 w 109"/>
                  <a:gd name="T45" fmla="*/ 42 h 84"/>
                  <a:gd name="T46" fmla="*/ 16 w 109"/>
                  <a:gd name="T47" fmla="*/ 61 h 84"/>
                  <a:gd name="T48" fmla="*/ 28 w 109"/>
                  <a:gd name="T49" fmla="*/ 67 h 84"/>
                  <a:gd name="T50" fmla="*/ 37 w 109"/>
                  <a:gd name="T51" fmla="*/ 63 h 84"/>
                  <a:gd name="T52" fmla="*/ 45 w 109"/>
                  <a:gd name="T53" fmla="*/ 42 h 84"/>
                  <a:gd name="T54" fmla="*/ 51 w 109"/>
                  <a:gd name="T55" fmla="*/ 18 h 84"/>
                  <a:gd name="T56" fmla="*/ 62 w 109"/>
                  <a:gd name="T57" fmla="*/ 5 h 84"/>
                  <a:gd name="T58" fmla="*/ 77 w 109"/>
                  <a:gd name="T59" fmla="*/ 0 h 84"/>
                  <a:gd name="T60" fmla="*/ 93 w 109"/>
                  <a:gd name="T61" fmla="*/ 5 h 84"/>
                  <a:gd name="T62" fmla="*/ 104 w 109"/>
                  <a:gd name="T63" fmla="*/ 19 h 84"/>
                  <a:gd name="T64" fmla="*/ 109 w 109"/>
                  <a:gd name="T65" fmla="*/ 39 h 84"/>
                  <a:gd name="T66" fmla="*/ 104 w 109"/>
                  <a:gd name="T67" fmla="*/ 63 h 84"/>
                  <a:gd name="T68" fmla="*/ 92 w 109"/>
                  <a:gd name="T69" fmla="*/ 78 h 84"/>
                  <a:gd name="T70" fmla="*/ 73 w 109"/>
                  <a:gd name="T7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84">
                    <a:moveTo>
                      <a:pt x="73" y="84"/>
                    </a:moveTo>
                    <a:lnTo>
                      <a:pt x="72" y="71"/>
                    </a:lnTo>
                    <a:cubicBezTo>
                      <a:pt x="77" y="70"/>
                      <a:pt x="81" y="69"/>
                      <a:pt x="85" y="67"/>
                    </a:cubicBezTo>
                    <a:cubicBezTo>
                      <a:pt x="88" y="64"/>
                      <a:pt x="91" y="61"/>
                      <a:pt x="93" y="56"/>
                    </a:cubicBezTo>
                    <a:cubicBezTo>
                      <a:pt x="95" y="51"/>
                      <a:pt x="96" y="46"/>
                      <a:pt x="96" y="40"/>
                    </a:cubicBezTo>
                    <a:cubicBezTo>
                      <a:pt x="96" y="35"/>
                      <a:pt x="95" y="30"/>
                      <a:pt x="94" y="26"/>
                    </a:cubicBezTo>
                    <a:cubicBezTo>
                      <a:pt x="92" y="22"/>
                      <a:pt x="90" y="19"/>
                      <a:pt x="87" y="17"/>
                    </a:cubicBezTo>
                    <a:cubicBezTo>
                      <a:pt x="84" y="15"/>
                      <a:pt x="81" y="14"/>
                      <a:pt x="78" y="14"/>
                    </a:cubicBezTo>
                    <a:cubicBezTo>
                      <a:pt x="75" y="14"/>
                      <a:pt x="72" y="15"/>
                      <a:pt x="69" y="17"/>
                    </a:cubicBezTo>
                    <a:cubicBezTo>
                      <a:pt x="67" y="19"/>
                      <a:pt x="65" y="22"/>
                      <a:pt x="63" y="26"/>
                    </a:cubicBezTo>
                    <a:cubicBezTo>
                      <a:pt x="62" y="29"/>
                      <a:pt x="60" y="35"/>
                      <a:pt x="58" y="45"/>
                    </a:cubicBezTo>
                    <a:cubicBezTo>
                      <a:pt x="56" y="55"/>
                      <a:pt x="54" y="61"/>
                      <a:pt x="52" y="65"/>
                    </a:cubicBezTo>
                    <a:cubicBezTo>
                      <a:pt x="49" y="70"/>
                      <a:pt x="46" y="74"/>
                      <a:pt x="42" y="76"/>
                    </a:cubicBezTo>
                    <a:cubicBezTo>
                      <a:pt x="38" y="79"/>
                      <a:pt x="33" y="80"/>
                      <a:pt x="29" y="80"/>
                    </a:cubicBezTo>
                    <a:cubicBezTo>
                      <a:pt x="23" y="80"/>
                      <a:pt x="18" y="79"/>
                      <a:pt x="14" y="76"/>
                    </a:cubicBezTo>
                    <a:cubicBezTo>
                      <a:pt x="9" y="73"/>
                      <a:pt x="6" y="68"/>
                      <a:pt x="3" y="62"/>
                    </a:cubicBezTo>
                    <a:cubicBezTo>
                      <a:pt x="1" y="57"/>
                      <a:pt x="0" y="50"/>
                      <a:pt x="0" y="43"/>
                    </a:cubicBezTo>
                    <a:cubicBezTo>
                      <a:pt x="0" y="35"/>
                      <a:pt x="1" y="28"/>
                      <a:pt x="3" y="22"/>
                    </a:cubicBezTo>
                    <a:cubicBezTo>
                      <a:pt x="6" y="16"/>
                      <a:pt x="10" y="12"/>
                      <a:pt x="14" y="9"/>
                    </a:cubicBezTo>
                    <a:cubicBezTo>
                      <a:pt x="19" y="5"/>
                      <a:pt x="25" y="4"/>
                      <a:pt x="31" y="3"/>
                    </a:cubicBezTo>
                    <a:lnTo>
                      <a:pt x="32" y="17"/>
                    </a:lnTo>
                    <a:cubicBezTo>
                      <a:pt x="25" y="18"/>
                      <a:pt x="20" y="20"/>
                      <a:pt x="17" y="24"/>
                    </a:cubicBezTo>
                    <a:cubicBezTo>
                      <a:pt x="14" y="28"/>
                      <a:pt x="12" y="34"/>
                      <a:pt x="12" y="42"/>
                    </a:cubicBezTo>
                    <a:cubicBezTo>
                      <a:pt x="12" y="51"/>
                      <a:pt x="13" y="57"/>
                      <a:pt x="16" y="61"/>
                    </a:cubicBezTo>
                    <a:cubicBezTo>
                      <a:pt x="20" y="65"/>
                      <a:pt x="23" y="67"/>
                      <a:pt x="28" y="67"/>
                    </a:cubicBezTo>
                    <a:cubicBezTo>
                      <a:pt x="31" y="67"/>
                      <a:pt x="35" y="65"/>
                      <a:pt x="37" y="63"/>
                    </a:cubicBezTo>
                    <a:cubicBezTo>
                      <a:pt x="39" y="60"/>
                      <a:pt x="42" y="53"/>
                      <a:pt x="45" y="42"/>
                    </a:cubicBezTo>
                    <a:cubicBezTo>
                      <a:pt x="47" y="30"/>
                      <a:pt x="49" y="22"/>
                      <a:pt x="51" y="18"/>
                    </a:cubicBezTo>
                    <a:cubicBezTo>
                      <a:pt x="54" y="12"/>
                      <a:pt x="58" y="8"/>
                      <a:pt x="62" y="5"/>
                    </a:cubicBezTo>
                    <a:cubicBezTo>
                      <a:pt x="66" y="2"/>
                      <a:pt x="71" y="0"/>
                      <a:pt x="77" y="0"/>
                    </a:cubicBezTo>
                    <a:cubicBezTo>
                      <a:pt x="83" y="0"/>
                      <a:pt x="88" y="2"/>
                      <a:pt x="93" y="5"/>
                    </a:cubicBezTo>
                    <a:cubicBezTo>
                      <a:pt x="98" y="8"/>
                      <a:pt x="102" y="13"/>
                      <a:pt x="104" y="19"/>
                    </a:cubicBezTo>
                    <a:cubicBezTo>
                      <a:pt x="107" y="25"/>
                      <a:pt x="109" y="32"/>
                      <a:pt x="109" y="39"/>
                    </a:cubicBezTo>
                    <a:cubicBezTo>
                      <a:pt x="109" y="49"/>
                      <a:pt x="107" y="57"/>
                      <a:pt x="104" y="63"/>
                    </a:cubicBezTo>
                    <a:cubicBezTo>
                      <a:pt x="102" y="70"/>
                      <a:pt x="97" y="75"/>
                      <a:pt x="92" y="78"/>
                    </a:cubicBezTo>
                    <a:cubicBezTo>
                      <a:pt x="86" y="82"/>
                      <a:pt x="80" y="84"/>
                      <a:pt x="73" y="8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840"/>
              <p:cNvSpPr>
                <a:spLocks noEditPoints="1"/>
              </p:cNvSpPr>
              <p:nvPr/>
            </p:nvSpPr>
            <p:spPr bwMode="auto">
              <a:xfrm>
                <a:off x="4517" y="2143"/>
                <a:ext cx="24" cy="18"/>
              </a:xfrm>
              <a:custGeom>
                <a:avLst/>
                <a:gdLst>
                  <a:gd name="T0" fmla="*/ 106 w 106"/>
                  <a:gd name="T1" fmla="*/ 80 h 80"/>
                  <a:gd name="T2" fmla="*/ 0 w 106"/>
                  <a:gd name="T3" fmla="*/ 80 h 80"/>
                  <a:gd name="T4" fmla="*/ 0 w 106"/>
                  <a:gd name="T5" fmla="*/ 40 h 80"/>
                  <a:gd name="T6" fmla="*/ 1 w 106"/>
                  <a:gd name="T7" fmla="*/ 24 h 80"/>
                  <a:gd name="T8" fmla="*/ 6 w 106"/>
                  <a:gd name="T9" fmla="*/ 11 h 80"/>
                  <a:gd name="T10" fmla="*/ 16 w 106"/>
                  <a:gd name="T11" fmla="*/ 3 h 80"/>
                  <a:gd name="T12" fmla="*/ 31 w 106"/>
                  <a:gd name="T13" fmla="*/ 0 h 80"/>
                  <a:gd name="T14" fmla="*/ 54 w 106"/>
                  <a:gd name="T15" fmla="*/ 8 h 80"/>
                  <a:gd name="T16" fmla="*/ 63 w 106"/>
                  <a:gd name="T17" fmla="*/ 39 h 80"/>
                  <a:gd name="T18" fmla="*/ 63 w 106"/>
                  <a:gd name="T19" fmla="*/ 66 h 80"/>
                  <a:gd name="T20" fmla="*/ 106 w 106"/>
                  <a:gd name="T21" fmla="*/ 66 h 80"/>
                  <a:gd name="T22" fmla="*/ 106 w 106"/>
                  <a:gd name="T23" fmla="*/ 80 h 80"/>
                  <a:gd name="T24" fmla="*/ 50 w 106"/>
                  <a:gd name="T25" fmla="*/ 66 h 80"/>
                  <a:gd name="T26" fmla="*/ 50 w 106"/>
                  <a:gd name="T27" fmla="*/ 39 h 80"/>
                  <a:gd name="T28" fmla="*/ 45 w 106"/>
                  <a:gd name="T29" fmla="*/ 20 h 80"/>
                  <a:gd name="T30" fmla="*/ 31 w 106"/>
                  <a:gd name="T31" fmla="*/ 14 h 80"/>
                  <a:gd name="T32" fmla="*/ 20 w 106"/>
                  <a:gd name="T33" fmla="*/ 17 h 80"/>
                  <a:gd name="T34" fmla="*/ 14 w 106"/>
                  <a:gd name="T35" fmla="*/ 26 h 80"/>
                  <a:gd name="T36" fmla="*/ 13 w 106"/>
                  <a:gd name="T37" fmla="*/ 39 h 80"/>
                  <a:gd name="T38" fmla="*/ 13 w 106"/>
                  <a:gd name="T39" fmla="*/ 66 h 80"/>
                  <a:gd name="T40" fmla="*/ 50 w 106"/>
                  <a:gd name="T41"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80">
                    <a:moveTo>
                      <a:pt x="106" y="80"/>
                    </a:moveTo>
                    <a:lnTo>
                      <a:pt x="0" y="80"/>
                    </a:lnTo>
                    <a:lnTo>
                      <a:pt x="0" y="40"/>
                    </a:lnTo>
                    <a:cubicBezTo>
                      <a:pt x="0" y="33"/>
                      <a:pt x="1" y="28"/>
                      <a:pt x="1" y="24"/>
                    </a:cubicBezTo>
                    <a:cubicBezTo>
                      <a:pt x="2" y="19"/>
                      <a:pt x="4" y="15"/>
                      <a:pt x="6" y="11"/>
                    </a:cubicBezTo>
                    <a:cubicBezTo>
                      <a:pt x="9" y="8"/>
                      <a:pt x="12" y="5"/>
                      <a:pt x="16" y="3"/>
                    </a:cubicBezTo>
                    <a:cubicBezTo>
                      <a:pt x="21" y="1"/>
                      <a:pt x="26" y="0"/>
                      <a:pt x="31" y="0"/>
                    </a:cubicBezTo>
                    <a:cubicBezTo>
                      <a:pt x="40" y="0"/>
                      <a:pt x="47" y="2"/>
                      <a:pt x="54" y="8"/>
                    </a:cubicBezTo>
                    <a:cubicBezTo>
                      <a:pt x="60" y="14"/>
                      <a:pt x="63" y="24"/>
                      <a:pt x="63" y="39"/>
                    </a:cubicBezTo>
                    <a:lnTo>
                      <a:pt x="63" y="66"/>
                    </a:lnTo>
                    <a:lnTo>
                      <a:pt x="106" y="66"/>
                    </a:lnTo>
                    <a:lnTo>
                      <a:pt x="106" y="80"/>
                    </a:lnTo>
                    <a:close/>
                    <a:moveTo>
                      <a:pt x="50" y="66"/>
                    </a:moveTo>
                    <a:lnTo>
                      <a:pt x="50" y="39"/>
                    </a:lnTo>
                    <a:cubicBezTo>
                      <a:pt x="50" y="30"/>
                      <a:pt x="49" y="23"/>
                      <a:pt x="45" y="20"/>
                    </a:cubicBezTo>
                    <a:cubicBezTo>
                      <a:pt x="42" y="16"/>
                      <a:pt x="37" y="14"/>
                      <a:pt x="31" y="14"/>
                    </a:cubicBezTo>
                    <a:cubicBezTo>
                      <a:pt x="27" y="14"/>
                      <a:pt x="23" y="15"/>
                      <a:pt x="20" y="17"/>
                    </a:cubicBezTo>
                    <a:cubicBezTo>
                      <a:pt x="17" y="20"/>
                      <a:pt x="15" y="22"/>
                      <a:pt x="14" y="26"/>
                    </a:cubicBezTo>
                    <a:cubicBezTo>
                      <a:pt x="13" y="28"/>
                      <a:pt x="13" y="33"/>
                      <a:pt x="13" y="39"/>
                    </a:cubicBezTo>
                    <a:lnTo>
                      <a:pt x="13" y="66"/>
                    </a:lnTo>
                    <a:lnTo>
                      <a:pt x="50"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Rectangle 841"/>
              <p:cNvSpPr>
                <a:spLocks noChangeArrowheads="1"/>
              </p:cNvSpPr>
              <p:nvPr/>
            </p:nvSpPr>
            <p:spPr bwMode="auto">
              <a:xfrm>
                <a:off x="3468" y="1787"/>
                <a:ext cx="3" cy="24"/>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842"/>
              <p:cNvSpPr>
                <a:spLocks/>
              </p:cNvSpPr>
              <p:nvPr/>
            </p:nvSpPr>
            <p:spPr bwMode="auto">
              <a:xfrm>
                <a:off x="3476" y="1786"/>
                <a:ext cx="21" cy="25"/>
              </a:xfrm>
              <a:custGeom>
                <a:avLst/>
                <a:gdLst>
                  <a:gd name="T0" fmla="*/ 79 w 93"/>
                  <a:gd name="T1" fmla="*/ 70 h 109"/>
                  <a:gd name="T2" fmla="*/ 93 w 93"/>
                  <a:gd name="T3" fmla="*/ 74 h 109"/>
                  <a:gd name="T4" fmla="*/ 77 w 93"/>
                  <a:gd name="T5" fmla="*/ 100 h 109"/>
                  <a:gd name="T6" fmla="*/ 49 w 93"/>
                  <a:gd name="T7" fmla="*/ 109 h 109"/>
                  <a:gd name="T8" fmla="*/ 22 w 93"/>
                  <a:gd name="T9" fmla="*/ 102 h 109"/>
                  <a:gd name="T10" fmla="*/ 5 w 93"/>
                  <a:gd name="T11" fmla="*/ 82 h 109"/>
                  <a:gd name="T12" fmla="*/ 0 w 93"/>
                  <a:gd name="T13" fmla="*/ 54 h 109"/>
                  <a:gd name="T14" fmla="*/ 6 w 93"/>
                  <a:gd name="T15" fmla="*/ 25 h 109"/>
                  <a:gd name="T16" fmla="*/ 24 w 93"/>
                  <a:gd name="T17" fmla="*/ 6 h 109"/>
                  <a:gd name="T18" fmla="*/ 49 w 93"/>
                  <a:gd name="T19" fmla="*/ 0 h 109"/>
                  <a:gd name="T20" fmla="*/ 76 w 93"/>
                  <a:gd name="T21" fmla="*/ 8 h 109"/>
                  <a:gd name="T22" fmla="*/ 91 w 93"/>
                  <a:gd name="T23" fmla="*/ 31 h 109"/>
                  <a:gd name="T24" fmla="*/ 77 w 93"/>
                  <a:gd name="T25" fmla="*/ 34 h 109"/>
                  <a:gd name="T26" fmla="*/ 67 w 93"/>
                  <a:gd name="T27" fmla="*/ 17 h 109"/>
                  <a:gd name="T28" fmla="*/ 49 w 93"/>
                  <a:gd name="T29" fmla="*/ 12 h 109"/>
                  <a:gd name="T30" fmla="*/ 29 w 93"/>
                  <a:gd name="T31" fmla="*/ 18 h 109"/>
                  <a:gd name="T32" fmla="*/ 17 w 93"/>
                  <a:gd name="T33" fmla="*/ 33 h 109"/>
                  <a:gd name="T34" fmla="*/ 14 w 93"/>
                  <a:gd name="T35" fmla="*/ 54 h 109"/>
                  <a:gd name="T36" fmla="*/ 18 w 93"/>
                  <a:gd name="T37" fmla="*/ 77 h 109"/>
                  <a:gd name="T38" fmla="*/ 30 w 93"/>
                  <a:gd name="T39" fmla="*/ 92 h 109"/>
                  <a:gd name="T40" fmla="*/ 48 w 93"/>
                  <a:gd name="T41" fmla="*/ 97 h 109"/>
                  <a:gd name="T42" fmla="*/ 68 w 93"/>
                  <a:gd name="T43" fmla="*/ 90 h 109"/>
                  <a:gd name="T44" fmla="*/ 79 w 93"/>
                  <a:gd name="T45" fmla="*/ 7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109">
                    <a:moveTo>
                      <a:pt x="79" y="70"/>
                    </a:moveTo>
                    <a:lnTo>
                      <a:pt x="93" y="74"/>
                    </a:lnTo>
                    <a:cubicBezTo>
                      <a:pt x="90" y="85"/>
                      <a:pt x="85" y="94"/>
                      <a:pt x="77" y="100"/>
                    </a:cubicBezTo>
                    <a:cubicBezTo>
                      <a:pt x="70" y="106"/>
                      <a:pt x="60" y="109"/>
                      <a:pt x="49" y="109"/>
                    </a:cubicBezTo>
                    <a:cubicBezTo>
                      <a:pt x="38" y="109"/>
                      <a:pt x="29" y="107"/>
                      <a:pt x="22" y="102"/>
                    </a:cubicBezTo>
                    <a:cubicBezTo>
                      <a:pt x="14" y="97"/>
                      <a:pt x="9" y="91"/>
                      <a:pt x="5" y="82"/>
                    </a:cubicBezTo>
                    <a:cubicBezTo>
                      <a:pt x="2" y="73"/>
                      <a:pt x="0" y="64"/>
                      <a:pt x="0" y="54"/>
                    </a:cubicBezTo>
                    <a:cubicBezTo>
                      <a:pt x="0" y="43"/>
                      <a:pt x="2" y="33"/>
                      <a:pt x="6" y="25"/>
                    </a:cubicBezTo>
                    <a:cubicBezTo>
                      <a:pt x="10" y="17"/>
                      <a:pt x="16" y="10"/>
                      <a:pt x="24" y="6"/>
                    </a:cubicBezTo>
                    <a:cubicBezTo>
                      <a:pt x="32" y="2"/>
                      <a:pt x="40" y="0"/>
                      <a:pt x="49" y="0"/>
                    </a:cubicBezTo>
                    <a:cubicBezTo>
                      <a:pt x="60" y="0"/>
                      <a:pt x="69" y="3"/>
                      <a:pt x="76" y="8"/>
                    </a:cubicBezTo>
                    <a:cubicBezTo>
                      <a:pt x="83" y="13"/>
                      <a:pt x="88" y="21"/>
                      <a:pt x="91" y="31"/>
                    </a:cubicBezTo>
                    <a:lnTo>
                      <a:pt x="77" y="34"/>
                    </a:lnTo>
                    <a:cubicBezTo>
                      <a:pt x="75" y="26"/>
                      <a:pt x="71" y="21"/>
                      <a:pt x="67" y="17"/>
                    </a:cubicBezTo>
                    <a:cubicBezTo>
                      <a:pt x="62" y="14"/>
                      <a:pt x="56" y="12"/>
                      <a:pt x="49" y="12"/>
                    </a:cubicBezTo>
                    <a:cubicBezTo>
                      <a:pt x="41" y="12"/>
                      <a:pt x="34" y="14"/>
                      <a:pt x="29" y="18"/>
                    </a:cubicBezTo>
                    <a:cubicBezTo>
                      <a:pt x="23" y="22"/>
                      <a:pt x="20" y="27"/>
                      <a:pt x="17" y="33"/>
                    </a:cubicBezTo>
                    <a:cubicBezTo>
                      <a:pt x="15" y="40"/>
                      <a:pt x="14" y="47"/>
                      <a:pt x="14" y="54"/>
                    </a:cubicBezTo>
                    <a:cubicBezTo>
                      <a:pt x="14" y="62"/>
                      <a:pt x="15" y="70"/>
                      <a:pt x="18" y="77"/>
                    </a:cubicBezTo>
                    <a:cubicBezTo>
                      <a:pt x="21" y="84"/>
                      <a:pt x="25" y="89"/>
                      <a:pt x="30" y="92"/>
                    </a:cubicBezTo>
                    <a:cubicBezTo>
                      <a:pt x="36" y="95"/>
                      <a:pt x="42" y="97"/>
                      <a:pt x="48" y="97"/>
                    </a:cubicBezTo>
                    <a:cubicBezTo>
                      <a:pt x="56" y="97"/>
                      <a:pt x="63" y="95"/>
                      <a:pt x="68" y="90"/>
                    </a:cubicBezTo>
                    <a:cubicBezTo>
                      <a:pt x="73" y="86"/>
                      <a:pt x="77" y="79"/>
                      <a:pt x="79"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843"/>
              <p:cNvSpPr>
                <a:spLocks/>
              </p:cNvSpPr>
              <p:nvPr/>
            </p:nvSpPr>
            <p:spPr bwMode="auto">
              <a:xfrm>
                <a:off x="3499" y="1786"/>
                <a:ext cx="19" cy="25"/>
              </a:xfrm>
              <a:custGeom>
                <a:avLst/>
                <a:gdLst>
                  <a:gd name="T0" fmla="*/ 0 w 84"/>
                  <a:gd name="T1" fmla="*/ 73 h 109"/>
                  <a:gd name="T2" fmla="*/ 14 w 84"/>
                  <a:gd name="T3" fmla="*/ 72 h 109"/>
                  <a:gd name="T4" fmla="*/ 18 w 84"/>
                  <a:gd name="T5" fmla="*/ 85 h 109"/>
                  <a:gd name="T6" fmla="*/ 29 w 84"/>
                  <a:gd name="T7" fmla="*/ 93 h 109"/>
                  <a:gd name="T8" fmla="*/ 45 w 84"/>
                  <a:gd name="T9" fmla="*/ 96 h 109"/>
                  <a:gd name="T10" fmla="*/ 59 w 84"/>
                  <a:gd name="T11" fmla="*/ 94 h 109"/>
                  <a:gd name="T12" fmla="*/ 68 w 84"/>
                  <a:gd name="T13" fmla="*/ 88 h 109"/>
                  <a:gd name="T14" fmla="*/ 71 w 84"/>
                  <a:gd name="T15" fmla="*/ 78 h 109"/>
                  <a:gd name="T16" fmla="*/ 68 w 84"/>
                  <a:gd name="T17" fmla="*/ 70 h 109"/>
                  <a:gd name="T18" fmla="*/ 59 w 84"/>
                  <a:gd name="T19" fmla="*/ 64 h 109"/>
                  <a:gd name="T20" fmla="*/ 40 w 84"/>
                  <a:gd name="T21" fmla="*/ 58 h 109"/>
                  <a:gd name="T22" fmla="*/ 19 w 84"/>
                  <a:gd name="T23" fmla="*/ 52 h 109"/>
                  <a:gd name="T24" fmla="*/ 8 w 84"/>
                  <a:gd name="T25" fmla="*/ 42 h 109"/>
                  <a:gd name="T26" fmla="*/ 4 w 84"/>
                  <a:gd name="T27" fmla="*/ 29 h 109"/>
                  <a:gd name="T28" fmla="*/ 9 w 84"/>
                  <a:gd name="T29" fmla="*/ 14 h 109"/>
                  <a:gd name="T30" fmla="*/ 22 w 84"/>
                  <a:gd name="T31" fmla="*/ 3 h 109"/>
                  <a:gd name="T32" fmla="*/ 42 w 84"/>
                  <a:gd name="T33" fmla="*/ 0 h 109"/>
                  <a:gd name="T34" fmla="*/ 62 w 84"/>
                  <a:gd name="T35" fmla="*/ 4 h 109"/>
                  <a:gd name="T36" fmla="*/ 76 w 84"/>
                  <a:gd name="T37" fmla="*/ 15 h 109"/>
                  <a:gd name="T38" fmla="*/ 81 w 84"/>
                  <a:gd name="T39" fmla="*/ 31 h 109"/>
                  <a:gd name="T40" fmla="*/ 68 w 84"/>
                  <a:gd name="T41" fmla="*/ 32 h 109"/>
                  <a:gd name="T42" fmla="*/ 61 w 84"/>
                  <a:gd name="T43" fmla="*/ 17 h 109"/>
                  <a:gd name="T44" fmla="*/ 42 w 84"/>
                  <a:gd name="T45" fmla="*/ 12 h 109"/>
                  <a:gd name="T46" fmla="*/ 24 w 84"/>
                  <a:gd name="T47" fmla="*/ 17 h 109"/>
                  <a:gd name="T48" fmla="*/ 18 w 84"/>
                  <a:gd name="T49" fmla="*/ 28 h 109"/>
                  <a:gd name="T50" fmla="*/ 22 w 84"/>
                  <a:gd name="T51" fmla="*/ 37 h 109"/>
                  <a:gd name="T52" fmla="*/ 43 w 84"/>
                  <a:gd name="T53" fmla="*/ 45 h 109"/>
                  <a:gd name="T54" fmla="*/ 66 w 84"/>
                  <a:gd name="T55" fmla="*/ 52 h 109"/>
                  <a:gd name="T56" fmla="*/ 80 w 84"/>
                  <a:gd name="T57" fmla="*/ 62 h 109"/>
                  <a:gd name="T58" fmla="*/ 84 w 84"/>
                  <a:gd name="T59" fmla="*/ 77 h 109"/>
                  <a:gd name="T60" fmla="*/ 80 w 84"/>
                  <a:gd name="T61" fmla="*/ 93 h 109"/>
                  <a:gd name="T62" fmla="*/ 66 w 84"/>
                  <a:gd name="T63" fmla="*/ 105 h 109"/>
                  <a:gd name="T64" fmla="*/ 45 w 84"/>
                  <a:gd name="T65" fmla="*/ 109 h 109"/>
                  <a:gd name="T66" fmla="*/ 21 w 84"/>
                  <a:gd name="T67" fmla="*/ 105 h 109"/>
                  <a:gd name="T68" fmla="*/ 6 w 84"/>
                  <a:gd name="T69" fmla="*/ 92 h 109"/>
                  <a:gd name="T70" fmla="*/ 0 w 84"/>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3"/>
                    </a:moveTo>
                    <a:lnTo>
                      <a:pt x="14" y="72"/>
                    </a:lnTo>
                    <a:cubicBezTo>
                      <a:pt x="14" y="77"/>
                      <a:pt x="16" y="82"/>
                      <a:pt x="18" y="85"/>
                    </a:cubicBezTo>
                    <a:cubicBezTo>
                      <a:pt x="20" y="88"/>
                      <a:pt x="24" y="91"/>
                      <a:pt x="29" y="93"/>
                    </a:cubicBezTo>
                    <a:cubicBezTo>
                      <a:pt x="33" y="95"/>
                      <a:pt x="39" y="96"/>
                      <a:pt x="45" y="96"/>
                    </a:cubicBezTo>
                    <a:cubicBezTo>
                      <a:pt x="50" y="96"/>
                      <a:pt x="55" y="96"/>
                      <a:pt x="59" y="94"/>
                    </a:cubicBezTo>
                    <a:cubicBezTo>
                      <a:pt x="63" y="92"/>
                      <a:pt x="66" y="90"/>
                      <a:pt x="68" y="88"/>
                    </a:cubicBezTo>
                    <a:cubicBezTo>
                      <a:pt x="70" y="85"/>
                      <a:pt x="71" y="82"/>
                      <a:pt x="71" y="78"/>
                    </a:cubicBezTo>
                    <a:cubicBezTo>
                      <a:pt x="71" y="75"/>
                      <a:pt x="70" y="72"/>
                      <a:pt x="68" y="70"/>
                    </a:cubicBezTo>
                    <a:cubicBezTo>
                      <a:pt x="66" y="67"/>
                      <a:pt x="63" y="65"/>
                      <a:pt x="59" y="64"/>
                    </a:cubicBezTo>
                    <a:cubicBezTo>
                      <a:pt x="56" y="62"/>
                      <a:pt x="49" y="61"/>
                      <a:pt x="40" y="58"/>
                    </a:cubicBezTo>
                    <a:cubicBezTo>
                      <a:pt x="30" y="56"/>
                      <a:pt x="23" y="54"/>
                      <a:pt x="19" y="52"/>
                    </a:cubicBezTo>
                    <a:cubicBezTo>
                      <a:pt x="14" y="49"/>
                      <a:pt x="11" y="46"/>
                      <a:pt x="8" y="42"/>
                    </a:cubicBezTo>
                    <a:cubicBezTo>
                      <a:pt x="6" y="38"/>
                      <a:pt x="4" y="34"/>
                      <a:pt x="4" y="29"/>
                    </a:cubicBezTo>
                    <a:cubicBezTo>
                      <a:pt x="4" y="24"/>
                      <a:pt x="6" y="19"/>
                      <a:pt x="9" y="14"/>
                    </a:cubicBezTo>
                    <a:cubicBezTo>
                      <a:pt x="12" y="9"/>
                      <a:pt x="16" y="6"/>
                      <a:pt x="22" y="3"/>
                    </a:cubicBezTo>
                    <a:cubicBezTo>
                      <a:pt x="28" y="1"/>
                      <a:pt x="34" y="0"/>
                      <a:pt x="42" y="0"/>
                    </a:cubicBezTo>
                    <a:cubicBezTo>
                      <a:pt x="49" y="0"/>
                      <a:pt x="56" y="1"/>
                      <a:pt x="62" y="4"/>
                    </a:cubicBezTo>
                    <a:cubicBezTo>
                      <a:pt x="68" y="6"/>
                      <a:pt x="73" y="10"/>
                      <a:pt x="76" y="15"/>
                    </a:cubicBezTo>
                    <a:cubicBezTo>
                      <a:pt x="79" y="20"/>
                      <a:pt x="81" y="25"/>
                      <a:pt x="81" y="31"/>
                    </a:cubicBezTo>
                    <a:lnTo>
                      <a:pt x="68" y="32"/>
                    </a:lnTo>
                    <a:cubicBezTo>
                      <a:pt x="67" y="26"/>
                      <a:pt x="65" y="21"/>
                      <a:pt x="61" y="17"/>
                    </a:cubicBezTo>
                    <a:cubicBezTo>
                      <a:pt x="56" y="14"/>
                      <a:pt x="50" y="12"/>
                      <a:pt x="42" y="12"/>
                    </a:cubicBezTo>
                    <a:cubicBezTo>
                      <a:pt x="34" y="12"/>
                      <a:pt x="28" y="14"/>
                      <a:pt x="24" y="17"/>
                    </a:cubicBezTo>
                    <a:cubicBezTo>
                      <a:pt x="20" y="20"/>
                      <a:pt x="18" y="24"/>
                      <a:pt x="18" y="28"/>
                    </a:cubicBezTo>
                    <a:cubicBezTo>
                      <a:pt x="18" y="32"/>
                      <a:pt x="19" y="35"/>
                      <a:pt x="22" y="37"/>
                    </a:cubicBezTo>
                    <a:cubicBezTo>
                      <a:pt x="25" y="40"/>
                      <a:pt x="32" y="42"/>
                      <a:pt x="43" y="45"/>
                    </a:cubicBezTo>
                    <a:cubicBezTo>
                      <a:pt x="54" y="47"/>
                      <a:pt x="62" y="50"/>
                      <a:pt x="66" y="52"/>
                    </a:cubicBezTo>
                    <a:cubicBezTo>
                      <a:pt x="73" y="54"/>
                      <a:pt x="77" y="58"/>
                      <a:pt x="80" y="62"/>
                    </a:cubicBezTo>
                    <a:cubicBezTo>
                      <a:pt x="83" y="67"/>
                      <a:pt x="84" y="72"/>
                      <a:pt x="84" y="77"/>
                    </a:cubicBezTo>
                    <a:cubicBezTo>
                      <a:pt x="84" y="83"/>
                      <a:pt x="83" y="88"/>
                      <a:pt x="80" y="93"/>
                    </a:cubicBezTo>
                    <a:cubicBezTo>
                      <a:pt x="76" y="98"/>
                      <a:pt x="72" y="102"/>
                      <a:pt x="66" y="105"/>
                    </a:cubicBezTo>
                    <a:cubicBezTo>
                      <a:pt x="60" y="108"/>
                      <a:pt x="53" y="109"/>
                      <a:pt x="45" y="109"/>
                    </a:cubicBezTo>
                    <a:cubicBezTo>
                      <a:pt x="36" y="109"/>
                      <a:pt x="28" y="108"/>
                      <a:pt x="21" y="105"/>
                    </a:cubicBezTo>
                    <a:cubicBezTo>
                      <a:pt x="15" y="102"/>
                      <a:pt x="10" y="98"/>
                      <a:pt x="6" y="92"/>
                    </a:cubicBezTo>
                    <a:cubicBezTo>
                      <a:pt x="3" y="87"/>
                      <a:pt x="1" y="80"/>
                      <a:pt x="0" y="7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844"/>
              <p:cNvSpPr>
                <a:spLocks noEditPoints="1"/>
              </p:cNvSpPr>
              <p:nvPr/>
            </p:nvSpPr>
            <p:spPr bwMode="auto">
              <a:xfrm>
                <a:off x="3523" y="1787"/>
                <a:ext cx="18" cy="24"/>
              </a:xfrm>
              <a:custGeom>
                <a:avLst/>
                <a:gdLst>
                  <a:gd name="T0" fmla="*/ 0 w 80"/>
                  <a:gd name="T1" fmla="*/ 105 h 105"/>
                  <a:gd name="T2" fmla="*/ 0 w 80"/>
                  <a:gd name="T3" fmla="*/ 0 h 105"/>
                  <a:gd name="T4" fmla="*/ 39 w 80"/>
                  <a:gd name="T5" fmla="*/ 0 h 105"/>
                  <a:gd name="T6" fmla="*/ 55 w 80"/>
                  <a:gd name="T7" fmla="*/ 1 h 105"/>
                  <a:gd name="T8" fmla="*/ 68 w 80"/>
                  <a:gd name="T9" fmla="*/ 6 h 105"/>
                  <a:gd name="T10" fmla="*/ 77 w 80"/>
                  <a:gd name="T11" fmla="*/ 16 h 105"/>
                  <a:gd name="T12" fmla="*/ 80 w 80"/>
                  <a:gd name="T13" fmla="*/ 30 h 105"/>
                  <a:gd name="T14" fmla="*/ 72 w 80"/>
                  <a:gd name="T15" fmla="*/ 53 h 105"/>
                  <a:gd name="T16" fmla="*/ 41 w 80"/>
                  <a:gd name="T17" fmla="*/ 62 h 105"/>
                  <a:gd name="T18" fmla="*/ 14 w 80"/>
                  <a:gd name="T19" fmla="*/ 62 h 105"/>
                  <a:gd name="T20" fmla="*/ 14 w 80"/>
                  <a:gd name="T21" fmla="*/ 105 h 105"/>
                  <a:gd name="T22" fmla="*/ 0 w 80"/>
                  <a:gd name="T23" fmla="*/ 105 h 105"/>
                  <a:gd name="T24" fmla="*/ 14 w 80"/>
                  <a:gd name="T25" fmla="*/ 50 h 105"/>
                  <a:gd name="T26" fmla="*/ 41 w 80"/>
                  <a:gd name="T27" fmla="*/ 50 h 105"/>
                  <a:gd name="T28" fmla="*/ 60 w 80"/>
                  <a:gd name="T29" fmla="*/ 45 h 105"/>
                  <a:gd name="T30" fmla="*/ 66 w 80"/>
                  <a:gd name="T31" fmla="*/ 31 h 105"/>
                  <a:gd name="T32" fmla="*/ 62 w 80"/>
                  <a:gd name="T33" fmla="*/ 19 h 105"/>
                  <a:gd name="T34" fmla="*/ 54 w 80"/>
                  <a:gd name="T35" fmla="*/ 13 h 105"/>
                  <a:gd name="T36" fmla="*/ 41 w 80"/>
                  <a:gd name="T37" fmla="*/ 12 h 105"/>
                  <a:gd name="T38" fmla="*/ 14 w 80"/>
                  <a:gd name="T39" fmla="*/ 12 h 105"/>
                  <a:gd name="T40" fmla="*/ 14 w 80"/>
                  <a:gd name="T41" fmla="*/ 5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05">
                    <a:moveTo>
                      <a:pt x="0" y="105"/>
                    </a:moveTo>
                    <a:lnTo>
                      <a:pt x="0" y="0"/>
                    </a:lnTo>
                    <a:lnTo>
                      <a:pt x="39" y="0"/>
                    </a:lnTo>
                    <a:cubicBezTo>
                      <a:pt x="46" y="0"/>
                      <a:pt x="52" y="0"/>
                      <a:pt x="55" y="1"/>
                    </a:cubicBezTo>
                    <a:cubicBezTo>
                      <a:pt x="61" y="2"/>
                      <a:pt x="65" y="3"/>
                      <a:pt x="68" y="6"/>
                    </a:cubicBezTo>
                    <a:cubicBezTo>
                      <a:pt x="72" y="8"/>
                      <a:pt x="75" y="11"/>
                      <a:pt x="77" y="16"/>
                    </a:cubicBezTo>
                    <a:cubicBezTo>
                      <a:pt x="79" y="20"/>
                      <a:pt x="80" y="25"/>
                      <a:pt x="80" y="30"/>
                    </a:cubicBezTo>
                    <a:cubicBezTo>
                      <a:pt x="80" y="39"/>
                      <a:pt x="77" y="47"/>
                      <a:pt x="72" y="53"/>
                    </a:cubicBezTo>
                    <a:cubicBezTo>
                      <a:pt x="66" y="59"/>
                      <a:pt x="56" y="62"/>
                      <a:pt x="41" y="62"/>
                    </a:cubicBezTo>
                    <a:lnTo>
                      <a:pt x="14" y="62"/>
                    </a:lnTo>
                    <a:lnTo>
                      <a:pt x="14" y="105"/>
                    </a:lnTo>
                    <a:lnTo>
                      <a:pt x="0" y="105"/>
                    </a:lnTo>
                    <a:close/>
                    <a:moveTo>
                      <a:pt x="14" y="50"/>
                    </a:moveTo>
                    <a:lnTo>
                      <a:pt x="41" y="50"/>
                    </a:lnTo>
                    <a:cubicBezTo>
                      <a:pt x="50" y="50"/>
                      <a:pt x="56" y="48"/>
                      <a:pt x="60" y="45"/>
                    </a:cubicBezTo>
                    <a:cubicBezTo>
                      <a:pt x="64" y="41"/>
                      <a:pt x="66" y="37"/>
                      <a:pt x="66" y="31"/>
                    </a:cubicBezTo>
                    <a:cubicBezTo>
                      <a:pt x="66" y="26"/>
                      <a:pt x="65" y="22"/>
                      <a:pt x="62" y="19"/>
                    </a:cubicBezTo>
                    <a:cubicBezTo>
                      <a:pt x="60" y="16"/>
                      <a:pt x="57" y="14"/>
                      <a:pt x="54" y="13"/>
                    </a:cubicBezTo>
                    <a:cubicBezTo>
                      <a:pt x="51" y="12"/>
                      <a:pt x="47" y="12"/>
                      <a:pt x="41" y="12"/>
                    </a:cubicBezTo>
                    <a:lnTo>
                      <a:pt x="14" y="12"/>
                    </a:lnTo>
                    <a:lnTo>
                      <a:pt x="1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845"/>
              <p:cNvSpPr>
                <a:spLocks/>
              </p:cNvSpPr>
              <p:nvPr/>
            </p:nvSpPr>
            <p:spPr bwMode="auto">
              <a:xfrm>
                <a:off x="3544" y="1787"/>
                <a:ext cx="16" cy="24"/>
              </a:xfrm>
              <a:custGeom>
                <a:avLst/>
                <a:gdLst>
                  <a:gd name="T0" fmla="*/ 70 w 70"/>
                  <a:gd name="T1" fmla="*/ 94 h 106"/>
                  <a:gd name="T2" fmla="*/ 70 w 70"/>
                  <a:gd name="T3" fmla="*/ 106 h 106"/>
                  <a:gd name="T4" fmla="*/ 0 w 70"/>
                  <a:gd name="T5" fmla="*/ 106 h 106"/>
                  <a:gd name="T6" fmla="*/ 2 w 70"/>
                  <a:gd name="T7" fmla="*/ 97 h 106"/>
                  <a:gd name="T8" fmla="*/ 10 w 70"/>
                  <a:gd name="T9" fmla="*/ 83 h 106"/>
                  <a:gd name="T10" fmla="*/ 27 w 70"/>
                  <a:gd name="T11" fmla="*/ 67 h 106"/>
                  <a:gd name="T12" fmla="*/ 50 w 70"/>
                  <a:gd name="T13" fmla="*/ 45 h 106"/>
                  <a:gd name="T14" fmla="*/ 56 w 70"/>
                  <a:gd name="T15" fmla="*/ 29 h 106"/>
                  <a:gd name="T16" fmla="*/ 51 w 70"/>
                  <a:gd name="T17" fmla="*/ 16 h 106"/>
                  <a:gd name="T18" fmla="*/ 37 w 70"/>
                  <a:gd name="T19" fmla="*/ 11 h 106"/>
                  <a:gd name="T20" fmla="*/ 22 w 70"/>
                  <a:gd name="T21" fmla="*/ 17 h 106"/>
                  <a:gd name="T22" fmla="*/ 16 w 70"/>
                  <a:gd name="T23" fmla="*/ 32 h 106"/>
                  <a:gd name="T24" fmla="*/ 3 w 70"/>
                  <a:gd name="T25" fmla="*/ 31 h 106"/>
                  <a:gd name="T26" fmla="*/ 13 w 70"/>
                  <a:gd name="T27" fmla="*/ 8 h 106"/>
                  <a:gd name="T28" fmla="*/ 37 w 70"/>
                  <a:gd name="T29" fmla="*/ 0 h 106"/>
                  <a:gd name="T30" fmla="*/ 61 w 70"/>
                  <a:gd name="T31" fmla="*/ 9 h 106"/>
                  <a:gd name="T32" fmla="*/ 70 w 70"/>
                  <a:gd name="T33" fmla="*/ 30 h 106"/>
                  <a:gd name="T34" fmla="*/ 67 w 70"/>
                  <a:gd name="T35" fmla="*/ 42 h 106"/>
                  <a:gd name="T36" fmla="*/ 58 w 70"/>
                  <a:gd name="T37" fmla="*/ 55 h 106"/>
                  <a:gd name="T38" fmla="*/ 39 w 70"/>
                  <a:gd name="T39" fmla="*/ 73 h 106"/>
                  <a:gd name="T40" fmla="*/ 24 w 70"/>
                  <a:gd name="T41" fmla="*/ 87 h 106"/>
                  <a:gd name="T42" fmla="*/ 18 w 70"/>
                  <a:gd name="T43" fmla="*/ 94 h 106"/>
                  <a:gd name="T44" fmla="*/ 70 w 70"/>
                  <a:gd name="T4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06">
                    <a:moveTo>
                      <a:pt x="70" y="94"/>
                    </a:moveTo>
                    <a:lnTo>
                      <a:pt x="70" y="106"/>
                    </a:lnTo>
                    <a:lnTo>
                      <a:pt x="0" y="106"/>
                    </a:lnTo>
                    <a:cubicBezTo>
                      <a:pt x="0" y="103"/>
                      <a:pt x="1" y="100"/>
                      <a:pt x="2" y="97"/>
                    </a:cubicBezTo>
                    <a:cubicBezTo>
                      <a:pt x="3" y="92"/>
                      <a:pt x="6" y="88"/>
                      <a:pt x="10" y="83"/>
                    </a:cubicBezTo>
                    <a:cubicBezTo>
                      <a:pt x="14" y="78"/>
                      <a:pt x="20" y="73"/>
                      <a:pt x="27" y="67"/>
                    </a:cubicBezTo>
                    <a:cubicBezTo>
                      <a:pt x="39" y="58"/>
                      <a:pt x="46" y="50"/>
                      <a:pt x="50" y="45"/>
                    </a:cubicBezTo>
                    <a:cubicBezTo>
                      <a:pt x="54" y="39"/>
                      <a:pt x="56" y="34"/>
                      <a:pt x="56" y="29"/>
                    </a:cubicBezTo>
                    <a:cubicBezTo>
                      <a:pt x="56" y="24"/>
                      <a:pt x="55" y="20"/>
                      <a:pt x="51" y="16"/>
                    </a:cubicBezTo>
                    <a:cubicBezTo>
                      <a:pt x="47" y="13"/>
                      <a:pt x="42" y="11"/>
                      <a:pt x="37" y="11"/>
                    </a:cubicBezTo>
                    <a:cubicBezTo>
                      <a:pt x="30" y="11"/>
                      <a:pt x="25" y="13"/>
                      <a:pt x="22" y="17"/>
                    </a:cubicBezTo>
                    <a:cubicBezTo>
                      <a:pt x="18" y="20"/>
                      <a:pt x="16" y="25"/>
                      <a:pt x="16" y="32"/>
                    </a:cubicBezTo>
                    <a:lnTo>
                      <a:pt x="3" y="31"/>
                    </a:lnTo>
                    <a:cubicBezTo>
                      <a:pt x="3" y="21"/>
                      <a:pt x="7" y="13"/>
                      <a:pt x="13" y="8"/>
                    </a:cubicBezTo>
                    <a:cubicBezTo>
                      <a:pt x="19" y="3"/>
                      <a:pt x="27" y="0"/>
                      <a:pt x="37" y="0"/>
                    </a:cubicBezTo>
                    <a:cubicBezTo>
                      <a:pt x="47" y="0"/>
                      <a:pt x="55" y="3"/>
                      <a:pt x="61" y="9"/>
                    </a:cubicBezTo>
                    <a:cubicBezTo>
                      <a:pt x="67" y="14"/>
                      <a:pt x="70" y="21"/>
                      <a:pt x="70" y="30"/>
                    </a:cubicBezTo>
                    <a:cubicBezTo>
                      <a:pt x="70" y="34"/>
                      <a:pt x="69" y="38"/>
                      <a:pt x="67" y="42"/>
                    </a:cubicBezTo>
                    <a:cubicBezTo>
                      <a:pt x="65" y="46"/>
                      <a:pt x="62" y="50"/>
                      <a:pt x="58" y="55"/>
                    </a:cubicBezTo>
                    <a:cubicBezTo>
                      <a:pt x="54" y="59"/>
                      <a:pt x="48" y="66"/>
                      <a:pt x="39" y="73"/>
                    </a:cubicBezTo>
                    <a:cubicBezTo>
                      <a:pt x="31" y="80"/>
                      <a:pt x="26" y="84"/>
                      <a:pt x="24" y="87"/>
                    </a:cubicBezTo>
                    <a:cubicBezTo>
                      <a:pt x="21" y="89"/>
                      <a:pt x="20" y="91"/>
                      <a:pt x="18" y="94"/>
                    </a:cubicBezTo>
                    <a:lnTo>
                      <a:pt x="70" y="9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8" name="Freeform 846"/>
              <p:cNvSpPr>
                <a:spLocks noEditPoints="1"/>
              </p:cNvSpPr>
              <p:nvPr/>
            </p:nvSpPr>
            <p:spPr bwMode="auto">
              <a:xfrm>
                <a:off x="4519" y="1922"/>
                <a:ext cx="25" cy="27"/>
              </a:xfrm>
              <a:custGeom>
                <a:avLst/>
                <a:gdLst>
                  <a:gd name="T0" fmla="*/ 0 w 113"/>
                  <a:gd name="T1" fmla="*/ 62 h 122"/>
                  <a:gd name="T2" fmla="*/ 16 w 113"/>
                  <a:gd name="T3" fmla="*/ 16 h 122"/>
                  <a:gd name="T4" fmla="*/ 57 w 113"/>
                  <a:gd name="T5" fmla="*/ 0 h 122"/>
                  <a:gd name="T6" fmla="*/ 86 w 113"/>
                  <a:gd name="T7" fmla="*/ 8 h 122"/>
                  <a:gd name="T8" fmla="*/ 106 w 113"/>
                  <a:gd name="T9" fmla="*/ 29 h 122"/>
                  <a:gd name="T10" fmla="*/ 113 w 113"/>
                  <a:gd name="T11" fmla="*/ 61 h 122"/>
                  <a:gd name="T12" fmla="*/ 106 w 113"/>
                  <a:gd name="T13" fmla="*/ 93 h 122"/>
                  <a:gd name="T14" fmla="*/ 85 w 113"/>
                  <a:gd name="T15" fmla="*/ 115 h 122"/>
                  <a:gd name="T16" fmla="*/ 56 w 113"/>
                  <a:gd name="T17" fmla="*/ 122 h 122"/>
                  <a:gd name="T18" fmla="*/ 27 w 113"/>
                  <a:gd name="T19" fmla="*/ 114 h 122"/>
                  <a:gd name="T20" fmla="*/ 7 w 113"/>
                  <a:gd name="T21" fmla="*/ 92 h 122"/>
                  <a:gd name="T22" fmla="*/ 0 w 113"/>
                  <a:gd name="T23" fmla="*/ 62 h 122"/>
                  <a:gd name="T24" fmla="*/ 16 w 113"/>
                  <a:gd name="T25" fmla="*/ 63 h 122"/>
                  <a:gd name="T26" fmla="*/ 28 w 113"/>
                  <a:gd name="T27" fmla="*/ 96 h 122"/>
                  <a:gd name="T28" fmla="*/ 56 w 113"/>
                  <a:gd name="T29" fmla="*/ 109 h 122"/>
                  <a:gd name="T30" fmla="*/ 85 w 113"/>
                  <a:gd name="T31" fmla="*/ 96 h 122"/>
                  <a:gd name="T32" fmla="*/ 97 w 113"/>
                  <a:gd name="T33" fmla="*/ 61 h 122"/>
                  <a:gd name="T34" fmla="*/ 92 w 113"/>
                  <a:gd name="T35" fmla="*/ 36 h 122"/>
                  <a:gd name="T36" fmla="*/ 78 w 113"/>
                  <a:gd name="T37" fmla="*/ 19 h 122"/>
                  <a:gd name="T38" fmla="*/ 57 w 113"/>
                  <a:gd name="T39" fmla="*/ 13 h 122"/>
                  <a:gd name="T40" fmla="*/ 28 w 113"/>
                  <a:gd name="T41" fmla="*/ 25 h 122"/>
                  <a:gd name="T42" fmla="*/ 16 w 113"/>
                  <a:gd name="T43" fmla="*/ 6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22">
                    <a:moveTo>
                      <a:pt x="0" y="62"/>
                    </a:moveTo>
                    <a:cubicBezTo>
                      <a:pt x="0" y="43"/>
                      <a:pt x="5" y="27"/>
                      <a:pt x="16" y="16"/>
                    </a:cubicBezTo>
                    <a:cubicBezTo>
                      <a:pt x="26" y="5"/>
                      <a:pt x="40" y="0"/>
                      <a:pt x="57" y="0"/>
                    </a:cubicBezTo>
                    <a:cubicBezTo>
                      <a:pt x="67" y="0"/>
                      <a:pt x="77" y="2"/>
                      <a:pt x="86" y="8"/>
                    </a:cubicBezTo>
                    <a:cubicBezTo>
                      <a:pt x="95" y="13"/>
                      <a:pt x="101" y="20"/>
                      <a:pt x="106" y="29"/>
                    </a:cubicBezTo>
                    <a:cubicBezTo>
                      <a:pt x="111" y="39"/>
                      <a:pt x="113" y="49"/>
                      <a:pt x="113" y="61"/>
                    </a:cubicBezTo>
                    <a:cubicBezTo>
                      <a:pt x="113" y="73"/>
                      <a:pt x="111" y="84"/>
                      <a:pt x="106" y="93"/>
                    </a:cubicBezTo>
                    <a:cubicBezTo>
                      <a:pt x="101" y="103"/>
                      <a:pt x="94" y="110"/>
                      <a:pt x="85" y="115"/>
                    </a:cubicBezTo>
                    <a:cubicBezTo>
                      <a:pt x="76" y="120"/>
                      <a:pt x="67" y="122"/>
                      <a:pt x="56" y="122"/>
                    </a:cubicBezTo>
                    <a:cubicBezTo>
                      <a:pt x="45" y="122"/>
                      <a:pt x="35" y="119"/>
                      <a:pt x="27" y="114"/>
                    </a:cubicBezTo>
                    <a:cubicBezTo>
                      <a:pt x="18" y="109"/>
                      <a:pt x="11" y="101"/>
                      <a:pt x="7" y="92"/>
                    </a:cubicBezTo>
                    <a:cubicBezTo>
                      <a:pt x="2" y="83"/>
                      <a:pt x="0" y="73"/>
                      <a:pt x="0" y="62"/>
                    </a:cubicBezTo>
                    <a:close/>
                    <a:moveTo>
                      <a:pt x="16" y="63"/>
                    </a:moveTo>
                    <a:cubicBezTo>
                      <a:pt x="16" y="77"/>
                      <a:pt x="20" y="88"/>
                      <a:pt x="28" y="96"/>
                    </a:cubicBezTo>
                    <a:cubicBezTo>
                      <a:pt x="35" y="104"/>
                      <a:pt x="45" y="109"/>
                      <a:pt x="56" y="109"/>
                    </a:cubicBezTo>
                    <a:cubicBezTo>
                      <a:pt x="68" y="109"/>
                      <a:pt x="78" y="104"/>
                      <a:pt x="85" y="96"/>
                    </a:cubicBezTo>
                    <a:cubicBezTo>
                      <a:pt x="93" y="88"/>
                      <a:pt x="97" y="76"/>
                      <a:pt x="97" y="61"/>
                    </a:cubicBezTo>
                    <a:cubicBezTo>
                      <a:pt x="97" y="51"/>
                      <a:pt x="95" y="43"/>
                      <a:pt x="92" y="36"/>
                    </a:cubicBezTo>
                    <a:cubicBezTo>
                      <a:pt x="89" y="29"/>
                      <a:pt x="84" y="23"/>
                      <a:pt x="78" y="19"/>
                    </a:cubicBezTo>
                    <a:cubicBezTo>
                      <a:pt x="71" y="15"/>
                      <a:pt x="64" y="13"/>
                      <a:pt x="57" y="13"/>
                    </a:cubicBezTo>
                    <a:cubicBezTo>
                      <a:pt x="46" y="13"/>
                      <a:pt x="36" y="17"/>
                      <a:pt x="28" y="25"/>
                    </a:cubicBezTo>
                    <a:cubicBezTo>
                      <a:pt x="20" y="32"/>
                      <a:pt x="16" y="45"/>
                      <a:pt x="16"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Freeform 847"/>
              <p:cNvSpPr>
                <a:spLocks/>
              </p:cNvSpPr>
              <p:nvPr/>
            </p:nvSpPr>
            <p:spPr bwMode="auto">
              <a:xfrm>
                <a:off x="4549" y="1922"/>
                <a:ext cx="21" cy="27"/>
              </a:xfrm>
              <a:custGeom>
                <a:avLst/>
                <a:gdLst>
                  <a:gd name="T0" fmla="*/ 0 w 93"/>
                  <a:gd name="T1" fmla="*/ 118 h 118"/>
                  <a:gd name="T2" fmla="*/ 0 w 93"/>
                  <a:gd name="T3" fmla="*/ 0 h 118"/>
                  <a:gd name="T4" fmla="*/ 16 w 93"/>
                  <a:gd name="T5" fmla="*/ 0 h 118"/>
                  <a:gd name="T6" fmla="*/ 78 w 93"/>
                  <a:gd name="T7" fmla="*/ 93 h 118"/>
                  <a:gd name="T8" fmla="*/ 78 w 93"/>
                  <a:gd name="T9" fmla="*/ 0 h 118"/>
                  <a:gd name="T10" fmla="*/ 93 w 93"/>
                  <a:gd name="T11" fmla="*/ 0 h 118"/>
                  <a:gd name="T12" fmla="*/ 93 w 93"/>
                  <a:gd name="T13" fmla="*/ 118 h 118"/>
                  <a:gd name="T14" fmla="*/ 77 w 93"/>
                  <a:gd name="T15" fmla="*/ 118 h 118"/>
                  <a:gd name="T16" fmla="*/ 15 w 93"/>
                  <a:gd name="T17" fmla="*/ 25 h 118"/>
                  <a:gd name="T18" fmla="*/ 15 w 93"/>
                  <a:gd name="T19" fmla="*/ 118 h 118"/>
                  <a:gd name="T20" fmla="*/ 0 w 93"/>
                  <a:gd name="T2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118">
                    <a:moveTo>
                      <a:pt x="0" y="118"/>
                    </a:moveTo>
                    <a:lnTo>
                      <a:pt x="0" y="0"/>
                    </a:lnTo>
                    <a:lnTo>
                      <a:pt x="16" y="0"/>
                    </a:lnTo>
                    <a:lnTo>
                      <a:pt x="78" y="93"/>
                    </a:lnTo>
                    <a:lnTo>
                      <a:pt x="78" y="0"/>
                    </a:lnTo>
                    <a:lnTo>
                      <a:pt x="93" y="0"/>
                    </a:lnTo>
                    <a:lnTo>
                      <a:pt x="93" y="118"/>
                    </a:lnTo>
                    <a:lnTo>
                      <a:pt x="77" y="118"/>
                    </a:lnTo>
                    <a:lnTo>
                      <a:pt x="15" y="25"/>
                    </a:lnTo>
                    <a:lnTo>
                      <a:pt x="15"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848"/>
              <p:cNvSpPr>
                <a:spLocks noChangeArrowheads="1"/>
              </p:cNvSpPr>
              <p:nvPr/>
            </p:nvSpPr>
            <p:spPr bwMode="auto">
              <a:xfrm>
                <a:off x="3529" y="1921"/>
                <a:ext cx="113" cy="11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849"/>
              <p:cNvSpPr>
                <a:spLocks noChangeArrowheads="1"/>
              </p:cNvSpPr>
              <p:nvPr/>
            </p:nvSpPr>
            <p:spPr bwMode="auto">
              <a:xfrm>
                <a:off x="3764" y="2329"/>
                <a:ext cx="842"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Oval 850"/>
              <p:cNvSpPr>
                <a:spLocks noChangeArrowheads="1"/>
              </p:cNvSpPr>
              <p:nvPr/>
            </p:nvSpPr>
            <p:spPr bwMode="auto">
              <a:xfrm>
                <a:off x="427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3" name="Freeform 851"/>
              <p:cNvSpPr>
                <a:spLocks noEditPoints="1"/>
              </p:cNvSpPr>
              <p:nvPr/>
            </p:nvSpPr>
            <p:spPr bwMode="auto">
              <a:xfrm>
                <a:off x="427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4" name="Oval 852"/>
              <p:cNvSpPr>
                <a:spLocks noChangeArrowheads="1"/>
              </p:cNvSpPr>
              <p:nvPr/>
            </p:nvSpPr>
            <p:spPr bwMode="auto">
              <a:xfrm>
                <a:off x="4331"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5" name="Freeform 853"/>
              <p:cNvSpPr>
                <a:spLocks noEditPoints="1"/>
              </p:cNvSpPr>
              <p:nvPr/>
            </p:nvSpPr>
            <p:spPr bwMode="auto">
              <a:xfrm>
                <a:off x="4331"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6" name="Oval 854"/>
              <p:cNvSpPr>
                <a:spLocks noChangeArrowheads="1"/>
              </p:cNvSpPr>
              <p:nvPr/>
            </p:nvSpPr>
            <p:spPr bwMode="auto">
              <a:xfrm>
                <a:off x="4389"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Freeform 855"/>
              <p:cNvSpPr>
                <a:spLocks noEditPoints="1"/>
              </p:cNvSpPr>
              <p:nvPr/>
            </p:nvSpPr>
            <p:spPr bwMode="auto">
              <a:xfrm>
                <a:off x="4389"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8" name="Oval 856"/>
              <p:cNvSpPr>
                <a:spLocks noChangeArrowheads="1"/>
              </p:cNvSpPr>
              <p:nvPr/>
            </p:nvSpPr>
            <p:spPr bwMode="auto">
              <a:xfrm>
                <a:off x="4446"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9" name="Freeform 857"/>
              <p:cNvSpPr>
                <a:spLocks noEditPoints="1"/>
              </p:cNvSpPr>
              <p:nvPr/>
            </p:nvSpPr>
            <p:spPr bwMode="auto">
              <a:xfrm>
                <a:off x="4446"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0" name="Oval 858"/>
              <p:cNvSpPr>
                <a:spLocks noChangeArrowheads="1"/>
              </p:cNvSpPr>
              <p:nvPr/>
            </p:nvSpPr>
            <p:spPr bwMode="auto">
              <a:xfrm>
                <a:off x="450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1" name="Freeform 859"/>
              <p:cNvSpPr>
                <a:spLocks noEditPoints="1"/>
              </p:cNvSpPr>
              <p:nvPr/>
            </p:nvSpPr>
            <p:spPr bwMode="auto">
              <a:xfrm>
                <a:off x="450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2" name="Oval 860"/>
              <p:cNvSpPr>
                <a:spLocks noChangeArrowheads="1"/>
              </p:cNvSpPr>
              <p:nvPr/>
            </p:nvSpPr>
            <p:spPr bwMode="auto">
              <a:xfrm>
                <a:off x="456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3" name="Freeform 861"/>
              <p:cNvSpPr>
                <a:spLocks noEditPoints="1"/>
              </p:cNvSpPr>
              <p:nvPr/>
            </p:nvSpPr>
            <p:spPr bwMode="auto">
              <a:xfrm>
                <a:off x="456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Oval 862"/>
              <p:cNvSpPr>
                <a:spLocks noChangeArrowheads="1"/>
              </p:cNvSpPr>
              <p:nvPr/>
            </p:nvSpPr>
            <p:spPr bwMode="auto">
              <a:xfrm>
                <a:off x="4563" y="2058"/>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5" name="Oval 863"/>
              <p:cNvSpPr>
                <a:spLocks noChangeArrowheads="1"/>
              </p:cNvSpPr>
              <p:nvPr/>
            </p:nvSpPr>
            <p:spPr bwMode="auto">
              <a:xfrm>
                <a:off x="4621" y="2058"/>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Oval 864"/>
              <p:cNvSpPr>
                <a:spLocks noChangeArrowheads="1"/>
              </p:cNvSpPr>
              <p:nvPr/>
            </p:nvSpPr>
            <p:spPr bwMode="auto">
              <a:xfrm>
                <a:off x="4563" y="2116"/>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7" name="Oval 865"/>
              <p:cNvSpPr>
                <a:spLocks noChangeArrowheads="1"/>
              </p:cNvSpPr>
              <p:nvPr/>
            </p:nvSpPr>
            <p:spPr bwMode="auto">
              <a:xfrm>
                <a:off x="4621" y="2116"/>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Oval 866"/>
              <p:cNvSpPr>
                <a:spLocks noChangeArrowheads="1"/>
              </p:cNvSpPr>
              <p:nvPr/>
            </p:nvSpPr>
            <p:spPr bwMode="auto">
              <a:xfrm>
                <a:off x="4563" y="2174"/>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9" name="Oval 867"/>
              <p:cNvSpPr>
                <a:spLocks noChangeArrowheads="1"/>
              </p:cNvSpPr>
              <p:nvPr/>
            </p:nvSpPr>
            <p:spPr bwMode="auto">
              <a:xfrm>
                <a:off x="4621" y="2174"/>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Oval 868"/>
              <p:cNvSpPr>
                <a:spLocks noChangeArrowheads="1"/>
              </p:cNvSpPr>
              <p:nvPr/>
            </p:nvSpPr>
            <p:spPr bwMode="auto">
              <a:xfrm>
                <a:off x="3592"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1" name="Oval 869"/>
              <p:cNvSpPr>
                <a:spLocks noChangeArrowheads="1"/>
              </p:cNvSpPr>
              <p:nvPr/>
            </p:nvSpPr>
            <p:spPr bwMode="auto">
              <a:xfrm>
                <a:off x="3592"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Oval 870"/>
              <p:cNvSpPr>
                <a:spLocks noChangeArrowheads="1"/>
              </p:cNvSpPr>
              <p:nvPr/>
            </p:nvSpPr>
            <p:spPr bwMode="auto">
              <a:xfrm>
                <a:off x="3534"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3" name="Oval 871"/>
              <p:cNvSpPr>
                <a:spLocks noChangeArrowheads="1"/>
              </p:cNvSpPr>
              <p:nvPr/>
            </p:nvSpPr>
            <p:spPr bwMode="auto">
              <a:xfrm>
                <a:off x="3534"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Oval 872"/>
              <p:cNvSpPr>
                <a:spLocks noChangeArrowheads="1"/>
              </p:cNvSpPr>
              <p:nvPr/>
            </p:nvSpPr>
            <p:spPr bwMode="auto">
              <a:xfrm>
                <a:off x="3476" y="1672"/>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5" name="Oval 873"/>
              <p:cNvSpPr>
                <a:spLocks noChangeArrowheads="1"/>
              </p:cNvSpPr>
              <p:nvPr/>
            </p:nvSpPr>
            <p:spPr bwMode="auto">
              <a:xfrm>
                <a:off x="3476" y="173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Oval 874"/>
              <p:cNvSpPr>
                <a:spLocks noChangeArrowheads="1"/>
              </p:cNvSpPr>
              <p:nvPr/>
            </p:nvSpPr>
            <p:spPr bwMode="auto">
              <a:xfrm>
                <a:off x="4066"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75"/>
              <p:cNvSpPr>
                <a:spLocks noEditPoints="1"/>
              </p:cNvSpPr>
              <p:nvPr/>
            </p:nvSpPr>
            <p:spPr bwMode="auto">
              <a:xfrm>
                <a:off x="4066"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8" name="Oval 876"/>
              <p:cNvSpPr>
                <a:spLocks noChangeArrowheads="1"/>
              </p:cNvSpPr>
              <p:nvPr/>
            </p:nvSpPr>
            <p:spPr bwMode="auto">
              <a:xfrm>
                <a:off x="400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77"/>
              <p:cNvSpPr>
                <a:spLocks noEditPoints="1"/>
              </p:cNvSpPr>
              <p:nvPr/>
            </p:nvSpPr>
            <p:spPr bwMode="auto">
              <a:xfrm>
                <a:off x="4008"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Oval 878"/>
              <p:cNvSpPr>
                <a:spLocks noChangeArrowheads="1"/>
              </p:cNvSpPr>
              <p:nvPr/>
            </p:nvSpPr>
            <p:spPr bwMode="auto">
              <a:xfrm>
                <a:off x="3950"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79"/>
              <p:cNvSpPr>
                <a:spLocks noEditPoints="1"/>
              </p:cNvSpPr>
              <p:nvPr/>
            </p:nvSpPr>
            <p:spPr bwMode="auto">
              <a:xfrm>
                <a:off x="3950"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3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Oval 880"/>
              <p:cNvSpPr>
                <a:spLocks noChangeArrowheads="1"/>
              </p:cNvSpPr>
              <p:nvPr/>
            </p:nvSpPr>
            <p:spPr bwMode="auto">
              <a:xfrm>
                <a:off x="3893"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81"/>
              <p:cNvSpPr>
                <a:spLocks noEditPoints="1"/>
              </p:cNvSpPr>
              <p:nvPr/>
            </p:nvSpPr>
            <p:spPr bwMode="auto">
              <a:xfrm>
                <a:off x="3893"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4" name="Oval 882"/>
              <p:cNvSpPr>
                <a:spLocks noChangeArrowheads="1"/>
              </p:cNvSpPr>
              <p:nvPr/>
            </p:nvSpPr>
            <p:spPr bwMode="auto">
              <a:xfrm>
                <a:off x="3835"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5" name="Freeform 883"/>
              <p:cNvSpPr>
                <a:spLocks noEditPoints="1"/>
              </p:cNvSpPr>
              <p:nvPr/>
            </p:nvSpPr>
            <p:spPr bwMode="auto">
              <a:xfrm>
                <a:off x="3835"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6" name="Oval 884"/>
              <p:cNvSpPr>
                <a:spLocks noChangeArrowheads="1"/>
              </p:cNvSpPr>
              <p:nvPr/>
            </p:nvSpPr>
            <p:spPr bwMode="auto">
              <a:xfrm>
                <a:off x="3778"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85"/>
              <p:cNvSpPr>
                <a:spLocks noEditPoints="1"/>
              </p:cNvSpPr>
              <p:nvPr/>
            </p:nvSpPr>
            <p:spPr bwMode="auto">
              <a:xfrm>
                <a:off x="3778"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8" name="Oval 886"/>
              <p:cNvSpPr>
                <a:spLocks noChangeArrowheads="1"/>
              </p:cNvSpPr>
              <p:nvPr/>
            </p:nvSpPr>
            <p:spPr bwMode="auto">
              <a:xfrm>
                <a:off x="3720"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9" name="Freeform 887"/>
              <p:cNvSpPr>
                <a:spLocks noEditPoints="1"/>
              </p:cNvSpPr>
              <p:nvPr/>
            </p:nvSpPr>
            <p:spPr bwMode="auto">
              <a:xfrm>
                <a:off x="3720"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0" name="Oval 888"/>
              <p:cNvSpPr>
                <a:spLocks noChangeArrowheads="1"/>
              </p:cNvSpPr>
              <p:nvPr/>
            </p:nvSpPr>
            <p:spPr bwMode="auto">
              <a:xfrm>
                <a:off x="36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89"/>
              <p:cNvSpPr>
                <a:spLocks noEditPoints="1"/>
              </p:cNvSpPr>
              <p:nvPr/>
            </p:nvSpPr>
            <p:spPr bwMode="auto">
              <a:xfrm>
                <a:off x="3662"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2" name="Oval 890"/>
              <p:cNvSpPr>
                <a:spLocks noChangeArrowheads="1"/>
              </p:cNvSpPr>
              <p:nvPr/>
            </p:nvSpPr>
            <p:spPr bwMode="auto">
              <a:xfrm>
                <a:off x="3605"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91"/>
              <p:cNvSpPr>
                <a:spLocks noEditPoints="1"/>
              </p:cNvSpPr>
              <p:nvPr/>
            </p:nvSpPr>
            <p:spPr bwMode="auto">
              <a:xfrm>
                <a:off x="3605"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4" name="Oval 892"/>
              <p:cNvSpPr>
                <a:spLocks noChangeArrowheads="1"/>
              </p:cNvSpPr>
              <p:nvPr/>
            </p:nvSpPr>
            <p:spPr bwMode="auto">
              <a:xfrm>
                <a:off x="3547"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93"/>
              <p:cNvSpPr>
                <a:spLocks noEditPoints="1"/>
              </p:cNvSpPr>
              <p:nvPr/>
            </p:nvSpPr>
            <p:spPr bwMode="auto">
              <a:xfrm>
                <a:off x="3547"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6" name="Oval 894"/>
              <p:cNvSpPr>
                <a:spLocks noChangeArrowheads="1"/>
              </p:cNvSpPr>
              <p:nvPr/>
            </p:nvSpPr>
            <p:spPr bwMode="auto">
              <a:xfrm>
                <a:off x="45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95"/>
              <p:cNvSpPr>
                <a:spLocks noEditPoints="1"/>
              </p:cNvSpPr>
              <p:nvPr/>
            </p:nvSpPr>
            <p:spPr bwMode="auto">
              <a:xfrm>
                <a:off x="4562"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8" name="Oval 896"/>
              <p:cNvSpPr>
                <a:spLocks noChangeArrowheads="1"/>
              </p:cNvSpPr>
              <p:nvPr/>
            </p:nvSpPr>
            <p:spPr bwMode="auto">
              <a:xfrm>
                <a:off x="4504"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97"/>
              <p:cNvSpPr>
                <a:spLocks noEditPoints="1"/>
              </p:cNvSpPr>
              <p:nvPr/>
            </p:nvSpPr>
            <p:spPr bwMode="auto">
              <a:xfrm>
                <a:off x="4504"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0" name="Oval 898"/>
              <p:cNvSpPr>
                <a:spLocks noChangeArrowheads="1"/>
              </p:cNvSpPr>
              <p:nvPr/>
            </p:nvSpPr>
            <p:spPr bwMode="auto">
              <a:xfrm>
                <a:off x="444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99"/>
              <p:cNvSpPr>
                <a:spLocks noEditPoints="1"/>
              </p:cNvSpPr>
              <p:nvPr/>
            </p:nvSpPr>
            <p:spPr bwMode="auto">
              <a:xfrm>
                <a:off x="444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2" name="Oval 900"/>
              <p:cNvSpPr>
                <a:spLocks noChangeArrowheads="1"/>
              </p:cNvSpPr>
              <p:nvPr/>
            </p:nvSpPr>
            <p:spPr bwMode="auto">
              <a:xfrm>
                <a:off x="4389"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3" name="Freeform 901"/>
              <p:cNvSpPr>
                <a:spLocks noEditPoints="1"/>
              </p:cNvSpPr>
              <p:nvPr/>
            </p:nvSpPr>
            <p:spPr bwMode="auto">
              <a:xfrm>
                <a:off x="4389"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Oval 902"/>
              <p:cNvSpPr>
                <a:spLocks noChangeArrowheads="1"/>
              </p:cNvSpPr>
              <p:nvPr/>
            </p:nvSpPr>
            <p:spPr bwMode="auto">
              <a:xfrm>
                <a:off x="4331"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5" name="Freeform 903"/>
              <p:cNvSpPr>
                <a:spLocks noEditPoints="1"/>
              </p:cNvSpPr>
              <p:nvPr/>
            </p:nvSpPr>
            <p:spPr bwMode="auto">
              <a:xfrm>
                <a:off x="4331"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Oval 904"/>
              <p:cNvSpPr>
                <a:spLocks noChangeArrowheads="1"/>
              </p:cNvSpPr>
              <p:nvPr/>
            </p:nvSpPr>
            <p:spPr bwMode="auto">
              <a:xfrm>
                <a:off x="4273"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7" name="Freeform 905"/>
              <p:cNvSpPr>
                <a:spLocks noEditPoints="1"/>
              </p:cNvSpPr>
              <p:nvPr/>
            </p:nvSpPr>
            <p:spPr bwMode="auto">
              <a:xfrm>
                <a:off x="4273"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8" name="Oval 906"/>
              <p:cNvSpPr>
                <a:spLocks noChangeArrowheads="1"/>
              </p:cNvSpPr>
              <p:nvPr/>
            </p:nvSpPr>
            <p:spPr bwMode="auto">
              <a:xfrm>
                <a:off x="421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9" name="Freeform 907"/>
              <p:cNvSpPr>
                <a:spLocks noEditPoints="1"/>
              </p:cNvSpPr>
              <p:nvPr/>
            </p:nvSpPr>
            <p:spPr bwMode="auto">
              <a:xfrm>
                <a:off x="421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0" name="Oval 908"/>
              <p:cNvSpPr>
                <a:spLocks noChangeArrowheads="1"/>
              </p:cNvSpPr>
              <p:nvPr/>
            </p:nvSpPr>
            <p:spPr bwMode="auto">
              <a:xfrm>
                <a:off x="415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1" name="Freeform 909"/>
              <p:cNvSpPr>
                <a:spLocks noEditPoints="1"/>
              </p:cNvSpPr>
              <p:nvPr/>
            </p:nvSpPr>
            <p:spPr bwMode="auto">
              <a:xfrm>
                <a:off x="4158"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2" name="Oval 910"/>
              <p:cNvSpPr>
                <a:spLocks noChangeArrowheads="1"/>
              </p:cNvSpPr>
              <p:nvPr/>
            </p:nvSpPr>
            <p:spPr bwMode="auto">
              <a:xfrm>
                <a:off x="381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3" name="Oval 911"/>
              <p:cNvSpPr>
                <a:spLocks noChangeArrowheads="1"/>
              </p:cNvSpPr>
              <p:nvPr/>
            </p:nvSpPr>
            <p:spPr bwMode="auto">
              <a:xfrm>
                <a:off x="375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912"/>
              <p:cNvSpPr>
                <a:spLocks noEditPoints="1"/>
              </p:cNvSpPr>
              <p:nvPr/>
            </p:nvSpPr>
            <p:spPr bwMode="auto">
              <a:xfrm>
                <a:off x="381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5" name="Freeform 913"/>
              <p:cNvSpPr>
                <a:spLocks noEditPoints="1"/>
              </p:cNvSpPr>
              <p:nvPr/>
            </p:nvSpPr>
            <p:spPr bwMode="auto">
              <a:xfrm>
                <a:off x="375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6" name="Oval 914"/>
              <p:cNvSpPr>
                <a:spLocks noChangeArrowheads="1"/>
              </p:cNvSpPr>
              <p:nvPr/>
            </p:nvSpPr>
            <p:spPr bwMode="auto">
              <a:xfrm>
                <a:off x="387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7" name="Freeform 915"/>
              <p:cNvSpPr>
                <a:spLocks noEditPoints="1"/>
              </p:cNvSpPr>
              <p:nvPr/>
            </p:nvSpPr>
            <p:spPr bwMode="auto">
              <a:xfrm>
                <a:off x="387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Oval 916"/>
              <p:cNvSpPr>
                <a:spLocks noChangeArrowheads="1"/>
              </p:cNvSpPr>
              <p:nvPr/>
            </p:nvSpPr>
            <p:spPr bwMode="auto">
              <a:xfrm>
                <a:off x="3927"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9" name="Freeform 917"/>
              <p:cNvSpPr>
                <a:spLocks noEditPoints="1"/>
              </p:cNvSpPr>
              <p:nvPr/>
            </p:nvSpPr>
            <p:spPr bwMode="auto">
              <a:xfrm>
                <a:off x="3927"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Oval 918"/>
              <p:cNvSpPr>
                <a:spLocks noChangeArrowheads="1"/>
              </p:cNvSpPr>
              <p:nvPr/>
            </p:nvSpPr>
            <p:spPr bwMode="auto">
              <a:xfrm>
                <a:off x="3985"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1" name="Freeform 919"/>
              <p:cNvSpPr>
                <a:spLocks noEditPoints="1"/>
              </p:cNvSpPr>
              <p:nvPr/>
            </p:nvSpPr>
            <p:spPr bwMode="auto">
              <a:xfrm>
                <a:off x="3985"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Oval 920"/>
              <p:cNvSpPr>
                <a:spLocks noChangeArrowheads="1"/>
              </p:cNvSpPr>
              <p:nvPr/>
            </p:nvSpPr>
            <p:spPr bwMode="auto">
              <a:xfrm>
                <a:off x="404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3" name="Freeform 921"/>
              <p:cNvSpPr>
                <a:spLocks noEditPoints="1"/>
              </p:cNvSpPr>
              <p:nvPr/>
            </p:nvSpPr>
            <p:spPr bwMode="auto">
              <a:xfrm>
                <a:off x="404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4" name="Oval 922"/>
              <p:cNvSpPr>
                <a:spLocks noChangeArrowheads="1"/>
              </p:cNvSpPr>
              <p:nvPr/>
            </p:nvSpPr>
            <p:spPr bwMode="auto">
              <a:xfrm>
                <a:off x="410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5" name="Freeform 923"/>
              <p:cNvSpPr>
                <a:spLocks noEditPoints="1"/>
              </p:cNvSpPr>
              <p:nvPr/>
            </p:nvSpPr>
            <p:spPr bwMode="auto">
              <a:xfrm>
                <a:off x="410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6" name="Oval 924"/>
              <p:cNvSpPr>
                <a:spLocks noChangeArrowheads="1"/>
              </p:cNvSpPr>
              <p:nvPr/>
            </p:nvSpPr>
            <p:spPr bwMode="auto">
              <a:xfrm>
                <a:off x="4158"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7" name="Freeform 925"/>
              <p:cNvSpPr>
                <a:spLocks noEditPoints="1"/>
              </p:cNvSpPr>
              <p:nvPr/>
            </p:nvSpPr>
            <p:spPr bwMode="auto">
              <a:xfrm>
                <a:off x="4158"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Line 926"/>
              <p:cNvSpPr>
                <a:spLocks noChangeShapeType="1"/>
              </p:cNvSpPr>
              <p:nvPr/>
            </p:nvSpPr>
            <p:spPr bwMode="auto">
              <a:xfrm>
                <a:off x="3732" y="1787"/>
                <a:ext cx="856"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9" name="Line 927"/>
              <p:cNvSpPr>
                <a:spLocks noChangeShapeType="1"/>
              </p:cNvSpPr>
              <p:nvPr/>
            </p:nvSpPr>
            <p:spPr bwMode="auto">
              <a:xfrm>
                <a:off x="4271" y="2564"/>
                <a:ext cx="317"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928"/>
              <p:cNvSpPr>
                <a:spLocks noEditPoints="1"/>
              </p:cNvSpPr>
              <p:nvPr/>
            </p:nvSpPr>
            <p:spPr bwMode="auto">
              <a:xfrm>
                <a:off x="4096" y="2580"/>
                <a:ext cx="16" cy="21"/>
              </a:xfrm>
              <a:custGeom>
                <a:avLst/>
                <a:gdLst>
                  <a:gd name="T0" fmla="*/ 0 w 71"/>
                  <a:gd name="T1" fmla="*/ 93 h 93"/>
                  <a:gd name="T2" fmla="*/ 0 w 71"/>
                  <a:gd name="T3" fmla="*/ 0 h 93"/>
                  <a:gd name="T4" fmla="*/ 35 w 71"/>
                  <a:gd name="T5" fmla="*/ 0 h 93"/>
                  <a:gd name="T6" fmla="*/ 49 w 71"/>
                  <a:gd name="T7" fmla="*/ 1 h 93"/>
                  <a:gd name="T8" fmla="*/ 60 w 71"/>
                  <a:gd name="T9" fmla="*/ 5 h 93"/>
                  <a:gd name="T10" fmla="*/ 68 w 71"/>
                  <a:gd name="T11" fmla="*/ 14 h 93"/>
                  <a:gd name="T12" fmla="*/ 71 w 71"/>
                  <a:gd name="T13" fmla="*/ 27 h 93"/>
                  <a:gd name="T14" fmla="*/ 63 w 71"/>
                  <a:gd name="T15" fmla="*/ 47 h 93"/>
                  <a:gd name="T16" fmla="*/ 36 w 71"/>
                  <a:gd name="T17" fmla="*/ 55 h 93"/>
                  <a:gd name="T18" fmla="*/ 12 w 71"/>
                  <a:gd name="T19" fmla="*/ 55 h 93"/>
                  <a:gd name="T20" fmla="*/ 12 w 71"/>
                  <a:gd name="T21" fmla="*/ 93 h 93"/>
                  <a:gd name="T22" fmla="*/ 0 w 71"/>
                  <a:gd name="T23" fmla="*/ 93 h 93"/>
                  <a:gd name="T24" fmla="*/ 12 w 71"/>
                  <a:gd name="T25" fmla="*/ 44 h 93"/>
                  <a:gd name="T26" fmla="*/ 36 w 71"/>
                  <a:gd name="T27" fmla="*/ 44 h 93"/>
                  <a:gd name="T28" fmla="*/ 53 w 71"/>
                  <a:gd name="T29" fmla="*/ 40 h 93"/>
                  <a:gd name="T30" fmla="*/ 58 w 71"/>
                  <a:gd name="T31" fmla="*/ 27 h 93"/>
                  <a:gd name="T32" fmla="*/ 55 w 71"/>
                  <a:gd name="T33" fmla="*/ 17 h 93"/>
                  <a:gd name="T34" fmla="*/ 47 w 71"/>
                  <a:gd name="T35" fmla="*/ 12 h 93"/>
                  <a:gd name="T36" fmla="*/ 36 w 71"/>
                  <a:gd name="T37" fmla="*/ 11 h 93"/>
                  <a:gd name="T38" fmla="*/ 12 w 71"/>
                  <a:gd name="T39" fmla="*/ 11 h 93"/>
                  <a:gd name="T40" fmla="*/ 12 w 71"/>
                  <a:gd name="T41"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1" y="0"/>
                      <a:pt x="46" y="0"/>
                      <a:pt x="49" y="1"/>
                    </a:cubicBezTo>
                    <a:cubicBezTo>
                      <a:pt x="53" y="2"/>
                      <a:pt x="57" y="3"/>
                      <a:pt x="60" y="5"/>
                    </a:cubicBezTo>
                    <a:cubicBezTo>
                      <a:pt x="63" y="7"/>
                      <a:pt x="66" y="10"/>
                      <a:pt x="68" y="14"/>
                    </a:cubicBezTo>
                    <a:cubicBezTo>
                      <a:pt x="70" y="18"/>
                      <a:pt x="71" y="22"/>
                      <a:pt x="71" y="27"/>
                    </a:cubicBezTo>
                    <a:cubicBezTo>
                      <a:pt x="71" y="35"/>
                      <a:pt x="68" y="41"/>
                      <a:pt x="63" y="47"/>
                    </a:cubicBezTo>
                    <a:cubicBezTo>
                      <a:pt x="58" y="52"/>
                      <a:pt x="49" y="55"/>
                      <a:pt x="36" y="55"/>
                    </a:cubicBezTo>
                    <a:lnTo>
                      <a:pt x="12" y="55"/>
                    </a:lnTo>
                    <a:lnTo>
                      <a:pt x="12" y="93"/>
                    </a:lnTo>
                    <a:lnTo>
                      <a:pt x="0" y="93"/>
                    </a:lnTo>
                    <a:close/>
                    <a:moveTo>
                      <a:pt x="12" y="44"/>
                    </a:moveTo>
                    <a:lnTo>
                      <a:pt x="36" y="44"/>
                    </a:lnTo>
                    <a:cubicBezTo>
                      <a:pt x="44" y="44"/>
                      <a:pt x="50" y="43"/>
                      <a:pt x="53" y="40"/>
                    </a:cubicBezTo>
                    <a:cubicBezTo>
                      <a:pt x="56" y="37"/>
                      <a:pt x="58" y="33"/>
                      <a:pt x="58" y="27"/>
                    </a:cubicBezTo>
                    <a:cubicBezTo>
                      <a:pt x="58" y="23"/>
                      <a:pt x="57" y="20"/>
                      <a:pt x="55" y="17"/>
                    </a:cubicBezTo>
                    <a:cubicBezTo>
                      <a:pt x="53" y="14"/>
                      <a:pt x="50" y="13"/>
                      <a:pt x="47" y="12"/>
                    </a:cubicBezTo>
                    <a:cubicBezTo>
                      <a:pt x="45" y="11"/>
                      <a:pt x="41" y="11"/>
                      <a:pt x="36" y="11"/>
                    </a:cubicBezTo>
                    <a:lnTo>
                      <a:pt x="12" y="11"/>
                    </a:lnTo>
                    <a:lnTo>
                      <a:pt x="12"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929"/>
              <p:cNvSpPr>
                <a:spLocks noEditPoints="1"/>
              </p:cNvSpPr>
              <p:nvPr/>
            </p:nvSpPr>
            <p:spPr bwMode="auto">
              <a:xfrm>
                <a:off x="4115"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9"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930"/>
              <p:cNvSpPr>
                <a:spLocks/>
              </p:cNvSpPr>
              <p:nvPr/>
            </p:nvSpPr>
            <p:spPr bwMode="auto">
              <a:xfrm>
                <a:off x="4137" y="2580"/>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5 w 119"/>
                  <a:gd name="T11" fmla="*/ 63 h 93"/>
                  <a:gd name="T12" fmla="*/ 52 w 119"/>
                  <a:gd name="T13" fmla="*/ 0 h 93"/>
                  <a:gd name="T14" fmla="*/ 67 w 119"/>
                  <a:gd name="T15" fmla="*/ 0 h 93"/>
                  <a:gd name="T16" fmla="*/ 80 w 119"/>
                  <a:gd name="T17" fmla="*/ 47 h 93"/>
                  <a:gd name="T18" fmla="*/ 88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2 h 93"/>
                  <a:gd name="T32" fmla="*/ 59 w 119"/>
                  <a:gd name="T33" fmla="*/ 11 h 93"/>
                  <a:gd name="T34" fmla="*/ 57 w 119"/>
                  <a:gd name="T35" fmla="*/ 22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7"/>
                      <a:pt x="29" y="73"/>
                      <a:pt x="30" y="80"/>
                    </a:cubicBezTo>
                    <a:cubicBezTo>
                      <a:pt x="33" y="70"/>
                      <a:pt x="34" y="64"/>
                      <a:pt x="35" y="63"/>
                    </a:cubicBezTo>
                    <a:lnTo>
                      <a:pt x="52" y="0"/>
                    </a:lnTo>
                    <a:lnTo>
                      <a:pt x="67" y="0"/>
                    </a:lnTo>
                    <a:lnTo>
                      <a:pt x="80" y="47"/>
                    </a:lnTo>
                    <a:cubicBezTo>
                      <a:pt x="84" y="59"/>
                      <a:pt x="86" y="69"/>
                      <a:pt x="88" y="80"/>
                    </a:cubicBezTo>
                    <a:cubicBezTo>
                      <a:pt x="89" y="74"/>
                      <a:pt x="90" y="67"/>
                      <a:pt x="92" y="60"/>
                    </a:cubicBezTo>
                    <a:lnTo>
                      <a:pt x="107" y="0"/>
                    </a:lnTo>
                    <a:lnTo>
                      <a:pt x="119" y="0"/>
                    </a:lnTo>
                    <a:lnTo>
                      <a:pt x="94" y="93"/>
                    </a:lnTo>
                    <a:lnTo>
                      <a:pt x="82" y="93"/>
                    </a:lnTo>
                    <a:lnTo>
                      <a:pt x="62" y="22"/>
                    </a:lnTo>
                    <a:cubicBezTo>
                      <a:pt x="61" y="16"/>
                      <a:pt x="60" y="12"/>
                      <a:pt x="59" y="11"/>
                    </a:cubicBezTo>
                    <a:cubicBezTo>
                      <a:pt x="58" y="15"/>
                      <a:pt x="57" y="19"/>
                      <a:pt x="57" y="22"/>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931"/>
              <p:cNvSpPr>
                <a:spLocks/>
              </p:cNvSpPr>
              <p:nvPr/>
            </p:nvSpPr>
            <p:spPr bwMode="auto">
              <a:xfrm>
                <a:off x="4167" y="2580"/>
                <a:ext cx="15" cy="21"/>
              </a:xfrm>
              <a:custGeom>
                <a:avLst/>
                <a:gdLst>
                  <a:gd name="T0" fmla="*/ 0 w 69"/>
                  <a:gd name="T1" fmla="*/ 93 h 93"/>
                  <a:gd name="T2" fmla="*/ 0 w 69"/>
                  <a:gd name="T3" fmla="*/ 0 h 93"/>
                  <a:gd name="T4" fmla="*/ 67 w 69"/>
                  <a:gd name="T5" fmla="*/ 0 h 93"/>
                  <a:gd name="T6" fmla="*/ 67 w 69"/>
                  <a:gd name="T7" fmla="*/ 11 h 93"/>
                  <a:gd name="T8" fmla="*/ 12 w 69"/>
                  <a:gd name="T9" fmla="*/ 11 h 93"/>
                  <a:gd name="T10" fmla="*/ 12 w 69"/>
                  <a:gd name="T11" fmla="*/ 39 h 93"/>
                  <a:gd name="T12" fmla="*/ 63 w 69"/>
                  <a:gd name="T13" fmla="*/ 39 h 93"/>
                  <a:gd name="T14" fmla="*/ 63 w 69"/>
                  <a:gd name="T15" fmla="*/ 50 h 93"/>
                  <a:gd name="T16" fmla="*/ 12 w 69"/>
                  <a:gd name="T17" fmla="*/ 50 h 93"/>
                  <a:gd name="T18" fmla="*/ 12 w 69"/>
                  <a:gd name="T19" fmla="*/ 82 h 93"/>
                  <a:gd name="T20" fmla="*/ 69 w 69"/>
                  <a:gd name="T21" fmla="*/ 82 h 93"/>
                  <a:gd name="T22" fmla="*/ 69 w 69"/>
                  <a:gd name="T23" fmla="*/ 93 h 93"/>
                  <a:gd name="T24" fmla="*/ 0 w 69"/>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3">
                    <a:moveTo>
                      <a:pt x="0" y="93"/>
                    </a:moveTo>
                    <a:lnTo>
                      <a:pt x="0" y="0"/>
                    </a:lnTo>
                    <a:lnTo>
                      <a:pt x="67" y="0"/>
                    </a:lnTo>
                    <a:lnTo>
                      <a:pt x="67" y="11"/>
                    </a:lnTo>
                    <a:lnTo>
                      <a:pt x="12" y="11"/>
                    </a:lnTo>
                    <a:lnTo>
                      <a:pt x="12" y="39"/>
                    </a:lnTo>
                    <a:lnTo>
                      <a:pt x="63" y="39"/>
                    </a:lnTo>
                    <a:lnTo>
                      <a:pt x="63" y="50"/>
                    </a:lnTo>
                    <a:lnTo>
                      <a:pt x="12" y="50"/>
                    </a:lnTo>
                    <a:lnTo>
                      <a:pt x="12" y="82"/>
                    </a:lnTo>
                    <a:lnTo>
                      <a:pt x="69" y="82"/>
                    </a:lnTo>
                    <a:lnTo>
                      <a:pt x="69"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932"/>
              <p:cNvSpPr>
                <a:spLocks noEditPoints="1"/>
              </p:cNvSpPr>
              <p:nvPr/>
            </p:nvSpPr>
            <p:spPr bwMode="auto">
              <a:xfrm>
                <a:off x="4186" y="2580"/>
                <a:ext cx="19" cy="21"/>
              </a:xfrm>
              <a:custGeom>
                <a:avLst/>
                <a:gdLst>
                  <a:gd name="T0" fmla="*/ 0 w 82"/>
                  <a:gd name="T1" fmla="*/ 93 h 93"/>
                  <a:gd name="T2" fmla="*/ 0 w 82"/>
                  <a:gd name="T3" fmla="*/ 0 h 93"/>
                  <a:gd name="T4" fmla="*/ 41 w 82"/>
                  <a:gd name="T5" fmla="*/ 0 h 93"/>
                  <a:gd name="T6" fmla="*/ 60 w 82"/>
                  <a:gd name="T7" fmla="*/ 2 h 93"/>
                  <a:gd name="T8" fmla="*/ 71 w 82"/>
                  <a:gd name="T9" fmla="*/ 11 h 93"/>
                  <a:gd name="T10" fmla="*/ 74 w 82"/>
                  <a:gd name="T11" fmla="*/ 25 h 93"/>
                  <a:gd name="T12" fmla="*/ 68 w 82"/>
                  <a:gd name="T13" fmla="*/ 42 h 93"/>
                  <a:gd name="T14" fmla="*/ 48 w 82"/>
                  <a:gd name="T15" fmla="*/ 50 h 93"/>
                  <a:gd name="T16" fmla="*/ 56 w 82"/>
                  <a:gd name="T17" fmla="*/ 55 h 93"/>
                  <a:gd name="T18" fmla="*/ 66 w 82"/>
                  <a:gd name="T19" fmla="*/ 67 h 93"/>
                  <a:gd name="T20" fmla="*/ 82 w 82"/>
                  <a:gd name="T21" fmla="*/ 93 h 93"/>
                  <a:gd name="T22" fmla="*/ 67 w 82"/>
                  <a:gd name="T23" fmla="*/ 93 h 93"/>
                  <a:gd name="T24" fmla="*/ 54 w 82"/>
                  <a:gd name="T25" fmla="*/ 73 h 93"/>
                  <a:gd name="T26" fmla="*/ 45 w 82"/>
                  <a:gd name="T27" fmla="*/ 61 h 93"/>
                  <a:gd name="T28" fmla="*/ 39 w 82"/>
                  <a:gd name="T29" fmla="*/ 54 h 93"/>
                  <a:gd name="T30" fmla="*/ 34 w 82"/>
                  <a:gd name="T31" fmla="*/ 52 h 93"/>
                  <a:gd name="T32" fmla="*/ 27 w 82"/>
                  <a:gd name="T33" fmla="*/ 52 h 93"/>
                  <a:gd name="T34" fmla="*/ 13 w 82"/>
                  <a:gd name="T35" fmla="*/ 52 h 93"/>
                  <a:gd name="T36" fmla="*/ 13 w 82"/>
                  <a:gd name="T37" fmla="*/ 93 h 93"/>
                  <a:gd name="T38" fmla="*/ 0 w 82"/>
                  <a:gd name="T39" fmla="*/ 93 h 93"/>
                  <a:gd name="T40" fmla="*/ 13 w 82"/>
                  <a:gd name="T41" fmla="*/ 41 h 93"/>
                  <a:gd name="T42" fmla="*/ 39 w 82"/>
                  <a:gd name="T43" fmla="*/ 41 h 93"/>
                  <a:gd name="T44" fmla="*/ 52 w 82"/>
                  <a:gd name="T45" fmla="*/ 39 h 93"/>
                  <a:gd name="T46" fmla="*/ 59 w 82"/>
                  <a:gd name="T47" fmla="*/ 34 h 93"/>
                  <a:gd name="T48" fmla="*/ 62 w 82"/>
                  <a:gd name="T49" fmla="*/ 25 h 93"/>
                  <a:gd name="T50" fmla="*/ 57 w 82"/>
                  <a:gd name="T51" fmla="*/ 14 h 93"/>
                  <a:gd name="T52" fmla="*/ 42 w 82"/>
                  <a:gd name="T53" fmla="*/ 10 h 93"/>
                  <a:gd name="T54" fmla="*/ 13 w 82"/>
                  <a:gd name="T55" fmla="*/ 10 h 93"/>
                  <a:gd name="T56" fmla="*/ 13 w 82"/>
                  <a:gd name="T57"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93">
                    <a:moveTo>
                      <a:pt x="0" y="93"/>
                    </a:moveTo>
                    <a:lnTo>
                      <a:pt x="0" y="0"/>
                    </a:lnTo>
                    <a:lnTo>
                      <a:pt x="41" y="0"/>
                    </a:lnTo>
                    <a:cubicBezTo>
                      <a:pt x="50" y="0"/>
                      <a:pt x="56" y="1"/>
                      <a:pt x="60" y="2"/>
                    </a:cubicBezTo>
                    <a:cubicBezTo>
                      <a:pt x="65" y="4"/>
                      <a:pt x="68" y="7"/>
                      <a:pt x="71" y="11"/>
                    </a:cubicBezTo>
                    <a:cubicBezTo>
                      <a:pt x="73" y="15"/>
                      <a:pt x="74" y="20"/>
                      <a:pt x="74" y="25"/>
                    </a:cubicBezTo>
                    <a:cubicBezTo>
                      <a:pt x="74" y="32"/>
                      <a:pt x="72" y="37"/>
                      <a:pt x="68" y="42"/>
                    </a:cubicBezTo>
                    <a:cubicBezTo>
                      <a:pt x="64" y="46"/>
                      <a:pt x="57" y="49"/>
                      <a:pt x="48" y="50"/>
                    </a:cubicBezTo>
                    <a:cubicBezTo>
                      <a:pt x="52" y="52"/>
                      <a:pt x="54" y="54"/>
                      <a:pt x="56" y="55"/>
                    </a:cubicBezTo>
                    <a:cubicBezTo>
                      <a:pt x="59" y="58"/>
                      <a:pt x="63" y="63"/>
                      <a:pt x="66" y="67"/>
                    </a:cubicBezTo>
                    <a:lnTo>
                      <a:pt x="82" y="93"/>
                    </a:lnTo>
                    <a:lnTo>
                      <a:pt x="67" y="93"/>
                    </a:lnTo>
                    <a:lnTo>
                      <a:pt x="54" y="73"/>
                    </a:lnTo>
                    <a:cubicBezTo>
                      <a:pt x="51" y="68"/>
                      <a:pt x="48" y="64"/>
                      <a:pt x="45" y="61"/>
                    </a:cubicBezTo>
                    <a:cubicBezTo>
                      <a:pt x="43" y="58"/>
                      <a:pt x="41" y="56"/>
                      <a:pt x="39" y="54"/>
                    </a:cubicBezTo>
                    <a:cubicBezTo>
                      <a:pt x="37" y="53"/>
                      <a:pt x="35" y="52"/>
                      <a:pt x="34" y="52"/>
                    </a:cubicBezTo>
                    <a:cubicBezTo>
                      <a:pt x="32" y="52"/>
                      <a:pt x="30" y="52"/>
                      <a:pt x="27" y="52"/>
                    </a:cubicBezTo>
                    <a:lnTo>
                      <a:pt x="13" y="52"/>
                    </a:lnTo>
                    <a:lnTo>
                      <a:pt x="13" y="93"/>
                    </a:lnTo>
                    <a:lnTo>
                      <a:pt x="0" y="93"/>
                    </a:lnTo>
                    <a:close/>
                    <a:moveTo>
                      <a:pt x="13" y="41"/>
                    </a:moveTo>
                    <a:lnTo>
                      <a:pt x="39" y="41"/>
                    </a:lnTo>
                    <a:cubicBezTo>
                      <a:pt x="45" y="41"/>
                      <a:pt x="49" y="40"/>
                      <a:pt x="52" y="39"/>
                    </a:cubicBezTo>
                    <a:cubicBezTo>
                      <a:pt x="55" y="38"/>
                      <a:pt x="58" y="36"/>
                      <a:pt x="59" y="34"/>
                    </a:cubicBezTo>
                    <a:cubicBezTo>
                      <a:pt x="61" y="31"/>
                      <a:pt x="62" y="28"/>
                      <a:pt x="62" y="25"/>
                    </a:cubicBezTo>
                    <a:cubicBezTo>
                      <a:pt x="62" y="21"/>
                      <a:pt x="60" y="17"/>
                      <a:pt x="57" y="14"/>
                    </a:cubicBezTo>
                    <a:cubicBezTo>
                      <a:pt x="54" y="12"/>
                      <a:pt x="49" y="10"/>
                      <a:pt x="42" y="10"/>
                    </a:cubicBezTo>
                    <a:lnTo>
                      <a:pt x="13" y="10"/>
                    </a:lnTo>
                    <a:lnTo>
                      <a:pt x="13"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Line 933"/>
              <p:cNvSpPr>
                <a:spLocks noChangeShapeType="1"/>
              </p:cNvSpPr>
              <p:nvPr/>
            </p:nvSpPr>
            <p:spPr bwMode="auto">
              <a:xfrm>
                <a:off x="3911" y="2564"/>
                <a:ext cx="288"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41" name="Group 1135"/>
            <p:cNvGrpSpPr>
              <a:grpSpLocks/>
            </p:cNvGrpSpPr>
            <p:nvPr/>
          </p:nvGrpSpPr>
          <p:grpSpPr bwMode="auto">
            <a:xfrm>
              <a:off x="5497513" y="2513013"/>
              <a:ext cx="1905000" cy="1828800"/>
              <a:chOff x="3463" y="1583"/>
              <a:chExt cx="1200" cy="1152"/>
            </a:xfrm>
          </p:grpSpPr>
          <p:sp>
            <p:nvSpPr>
              <p:cNvPr id="1066" name="Freeform 935"/>
              <p:cNvSpPr>
                <a:spLocks noEditPoints="1"/>
              </p:cNvSpPr>
              <p:nvPr/>
            </p:nvSpPr>
            <p:spPr bwMode="auto">
              <a:xfrm>
                <a:off x="4567" y="1656"/>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936"/>
              <p:cNvSpPr>
                <a:spLocks/>
              </p:cNvSpPr>
              <p:nvPr/>
            </p:nvSpPr>
            <p:spPr bwMode="auto">
              <a:xfrm>
                <a:off x="4509" y="1660"/>
                <a:ext cx="22" cy="8"/>
              </a:xfrm>
              <a:custGeom>
                <a:avLst/>
                <a:gdLst>
                  <a:gd name="T0" fmla="*/ 95 w 95"/>
                  <a:gd name="T1" fmla="*/ 0 h 34"/>
                  <a:gd name="T2" fmla="*/ 95 w 95"/>
                  <a:gd name="T3" fmla="*/ 11 h 34"/>
                  <a:gd name="T4" fmla="*/ 21 w 95"/>
                  <a:gd name="T5" fmla="*/ 11 h 34"/>
                  <a:gd name="T6" fmla="*/ 29 w 95"/>
                  <a:gd name="T7" fmla="*/ 22 h 34"/>
                  <a:gd name="T8" fmla="*/ 35 w 95"/>
                  <a:gd name="T9" fmla="*/ 34 h 34"/>
                  <a:gd name="T10" fmla="*/ 24 w 95"/>
                  <a:gd name="T11" fmla="*/ 34 h 34"/>
                  <a:gd name="T12" fmla="*/ 13 w 95"/>
                  <a:gd name="T13" fmla="*/ 17 h 34"/>
                  <a:gd name="T14" fmla="*/ 0 w 95"/>
                  <a:gd name="T15" fmla="*/ 7 h 34"/>
                  <a:gd name="T16" fmla="*/ 0 w 95"/>
                  <a:gd name="T17" fmla="*/ 0 h 34"/>
                  <a:gd name="T18" fmla="*/ 95 w 9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4">
                    <a:moveTo>
                      <a:pt x="95" y="0"/>
                    </a:moveTo>
                    <a:lnTo>
                      <a:pt x="95" y="11"/>
                    </a:lnTo>
                    <a:lnTo>
                      <a:pt x="21" y="11"/>
                    </a:lnTo>
                    <a:cubicBezTo>
                      <a:pt x="24" y="14"/>
                      <a:pt x="26" y="18"/>
                      <a:pt x="29" y="22"/>
                    </a:cubicBezTo>
                    <a:cubicBezTo>
                      <a:pt x="32" y="27"/>
                      <a:pt x="34" y="31"/>
                      <a:pt x="35" y="34"/>
                    </a:cubicBezTo>
                    <a:lnTo>
                      <a:pt x="24" y="34"/>
                    </a:lnTo>
                    <a:cubicBezTo>
                      <a:pt x="21" y="28"/>
                      <a:pt x="17" y="22"/>
                      <a:pt x="13" y="17"/>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937"/>
              <p:cNvSpPr>
                <a:spLocks/>
              </p:cNvSpPr>
              <p:nvPr/>
            </p:nvSpPr>
            <p:spPr bwMode="auto">
              <a:xfrm>
                <a:off x="4509" y="1756"/>
                <a:ext cx="22"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938"/>
              <p:cNvSpPr>
                <a:spLocks/>
              </p:cNvSpPr>
              <p:nvPr/>
            </p:nvSpPr>
            <p:spPr bwMode="auto">
              <a:xfrm>
                <a:off x="4509" y="1736"/>
                <a:ext cx="22" cy="19"/>
              </a:xfrm>
              <a:custGeom>
                <a:avLst/>
                <a:gdLst>
                  <a:gd name="T0" fmla="*/ 95 w 95"/>
                  <a:gd name="T1" fmla="*/ 86 h 86"/>
                  <a:gd name="T2" fmla="*/ 46 w 95"/>
                  <a:gd name="T3" fmla="*/ 50 h 86"/>
                  <a:gd name="T4" fmla="*/ 0 w 95"/>
                  <a:gd name="T5" fmla="*/ 82 h 86"/>
                  <a:gd name="T6" fmla="*/ 0 w 95"/>
                  <a:gd name="T7" fmla="*/ 67 h 86"/>
                  <a:gd name="T8" fmla="*/ 25 w 95"/>
                  <a:gd name="T9" fmla="*/ 50 h 86"/>
                  <a:gd name="T10" fmla="*/ 36 w 95"/>
                  <a:gd name="T11" fmla="*/ 42 h 86"/>
                  <a:gd name="T12" fmla="*/ 25 w 95"/>
                  <a:gd name="T13" fmla="*/ 35 h 86"/>
                  <a:gd name="T14" fmla="*/ 0 w 95"/>
                  <a:gd name="T15" fmla="*/ 16 h 86"/>
                  <a:gd name="T16" fmla="*/ 0 w 95"/>
                  <a:gd name="T17" fmla="*/ 2 h 86"/>
                  <a:gd name="T18" fmla="*/ 45 w 95"/>
                  <a:gd name="T19" fmla="*/ 35 h 86"/>
                  <a:gd name="T20" fmla="*/ 95 w 95"/>
                  <a:gd name="T21" fmla="*/ 0 h 86"/>
                  <a:gd name="T22" fmla="*/ 95 w 95"/>
                  <a:gd name="T23" fmla="*/ 15 h 86"/>
                  <a:gd name="T24" fmla="*/ 61 w 95"/>
                  <a:gd name="T25" fmla="*/ 39 h 86"/>
                  <a:gd name="T26" fmla="*/ 55 w 95"/>
                  <a:gd name="T27" fmla="*/ 43 h 86"/>
                  <a:gd name="T28" fmla="*/ 62 w 95"/>
                  <a:gd name="T29" fmla="*/ 48 h 86"/>
                  <a:gd name="T30" fmla="*/ 95 w 95"/>
                  <a:gd name="T31" fmla="*/ 71 h 86"/>
                  <a:gd name="T32" fmla="*/ 95 w 95"/>
                  <a:gd name="T3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6">
                    <a:moveTo>
                      <a:pt x="95" y="86"/>
                    </a:moveTo>
                    <a:lnTo>
                      <a:pt x="46" y="50"/>
                    </a:lnTo>
                    <a:lnTo>
                      <a:pt x="0" y="82"/>
                    </a:lnTo>
                    <a:lnTo>
                      <a:pt x="0" y="67"/>
                    </a:lnTo>
                    <a:lnTo>
                      <a:pt x="25" y="50"/>
                    </a:lnTo>
                    <a:cubicBezTo>
                      <a:pt x="30" y="46"/>
                      <a:pt x="33" y="44"/>
                      <a:pt x="36" y="42"/>
                    </a:cubicBezTo>
                    <a:cubicBezTo>
                      <a:pt x="33" y="40"/>
                      <a:pt x="29" y="38"/>
                      <a:pt x="25" y="35"/>
                    </a:cubicBezTo>
                    <a:lnTo>
                      <a:pt x="0" y="16"/>
                    </a:lnTo>
                    <a:lnTo>
                      <a:pt x="0" y="2"/>
                    </a:lnTo>
                    <a:lnTo>
                      <a:pt x="45" y="35"/>
                    </a:lnTo>
                    <a:lnTo>
                      <a:pt x="95" y="0"/>
                    </a:lnTo>
                    <a:lnTo>
                      <a:pt x="95" y="15"/>
                    </a:lnTo>
                    <a:lnTo>
                      <a:pt x="61" y="39"/>
                    </a:lnTo>
                    <a:cubicBezTo>
                      <a:pt x="59" y="40"/>
                      <a:pt x="57" y="42"/>
                      <a:pt x="55" y="43"/>
                    </a:cubicBezTo>
                    <a:cubicBezTo>
                      <a:pt x="58" y="45"/>
                      <a:pt x="61" y="47"/>
                      <a:pt x="62" y="48"/>
                    </a:cubicBezTo>
                    <a:lnTo>
                      <a:pt x="95" y="71"/>
                    </a:lnTo>
                    <a:lnTo>
                      <a:pt x="95" y="8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939"/>
              <p:cNvSpPr>
                <a:spLocks noEditPoints="1"/>
              </p:cNvSpPr>
              <p:nvPr/>
            </p:nvSpPr>
            <p:spPr bwMode="auto">
              <a:xfrm>
                <a:off x="4509" y="1720"/>
                <a:ext cx="22" cy="14"/>
              </a:xfrm>
              <a:custGeom>
                <a:avLst/>
                <a:gdLst>
                  <a:gd name="T0" fmla="*/ 48 w 97"/>
                  <a:gd name="T1" fmla="*/ 62 h 62"/>
                  <a:gd name="T2" fmla="*/ 21 w 97"/>
                  <a:gd name="T3" fmla="*/ 59 h 62"/>
                  <a:gd name="T4" fmla="*/ 5 w 97"/>
                  <a:gd name="T5" fmla="*/ 48 h 62"/>
                  <a:gd name="T6" fmla="*/ 0 w 97"/>
                  <a:gd name="T7" fmla="*/ 31 h 62"/>
                  <a:gd name="T8" fmla="*/ 3 w 97"/>
                  <a:gd name="T9" fmla="*/ 18 h 62"/>
                  <a:gd name="T10" fmla="*/ 12 w 97"/>
                  <a:gd name="T11" fmla="*/ 8 h 62"/>
                  <a:gd name="T12" fmla="*/ 26 w 97"/>
                  <a:gd name="T13" fmla="*/ 3 h 62"/>
                  <a:gd name="T14" fmla="*/ 48 w 97"/>
                  <a:gd name="T15" fmla="*/ 0 h 62"/>
                  <a:gd name="T16" fmla="*/ 75 w 97"/>
                  <a:gd name="T17" fmla="*/ 4 h 62"/>
                  <a:gd name="T18" fmla="*/ 91 w 97"/>
                  <a:gd name="T19" fmla="*/ 14 h 62"/>
                  <a:gd name="T20" fmla="*/ 97 w 97"/>
                  <a:gd name="T21" fmla="*/ 31 h 62"/>
                  <a:gd name="T22" fmla="*/ 87 w 97"/>
                  <a:gd name="T23" fmla="*/ 53 h 62"/>
                  <a:gd name="T24" fmla="*/ 48 w 97"/>
                  <a:gd name="T25" fmla="*/ 62 h 62"/>
                  <a:gd name="T26" fmla="*/ 48 w 97"/>
                  <a:gd name="T27" fmla="*/ 50 h 62"/>
                  <a:gd name="T28" fmla="*/ 79 w 97"/>
                  <a:gd name="T29" fmla="*/ 45 h 62"/>
                  <a:gd name="T30" fmla="*/ 87 w 97"/>
                  <a:gd name="T31" fmla="*/ 31 h 62"/>
                  <a:gd name="T32" fmla="*/ 79 w 97"/>
                  <a:gd name="T33" fmla="*/ 18 h 62"/>
                  <a:gd name="T34" fmla="*/ 48 w 97"/>
                  <a:gd name="T35" fmla="*/ 12 h 62"/>
                  <a:gd name="T36" fmla="*/ 17 w 97"/>
                  <a:gd name="T37" fmla="*/ 18 h 62"/>
                  <a:gd name="T38" fmla="*/ 9 w 97"/>
                  <a:gd name="T39" fmla="*/ 31 h 62"/>
                  <a:gd name="T40" fmla="*/ 16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1"/>
                      <a:pt x="21" y="59"/>
                    </a:cubicBezTo>
                    <a:cubicBezTo>
                      <a:pt x="14" y="56"/>
                      <a:pt x="9" y="53"/>
                      <a:pt x="5" y="48"/>
                    </a:cubicBezTo>
                    <a:cubicBezTo>
                      <a:pt x="2" y="44"/>
                      <a:pt x="0" y="38"/>
                      <a:pt x="0" y="31"/>
                    </a:cubicBezTo>
                    <a:cubicBezTo>
                      <a:pt x="0" y="26"/>
                      <a:pt x="1" y="22"/>
                      <a:pt x="3" y="18"/>
                    </a:cubicBezTo>
                    <a:cubicBezTo>
                      <a:pt x="5" y="14"/>
                      <a:pt x="8" y="11"/>
                      <a:pt x="12" y="8"/>
                    </a:cubicBezTo>
                    <a:cubicBezTo>
                      <a:pt x="16" y="6"/>
                      <a:pt x="20" y="4"/>
                      <a:pt x="26" y="3"/>
                    </a:cubicBezTo>
                    <a:cubicBezTo>
                      <a:pt x="31" y="1"/>
                      <a:pt x="39" y="0"/>
                      <a:pt x="48" y="0"/>
                    </a:cubicBezTo>
                    <a:cubicBezTo>
                      <a:pt x="59" y="0"/>
                      <a:pt x="68" y="2"/>
                      <a:pt x="75" y="4"/>
                    </a:cubicBezTo>
                    <a:cubicBezTo>
                      <a:pt x="82" y="6"/>
                      <a:pt x="87" y="10"/>
                      <a:pt x="91" y="14"/>
                    </a:cubicBezTo>
                    <a:cubicBezTo>
                      <a:pt x="95" y="19"/>
                      <a:pt x="97" y="24"/>
                      <a:pt x="97" y="31"/>
                    </a:cubicBezTo>
                    <a:cubicBezTo>
                      <a:pt x="97" y="40"/>
                      <a:pt x="93" y="48"/>
                      <a:pt x="87" y="53"/>
                    </a:cubicBezTo>
                    <a:cubicBezTo>
                      <a:pt x="79" y="59"/>
                      <a:pt x="66" y="62"/>
                      <a:pt x="48" y="62"/>
                    </a:cubicBezTo>
                    <a:close/>
                    <a:moveTo>
                      <a:pt x="48" y="50"/>
                    </a:moveTo>
                    <a:cubicBezTo>
                      <a:pt x="64" y="50"/>
                      <a:pt x="74" y="48"/>
                      <a:pt x="79" y="45"/>
                    </a:cubicBezTo>
                    <a:cubicBezTo>
                      <a:pt x="84" y="41"/>
                      <a:pt x="87" y="37"/>
                      <a:pt x="87" y="31"/>
                    </a:cubicBezTo>
                    <a:cubicBezTo>
                      <a:pt x="87" y="26"/>
                      <a:pt x="84" y="21"/>
                      <a:pt x="79" y="18"/>
                    </a:cubicBezTo>
                    <a:cubicBezTo>
                      <a:pt x="74" y="14"/>
                      <a:pt x="64" y="12"/>
                      <a:pt x="48" y="12"/>
                    </a:cubicBezTo>
                    <a:cubicBezTo>
                      <a:pt x="33" y="12"/>
                      <a:pt x="22" y="14"/>
                      <a:pt x="17" y="18"/>
                    </a:cubicBezTo>
                    <a:cubicBezTo>
                      <a:pt x="12" y="21"/>
                      <a:pt x="9" y="26"/>
                      <a:pt x="9" y="31"/>
                    </a:cubicBezTo>
                    <a:cubicBezTo>
                      <a:pt x="9" y="37"/>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940"/>
              <p:cNvSpPr>
                <a:spLocks noEditPoints="1"/>
              </p:cNvSpPr>
              <p:nvPr/>
            </p:nvSpPr>
            <p:spPr bwMode="auto">
              <a:xfrm>
                <a:off x="4567" y="1752"/>
                <a:ext cx="22" cy="19"/>
              </a:xfrm>
              <a:custGeom>
                <a:avLst/>
                <a:gdLst>
                  <a:gd name="T0" fmla="*/ 95 w 95"/>
                  <a:gd name="T1" fmla="*/ 83 h 83"/>
                  <a:gd name="T2" fmla="*/ 0 w 95"/>
                  <a:gd name="T3" fmla="*/ 83 h 83"/>
                  <a:gd name="T4" fmla="*/ 0 w 95"/>
                  <a:gd name="T5" fmla="*/ 41 h 83"/>
                  <a:gd name="T6" fmla="*/ 3 w 95"/>
                  <a:gd name="T7" fmla="*/ 22 h 83"/>
                  <a:gd name="T8" fmla="*/ 12 w 95"/>
                  <a:gd name="T9" fmla="*/ 12 h 83"/>
                  <a:gd name="T10" fmla="*/ 26 w 95"/>
                  <a:gd name="T11" fmla="*/ 8 h 83"/>
                  <a:gd name="T12" fmla="*/ 43 w 95"/>
                  <a:gd name="T13" fmla="*/ 14 h 83"/>
                  <a:gd name="T14" fmla="*/ 52 w 95"/>
                  <a:gd name="T15" fmla="*/ 34 h 83"/>
                  <a:gd name="T16" fmla="*/ 57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6 w 95"/>
                  <a:gd name="T29" fmla="*/ 44 h 83"/>
                  <a:gd name="T30" fmla="*/ 53 w 95"/>
                  <a:gd name="T31" fmla="*/ 49 h 83"/>
                  <a:gd name="T32" fmla="*/ 53 w 95"/>
                  <a:gd name="T33" fmla="*/ 56 h 83"/>
                  <a:gd name="T34" fmla="*/ 53 w 95"/>
                  <a:gd name="T35" fmla="*/ 71 h 83"/>
                  <a:gd name="T36" fmla="*/ 95 w 95"/>
                  <a:gd name="T37" fmla="*/ 71 h 83"/>
                  <a:gd name="T38" fmla="*/ 95 w 95"/>
                  <a:gd name="T39" fmla="*/ 83 h 83"/>
                  <a:gd name="T40" fmla="*/ 42 w 95"/>
                  <a:gd name="T41" fmla="*/ 71 h 83"/>
                  <a:gd name="T42" fmla="*/ 42 w 95"/>
                  <a:gd name="T43" fmla="*/ 44 h 83"/>
                  <a:gd name="T44" fmla="*/ 40 w 95"/>
                  <a:gd name="T45" fmla="*/ 31 h 83"/>
                  <a:gd name="T46" fmla="*/ 35 w 95"/>
                  <a:gd name="T47" fmla="*/ 23 h 83"/>
                  <a:gd name="T48" fmla="*/ 26 w 95"/>
                  <a:gd name="T49" fmla="*/ 21 h 83"/>
                  <a:gd name="T50" fmla="*/ 15 w 95"/>
                  <a:gd name="T51" fmla="*/ 26 h 83"/>
                  <a:gd name="T52" fmla="*/ 11 w 95"/>
                  <a:gd name="T53" fmla="*/ 41 h 83"/>
                  <a:gd name="T54" fmla="*/ 11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7"/>
                      <a:pt x="3" y="22"/>
                    </a:cubicBezTo>
                    <a:cubicBezTo>
                      <a:pt x="4" y="18"/>
                      <a:pt x="7" y="14"/>
                      <a:pt x="12" y="12"/>
                    </a:cubicBezTo>
                    <a:cubicBezTo>
                      <a:pt x="16" y="9"/>
                      <a:pt x="21" y="8"/>
                      <a:pt x="26" y="8"/>
                    </a:cubicBezTo>
                    <a:cubicBezTo>
                      <a:pt x="33" y="8"/>
                      <a:pt x="38" y="10"/>
                      <a:pt x="43" y="14"/>
                    </a:cubicBezTo>
                    <a:cubicBezTo>
                      <a:pt x="48" y="19"/>
                      <a:pt x="51" y="25"/>
                      <a:pt x="52" y="34"/>
                    </a:cubicBezTo>
                    <a:cubicBezTo>
                      <a:pt x="53" y="31"/>
                      <a:pt x="55" y="29"/>
                      <a:pt x="57" y="27"/>
                    </a:cubicBezTo>
                    <a:cubicBezTo>
                      <a:pt x="60" y="23"/>
                      <a:pt x="64" y="20"/>
                      <a:pt x="69" y="16"/>
                    </a:cubicBezTo>
                    <a:lnTo>
                      <a:pt x="95" y="0"/>
                    </a:lnTo>
                    <a:lnTo>
                      <a:pt x="95" y="16"/>
                    </a:lnTo>
                    <a:lnTo>
                      <a:pt x="75" y="28"/>
                    </a:lnTo>
                    <a:cubicBezTo>
                      <a:pt x="70" y="32"/>
                      <a:pt x="65" y="35"/>
                      <a:pt x="62" y="37"/>
                    </a:cubicBezTo>
                    <a:cubicBezTo>
                      <a:pt x="59" y="40"/>
                      <a:pt x="57" y="42"/>
                      <a:pt x="56" y="44"/>
                    </a:cubicBezTo>
                    <a:cubicBezTo>
                      <a:pt x="55" y="46"/>
                      <a:pt x="54" y="48"/>
                      <a:pt x="53" y="49"/>
                    </a:cubicBezTo>
                    <a:cubicBezTo>
                      <a:pt x="53" y="51"/>
                      <a:pt x="53" y="53"/>
                      <a:pt x="53" y="56"/>
                    </a:cubicBezTo>
                    <a:lnTo>
                      <a:pt x="53" y="71"/>
                    </a:lnTo>
                    <a:lnTo>
                      <a:pt x="95" y="71"/>
                    </a:lnTo>
                    <a:lnTo>
                      <a:pt x="95" y="83"/>
                    </a:lnTo>
                    <a:close/>
                    <a:moveTo>
                      <a:pt x="42" y="71"/>
                    </a:moveTo>
                    <a:lnTo>
                      <a:pt x="42" y="44"/>
                    </a:lnTo>
                    <a:cubicBezTo>
                      <a:pt x="42" y="38"/>
                      <a:pt x="41" y="34"/>
                      <a:pt x="40" y="31"/>
                    </a:cubicBezTo>
                    <a:cubicBezTo>
                      <a:pt x="39" y="27"/>
                      <a:pt x="37" y="25"/>
                      <a:pt x="35" y="23"/>
                    </a:cubicBezTo>
                    <a:cubicBezTo>
                      <a:pt x="32" y="22"/>
                      <a:pt x="29" y="21"/>
                      <a:pt x="26" y="21"/>
                    </a:cubicBezTo>
                    <a:cubicBezTo>
                      <a:pt x="22" y="21"/>
                      <a:pt x="18" y="22"/>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941"/>
              <p:cNvSpPr>
                <a:spLocks/>
              </p:cNvSpPr>
              <p:nvPr/>
            </p:nvSpPr>
            <p:spPr bwMode="auto">
              <a:xfrm>
                <a:off x="4567" y="1732"/>
                <a:ext cx="22" cy="20"/>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1"/>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942"/>
              <p:cNvSpPr>
                <a:spLocks noEditPoints="1"/>
              </p:cNvSpPr>
              <p:nvPr/>
            </p:nvSpPr>
            <p:spPr bwMode="auto">
              <a:xfrm>
                <a:off x="4567" y="1717"/>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943"/>
              <p:cNvSpPr>
                <a:spLocks/>
              </p:cNvSpPr>
              <p:nvPr/>
            </p:nvSpPr>
            <p:spPr bwMode="auto">
              <a:xfrm>
                <a:off x="4509" y="1681"/>
                <a:ext cx="21" cy="17"/>
              </a:xfrm>
              <a:custGeom>
                <a:avLst/>
                <a:gdLst>
                  <a:gd name="T0" fmla="*/ 82 w 94"/>
                  <a:gd name="T1" fmla="*/ 76 h 76"/>
                  <a:gd name="T2" fmla="*/ 82 w 94"/>
                  <a:gd name="T3" fmla="*/ 76 h 76"/>
                  <a:gd name="T4" fmla="*/ 13 w 94"/>
                  <a:gd name="T5" fmla="*/ 76 h 76"/>
                  <a:gd name="T6" fmla="*/ 3 w 94"/>
                  <a:gd name="T7" fmla="*/ 70 h 76"/>
                  <a:gd name="T8" fmla="*/ 3 w 94"/>
                  <a:gd name="T9" fmla="*/ 58 h 76"/>
                  <a:gd name="T10" fmla="*/ 38 w 94"/>
                  <a:gd name="T11" fmla="*/ 6 h 76"/>
                  <a:gd name="T12" fmla="*/ 58 w 94"/>
                  <a:gd name="T13" fmla="*/ 6 h 76"/>
                  <a:gd name="T14" fmla="*/ 90 w 94"/>
                  <a:gd name="T15" fmla="*/ 55 h 76"/>
                  <a:gd name="T16" fmla="*/ 94 w 94"/>
                  <a:gd name="T17" fmla="*/ 64 h 76"/>
                  <a:gd name="T18" fmla="*/ 82 w 94"/>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82" y="76"/>
                    </a:moveTo>
                    <a:lnTo>
                      <a:pt x="82" y="76"/>
                    </a:lnTo>
                    <a:lnTo>
                      <a:pt x="13" y="76"/>
                    </a:lnTo>
                    <a:cubicBezTo>
                      <a:pt x="9" y="76"/>
                      <a:pt x="5" y="74"/>
                      <a:pt x="3" y="70"/>
                    </a:cubicBezTo>
                    <a:cubicBezTo>
                      <a:pt x="0" y="66"/>
                      <a:pt x="1" y="61"/>
                      <a:pt x="3" y="58"/>
                    </a:cubicBezTo>
                    <a:lnTo>
                      <a:pt x="38" y="6"/>
                    </a:lnTo>
                    <a:cubicBezTo>
                      <a:pt x="42" y="0"/>
                      <a:pt x="53" y="0"/>
                      <a:pt x="58" y="6"/>
                    </a:cubicBezTo>
                    <a:lnTo>
                      <a:pt x="90" y="55"/>
                    </a:lnTo>
                    <a:cubicBezTo>
                      <a:pt x="93" y="58"/>
                      <a:pt x="94" y="61"/>
                      <a:pt x="94" y="64"/>
                    </a:cubicBezTo>
                    <a:cubicBezTo>
                      <a:pt x="94" y="71"/>
                      <a:pt x="89" y="76"/>
                      <a:pt x="82"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944"/>
              <p:cNvSpPr>
                <a:spLocks/>
              </p:cNvSpPr>
              <p:nvPr/>
            </p:nvSpPr>
            <p:spPr bwMode="auto">
              <a:xfrm>
                <a:off x="4567" y="1681"/>
                <a:ext cx="22" cy="18"/>
              </a:xfrm>
              <a:custGeom>
                <a:avLst/>
                <a:gdLst>
                  <a:gd name="T0" fmla="*/ 12 w 94"/>
                  <a:gd name="T1" fmla="*/ 0 h 77"/>
                  <a:gd name="T2" fmla="*/ 13 w 94"/>
                  <a:gd name="T3" fmla="*/ 0 h 77"/>
                  <a:gd name="T4" fmla="*/ 81 w 94"/>
                  <a:gd name="T5" fmla="*/ 0 h 77"/>
                  <a:gd name="T6" fmla="*/ 92 w 94"/>
                  <a:gd name="T7" fmla="*/ 6 h 77"/>
                  <a:gd name="T8" fmla="*/ 91 w 94"/>
                  <a:gd name="T9" fmla="*/ 19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6"/>
                    </a:cubicBezTo>
                    <a:cubicBezTo>
                      <a:pt x="94" y="10"/>
                      <a:pt x="94" y="15"/>
                      <a:pt x="91" y="19"/>
                    </a:cubicBezTo>
                    <a:lnTo>
                      <a:pt x="57" y="70"/>
                    </a:lnTo>
                    <a:cubicBezTo>
                      <a:pt x="52" y="77"/>
                      <a:pt x="41" y="77"/>
                      <a:pt x="37" y="70"/>
                    </a:cubicBezTo>
                    <a:lnTo>
                      <a:pt x="4" y="21"/>
                    </a:lnTo>
                    <a:cubicBezTo>
                      <a:pt x="2"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945"/>
              <p:cNvSpPr>
                <a:spLocks/>
              </p:cNvSpPr>
              <p:nvPr/>
            </p:nvSpPr>
            <p:spPr bwMode="auto">
              <a:xfrm>
                <a:off x="4430" y="1756"/>
                <a:ext cx="22" cy="7"/>
              </a:xfrm>
              <a:custGeom>
                <a:avLst/>
                <a:gdLst>
                  <a:gd name="T0" fmla="*/ 1 w 98"/>
                  <a:gd name="T1" fmla="*/ 29 h 30"/>
                  <a:gd name="T2" fmla="*/ 24 w 98"/>
                  <a:gd name="T3" fmla="*/ 0 h 30"/>
                  <a:gd name="T4" fmla="*/ 51 w 98"/>
                  <a:gd name="T5" fmla="*/ 9 h 30"/>
                  <a:gd name="T6" fmla="*/ 75 w 98"/>
                  <a:gd name="T7" fmla="*/ 17 h 30"/>
                  <a:gd name="T8" fmla="*/ 86 w 98"/>
                  <a:gd name="T9" fmla="*/ 1 h 30"/>
                  <a:gd name="T10" fmla="*/ 97 w 98"/>
                  <a:gd name="T11" fmla="*/ 1 h 30"/>
                  <a:gd name="T12" fmla="*/ 75 w 98"/>
                  <a:gd name="T13" fmla="*/ 30 h 30"/>
                  <a:gd name="T14" fmla="*/ 47 w 98"/>
                  <a:gd name="T15" fmla="*/ 22 h 30"/>
                  <a:gd name="T16" fmla="*/ 24 w 98"/>
                  <a:gd name="T17" fmla="*/ 13 h 30"/>
                  <a:gd name="T18" fmla="*/ 12 w 98"/>
                  <a:gd name="T19" fmla="*/ 29 h 30"/>
                  <a:gd name="T20" fmla="*/ 1 w 98"/>
                  <a:gd name="T21" fmla="*/ 29 h 30"/>
                  <a:gd name="T22" fmla="*/ 1 w 98"/>
                  <a:gd name="T23"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30">
                    <a:moveTo>
                      <a:pt x="1" y="29"/>
                    </a:moveTo>
                    <a:cubicBezTo>
                      <a:pt x="0" y="10"/>
                      <a:pt x="10" y="0"/>
                      <a:pt x="24" y="0"/>
                    </a:cubicBezTo>
                    <a:cubicBezTo>
                      <a:pt x="32" y="0"/>
                      <a:pt x="38" y="3"/>
                      <a:pt x="51" y="9"/>
                    </a:cubicBezTo>
                    <a:cubicBezTo>
                      <a:pt x="61" y="14"/>
                      <a:pt x="68" y="17"/>
                      <a:pt x="75" y="17"/>
                    </a:cubicBezTo>
                    <a:cubicBezTo>
                      <a:pt x="82" y="17"/>
                      <a:pt x="85" y="11"/>
                      <a:pt x="86" y="1"/>
                    </a:cubicBezTo>
                    <a:lnTo>
                      <a:pt x="97" y="1"/>
                    </a:lnTo>
                    <a:cubicBezTo>
                      <a:pt x="98" y="23"/>
                      <a:pt x="87" y="30"/>
                      <a:pt x="75" y="30"/>
                    </a:cubicBezTo>
                    <a:cubicBezTo>
                      <a:pt x="67" y="30"/>
                      <a:pt x="60" y="28"/>
                      <a:pt x="47" y="22"/>
                    </a:cubicBezTo>
                    <a:cubicBezTo>
                      <a:pt x="38" y="17"/>
                      <a:pt x="31" y="13"/>
                      <a:pt x="24" y="13"/>
                    </a:cubicBezTo>
                    <a:cubicBezTo>
                      <a:pt x="17" y="13"/>
                      <a:pt x="12" y="18"/>
                      <a:pt x="12" y="29"/>
                    </a:cubicBezTo>
                    <a:lnTo>
                      <a:pt x="1" y="29"/>
                    </a:lnTo>
                    <a:lnTo>
                      <a:pt x="1"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946"/>
              <p:cNvSpPr>
                <a:spLocks/>
              </p:cNvSpPr>
              <p:nvPr/>
            </p:nvSpPr>
            <p:spPr bwMode="auto">
              <a:xfrm>
                <a:off x="3857" y="1802"/>
                <a:ext cx="284" cy="139"/>
              </a:xfrm>
              <a:custGeom>
                <a:avLst/>
                <a:gdLst>
                  <a:gd name="T0" fmla="*/ 618 w 1253"/>
                  <a:gd name="T1" fmla="*/ 216 h 612"/>
                  <a:gd name="T2" fmla="*/ 699 w 1253"/>
                  <a:gd name="T3" fmla="*/ 128 h 612"/>
                  <a:gd name="T4" fmla="*/ 1056 w 1253"/>
                  <a:gd name="T5" fmla="*/ 57 h 612"/>
                  <a:gd name="T6" fmla="*/ 1225 w 1253"/>
                  <a:gd name="T7" fmla="*/ 379 h 612"/>
                  <a:gd name="T8" fmla="*/ 947 w 1253"/>
                  <a:gd name="T9" fmla="*/ 604 h 612"/>
                  <a:gd name="T10" fmla="*/ 658 w 1253"/>
                  <a:gd name="T11" fmla="*/ 465 h 612"/>
                  <a:gd name="T12" fmla="*/ 620 w 1253"/>
                  <a:gd name="T13" fmla="*/ 420 h 612"/>
                  <a:gd name="T14" fmla="*/ 594 w 1253"/>
                  <a:gd name="T15" fmla="*/ 451 h 612"/>
                  <a:gd name="T16" fmla="*/ 274 w 1253"/>
                  <a:gd name="T17" fmla="*/ 604 h 612"/>
                  <a:gd name="T18" fmla="*/ 11 w 1253"/>
                  <a:gd name="T19" fmla="*/ 339 h 612"/>
                  <a:gd name="T20" fmla="*/ 308 w 1253"/>
                  <a:gd name="T21" fmla="*/ 30 h 612"/>
                  <a:gd name="T22" fmla="*/ 592 w 1253"/>
                  <a:gd name="T23" fmla="*/ 182 h 612"/>
                  <a:gd name="T24" fmla="*/ 618 w 1253"/>
                  <a:gd name="T25" fmla="*/ 21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3" h="612">
                    <a:moveTo>
                      <a:pt x="618" y="216"/>
                    </a:moveTo>
                    <a:cubicBezTo>
                      <a:pt x="648" y="183"/>
                      <a:pt x="671" y="153"/>
                      <a:pt x="699" y="128"/>
                    </a:cubicBezTo>
                    <a:cubicBezTo>
                      <a:pt x="803" y="35"/>
                      <a:pt x="921" y="0"/>
                      <a:pt x="1056" y="57"/>
                    </a:cubicBezTo>
                    <a:cubicBezTo>
                      <a:pt x="1184" y="110"/>
                      <a:pt x="1253" y="243"/>
                      <a:pt x="1225" y="379"/>
                    </a:cubicBezTo>
                    <a:cubicBezTo>
                      <a:pt x="1199" y="504"/>
                      <a:pt x="1079" y="600"/>
                      <a:pt x="947" y="604"/>
                    </a:cubicBezTo>
                    <a:cubicBezTo>
                      <a:pt x="826" y="608"/>
                      <a:pt x="734" y="554"/>
                      <a:pt x="658" y="465"/>
                    </a:cubicBezTo>
                    <a:cubicBezTo>
                      <a:pt x="646" y="452"/>
                      <a:pt x="635" y="438"/>
                      <a:pt x="620" y="420"/>
                    </a:cubicBezTo>
                    <a:cubicBezTo>
                      <a:pt x="610" y="432"/>
                      <a:pt x="602" y="441"/>
                      <a:pt x="594" y="451"/>
                    </a:cubicBezTo>
                    <a:cubicBezTo>
                      <a:pt x="512" y="554"/>
                      <a:pt x="411" y="612"/>
                      <a:pt x="274" y="604"/>
                    </a:cubicBezTo>
                    <a:cubicBezTo>
                      <a:pt x="141" y="595"/>
                      <a:pt x="19" y="472"/>
                      <a:pt x="11" y="339"/>
                    </a:cubicBezTo>
                    <a:cubicBezTo>
                      <a:pt x="0" y="170"/>
                      <a:pt x="129" y="31"/>
                      <a:pt x="308" y="30"/>
                    </a:cubicBezTo>
                    <a:cubicBezTo>
                      <a:pt x="427" y="29"/>
                      <a:pt x="519" y="90"/>
                      <a:pt x="592" y="182"/>
                    </a:cubicBezTo>
                    <a:cubicBezTo>
                      <a:pt x="600" y="192"/>
                      <a:pt x="608" y="202"/>
                      <a:pt x="618" y="21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947"/>
              <p:cNvSpPr>
                <a:spLocks/>
              </p:cNvSpPr>
              <p:nvPr/>
            </p:nvSpPr>
            <p:spPr bwMode="auto">
              <a:xfrm>
                <a:off x="3878" y="1830"/>
                <a:ext cx="112" cy="92"/>
              </a:xfrm>
              <a:custGeom>
                <a:avLst/>
                <a:gdLst>
                  <a:gd name="T0" fmla="*/ 232 w 496"/>
                  <a:gd name="T1" fmla="*/ 1 h 406"/>
                  <a:gd name="T2" fmla="*/ 9 w 496"/>
                  <a:gd name="T3" fmla="*/ 182 h 406"/>
                  <a:gd name="T4" fmla="*/ 171 w 496"/>
                  <a:gd name="T5" fmla="*/ 384 h 406"/>
                  <a:gd name="T6" fmla="*/ 405 w 496"/>
                  <a:gd name="T7" fmla="*/ 294 h 406"/>
                  <a:gd name="T8" fmla="*/ 406 w 496"/>
                  <a:gd name="T9" fmla="*/ 97 h 406"/>
                  <a:gd name="T10" fmla="*/ 232 w 496"/>
                  <a:gd name="T11" fmla="*/ 1 h 406"/>
                </a:gdLst>
                <a:ahLst/>
                <a:cxnLst>
                  <a:cxn ang="0">
                    <a:pos x="T0" y="T1"/>
                  </a:cxn>
                  <a:cxn ang="0">
                    <a:pos x="T2" y="T3"/>
                  </a:cxn>
                  <a:cxn ang="0">
                    <a:pos x="T4" y="T5"/>
                  </a:cxn>
                  <a:cxn ang="0">
                    <a:pos x="T6" y="T7"/>
                  </a:cxn>
                  <a:cxn ang="0">
                    <a:pos x="T8" y="T9"/>
                  </a:cxn>
                  <a:cxn ang="0">
                    <a:pos x="T10" y="T11"/>
                  </a:cxn>
                </a:cxnLst>
                <a:rect l="0" t="0" r="r" b="b"/>
                <a:pathLst>
                  <a:path w="496" h="406">
                    <a:moveTo>
                      <a:pt x="232" y="1"/>
                    </a:moveTo>
                    <a:cubicBezTo>
                      <a:pt x="109" y="0"/>
                      <a:pt x="19" y="79"/>
                      <a:pt x="9" y="182"/>
                    </a:cubicBezTo>
                    <a:cubicBezTo>
                      <a:pt x="0" y="272"/>
                      <a:pt x="72" y="363"/>
                      <a:pt x="171" y="384"/>
                    </a:cubicBezTo>
                    <a:cubicBezTo>
                      <a:pt x="269" y="406"/>
                      <a:pt x="347" y="365"/>
                      <a:pt x="405" y="294"/>
                    </a:cubicBezTo>
                    <a:cubicBezTo>
                      <a:pt x="496" y="186"/>
                      <a:pt x="492" y="204"/>
                      <a:pt x="406" y="97"/>
                    </a:cubicBezTo>
                    <a:cubicBezTo>
                      <a:pt x="359" y="37"/>
                      <a:pt x="294" y="4"/>
                      <a:pt x="232" y="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948"/>
              <p:cNvSpPr>
                <a:spLocks/>
              </p:cNvSpPr>
              <p:nvPr/>
            </p:nvSpPr>
            <p:spPr bwMode="auto">
              <a:xfrm>
                <a:off x="4010" y="1830"/>
                <a:ext cx="109" cy="92"/>
              </a:xfrm>
              <a:custGeom>
                <a:avLst/>
                <a:gdLst>
                  <a:gd name="T0" fmla="*/ 260 w 478"/>
                  <a:gd name="T1" fmla="*/ 0 h 406"/>
                  <a:gd name="T2" fmla="*/ 224 w 478"/>
                  <a:gd name="T3" fmla="*/ 3 h 406"/>
                  <a:gd name="T4" fmla="*/ 4 w 478"/>
                  <a:gd name="T5" fmla="*/ 182 h 406"/>
                  <a:gd name="T6" fmla="*/ 4 w 478"/>
                  <a:gd name="T7" fmla="*/ 209 h 406"/>
                  <a:gd name="T8" fmla="*/ 193 w 478"/>
                  <a:gd name="T9" fmla="*/ 379 h 406"/>
                  <a:gd name="T10" fmla="*/ 413 w 478"/>
                  <a:gd name="T11" fmla="*/ 318 h 406"/>
                  <a:gd name="T12" fmla="*/ 443 w 478"/>
                  <a:gd name="T13" fmla="*/ 116 h 406"/>
                  <a:gd name="T14" fmla="*/ 260 w 478"/>
                  <a:gd name="T15" fmla="*/ 0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406">
                    <a:moveTo>
                      <a:pt x="260" y="0"/>
                    </a:moveTo>
                    <a:cubicBezTo>
                      <a:pt x="245" y="1"/>
                      <a:pt x="234" y="0"/>
                      <a:pt x="224" y="3"/>
                    </a:cubicBezTo>
                    <a:cubicBezTo>
                      <a:pt x="119" y="24"/>
                      <a:pt x="53" y="93"/>
                      <a:pt x="4" y="182"/>
                    </a:cubicBezTo>
                    <a:cubicBezTo>
                      <a:pt x="0" y="189"/>
                      <a:pt x="0" y="202"/>
                      <a:pt x="4" y="209"/>
                    </a:cubicBezTo>
                    <a:cubicBezTo>
                      <a:pt x="49" y="286"/>
                      <a:pt x="104" y="352"/>
                      <a:pt x="193" y="379"/>
                    </a:cubicBezTo>
                    <a:cubicBezTo>
                      <a:pt x="279" y="406"/>
                      <a:pt x="354" y="384"/>
                      <a:pt x="413" y="318"/>
                    </a:cubicBezTo>
                    <a:cubicBezTo>
                      <a:pt x="466" y="259"/>
                      <a:pt x="478" y="189"/>
                      <a:pt x="443" y="116"/>
                    </a:cubicBezTo>
                    <a:cubicBezTo>
                      <a:pt x="406" y="39"/>
                      <a:pt x="339" y="5"/>
                      <a:pt x="260"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949"/>
              <p:cNvSpPr>
                <a:spLocks/>
              </p:cNvSpPr>
              <p:nvPr/>
            </p:nvSpPr>
            <p:spPr bwMode="auto">
              <a:xfrm>
                <a:off x="3907" y="1865"/>
                <a:ext cx="43" cy="15"/>
              </a:xfrm>
              <a:custGeom>
                <a:avLst/>
                <a:gdLst>
                  <a:gd name="T0" fmla="*/ 192 w 192"/>
                  <a:gd name="T1" fmla="*/ 60 h 65"/>
                  <a:gd name="T2" fmla="*/ 187 w 192"/>
                  <a:gd name="T3" fmla="*/ 65 h 65"/>
                  <a:gd name="T4" fmla="*/ 5 w 192"/>
                  <a:gd name="T5" fmla="*/ 65 h 65"/>
                  <a:gd name="T6" fmla="*/ 0 w 192"/>
                  <a:gd name="T7" fmla="*/ 60 h 65"/>
                  <a:gd name="T8" fmla="*/ 0 w 192"/>
                  <a:gd name="T9" fmla="*/ 5 h 65"/>
                  <a:gd name="T10" fmla="*/ 5 w 192"/>
                  <a:gd name="T11" fmla="*/ 0 h 65"/>
                  <a:gd name="T12" fmla="*/ 187 w 192"/>
                  <a:gd name="T13" fmla="*/ 0 h 65"/>
                  <a:gd name="T14" fmla="*/ 192 w 192"/>
                  <a:gd name="T15" fmla="*/ 5 h 65"/>
                  <a:gd name="T16" fmla="*/ 192 w 192"/>
                  <a:gd name="T17"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65">
                    <a:moveTo>
                      <a:pt x="192" y="60"/>
                    </a:moveTo>
                    <a:cubicBezTo>
                      <a:pt x="192" y="62"/>
                      <a:pt x="190" y="65"/>
                      <a:pt x="187" y="65"/>
                    </a:cubicBezTo>
                    <a:lnTo>
                      <a:pt x="5" y="65"/>
                    </a:lnTo>
                    <a:cubicBezTo>
                      <a:pt x="2" y="65"/>
                      <a:pt x="0" y="62"/>
                      <a:pt x="0" y="60"/>
                    </a:cubicBezTo>
                    <a:lnTo>
                      <a:pt x="0" y="5"/>
                    </a:lnTo>
                    <a:cubicBezTo>
                      <a:pt x="0" y="2"/>
                      <a:pt x="2" y="0"/>
                      <a:pt x="5" y="0"/>
                    </a:cubicBezTo>
                    <a:lnTo>
                      <a:pt x="187" y="0"/>
                    </a:lnTo>
                    <a:cubicBezTo>
                      <a:pt x="190" y="0"/>
                      <a:pt x="192" y="2"/>
                      <a:pt x="192" y="5"/>
                    </a:cubicBezTo>
                    <a:lnTo>
                      <a:pt x="192"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950"/>
              <p:cNvSpPr>
                <a:spLocks/>
              </p:cNvSpPr>
              <p:nvPr/>
            </p:nvSpPr>
            <p:spPr bwMode="auto">
              <a:xfrm>
                <a:off x="4044" y="1851"/>
                <a:ext cx="43" cy="43"/>
              </a:xfrm>
              <a:custGeom>
                <a:avLst/>
                <a:gdLst>
                  <a:gd name="T0" fmla="*/ 193 w 193"/>
                  <a:gd name="T1" fmla="*/ 69 h 192"/>
                  <a:gd name="T2" fmla="*/ 188 w 193"/>
                  <a:gd name="T3" fmla="*/ 64 h 192"/>
                  <a:gd name="T4" fmla="*/ 134 w 193"/>
                  <a:gd name="T5" fmla="*/ 64 h 192"/>
                  <a:gd name="T6" fmla="*/ 129 w 193"/>
                  <a:gd name="T7" fmla="*/ 59 h 192"/>
                  <a:gd name="T8" fmla="*/ 129 w 193"/>
                  <a:gd name="T9" fmla="*/ 5 h 192"/>
                  <a:gd name="T10" fmla="*/ 124 w 193"/>
                  <a:gd name="T11" fmla="*/ 0 h 192"/>
                  <a:gd name="T12" fmla="*/ 69 w 193"/>
                  <a:gd name="T13" fmla="*/ 0 h 192"/>
                  <a:gd name="T14" fmla="*/ 64 w 193"/>
                  <a:gd name="T15" fmla="*/ 5 h 192"/>
                  <a:gd name="T16" fmla="*/ 64 w 193"/>
                  <a:gd name="T17" fmla="*/ 59 h 192"/>
                  <a:gd name="T18" fmla="*/ 59 w 193"/>
                  <a:gd name="T19" fmla="*/ 64 h 192"/>
                  <a:gd name="T20" fmla="*/ 5 w 193"/>
                  <a:gd name="T21" fmla="*/ 64 h 192"/>
                  <a:gd name="T22" fmla="*/ 0 w 193"/>
                  <a:gd name="T23" fmla="*/ 69 h 192"/>
                  <a:gd name="T24" fmla="*/ 0 w 193"/>
                  <a:gd name="T25" fmla="*/ 124 h 192"/>
                  <a:gd name="T26" fmla="*/ 5 w 193"/>
                  <a:gd name="T27" fmla="*/ 129 h 192"/>
                  <a:gd name="T28" fmla="*/ 59 w 193"/>
                  <a:gd name="T29" fmla="*/ 129 h 192"/>
                  <a:gd name="T30" fmla="*/ 64 w 193"/>
                  <a:gd name="T31" fmla="*/ 134 h 192"/>
                  <a:gd name="T32" fmla="*/ 64 w 193"/>
                  <a:gd name="T33" fmla="*/ 187 h 192"/>
                  <a:gd name="T34" fmla="*/ 69 w 193"/>
                  <a:gd name="T35" fmla="*/ 192 h 192"/>
                  <a:gd name="T36" fmla="*/ 124 w 193"/>
                  <a:gd name="T37" fmla="*/ 192 h 192"/>
                  <a:gd name="T38" fmla="*/ 129 w 193"/>
                  <a:gd name="T39" fmla="*/ 187 h 192"/>
                  <a:gd name="T40" fmla="*/ 129 w 193"/>
                  <a:gd name="T41" fmla="*/ 134 h 192"/>
                  <a:gd name="T42" fmla="*/ 134 w 193"/>
                  <a:gd name="T43" fmla="*/ 129 h 192"/>
                  <a:gd name="T44" fmla="*/ 188 w 193"/>
                  <a:gd name="T45" fmla="*/ 129 h 192"/>
                  <a:gd name="T46" fmla="*/ 193 w 193"/>
                  <a:gd name="T47" fmla="*/ 124 h 192"/>
                  <a:gd name="T48" fmla="*/ 193 w 193"/>
                  <a:gd name="T49"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2">
                    <a:moveTo>
                      <a:pt x="193" y="69"/>
                    </a:moveTo>
                    <a:cubicBezTo>
                      <a:pt x="193" y="66"/>
                      <a:pt x="190" y="64"/>
                      <a:pt x="188" y="64"/>
                    </a:cubicBezTo>
                    <a:lnTo>
                      <a:pt x="134" y="64"/>
                    </a:lnTo>
                    <a:cubicBezTo>
                      <a:pt x="131" y="64"/>
                      <a:pt x="129" y="61"/>
                      <a:pt x="129" y="59"/>
                    </a:cubicBezTo>
                    <a:lnTo>
                      <a:pt x="129" y="5"/>
                    </a:lnTo>
                    <a:cubicBezTo>
                      <a:pt x="129" y="2"/>
                      <a:pt x="127" y="0"/>
                      <a:pt x="124" y="0"/>
                    </a:cubicBezTo>
                    <a:lnTo>
                      <a:pt x="69" y="0"/>
                    </a:lnTo>
                    <a:cubicBezTo>
                      <a:pt x="66" y="0"/>
                      <a:pt x="64" y="2"/>
                      <a:pt x="64" y="5"/>
                    </a:cubicBezTo>
                    <a:lnTo>
                      <a:pt x="64" y="59"/>
                    </a:lnTo>
                    <a:cubicBezTo>
                      <a:pt x="64" y="61"/>
                      <a:pt x="61" y="64"/>
                      <a:pt x="59" y="64"/>
                    </a:cubicBezTo>
                    <a:lnTo>
                      <a:pt x="5" y="64"/>
                    </a:lnTo>
                    <a:cubicBezTo>
                      <a:pt x="2" y="64"/>
                      <a:pt x="0" y="66"/>
                      <a:pt x="0" y="69"/>
                    </a:cubicBezTo>
                    <a:lnTo>
                      <a:pt x="0" y="124"/>
                    </a:lnTo>
                    <a:cubicBezTo>
                      <a:pt x="0" y="127"/>
                      <a:pt x="2" y="129"/>
                      <a:pt x="5" y="129"/>
                    </a:cubicBezTo>
                    <a:lnTo>
                      <a:pt x="59" y="129"/>
                    </a:lnTo>
                    <a:cubicBezTo>
                      <a:pt x="61" y="129"/>
                      <a:pt x="64" y="131"/>
                      <a:pt x="64" y="134"/>
                    </a:cubicBezTo>
                    <a:lnTo>
                      <a:pt x="64" y="187"/>
                    </a:lnTo>
                    <a:cubicBezTo>
                      <a:pt x="64" y="190"/>
                      <a:pt x="66" y="192"/>
                      <a:pt x="69" y="192"/>
                    </a:cubicBezTo>
                    <a:lnTo>
                      <a:pt x="124" y="192"/>
                    </a:lnTo>
                    <a:cubicBezTo>
                      <a:pt x="126" y="192"/>
                      <a:pt x="129" y="190"/>
                      <a:pt x="129" y="187"/>
                    </a:cubicBezTo>
                    <a:lnTo>
                      <a:pt x="129" y="134"/>
                    </a:lnTo>
                    <a:cubicBezTo>
                      <a:pt x="129" y="131"/>
                      <a:pt x="131" y="129"/>
                      <a:pt x="134" y="129"/>
                    </a:cubicBezTo>
                    <a:lnTo>
                      <a:pt x="188" y="129"/>
                    </a:lnTo>
                    <a:cubicBezTo>
                      <a:pt x="190" y="129"/>
                      <a:pt x="193" y="127"/>
                      <a:pt x="193" y="124"/>
                    </a:cubicBezTo>
                    <a:lnTo>
                      <a:pt x="193" y="6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Oval 95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Oval 95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Oval 953"/>
              <p:cNvSpPr>
                <a:spLocks noChangeArrowheads="1"/>
              </p:cNvSpPr>
              <p:nvPr/>
            </p:nvSpPr>
            <p:spPr bwMode="auto">
              <a:xfrm>
                <a:off x="4342"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Oval 954"/>
              <p:cNvSpPr>
                <a:spLocks noChangeArrowheads="1"/>
              </p:cNvSpPr>
              <p:nvPr/>
            </p:nvSpPr>
            <p:spPr bwMode="auto">
              <a:xfrm>
                <a:off x="4331"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Oval 955"/>
              <p:cNvSpPr>
                <a:spLocks noChangeArrowheads="1"/>
              </p:cNvSpPr>
              <p:nvPr/>
            </p:nvSpPr>
            <p:spPr bwMode="auto">
              <a:xfrm>
                <a:off x="432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Oval 956"/>
              <p:cNvSpPr>
                <a:spLocks noChangeArrowheads="1"/>
              </p:cNvSpPr>
              <p:nvPr/>
            </p:nvSpPr>
            <p:spPr bwMode="auto">
              <a:xfrm>
                <a:off x="4308"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Oval 957"/>
              <p:cNvSpPr>
                <a:spLocks noChangeArrowheads="1"/>
              </p:cNvSpPr>
              <p:nvPr/>
            </p:nvSpPr>
            <p:spPr bwMode="auto">
              <a:xfrm>
                <a:off x="429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Oval 958"/>
              <p:cNvSpPr>
                <a:spLocks noChangeArrowheads="1"/>
              </p:cNvSpPr>
              <p:nvPr/>
            </p:nvSpPr>
            <p:spPr bwMode="auto">
              <a:xfrm>
                <a:off x="4286"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Oval 959"/>
              <p:cNvSpPr>
                <a:spLocks noChangeArrowheads="1"/>
              </p:cNvSpPr>
              <p:nvPr/>
            </p:nvSpPr>
            <p:spPr bwMode="auto">
              <a:xfrm>
                <a:off x="4274"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Oval 960"/>
              <p:cNvSpPr>
                <a:spLocks noChangeArrowheads="1"/>
              </p:cNvSpPr>
              <p:nvPr/>
            </p:nvSpPr>
            <p:spPr bwMode="auto">
              <a:xfrm>
                <a:off x="4263"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Oval 961"/>
              <p:cNvSpPr>
                <a:spLocks noChangeArrowheads="1"/>
              </p:cNvSpPr>
              <p:nvPr/>
            </p:nvSpPr>
            <p:spPr bwMode="auto">
              <a:xfrm>
                <a:off x="4252"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Oval 962"/>
              <p:cNvSpPr>
                <a:spLocks noChangeArrowheads="1"/>
              </p:cNvSpPr>
              <p:nvPr/>
            </p:nvSpPr>
            <p:spPr bwMode="auto">
              <a:xfrm>
                <a:off x="424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Oval 963"/>
              <p:cNvSpPr>
                <a:spLocks noChangeArrowheads="1"/>
              </p:cNvSpPr>
              <p:nvPr/>
            </p:nvSpPr>
            <p:spPr bwMode="auto">
              <a:xfrm>
                <a:off x="4229"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Oval 964"/>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Oval 965"/>
              <p:cNvSpPr>
                <a:spLocks noChangeArrowheads="1"/>
              </p:cNvSpPr>
              <p:nvPr/>
            </p:nvSpPr>
            <p:spPr bwMode="auto">
              <a:xfrm>
                <a:off x="436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Oval 966"/>
              <p:cNvSpPr>
                <a:spLocks noChangeArrowheads="1"/>
              </p:cNvSpPr>
              <p:nvPr/>
            </p:nvSpPr>
            <p:spPr bwMode="auto">
              <a:xfrm>
                <a:off x="4376" y="192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Oval 967"/>
              <p:cNvSpPr>
                <a:spLocks noChangeArrowheads="1"/>
              </p:cNvSpPr>
              <p:nvPr/>
            </p:nvSpPr>
            <p:spPr bwMode="auto">
              <a:xfrm>
                <a:off x="4387" y="1923"/>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Oval 968"/>
              <p:cNvSpPr>
                <a:spLocks noChangeArrowheads="1"/>
              </p:cNvSpPr>
              <p:nvPr/>
            </p:nvSpPr>
            <p:spPr bwMode="auto">
              <a:xfrm>
                <a:off x="4396" y="191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Oval 969"/>
              <p:cNvSpPr>
                <a:spLocks noChangeArrowheads="1"/>
              </p:cNvSpPr>
              <p:nvPr/>
            </p:nvSpPr>
            <p:spPr bwMode="auto">
              <a:xfrm>
                <a:off x="4404" y="190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Oval 970"/>
              <p:cNvSpPr>
                <a:spLocks noChangeArrowheads="1"/>
              </p:cNvSpPr>
              <p:nvPr/>
            </p:nvSpPr>
            <p:spPr bwMode="auto">
              <a:xfrm>
                <a:off x="4411" y="1900"/>
                <a:ext cx="9"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Oval 971"/>
              <p:cNvSpPr>
                <a:spLocks noChangeArrowheads="1"/>
              </p:cNvSpPr>
              <p:nvPr/>
            </p:nvSpPr>
            <p:spPr bwMode="auto">
              <a:xfrm>
                <a:off x="4415" y="1891"/>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Oval 972"/>
              <p:cNvSpPr>
                <a:spLocks noChangeArrowheads="1"/>
              </p:cNvSpPr>
              <p:nvPr/>
            </p:nvSpPr>
            <p:spPr bwMode="auto">
              <a:xfrm>
                <a:off x="4418" y="188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Oval 973"/>
              <p:cNvSpPr>
                <a:spLocks noChangeArrowheads="1"/>
              </p:cNvSpPr>
              <p:nvPr/>
            </p:nvSpPr>
            <p:spPr bwMode="auto">
              <a:xfrm>
                <a:off x="4419" y="186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Oval 974"/>
              <p:cNvSpPr>
                <a:spLocks noChangeArrowheads="1"/>
              </p:cNvSpPr>
              <p:nvPr/>
            </p:nvSpPr>
            <p:spPr bwMode="auto">
              <a:xfrm>
                <a:off x="4418" y="185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6" name="Oval 975"/>
              <p:cNvSpPr>
                <a:spLocks noChangeArrowheads="1"/>
              </p:cNvSpPr>
              <p:nvPr/>
            </p:nvSpPr>
            <p:spPr bwMode="auto">
              <a:xfrm>
                <a:off x="4415" y="184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Oval 976"/>
              <p:cNvSpPr>
                <a:spLocks noChangeArrowheads="1"/>
              </p:cNvSpPr>
              <p:nvPr/>
            </p:nvSpPr>
            <p:spPr bwMode="auto">
              <a:xfrm>
                <a:off x="4410" y="183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Oval 977"/>
              <p:cNvSpPr>
                <a:spLocks noChangeArrowheads="1"/>
              </p:cNvSpPr>
              <p:nvPr/>
            </p:nvSpPr>
            <p:spPr bwMode="auto">
              <a:xfrm>
                <a:off x="4404" y="18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Oval 978"/>
              <p:cNvSpPr>
                <a:spLocks noChangeArrowheads="1"/>
              </p:cNvSpPr>
              <p:nvPr/>
            </p:nvSpPr>
            <p:spPr bwMode="auto">
              <a:xfrm>
                <a:off x="4395" y="1821"/>
                <a:ext cx="10"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Oval 979"/>
              <p:cNvSpPr>
                <a:spLocks noChangeArrowheads="1"/>
              </p:cNvSpPr>
              <p:nvPr/>
            </p:nvSpPr>
            <p:spPr bwMode="auto">
              <a:xfrm>
                <a:off x="43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Oval 980"/>
              <p:cNvSpPr>
                <a:spLocks noChangeArrowheads="1"/>
              </p:cNvSpPr>
              <p:nvPr/>
            </p:nvSpPr>
            <p:spPr bwMode="auto">
              <a:xfrm>
                <a:off x="437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Oval 98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Oval 98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Oval 983"/>
              <p:cNvSpPr>
                <a:spLocks noChangeArrowheads="1"/>
              </p:cNvSpPr>
              <p:nvPr/>
            </p:nvSpPr>
            <p:spPr bwMode="auto">
              <a:xfrm>
                <a:off x="4205" y="192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Oval 984"/>
              <p:cNvSpPr>
                <a:spLocks noChangeArrowheads="1"/>
              </p:cNvSpPr>
              <p:nvPr/>
            </p:nvSpPr>
            <p:spPr bwMode="auto">
              <a:xfrm>
                <a:off x="4195" y="192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Oval 985"/>
              <p:cNvSpPr>
                <a:spLocks noChangeArrowheads="1"/>
              </p:cNvSpPr>
              <p:nvPr/>
            </p:nvSpPr>
            <p:spPr bwMode="auto">
              <a:xfrm>
                <a:off x="4184" y="1922"/>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Oval 986"/>
              <p:cNvSpPr>
                <a:spLocks noChangeArrowheads="1"/>
              </p:cNvSpPr>
              <p:nvPr/>
            </p:nvSpPr>
            <p:spPr bwMode="auto">
              <a:xfrm>
                <a:off x="4175" y="19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Oval 987"/>
              <p:cNvSpPr>
                <a:spLocks noChangeArrowheads="1"/>
              </p:cNvSpPr>
              <p:nvPr/>
            </p:nvSpPr>
            <p:spPr bwMode="auto">
              <a:xfrm>
                <a:off x="4167" y="190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9" name="Oval 988"/>
              <p:cNvSpPr>
                <a:spLocks noChangeArrowheads="1"/>
              </p:cNvSpPr>
              <p:nvPr/>
            </p:nvSpPr>
            <p:spPr bwMode="auto">
              <a:xfrm>
                <a:off x="4161" y="190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Oval 989"/>
              <p:cNvSpPr>
                <a:spLocks noChangeArrowheads="1"/>
              </p:cNvSpPr>
              <p:nvPr/>
            </p:nvSpPr>
            <p:spPr bwMode="auto">
              <a:xfrm>
                <a:off x="4156" y="189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Oval 990"/>
              <p:cNvSpPr>
                <a:spLocks noChangeArrowheads="1"/>
              </p:cNvSpPr>
              <p:nvPr/>
            </p:nvSpPr>
            <p:spPr bwMode="auto">
              <a:xfrm>
                <a:off x="4153" y="187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2" name="Oval 991"/>
              <p:cNvSpPr>
                <a:spLocks noChangeArrowheads="1"/>
              </p:cNvSpPr>
              <p:nvPr/>
            </p:nvSpPr>
            <p:spPr bwMode="auto">
              <a:xfrm>
                <a:off x="4153" y="186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3" name="Freeform 992"/>
              <p:cNvSpPr>
                <a:spLocks/>
              </p:cNvSpPr>
              <p:nvPr/>
            </p:nvSpPr>
            <p:spPr bwMode="auto">
              <a:xfrm>
                <a:off x="4153" y="1857"/>
                <a:ext cx="10" cy="10"/>
              </a:xfrm>
              <a:custGeom>
                <a:avLst/>
                <a:gdLst>
                  <a:gd name="T0" fmla="*/ 23 w 42"/>
                  <a:gd name="T1" fmla="*/ 1 h 42"/>
                  <a:gd name="T2" fmla="*/ 41 w 42"/>
                  <a:gd name="T3" fmla="*/ 23 h 42"/>
                  <a:gd name="T4" fmla="*/ 19 w 42"/>
                  <a:gd name="T5" fmla="*/ 41 h 42"/>
                  <a:gd name="T6" fmla="*/ 1 w 42"/>
                  <a:gd name="T7" fmla="*/ 19 h 42"/>
                  <a:gd name="T8" fmla="*/ 23 w 42"/>
                  <a:gd name="T9" fmla="*/ 1 h 42"/>
                </a:gdLst>
                <a:ahLst/>
                <a:cxnLst>
                  <a:cxn ang="0">
                    <a:pos x="T0" y="T1"/>
                  </a:cxn>
                  <a:cxn ang="0">
                    <a:pos x="T2" y="T3"/>
                  </a:cxn>
                  <a:cxn ang="0">
                    <a:pos x="T4" y="T5"/>
                  </a:cxn>
                  <a:cxn ang="0">
                    <a:pos x="T6" y="T7"/>
                  </a:cxn>
                  <a:cxn ang="0">
                    <a:pos x="T8" y="T9"/>
                  </a:cxn>
                </a:cxnLst>
                <a:rect l="0" t="0" r="r" b="b"/>
                <a:pathLst>
                  <a:path w="42" h="42">
                    <a:moveTo>
                      <a:pt x="23" y="1"/>
                    </a:moveTo>
                    <a:cubicBezTo>
                      <a:pt x="34" y="3"/>
                      <a:pt x="42" y="12"/>
                      <a:pt x="41" y="23"/>
                    </a:cubicBezTo>
                    <a:cubicBezTo>
                      <a:pt x="40" y="34"/>
                      <a:pt x="30" y="42"/>
                      <a:pt x="19" y="41"/>
                    </a:cubicBezTo>
                    <a:cubicBezTo>
                      <a:pt x="8" y="40"/>
                      <a:pt x="0" y="30"/>
                      <a:pt x="1" y="19"/>
                    </a:cubicBezTo>
                    <a:cubicBezTo>
                      <a:pt x="3" y="8"/>
                      <a:pt x="12" y="0"/>
                      <a:pt x="23" y="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4" name="Freeform 993"/>
              <p:cNvSpPr>
                <a:spLocks/>
              </p:cNvSpPr>
              <p:nvPr/>
            </p:nvSpPr>
            <p:spPr bwMode="auto">
              <a:xfrm>
                <a:off x="4156" y="1846"/>
                <a:ext cx="10" cy="11"/>
              </a:xfrm>
              <a:custGeom>
                <a:avLst/>
                <a:gdLst>
                  <a:gd name="T0" fmla="*/ 28 w 44"/>
                  <a:gd name="T1" fmla="*/ 3 h 45"/>
                  <a:gd name="T2" fmla="*/ 41 w 44"/>
                  <a:gd name="T3" fmla="*/ 28 h 45"/>
                  <a:gd name="T4" fmla="*/ 16 w 44"/>
                  <a:gd name="T5" fmla="*/ 42 h 45"/>
                  <a:gd name="T6" fmla="*/ 3 w 44"/>
                  <a:gd name="T7" fmla="*/ 17 h 45"/>
                  <a:gd name="T8" fmla="*/ 28 w 44"/>
                  <a:gd name="T9" fmla="*/ 3 h 45"/>
                </a:gdLst>
                <a:ahLst/>
                <a:cxnLst>
                  <a:cxn ang="0">
                    <a:pos x="T0" y="T1"/>
                  </a:cxn>
                  <a:cxn ang="0">
                    <a:pos x="T2" y="T3"/>
                  </a:cxn>
                  <a:cxn ang="0">
                    <a:pos x="T4" y="T5"/>
                  </a:cxn>
                  <a:cxn ang="0">
                    <a:pos x="T6" y="T7"/>
                  </a:cxn>
                  <a:cxn ang="0">
                    <a:pos x="T8" y="T9"/>
                  </a:cxn>
                </a:cxnLst>
                <a:rect l="0" t="0" r="r" b="b"/>
                <a:pathLst>
                  <a:path w="44" h="45">
                    <a:moveTo>
                      <a:pt x="28" y="3"/>
                    </a:moveTo>
                    <a:cubicBezTo>
                      <a:pt x="38" y="6"/>
                      <a:pt x="44" y="17"/>
                      <a:pt x="41" y="28"/>
                    </a:cubicBezTo>
                    <a:cubicBezTo>
                      <a:pt x="38" y="39"/>
                      <a:pt x="27" y="45"/>
                      <a:pt x="16" y="42"/>
                    </a:cubicBezTo>
                    <a:cubicBezTo>
                      <a:pt x="6" y="38"/>
                      <a:pt x="0" y="27"/>
                      <a:pt x="3" y="17"/>
                    </a:cubicBezTo>
                    <a:cubicBezTo>
                      <a:pt x="6" y="6"/>
                      <a:pt x="17" y="0"/>
                      <a:pt x="28" y="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Oval 994"/>
              <p:cNvSpPr>
                <a:spLocks noChangeArrowheads="1"/>
              </p:cNvSpPr>
              <p:nvPr/>
            </p:nvSpPr>
            <p:spPr bwMode="auto">
              <a:xfrm>
                <a:off x="4162" y="183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6" name="Oval 995"/>
              <p:cNvSpPr>
                <a:spLocks noChangeArrowheads="1"/>
              </p:cNvSpPr>
              <p:nvPr/>
            </p:nvSpPr>
            <p:spPr bwMode="auto">
              <a:xfrm>
                <a:off x="4168" y="18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7" name="Oval 996"/>
              <p:cNvSpPr>
                <a:spLocks noChangeArrowheads="1"/>
              </p:cNvSpPr>
              <p:nvPr/>
            </p:nvSpPr>
            <p:spPr bwMode="auto">
              <a:xfrm>
                <a:off x="4177" y="1821"/>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 name="Oval 997"/>
              <p:cNvSpPr>
                <a:spLocks noChangeArrowheads="1"/>
              </p:cNvSpPr>
              <p:nvPr/>
            </p:nvSpPr>
            <p:spPr bwMode="auto">
              <a:xfrm>
                <a:off x="41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Oval 998"/>
              <p:cNvSpPr>
                <a:spLocks noChangeArrowheads="1"/>
              </p:cNvSpPr>
              <p:nvPr/>
            </p:nvSpPr>
            <p:spPr bwMode="auto">
              <a:xfrm>
                <a:off x="419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0" name="Oval 999"/>
              <p:cNvSpPr>
                <a:spLocks noChangeArrowheads="1"/>
              </p:cNvSpPr>
              <p:nvPr/>
            </p:nvSpPr>
            <p:spPr bwMode="auto">
              <a:xfrm>
                <a:off x="420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1" name="Oval 1000"/>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2" name="Oval 1001"/>
              <p:cNvSpPr>
                <a:spLocks noChangeArrowheads="1"/>
              </p:cNvSpPr>
              <p:nvPr/>
            </p:nvSpPr>
            <p:spPr bwMode="auto">
              <a:xfrm>
                <a:off x="4365"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Oval 1002"/>
              <p:cNvSpPr>
                <a:spLocks noChangeArrowheads="1"/>
              </p:cNvSpPr>
              <p:nvPr/>
            </p:nvSpPr>
            <p:spPr bwMode="auto">
              <a:xfrm>
                <a:off x="4354"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4" name="Oval 1003"/>
              <p:cNvSpPr>
                <a:spLocks noChangeArrowheads="1"/>
              </p:cNvSpPr>
              <p:nvPr/>
            </p:nvSpPr>
            <p:spPr bwMode="auto">
              <a:xfrm>
                <a:off x="4342"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5" name="Oval 1004"/>
              <p:cNvSpPr>
                <a:spLocks noChangeArrowheads="1"/>
              </p:cNvSpPr>
              <p:nvPr/>
            </p:nvSpPr>
            <p:spPr bwMode="auto">
              <a:xfrm>
                <a:off x="4331"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6" name="Oval 1005"/>
              <p:cNvSpPr>
                <a:spLocks noChangeArrowheads="1"/>
              </p:cNvSpPr>
              <p:nvPr/>
            </p:nvSpPr>
            <p:spPr bwMode="auto">
              <a:xfrm>
                <a:off x="432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Oval 1006"/>
              <p:cNvSpPr>
                <a:spLocks noChangeArrowheads="1"/>
              </p:cNvSpPr>
              <p:nvPr/>
            </p:nvSpPr>
            <p:spPr bwMode="auto">
              <a:xfrm>
                <a:off x="4308"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8" name="Oval 1007"/>
              <p:cNvSpPr>
                <a:spLocks noChangeArrowheads="1"/>
              </p:cNvSpPr>
              <p:nvPr/>
            </p:nvSpPr>
            <p:spPr bwMode="auto">
              <a:xfrm>
                <a:off x="4297"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Oval 1008"/>
              <p:cNvSpPr>
                <a:spLocks noChangeArrowheads="1"/>
              </p:cNvSpPr>
              <p:nvPr/>
            </p:nvSpPr>
            <p:spPr bwMode="auto">
              <a:xfrm>
                <a:off x="428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Oval 1009"/>
              <p:cNvSpPr>
                <a:spLocks noChangeArrowheads="1"/>
              </p:cNvSpPr>
              <p:nvPr/>
            </p:nvSpPr>
            <p:spPr bwMode="auto">
              <a:xfrm>
                <a:off x="4274"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Oval 1010"/>
              <p:cNvSpPr>
                <a:spLocks noChangeArrowheads="1"/>
              </p:cNvSpPr>
              <p:nvPr/>
            </p:nvSpPr>
            <p:spPr bwMode="auto">
              <a:xfrm>
                <a:off x="4263"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2" name="Oval 1011"/>
              <p:cNvSpPr>
                <a:spLocks noChangeArrowheads="1"/>
              </p:cNvSpPr>
              <p:nvPr/>
            </p:nvSpPr>
            <p:spPr bwMode="auto">
              <a:xfrm>
                <a:off x="4252"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3" name="Oval 1012"/>
              <p:cNvSpPr>
                <a:spLocks noChangeArrowheads="1"/>
              </p:cNvSpPr>
              <p:nvPr/>
            </p:nvSpPr>
            <p:spPr bwMode="auto">
              <a:xfrm>
                <a:off x="424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Oval 1013"/>
              <p:cNvSpPr>
                <a:spLocks noChangeArrowheads="1"/>
              </p:cNvSpPr>
              <p:nvPr/>
            </p:nvSpPr>
            <p:spPr bwMode="auto">
              <a:xfrm>
                <a:off x="4229"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Oval 1014"/>
              <p:cNvSpPr>
                <a:spLocks noChangeArrowheads="1"/>
              </p:cNvSpPr>
              <p:nvPr/>
            </p:nvSpPr>
            <p:spPr bwMode="auto">
              <a:xfrm>
                <a:off x="4218"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015"/>
              <p:cNvSpPr>
                <a:spLocks/>
              </p:cNvSpPr>
              <p:nvPr/>
            </p:nvSpPr>
            <p:spPr bwMode="auto">
              <a:xfrm>
                <a:off x="4197" y="1837"/>
                <a:ext cx="52" cy="74"/>
              </a:xfrm>
              <a:custGeom>
                <a:avLst/>
                <a:gdLst>
                  <a:gd name="T0" fmla="*/ 119 w 232"/>
                  <a:gd name="T1" fmla="*/ 325 h 325"/>
                  <a:gd name="T2" fmla="*/ 39 w 232"/>
                  <a:gd name="T3" fmla="*/ 303 h 325"/>
                  <a:gd name="T4" fmla="*/ 6 w 232"/>
                  <a:gd name="T5" fmla="*/ 253 h 325"/>
                  <a:gd name="T6" fmla="*/ 1 w 232"/>
                  <a:gd name="T7" fmla="*/ 221 h 325"/>
                  <a:gd name="T8" fmla="*/ 0 w 232"/>
                  <a:gd name="T9" fmla="*/ 185 h 325"/>
                  <a:gd name="T10" fmla="*/ 0 w 232"/>
                  <a:gd name="T11" fmla="*/ 0 h 325"/>
                  <a:gd name="T12" fmla="*/ 33 w 232"/>
                  <a:gd name="T13" fmla="*/ 0 h 325"/>
                  <a:gd name="T14" fmla="*/ 33 w 232"/>
                  <a:gd name="T15" fmla="*/ 184 h 325"/>
                  <a:gd name="T16" fmla="*/ 53 w 232"/>
                  <a:gd name="T17" fmla="*/ 272 h 325"/>
                  <a:gd name="T18" fmla="*/ 112 w 232"/>
                  <a:gd name="T19" fmla="*/ 292 h 325"/>
                  <a:gd name="T20" fmla="*/ 178 w 232"/>
                  <a:gd name="T21" fmla="*/ 272 h 325"/>
                  <a:gd name="T22" fmla="*/ 198 w 232"/>
                  <a:gd name="T23" fmla="*/ 184 h 325"/>
                  <a:gd name="T24" fmla="*/ 198 w 232"/>
                  <a:gd name="T25" fmla="*/ 0 h 325"/>
                  <a:gd name="T26" fmla="*/ 232 w 232"/>
                  <a:gd name="T27" fmla="*/ 0 h 325"/>
                  <a:gd name="T28" fmla="*/ 232 w 232"/>
                  <a:gd name="T29" fmla="*/ 185 h 325"/>
                  <a:gd name="T30" fmla="*/ 218 w 232"/>
                  <a:gd name="T31" fmla="*/ 270 h 325"/>
                  <a:gd name="T32" fmla="*/ 119 w 232"/>
                  <a:gd name="T33"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325">
                    <a:moveTo>
                      <a:pt x="119" y="325"/>
                    </a:moveTo>
                    <a:cubicBezTo>
                      <a:pt x="84" y="325"/>
                      <a:pt x="57" y="318"/>
                      <a:pt x="39" y="303"/>
                    </a:cubicBezTo>
                    <a:cubicBezTo>
                      <a:pt x="22" y="289"/>
                      <a:pt x="11" y="272"/>
                      <a:pt x="6" y="253"/>
                    </a:cubicBezTo>
                    <a:cubicBezTo>
                      <a:pt x="4" y="243"/>
                      <a:pt x="2" y="232"/>
                      <a:pt x="1" y="221"/>
                    </a:cubicBezTo>
                    <a:cubicBezTo>
                      <a:pt x="0" y="210"/>
                      <a:pt x="0" y="198"/>
                      <a:pt x="0" y="185"/>
                    </a:cubicBezTo>
                    <a:lnTo>
                      <a:pt x="0" y="0"/>
                    </a:lnTo>
                    <a:lnTo>
                      <a:pt x="33" y="0"/>
                    </a:lnTo>
                    <a:lnTo>
                      <a:pt x="33" y="184"/>
                    </a:lnTo>
                    <a:cubicBezTo>
                      <a:pt x="33" y="226"/>
                      <a:pt x="39" y="259"/>
                      <a:pt x="53" y="272"/>
                    </a:cubicBezTo>
                    <a:cubicBezTo>
                      <a:pt x="66" y="286"/>
                      <a:pt x="86" y="292"/>
                      <a:pt x="112" y="292"/>
                    </a:cubicBezTo>
                    <a:cubicBezTo>
                      <a:pt x="138" y="292"/>
                      <a:pt x="164" y="286"/>
                      <a:pt x="178" y="272"/>
                    </a:cubicBezTo>
                    <a:cubicBezTo>
                      <a:pt x="191" y="259"/>
                      <a:pt x="198" y="226"/>
                      <a:pt x="198" y="184"/>
                    </a:cubicBezTo>
                    <a:lnTo>
                      <a:pt x="198" y="0"/>
                    </a:lnTo>
                    <a:lnTo>
                      <a:pt x="232" y="0"/>
                    </a:lnTo>
                    <a:lnTo>
                      <a:pt x="232" y="185"/>
                    </a:lnTo>
                    <a:cubicBezTo>
                      <a:pt x="232" y="223"/>
                      <a:pt x="227" y="252"/>
                      <a:pt x="218" y="270"/>
                    </a:cubicBezTo>
                    <a:cubicBezTo>
                      <a:pt x="201" y="307"/>
                      <a:pt x="172" y="325"/>
                      <a:pt x="119" y="32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Freeform 1016"/>
              <p:cNvSpPr>
                <a:spLocks/>
              </p:cNvSpPr>
              <p:nvPr/>
            </p:nvSpPr>
            <p:spPr bwMode="auto">
              <a:xfrm>
                <a:off x="4269" y="1837"/>
                <a:ext cx="52" cy="72"/>
              </a:xfrm>
              <a:custGeom>
                <a:avLst/>
                <a:gdLst>
                  <a:gd name="T0" fmla="*/ 52 w 52"/>
                  <a:gd name="T1" fmla="*/ 72 h 72"/>
                  <a:gd name="T2" fmla="*/ 44 w 52"/>
                  <a:gd name="T3" fmla="*/ 72 h 72"/>
                  <a:gd name="T4" fmla="*/ 6 w 52"/>
                  <a:gd name="T5" fmla="*/ 13 h 72"/>
                  <a:gd name="T6" fmla="*/ 6 w 52"/>
                  <a:gd name="T7" fmla="*/ 72 h 72"/>
                  <a:gd name="T8" fmla="*/ 0 w 52"/>
                  <a:gd name="T9" fmla="*/ 72 h 72"/>
                  <a:gd name="T10" fmla="*/ 0 w 52"/>
                  <a:gd name="T11" fmla="*/ 0 h 72"/>
                  <a:gd name="T12" fmla="*/ 7 w 52"/>
                  <a:gd name="T13" fmla="*/ 0 h 72"/>
                  <a:gd name="T14" fmla="*/ 44 w 52"/>
                  <a:gd name="T15" fmla="*/ 60 h 72"/>
                  <a:gd name="T16" fmla="*/ 44 w 52"/>
                  <a:gd name="T17" fmla="*/ 0 h 72"/>
                  <a:gd name="T18" fmla="*/ 52 w 52"/>
                  <a:gd name="T19" fmla="*/ 0 h 72"/>
                  <a:gd name="T20" fmla="*/ 52 w 5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72">
                    <a:moveTo>
                      <a:pt x="52" y="72"/>
                    </a:moveTo>
                    <a:lnTo>
                      <a:pt x="44" y="72"/>
                    </a:lnTo>
                    <a:lnTo>
                      <a:pt x="6" y="13"/>
                    </a:lnTo>
                    <a:lnTo>
                      <a:pt x="6" y="72"/>
                    </a:lnTo>
                    <a:lnTo>
                      <a:pt x="0" y="72"/>
                    </a:lnTo>
                    <a:lnTo>
                      <a:pt x="0" y="0"/>
                    </a:lnTo>
                    <a:lnTo>
                      <a:pt x="7" y="0"/>
                    </a:lnTo>
                    <a:lnTo>
                      <a:pt x="44" y="60"/>
                    </a:lnTo>
                    <a:lnTo>
                      <a:pt x="44" y="0"/>
                    </a:lnTo>
                    <a:lnTo>
                      <a:pt x="52" y="0"/>
                    </a:lnTo>
                    <a:lnTo>
                      <a:pt x="52" y="7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017"/>
              <p:cNvSpPr>
                <a:spLocks noEditPoints="1"/>
              </p:cNvSpPr>
              <p:nvPr/>
            </p:nvSpPr>
            <p:spPr bwMode="auto">
              <a:xfrm>
                <a:off x="4334" y="1835"/>
                <a:ext cx="64" cy="77"/>
              </a:xfrm>
              <a:custGeom>
                <a:avLst/>
                <a:gdLst>
                  <a:gd name="T0" fmla="*/ 141 w 280"/>
                  <a:gd name="T1" fmla="*/ 0 h 340"/>
                  <a:gd name="T2" fmla="*/ 197 w 280"/>
                  <a:gd name="T3" fmla="*/ 13 h 340"/>
                  <a:gd name="T4" fmla="*/ 241 w 280"/>
                  <a:gd name="T5" fmla="*/ 47 h 340"/>
                  <a:gd name="T6" fmla="*/ 270 w 280"/>
                  <a:gd name="T7" fmla="*/ 100 h 340"/>
                  <a:gd name="T8" fmla="*/ 280 w 280"/>
                  <a:gd name="T9" fmla="*/ 170 h 340"/>
                  <a:gd name="T10" fmla="*/ 270 w 280"/>
                  <a:gd name="T11" fmla="*/ 239 h 340"/>
                  <a:gd name="T12" fmla="*/ 241 w 280"/>
                  <a:gd name="T13" fmla="*/ 293 h 340"/>
                  <a:gd name="T14" fmla="*/ 197 w 280"/>
                  <a:gd name="T15" fmla="*/ 327 h 340"/>
                  <a:gd name="T16" fmla="*/ 141 w 280"/>
                  <a:gd name="T17" fmla="*/ 340 h 340"/>
                  <a:gd name="T18" fmla="*/ 84 w 280"/>
                  <a:gd name="T19" fmla="*/ 327 h 340"/>
                  <a:gd name="T20" fmla="*/ 40 w 280"/>
                  <a:gd name="T21" fmla="*/ 293 h 340"/>
                  <a:gd name="T22" fmla="*/ 11 w 280"/>
                  <a:gd name="T23" fmla="*/ 239 h 340"/>
                  <a:gd name="T24" fmla="*/ 0 w 280"/>
                  <a:gd name="T25" fmla="*/ 170 h 340"/>
                  <a:gd name="T26" fmla="*/ 11 w 280"/>
                  <a:gd name="T27" fmla="*/ 100 h 340"/>
                  <a:gd name="T28" fmla="*/ 40 w 280"/>
                  <a:gd name="T29" fmla="*/ 47 h 340"/>
                  <a:gd name="T30" fmla="*/ 84 w 280"/>
                  <a:gd name="T31" fmla="*/ 13 h 340"/>
                  <a:gd name="T32" fmla="*/ 141 w 280"/>
                  <a:gd name="T33" fmla="*/ 0 h 340"/>
                  <a:gd name="T34" fmla="*/ 140 w 280"/>
                  <a:gd name="T35" fmla="*/ 302 h 340"/>
                  <a:gd name="T36" fmla="*/ 180 w 280"/>
                  <a:gd name="T37" fmla="*/ 293 h 340"/>
                  <a:gd name="T38" fmla="*/ 212 w 280"/>
                  <a:gd name="T39" fmla="*/ 267 h 340"/>
                  <a:gd name="T40" fmla="*/ 233 w 280"/>
                  <a:gd name="T41" fmla="*/ 226 h 340"/>
                  <a:gd name="T42" fmla="*/ 240 w 280"/>
                  <a:gd name="T43" fmla="*/ 170 h 340"/>
                  <a:gd name="T44" fmla="*/ 233 w 280"/>
                  <a:gd name="T45" fmla="*/ 114 h 340"/>
                  <a:gd name="T46" fmla="*/ 212 w 280"/>
                  <a:gd name="T47" fmla="*/ 72 h 340"/>
                  <a:gd name="T48" fmla="*/ 181 w 280"/>
                  <a:gd name="T49" fmla="*/ 46 h 340"/>
                  <a:gd name="T50" fmla="*/ 141 w 280"/>
                  <a:gd name="T51" fmla="*/ 38 h 340"/>
                  <a:gd name="T52" fmla="*/ 101 w 280"/>
                  <a:gd name="T53" fmla="*/ 46 h 340"/>
                  <a:gd name="T54" fmla="*/ 69 w 280"/>
                  <a:gd name="T55" fmla="*/ 72 h 340"/>
                  <a:gd name="T56" fmla="*/ 48 w 280"/>
                  <a:gd name="T57" fmla="*/ 114 h 340"/>
                  <a:gd name="T58" fmla="*/ 40 w 280"/>
                  <a:gd name="T59" fmla="*/ 170 h 340"/>
                  <a:gd name="T60" fmla="*/ 48 w 280"/>
                  <a:gd name="T61" fmla="*/ 226 h 340"/>
                  <a:gd name="T62" fmla="*/ 69 w 280"/>
                  <a:gd name="T63" fmla="*/ 267 h 340"/>
                  <a:gd name="T64" fmla="*/ 100 w 280"/>
                  <a:gd name="T65" fmla="*/ 293 h 340"/>
                  <a:gd name="T66" fmla="*/ 140 w 280"/>
                  <a:gd name="T67" fmla="*/ 3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340">
                    <a:moveTo>
                      <a:pt x="141" y="0"/>
                    </a:moveTo>
                    <a:cubicBezTo>
                      <a:pt x="161" y="0"/>
                      <a:pt x="180" y="4"/>
                      <a:pt x="197" y="13"/>
                    </a:cubicBezTo>
                    <a:cubicBezTo>
                      <a:pt x="214" y="21"/>
                      <a:pt x="229" y="32"/>
                      <a:pt x="241" y="47"/>
                    </a:cubicBezTo>
                    <a:cubicBezTo>
                      <a:pt x="254" y="62"/>
                      <a:pt x="263" y="80"/>
                      <a:pt x="270" y="100"/>
                    </a:cubicBezTo>
                    <a:cubicBezTo>
                      <a:pt x="277" y="121"/>
                      <a:pt x="280" y="144"/>
                      <a:pt x="280" y="170"/>
                    </a:cubicBezTo>
                    <a:cubicBezTo>
                      <a:pt x="280" y="195"/>
                      <a:pt x="277" y="218"/>
                      <a:pt x="270" y="239"/>
                    </a:cubicBezTo>
                    <a:cubicBezTo>
                      <a:pt x="263" y="260"/>
                      <a:pt x="254" y="278"/>
                      <a:pt x="241" y="293"/>
                    </a:cubicBezTo>
                    <a:cubicBezTo>
                      <a:pt x="229" y="308"/>
                      <a:pt x="214" y="319"/>
                      <a:pt x="197" y="327"/>
                    </a:cubicBezTo>
                    <a:cubicBezTo>
                      <a:pt x="180" y="336"/>
                      <a:pt x="161" y="340"/>
                      <a:pt x="141" y="340"/>
                    </a:cubicBezTo>
                    <a:cubicBezTo>
                      <a:pt x="120" y="340"/>
                      <a:pt x="101" y="336"/>
                      <a:pt x="84" y="327"/>
                    </a:cubicBezTo>
                    <a:cubicBezTo>
                      <a:pt x="67" y="319"/>
                      <a:pt x="52" y="308"/>
                      <a:pt x="40" y="293"/>
                    </a:cubicBezTo>
                    <a:cubicBezTo>
                      <a:pt x="27" y="278"/>
                      <a:pt x="18" y="260"/>
                      <a:pt x="11" y="239"/>
                    </a:cubicBezTo>
                    <a:cubicBezTo>
                      <a:pt x="4" y="218"/>
                      <a:pt x="0" y="195"/>
                      <a:pt x="0" y="170"/>
                    </a:cubicBezTo>
                    <a:cubicBezTo>
                      <a:pt x="0" y="144"/>
                      <a:pt x="4" y="121"/>
                      <a:pt x="11" y="100"/>
                    </a:cubicBezTo>
                    <a:cubicBezTo>
                      <a:pt x="18" y="80"/>
                      <a:pt x="27" y="62"/>
                      <a:pt x="40" y="47"/>
                    </a:cubicBezTo>
                    <a:cubicBezTo>
                      <a:pt x="52" y="32"/>
                      <a:pt x="67" y="21"/>
                      <a:pt x="84" y="13"/>
                    </a:cubicBezTo>
                    <a:cubicBezTo>
                      <a:pt x="101" y="4"/>
                      <a:pt x="120" y="0"/>
                      <a:pt x="141" y="0"/>
                    </a:cubicBezTo>
                    <a:close/>
                    <a:moveTo>
                      <a:pt x="140" y="302"/>
                    </a:moveTo>
                    <a:cubicBezTo>
                      <a:pt x="155" y="302"/>
                      <a:pt x="168" y="299"/>
                      <a:pt x="180" y="293"/>
                    </a:cubicBezTo>
                    <a:cubicBezTo>
                      <a:pt x="193" y="287"/>
                      <a:pt x="203" y="279"/>
                      <a:pt x="212" y="267"/>
                    </a:cubicBezTo>
                    <a:cubicBezTo>
                      <a:pt x="221" y="256"/>
                      <a:pt x="228" y="242"/>
                      <a:pt x="233" y="226"/>
                    </a:cubicBezTo>
                    <a:cubicBezTo>
                      <a:pt x="238" y="209"/>
                      <a:pt x="240" y="191"/>
                      <a:pt x="240" y="170"/>
                    </a:cubicBezTo>
                    <a:cubicBezTo>
                      <a:pt x="240" y="149"/>
                      <a:pt x="238" y="130"/>
                      <a:pt x="233" y="114"/>
                    </a:cubicBezTo>
                    <a:cubicBezTo>
                      <a:pt x="228" y="98"/>
                      <a:pt x="221" y="84"/>
                      <a:pt x="212" y="72"/>
                    </a:cubicBezTo>
                    <a:cubicBezTo>
                      <a:pt x="203" y="61"/>
                      <a:pt x="193" y="52"/>
                      <a:pt x="181" y="46"/>
                    </a:cubicBezTo>
                    <a:cubicBezTo>
                      <a:pt x="169" y="41"/>
                      <a:pt x="155" y="38"/>
                      <a:pt x="141" y="38"/>
                    </a:cubicBezTo>
                    <a:cubicBezTo>
                      <a:pt x="127" y="38"/>
                      <a:pt x="113" y="41"/>
                      <a:pt x="101" y="46"/>
                    </a:cubicBezTo>
                    <a:cubicBezTo>
                      <a:pt x="88" y="52"/>
                      <a:pt x="78" y="61"/>
                      <a:pt x="69" y="72"/>
                    </a:cubicBezTo>
                    <a:cubicBezTo>
                      <a:pt x="60" y="84"/>
                      <a:pt x="53" y="97"/>
                      <a:pt x="48" y="114"/>
                    </a:cubicBezTo>
                    <a:cubicBezTo>
                      <a:pt x="43" y="130"/>
                      <a:pt x="40" y="149"/>
                      <a:pt x="40" y="170"/>
                    </a:cubicBezTo>
                    <a:cubicBezTo>
                      <a:pt x="40" y="191"/>
                      <a:pt x="43" y="209"/>
                      <a:pt x="48" y="226"/>
                    </a:cubicBezTo>
                    <a:cubicBezTo>
                      <a:pt x="53" y="242"/>
                      <a:pt x="60" y="256"/>
                      <a:pt x="69" y="267"/>
                    </a:cubicBezTo>
                    <a:cubicBezTo>
                      <a:pt x="77" y="279"/>
                      <a:pt x="88" y="287"/>
                      <a:pt x="100" y="293"/>
                    </a:cubicBezTo>
                    <a:cubicBezTo>
                      <a:pt x="112" y="299"/>
                      <a:pt x="126" y="302"/>
                      <a:pt x="140" y="30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Rectangle 1018"/>
              <p:cNvSpPr>
                <a:spLocks noChangeArrowheads="1"/>
              </p:cNvSpPr>
              <p:nvPr/>
            </p:nvSpPr>
            <p:spPr bwMode="auto">
              <a:xfrm>
                <a:off x="4257" y="2678"/>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0" name="Rectangle 1019"/>
              <p:cNvSpPr>
                <a:spLocks noChangeArrowheads="1"/>
              </p:cNvSpPr>
              <p:nvPr/>
            </p:nvSpPr>
            <p:spPr bwMode="auto">
              <a:xfrm>
                <a:off x="4275"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020"/>
              <p:cNvSpPr>
                <a:spLocks/>
              </p:cNvSpPr>
              <p:nvPr/>
            </p:nvSpPr>
            <p:spPr bwMode="auto">
              <a:xfrm>
                <a:off x="4267"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021"/>
              <p:cNvSpPr>
                <a:spLocks/>
              </p:cNvSpPr>
              <p:nvPr/>
            </p:nvSpPr>
            <p:spPr bwMode="auto">
              <a:xfrm>
                <a:off x="4297"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022"/>
              <p:cNvSpPr>
                <a:spLocks/>
              </p:cNvSpPr>
              <p:nvPr/>
            </p:nvSpPr>
            <p:spPr bwMode="auto">
              <a:xfrm>
                <a:off x="4267"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4" name="Freeform 1023"/>
              <p:cNvSpPr>
                <a:spLocks/>
              </p:cNvSpPr>
              <p:nvPr/>
            </p:nvSpPr>
            <p:spPr bwMode="auto">
              <a:xfrm>
                <a:off x="4267"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5" name="Rectangle 1024"/>
              <p:cNvSpPr>
                <a:spLocks noChangeArrowheads="1"/>
              </p:cNvSpPr>
              <p:nvPr/>
            </p:nvSpPr>
            <p:spPr bwMode="auto">
              <a:xfrm>
                <a:off x="4333"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6" name="Freeform 1025"/>
              <p:cNvSpPr>
                <a:spLocks/>
              </p:cNvSpPr>
              <p:nvPr/>
            </p:nvSpPr>
            <p:spPr bwMode="auto">
              <a:xfrm>
                <a:off x="4325"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026"/>
              <p:cNvSpPr>
                <a:spLocks/>
              </p:cNvSpPr>
              <p:nvPr/>
            </p:nvSpPr>
            <p:spPr bwMode="auto">
              <a:xfrm>
                <a:off x="4355"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Freeform 1027"/>
              <p:cNvSpPr>
                <a:spLocks/>
              </p:cNvSpPr>
              <p:nvPr/>
            </p:nvSpPr>
            <p:spPr bwMode="auto">
              <a:xfrm>
                <a:off x="4325"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Freeform 1028"/>
              <p:cNvSpPr>
                <a:spLocks/>
              </p:cNvSpPr>
              <p:nvPr/>
            </p:nvSpPr>
            <p:spPr bwMode="auto">
              <a:xfrm>
                <a:off x="432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Rectangle 1029"/>
              <p:cNvSpPr>
                <a:spLocks noChangeArrowheads="1"/>
              </p:cNvSpPr>
              <p:nvPr/>
            </p:nvSpPr>
            <p:spPr bwMode="auto">
              <a:xfrm>
                <a:off x="4390"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030"/>
              <p:cNvSpPr>
                <a:spLocks/>
              </p:cNvSpPr>
              <p:nvPr/>
            </p:nvSpPr>
            <p:spPr bwMode="auto">
              <a:xfrm>
                <a:off x="4382"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031"/>
              <p:cNvSpPr>
                <a:spLocks/>
              </p:cNvSpPr>
              <p:nvPr/>
            </p:nvSpPr>
            <p:spPr bwMode="auto">
              <a:xfrm>
                <a:off x="4413"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032"/>
              <p:cNvSpPr>
                <a:spLocks/>
              </p:cNvSpPr>
              <p:nvPr/>
            </p:nvSpPr>
            <p:spPr bwMode="auto">
              <a:xfrm>
                <a:off x="4382"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033"/>
              <p:cNvSpPr>
                <a:spLocks/>
              </p:cNvSpPr>
              <p:nvPr/>
            </p:nvSpPr>
            <p:spPr bwMode="auto">
              <a:xfrm>
                <a:off x="438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034"/>
              <p:cNvSpPr>
                <a:spLocks noChangeArrowheads="1"/>
              </p:cNvSpPr>
              <p:nvPr/>
            </p:nvSpPr>
            <p:spPr bwMode="auto">
              <a:xfrm>
                <a:off x="4448"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035"/>
              <p:cNvSpPr>
                <a:spLocks/>
              </p:cNvSpPr>
              <p:nvPr/>
            </p:nvSpPr>
            <p:spPr bwMode="auto">
              <a:xfrm>
                <a:off x="4440"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036"/>
              <p:cNvSpPr>
                <a:spLocks/>
              </p:cNvSpPr>
              <p:nvPr/>
            </p:nvSpPr>
            <p:spPr bwMode="auto">
              <a:xfrm>
                <a:off x="4470"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037"/>
              <p:cNvSpPr>
                <a:spLocks/>
              </p:cNvSpPr>
              <p:nvPr/>
            </p:nvSpPr>
            <p:spPr bwMode="auto">
              <a:xfrm>
                <a:off x="4440"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038"/>
              <p:cNvSpPr>
                <a:spLocks/>
              </p:cNvSpPr>
              <p:nvPr/>
            </p:nvSpPr>
            <p:spPr bwMode="auto">
              <a:xfrm>
                <a:off x="4440"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Rectangle 1039"/>
              <p:cNvSpPr>
                <a:spLocks noChangeArrowheads="1"/>
              </p:cNvSpPr>
              <p:nvPr/>
            </p:nvSpPr>
            <p:spPr bwMode="auto">
              <a:xfrm>
                <a:off x="450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040"/>
              <p:cNvSpPr>
                <a:spLocks/>
              </p:cNvSpPr>
              <p:nvPr/>
            </p:nvSpPr>
            <p:spPr bwMode="auto">
              <a:xfrm>
                <a:off x="4498"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041"/>
              <p:cNvSpPr>
                <a:spLocks/>
              </p:cNvSpPr>
              <p:nvPr/>
            </p:nvSpPr>
            <p:spPr bwMode="auto">
              <a:xfrm>
                <a:off x="4528"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042"/>
              <p:cNvSpPr>
                <a:spLocks/>
              </p:cNvSpPr>
              <p:nvPr/>
            </p:nvSpPr>
            <p:spPr bwMode="auto">
              <a:xfrm>
                <a:off x="4498"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043"/>
              <p:cNvSpPr>
                <a:spLocks/>
              </p:cNvSpPr>
              <p:nvPr/>
            </p:nvSpPr>
            <p:spPr bwMode="auto">
              <a:xfrm>
                <a:off x="449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Rectangle 1044"/>
              <p:cNvSpPr>
                <a:spLocks noChangeArrowheads="1"/>
              </p:cNvSpPr>
              <p:nvPr/>
            </p:nvSpPr>
            <p:spPr bwMode="auto">
              <a:xfrm>
                <a:off x="4563"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045"/>
              <p:cNvSpPr>
                <a:spLocks/>
              </p:cNvSpPr>
              <p:nvPr/>
            </p:nvSpPr>
            <p:spPr bwMode="auto">
              <a:xfrm>
                <a:off x="4555"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046"/>
              <p:cNvSpPr>
                <a:spLocks/>
              </p:cNvSpPr>
              <p:nvPr/>
            </p:nvSpPr>
            <p:spPr bwMode="auto">
              <a:xfrm>
                <a:off x="458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8" name="Freeform 1047"/>
              <p:cNvSpPr>
                <a:spLocks/>
              </p:cNvSpPr>
              <p:nvPr/>
            </p:nvSpPr>
            <p:spPr bwMode="auto">
              <a:xfrm>
                <a:off x="4555"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9" name="Freeform 1048"/>
              <p:cNvSpPr>
                <a:spLocks/>
              </p:cNvSpPr>
              <p:nvPr/>
            </p:nvSpPr>
            <p:spPr bwMode="auto">
              <a:xfrm>
                <a:off x="455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0" name="Freeform 1049"/>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050"/>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051"/>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Freeform 1052"/>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4" name="Freeform 1053"/>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054"/>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6" name="Rectangle 1055"/>
              <p:cNvSpPr>
                <a:spLocks noChangeArrowheads="1"/>
              </p:cNvSpPr>
              <p:nvPr/>
            </p:nvSpPr>
            <p:spPr bwMode="auto">
              <a:xfrm>
                <a:off x="4569" y="21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Rectangle 1056"/>
              <p:cNvSpPr>
                <a:spLocks noChangeArrowheads="1"/>
              </p:cNvSpPr>
              <p:nvPr/>
            </p:nvSpPr>
            <p:spPr bwMode="auto">
              <a:xfrm>
                <a:off x="4626" y="21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057"/>
              <p:cNvSpPr>
                <a:spLocks noChangeArrowheads="1"/>
              </p:cNvSpPr>
              <p:nvPr/>
            </p:nvSpPr>
            <p:spPr bwMode="auto">
              <a:xfrm>
                <a:off x="4569" y="2119"/>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058"/>
              <p:cNvSpPr>
                <a:spLocks noChangeArrowheads="1"/>
              </p:cNvSpPr>
              <p:nvPr/>
            </p:nvSpPr>
            <p:spPr bwMode="auto">
              <a:xfrm>
                <a:off x="4626" y="2119"/>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059"/>
              <p:cNvSpPr>
                <a:spLocks noChangeArrowheads="1"/>
              </p:cNvSpPr>
              <p:nvPr/>
            </p:nvSpPr>
            <p:spPr bwMode="auto">
              <a:xfrm>
                <a:off x="4569" y="2062"/>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Rectangle 1060"/>
              <p:cNvSpPr>
                <a:spLocks noChangeArrowheads="1"/>
              </p:cNvSpPr>
              <p:nvPr/>
            </p:nvSpPr>
            <p:spPr bwMode="auto">
              <a:xfrm>
                <a:off x="4626" y="2062"/>
                <a:ext cx="19"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2" name="Rectangle 1061"/>
              <p:cNvSpPr>
                <a:spLocks noChangeArrowheads="1"/>
              </p:cNvSpPr>
              <p:nvPr/>
            </p:nvSpPr>
            <p:spPr bwMode="auto">
              <a:xfrm>
                <a:off x="4631" y="2066"/>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62"/>
              <p:cNvSpPr>
                <a:spLocks/>
              </p:cNvSpPr>
              <p:nvPr/>
            </p:nvSpPr>
            <p:spPr bwMode="auto">
              <a:xfrm>
                <a:off x="4626" y="2062"/>
                <a:ext cx="19"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4" name="Freeform 1063"/>
              <p:cNvSpPr>
                <a:spLocks/>
              </p:cNvSpPr>
              <p:nvPr/>
            </p:nvSpPr>
            <p:spPr bwMode="auto">
              <a:xfrm>
                <a:off x="4640" y="2062"/>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64"/>
              <p:cNvSpPr>
                <a:spLocks/>
              </p:cNvSpPr>
              <p:nvPr/>
            </p:nvSpPr>
            <p:spPr bwMode="auto">
              <a:xfrm>
                <a:off x="4626" y="2076"/>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065"/>
              <p:cNvSpPr>
                <a:spLocks/>
              </p:cNvSpPr>
              <p:nvPr/>
            </p:nvSpPr>
            <p:spPr bwMode="auto">
              <a:xfrm>
                <a:off x="4626" y="2062"/>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Rectangle 1066"/>
              <p:cNvSpPr>
                <a:spLocks noChangeArrowheads="1"/>
              </p:cNvSpPr>
              <p:nvPr/>
            </p:nvSpPr>
            <p:spPr bwMode="auto">
              <a:xfrm>
                <a:off x="4573" y="2066"/>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067"/>
              <p:cNvSpPr>
                <a:spLocks/>
              </p:cNvSpPr>
              <p:nvPr/>
            </p:nvSpPr>
            <p:spPr bwMode="auto">
              <a:xfrm>
                <a:off x="4569" y="2062"/>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68"/>
              <p:cNvSpPr>
                <a:spLocks/>
              </p:cNvSpPr>
              <p:nvPr/>
            </p:nvSpPr>
            <p:spPr bwMode="auto">
              <a:xfrm>
                <a:off x="4583" y="2062"/>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069"/>
              <p:cNvSpPr>
                <a:spLocks/>
              </p:cNvSpPr>
              <p:nvPr/>
            </p:nvSpPr>
            <p:spPr bwMode="auto">
              <a:xfrm>
                <a:off x="4569" y="2076"/>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70"/>
              <p:cNvSpPr>
                <a:spLocks/>
              </p:cNvSpPr>
              <p:nvPr/>
            </p:nvSpPr>
            <p:spPr bwMode="auto">
              <a:xfrm>
                <a:off x="4569" y="2062"/>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071"/>
              <p:cNvSpPr>
                <a:spLocks noChangeArrowheads="1"/>
              </p:cNvSpPr>
              <p:nvPr/>
            </p:nvSpPr>
            <p:spPr bwMode="auto">
              <a:xfrm>
                <a:off x="4631" y="21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72"/>
              <p:cNvSpPr>
                <a:spLocks/>
              </p:cNvSpPr>
              <p:nvPr/>
            </p:nvSpPr>
            <p:spPr bwMode="auto">
              <a:xfrm>
                <a:off x="4626" y="211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073"/>
              <p:cNvSpPr>
                <a:spLocks/>
              </p:cNvSpPr>
              <p:nvPr/>
            </p:nvSpPr>
            <p:spPr bwMode="auto">
              <a:xfrm>
                <a:off x="4640" y="2119"/>
                <a:ext cx="5"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074"/>
              <p:cNvSpPr>
                <a:spLocks/>
              </p:cNvSpPr>
              <p:nvPr/>
            </p:nvSpPr>
            <p:spPr bwMode="auto">
              <a:xfrm>
                <a:off x="4626" y="2133"/>
                <a:ext cx="19"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075"/>
              <p:cNvSpPr>
                <a:spLocks/>
              </p:cNvSpPr>
              <p:nvPr/>
            </p:nvSpPr>
            <p:spPr bwMode="auto">
              <a:xfrm>
                <a:off x="4626" y="2119"/>
                <a:ext cx="5"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Rectangle 1076"/>
              <p:cNvSpPr>
                <a:spLocks noChangeArrowheads="1"/>
              </p:cNvSpPr>
              <p:nvPr/>
            </p:nvSpPr>
            <p:spPr bwMode="auto">
              <a:xfrm>
                <a:off x="4573" y="21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077"/>
              <p:cNvSpPr>
                <a:spLocks/>
              </p:cNvSpPr>
              <p:nvPr/>
            </p:nvSpPr>
            <p:spPr bwMode="auto">
              <a:xfrm>
                <a:off x="4569" y="211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78"/>
              <p:cNvSpPr>
                <a:spLocks/>
              </p:cNvSpPr>
              <p:nvPr/>
            </p:nvSpPr>
            <p:spPr bwMode="auto">
              <a:xfrm>
                <a:off x="4583" y="2119"/>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079"/>
              <p:cNvSpPr>
                <a:spLocks/>
              </p:cNvSpPr>
              <p:nvPr/>
            </p:nvSpPr>
            <p:spPr bwMode="auto">
              <a:xfrm>
                <a:off x="4569" y="2133"/>
                <a:ext cx="18"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80"/>
              <p:cNvSpPr>
                <a:spLocks/>
              </p:cNvSpPr>
              <p:nvPr/>
            </p:nvSpPr>
            <p:spPr bwMode="auto">
              <a:xfrm>
                <a:off x="4569" y="2119"/>
                <a:ext cx="4"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081"/>
              <p:cNvSpPr>
                <a:spLocks noChangeArrowheads="1"/>
              </p:cNvSpPr>
              <p:nvPr/>
            </p:nvSpPr>
            <p:spPr bwMode="auto">
              <a:xfrm>
                <a:off x="4631" y="21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82"/>
              <p:cNvSpPr>
                <a:spLocks/>
              </p:cNvSpPr>
              <p:nvPr/>
            </p:nvSpPr>
            <p:spPr bwMode="auto">
              <a:xfrm>
                <a:off x="4626" y="2177"/>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083"/>
              <p:cNvSpPr>
                <a:spLocks/>
              </p:cNvSpPr>
              <p:nvPr/>
            </p:nvSpPr>
            <p:spPr bwMode="auto">
              <a:xfrm>
                <a:off x="4640" y="21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84"/>
              <p:cNvSpPr>
                <a:spLocks/>
              </p:cNvSpPr>
              <p:nvPr/>
            </p:nvSpPr>
            <p:spPr bwMode="auto">
              <a:xfrm>
                <a:off x="4626" y="2191"/>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Freeform 1085"/>
              <p:cNvSpPr>
                <a:spLocks/>
              </p:cNvSpPr>
              <p:nvPr/>
            </p:nvSpPr>
            <p:spPr bwMode="auto">
              <a:xfrm>
                <a:off x="4626" y="2177"/>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7" name="Rectangle 1086"/>
              <p:cNvSpPr>
                <a:spLocks noChangeArrowheads="1"/>
              </p:cNvSpPr>
              <p:nvPr/>
            </p:nvSpPr>
            <p:spPr bwMode="auto">
              <a:xfrm>
                <a:off x="4573" y="21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8" name="Freeform 1087"/>
              <p:cNvSpPr>
                <a:spLocks/>
              </p:cNvSpPr>
              <p:nvPr/>
            </p:nvSpPr>
            <p:spPr bwMode="auto">
              <a:xfrm>
                <a:off x="4569" y="2177"/>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88"/>
              <p:cNvSpPr>
                <a:spLocks/>
              </p:cNvSpPr>
              <p:nvPr/>
            </p:nvSpPr>
            <p:spPr bwMode="auto">
              <a:xfrm>
                <a:off x="4583" y="21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089"/>
              <p:cNvSpPr>
                <a:spLocks/>
              </p:cNvSpPr>
              <p:nvPr/>
            </p:nvSpPr>
            <p:spPr bwMode="auto">
              <a:xfrm>
                <a:off x="4569" y="2191"/>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90"/>
              <p:cNvSpPr>
                <a:spLocks/>
              </p:cNvSpPr>
              <p:nvPr/>
            </p:nvSpPr>
            <p:spPr bwMode="auto">
              <a:xfrm>
                <a:off x="4569" y="2177"/>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091"/>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92"/>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093"/>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94"/>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095"/>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96"/>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Rectangle 1097"/>
              <p:cNvSpPr>
                <a:spLocks noChangeArrowheads="1"/>
              </p:cNvSpPr>
              <p:nvPr/>
            </p:nvSpPr>
            <p:spPr bwMode="auto">
              <a:xfrm>
                <a:off x="3595" y="1735"/>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098"/>
              <p:cNvSpPr>
                <a:spLocks noChangeArrowheads="1"/>
              </p:cNvSpPr>
              <p:nvPr/>
            </p:nvSpPr>
            <p:spPr bwMode="auto">
              <a:xfrm>
                <a:off x="3595" y="16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Rectangle 1099"/>
              <p:cNvSpPr>
                <a:spLocks noChangeArrowheads="1"/>
              </p:cNvSpPr>
              <p:nvPr/>
            </p:nvSpPr>
            <p:spPr bwMode="auto">
              <a:xfrm>
                <a:off x="3538"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Rectangle 1100"/>
              <p:cNvSpPr>
                <a:spLocks noChangeArrowheads="1"/>
              </p:cNvSpPr>
              <p:nvPr/>
            </p:nvSpPr>
            <p:spPr bwMode="auto">
              <a:xfrm>
                <a:off x="3538" y="16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2" name="Rectangle 1101"/>
              <p:cNvSpPr>
                <a:spLocks noChangeArrowheads="1"/>
              </p:cNvSpPr>
              <p:nvPr/>
            </p:nvSpPr>
            <p:spPr bwMode="auto">
              <a:xfrm>
                <a:off x="3480"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102"/>
              <p:cNvSpPr>
                <a:spLocks noChangeArrowheads="1"/>
              </p:cNvSpPr>
              <p:nvPr/>
            </p:nvSpPr>
            <p:spPr bwMode="auto">
              <a:xfrm>
                <a:off x="3480" y="1677"/>
                <a:ext cx="18"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Rectangle 1103"/>
              <p:cNvSpPr>
                <a:spLocks noChangeArrowheads="1"/>
              </p:cNvSpPr>
              <p:nvPr/>
            </p:nvSpPr>
            <p:spPr bwMode="auto">
              <a:xfrm>
                <a:off x="3485"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104"/>
              <p:cNvSpPr>
                <a:spLocks/>
              </p:cNvSpPr>
              <p:nvPr/>
            </p:nvSpPr>
            <p:spPr bwMode="auto">
              <a:xfrm>
                <a:off x="3480"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6" name="Freeform 1105"/>
              <p:cNvSpPr>
                <a:spLocks/>
              </p:cNvSpPr>
              <p:nvPr/>
            </p:nvSpPr>
            <p:spPr bwMode="auto">
              <a:xfrm>
                <a:off x="3480"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106"/>
              <p:cNvSpPr>
                <a:spLocks/>
              </p:cNvSpPr>
              <p:nvPr/>
            </p:nvSpPr>
            <p:spPr bwMode="auto">
              <a:xfrm>
                <a:off x="3494"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107"/>
              <p:cNvSpPr>
                <a:spLocks/>
              </p:cNvSpPr>
              <p:nvPr/>
            </p:nvSpPr>
            <p:spPr bwMode="auto">
              <a:xfrm>
                <a:off x="3480"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Rectangle 1108"/>
              <p:cNvSpPr>
                <a:spLocks noChangeArrowheads="1"/>
              </p:cNvSpPr>
              <p:nvPr/>
            </p:nvSpPr>
            <p:spPr bwMode="auto">
              <a:xfrm>
                <a:off x="3485"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109"/>
              <p:cNvSpPr>
                <a:spLocks/>
              </p:cNvSpPr>
              <p:nvPr/>
            </p:nvSpPr>
            <p:spPr bwMode="auto">
              <a:xfrm>
                <a:off x="3480"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110"/>
              <p:cNvSpPr>
                <a:spLocks/>
              </p:cNvSpPr>
              <p:nvPr/>
            </p:nvSpPr>
            <p:spPr bwMode="auto">
              <a:xfrm>
                <a:off x="3480"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111"/>
              <p:cNvSpPr>
                <a:spLocks/>
              </p:cNvSpPr>
              <p:nvPr/>
            </p:nvSpPr>
            <p:spPr bwMode="auto">
              <a:xfrm>
                <a:off x="3494"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112"/>
              <p:cNvSpPr>
                <a:spLocks/>
              </p:cNvSpPr>
              <p:nvPr/>
            </p:nvSpPr>
            <p:spPr bwMode="auto">
              <a:xfrm>
                <a:off x="3480"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Rectangle 1113"/>
              <p:cNvSpPr>
                <a:spLocks noChangeArrowheads="1"/>
              </p:cNvSpPr>
              <p:nvPr/>
            </p:nvSpPr>
            <p:spPr bwMode="auto">
              <a:xfrm>
                <a:off x="3542" y="16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114"/>
              <p:cNvSpPr>
                <a:spLocks/>
              </p:cNvSpPr>
              <p:nvPr/>
            </p:nvSpPr>
            <p:spPr bwMode="auto">
              <a:xfrm>
                <a:off x="3538" y="1677"/>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Freeform 1115"/>
              <p:cNvSpPr>
                <a:spLocks/>
              </p:cNvSpPr>
              <p:nvPr/>
            </p:nvSpPr>
            <p:spPr bwMode="auto">
              <a:xfrm>
                <a:off x="3538"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116"/>
              <p:cNvSpPr>
                <a:spLocks/>
              </p:cNvSpPr>
              <p:nvPr/>
            </p:nvSpPr>
            <p:spPr bwMode="auto">
              <a:xfrm>
                <a:off x="3552"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117"/>
              <p:cNvSpPr>
                <a:spLocks/>
              </p:cNvSpPr>
              <p:nvPr/>
            </p:nvSpPr>
            <p:spPr bwMode="auto">
              <a:xfrm>
                <a:off x="3538"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Rectangle 1118"/>
              <p:cNvSpPr>
                <a:spLocks noChangeArrowheads="1"/>
              </p:cNvSpPr>
              <p:nvPr/>
            </p:nvSpPr>
            <p:spPr bwMode="auto">
              <a:xfrm>
                <a:off x="3542" y="1739"/>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0" name="Freeform 1119"/>
              <p:cNvSpPr>
                <a:spLocks/>
              </p:cNvSpPr>
              <p:nvPr/>
            </p:nvSpPr>
            <p:spPr bwMode="auto">
              <a:xfrm>
                <a:off x="3538" y="1735"/>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120"/>
              <p:cNvSpPr>
                <a:spLocks/>
              </p:cNvSpPr>
              <p:nvPr/>
            </p:nvSpPr>
            <p:spPr bwMode="auto">
              <a:xfrm>
                <a:off x="3538"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Freeform 1121"/>
              <p:cNvSpPr>
                <a:spLocks/>
              </p:cNvSpPr>
              <p:nvPr/>
            </p:nvSpPr>
            <p:spPr bwMode="auto">
              <a:xfrm>
                <a:off x="3552"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122"/>
              <p:cNvSpPr>
                <a:spLocks/>
              </p:cNvSpPr>
              <p:nvPr/>
            </p:nvSpPr>
            <p:spPr bwMode="auto">
              <a:xfrm>
                <a:off x="3538"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4" name="Rectangle 1123"/>
              <p:cNvSpPr>
                <a:spLocks noChangeArrowheads="1"/>
              </p:cNvSpPr>
              <p:nvPr/>
            </p:nvSpPr>
            <p:spPr bwMode="auto">
              <a:xfrm>
                <a:off x="3600"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124"/>
              <p:cNvSpPr>
                <a:spLocks/>
              </p:cNvSpPr>
              <p:nvPr/>
            </p:nvSpPr>
            <p:spPr bwMode="auto">
              <a:xfrm>
                <a:off x="3595"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125"/>
              <p:cNvSpPr>
                <a:spLocks/>
              </p:cNvSpPr>
              <p:nvPr/>
            </p:nvSpPr>
            <p:spPr bwMode="auto">
              <a:xfrm>
                <a:off x="3595" y="1677"/>
                <a:ext cx="19"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126"/>
              <p:cNvSpPr>
                <a:spLocks/>
              </p:cNvSpPr>
              <p:nvPr/>
            </p:nvSpPr>
            <p:spPr bwMode="auto">
              <a:xfrm>
                <a:off x="3609" y="16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127"/>
              <p:cNvSpPr>
                <a:spLocks/>
              </p:cNvSpPr>
              <p:nvPr/>
            </p:nvSpPr>
            <p:spPr bwMode="auto">
              <a:xfrm>
                <a:off x="3595" y="1691"/>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Rectangle 1128"/>
              <p:cNvSpPr>
                <a:spLocks noChangeArrowheads="1"/>
              </p:cNvSpPr>
              <p:nvPr/>
            </p:nvSpPr>
            <p:spPr bwMode="auto">
              <a:xfrm>
                <a:off x="3600"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129"/>
              <p:cNvSpPr>
                <a:spLocks/>
              </p:cNvSpPr>
              <p:nvPr/>
            </p:nvSpPr>
            <p:spPr bwMode="auto">
              <a:xfrm>
                <a:off x="3595"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130"/>
              <p:cNvSpPr>
                <a:spLocks/>
              </p:cNvSpPr>
              <p:nvPr/>
            </p:nvSpPr>
            <p:spPr bwMode="auto">
              <a:xfrm>
                <a:off x="3595" y="1735"/>
                <a:ext cx="19"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131"/>
              <p:cNvSpPr>
                <a:spLocks/>
              </p:cNvSpPr>
              <p:nvPr/>
            </p:nvSpPr>
            <p:spPr bwMode="auto">
              <a:xfrm>
                <a:off x="3609" y="1735"/>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132"/>
              <p:cNvSpPr>
                <a:spLocks/>
              </p:cNvSpPr>
              <p:nvPr/>
            </p:nvSpPr>
            <p:spPr bwMode="auto">
              <a:xfrm>
                <a:off x="3595" y="1749"/>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4" name="Rectangle 1133"/>
              <p:cNvSpPr>
                <a:spLocks noChangeArrowheads="1"/>
              </p:cNvSpPr>
              <p:nvPr/>
            </p:nvSpPr>
            <p:spPr bwMode="auto">
              <a:xfrm>
                <a:off x="4142" y="1583"/>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5" name="Rectangle 1134"/>
              <p:cNvSpPr>
                <a:spLocks noChangeArrowheads="1"/>
              </p:cNvSpPr>
              <p:nvPr/>
            </p:nvSpPr>
            <p:spPr bwMode="auto">
              <a:xfrm>
                <a:off x="4160"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2" name="Group 1336"/>
            <p:cNvGrpSpPr>
              <a:grpSpLocks/>
            </p:cNvGrpSpPr>
            <p:nvPr/>
          </p:nvGrpSpPr>
          <p:grpSpPr bwMode="auto">
            <a:xfrm>
              <a:off x="5521326" y="2527300"/>
              <a:ext cx="1771650" cy="1814513"/>
              <a:chOff x="3478" y="1592"/>
              <a:chExt cx="1116" cy="1143"/>
            </a:xfrm>
          </p:grpSpPr>
          <p:sp>
            <p:nvSpPr>
              <p:cNvPr id="866" name="Freeform 1136"/>
              <p:cNvSpPr>
                <a:spLocks/>
              </p:cNvSpPr>
              <p:nvPr/>
            </p:nvSpPr>
            <p:spPr bwMode="auto">
              <a:xfrm>
                <a:off x="4152"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137"/>
              <p:cNvSpPr>
                <a:spLocks/>
              </p:cNvSpPr>
              <p:nvPr/>
            </p:nvSpPr>
            <p:spPr bwMode="auto">
              <a:xfrm>
                <a:off x="4182"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8" name="Freeform 1138"/>
              <p:cNvSpPr>
                <a:spLocks/>
              </p:cNvSpPr>
              <p:nvPr/>
            </p:nvSpPr>
            <p:spPr bwMode="auto">
              <a:xfrm>
                <a:off x="4152"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139"/>
              <p:cNvSpPr>
                <a:spLocks/>
              </p:cNvSpPr>
              <p:nvPr/>
            </p:nvSpPr>
            <p:spPr bwMode="auto">
              <a:xfrm>
                <a:off x="415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0" name="Rectangle 1140"/>
              <p:cNvSpPr>
                <a:spLocks noChangeArrowheads="1"/>
              </p:cNvSpPr>
              <p:nvPr/>
            </p:nvSpPr>
            <p:spPr bwMode="auto">
              <a:xfrm>
                <a:off x="4217"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141"/>
              <p:cNvSpPr>
                <a:spLocks/>
              </p:cNvSpPr>
              <p:nvPr/>
            </p:nvSpPr>
            <p:spPr bwMode="auto">
              <a:xfrm>
                <a:off x="4209"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2" name="Freeform 1142"/>
              <p:cNvSpPr>
                <a:spLocks/>
              </p:cNvSpPr>
              <p:nvPr/>
            </p:nvSpPr>
            <p:spPr bwMode="auto">
              <a:xfrm>
                <a:off x="4240"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143"/>
              <p:cNvSpPr>
                <a:spLocks/>
              </p:cNvSpPr>
              <p:nvPr/>
            </p:nvSpPr>
            <p:spPr bwMode="auto">
              <a:xfrm>
                <a:off x="4209"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4" name="Freeform 1144"/>
              <p:cNvSpPr>
                <a:spLocks/>
              </p:cNvSpPr>
              <p:nvPr/>
            </p:nvSpPr>
            <p:spPr bwMode="auto">
              <a:xfrm>
                <a:off x="4209"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5" name="Rectangle 1145"/>
              <p:cNvSpPr>
                <a:spLocks noChangeArrowheads="1"/>
              </p:cNvSpPr>
              <p:nvPr/>
            </p:nvSpPr>
            <p:spPr bwMode="auto">
              <a:xfrm>
                <a:off x="4275"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6" name="Freeform 1146"/>
              <p:cNvSpPr>
                <a:spLocks/>
              </p:cNvSpPr>
              <p:nvPr/>
            </p:nvSpPr>
            <p:spPr bwMode="auto">
              <a:xfrm>
                <a:off x="4267"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147"/>
              <p:cNvSpPr>
                <a:spLocks/>
              </p:cNvSpPr>
              <p:nvPr/>
            </p:nvSpPr>
            <p:spPr bwMode="auto">
              <a:xfrm>
                <a:off x="4297"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8" name="Freeform 1148"/>
              <p:cNvSpPr>
                <a:spLocks/>
              </p:cNvSpPr>
              <p:nvPr/>
            </p:nvSpPr>
            <p:spPr bwMode="auto">
              <a:xfrm>
                <a:off x="4267"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149"/>
              <p:cNvSpPr>
                <a:spLocks/>
              </p:cNvSpPr>
              <p:nvPr/>
            </p:nvSpPr>
            <p:spPr bwMode="auto">
              <a:xfrm>
                <a:off x="4267"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0" name="Rectangle 1150"/>
              <p:cNvSpPr>
                <a:spLocks noChangeArrowheads="1"/>
              </p:cNvSpPr>
              <p:nvPr/>
            </p:nvSpPr>
            <p:spPr bwMode="auto">
              <a:xfrm>
                <a:off x="4333"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151"/>
              <p:cNvSpPr>
                <a:spLocks/>
              </p:cNvSpPr>
              <p:nvPr/>
            </p:nvSpPr>
            <p:spPr bwMode="auto">
              <a:xfrm>
                <a:off x="4325"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2" name="Freeform 1152"/>
              <p:cNvSpPr>
                <a:spLocks/>
              </p:cNvSpPr>
              <p:nvPr/>
            </p:nvSpPr>
            <p:spPr bwMode="auto">
              <a:xfrm>
                <a:off x="4355"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153"/>
              <p:cNvSpPr>
                <a:spLocks/>
              </p:cNvSpPr>
              <p:nvPr/>
            </p:nvSpPr>
            <p:spPr bwMode="auto">
              <a:xfrm>
                <a:off x="4325"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4" name="Freeform 1154"/>
              <p:cNvSpPr>
                <a:spLocks/>
              </p:cNvSpPr>
              <p:nvPr/>
            </p:nvSpPr>
            <p:spPr bwMode="auto">
              <a:xfrm>
                <a:off x="432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5" name="Rectangle 1155"/>
              <p:cNvSpPr>
                <a:spLocks noChangeArrowheads="1"/>
              </p:cNvSpPr>
              <p:nvPr/>
            </p:nvSpPr>
            <p:spPr bwMode="auto">
              <a:xfrm>
                <a:off x="4390"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6" name="Freeform 1156"/>
              <p:cNvSpPr>
                <a:spLocks/>
              </p:cNvSpPr>
              <p:nvPr/>
            </p:nvSpPr>
            <p:spPr bwMode="auto">
              <a:xfrm>
                <a:off x="4382"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157"/>
              <p:cNvSpPr>
                <a:spLocks/>
              </p:cNvSpPr>
              <p:nvPr/>
            </p:nvSpPr>
            <p:spPr bwMode="auto">
              <a:xfrm>
                <a:off x="4413"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8" name="Freeform 1158"/>
              <p:cNvSpPr>
                <a:spLocks/>
              </p:cNvSpPr>
              <p:nvPr/>
            </p:nvSpPr>
            <p:spPr bwMode="auto">
              <a:xfrm>
                <a:off x="4382"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159"/>
              <p:cNvSpPr>
                <a:spLocks/>
              </p:cNvSpPr>
              <p:nvPr/>
            </p:nvSpPr>
            <p:spPr bwMode="auto">
              <a:xfrm>
                <a:off x="438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Rectangle 1160"/>
              <p:cNvSpPr>
                <a:spLocks noChangeArrowheads="1"/>
              </p:cNvSpPr>
              <p:nvPr/>
            </p:nvSpPr>
            <p:spPr bwMode="auto">
              <a:xfrm>
                <a:off x="4448"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161"/>
              <p:cNvSpPr>
                <a:spLocks/>
              </p:cNvSpPr>
              <p:nvPr/>
            </p:nvSpPr>
            <p:spPr bwMode="auto">
              <a:xfrm>
                <a:off x="4440"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1162"/>
              <p:cNvSpPr>
                <a:spLocks/>
              </p:cNvSpPr>
              <p:nvPr/>
            </p:nvSpPr>
            <p:spPr bwMode="auto">
              <a:xfrm>
                <a:off x="4470"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63"/>
              <p:cNvSpPr>
                <a:spLocks/>
              </p:cNvSpPr>
              <p:nvPr/>
            </p:nvSpPr>
            <p:spPr bwMode="auto">
              <a:xfrm>
                <a:off x="4440"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164"/>
              <p:cNvSpPr>
                <a:spLocks/>
              </p:cNvSpPr>
              <p:nvPr/>
            </p:nvSpPr>
            <p:spPr bwMode="auto">
              <a:xfrm>
                <a:off x="4440"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Rectangle 1165"/>
              <p:cNvSpPr>
                <a:spLocks noChangeArrowheads="1"/>
              </p:cNvSpPr>
              <p:nvPr/>
            </p:nvSpPr>
            <p:spPr bwMode="auto">
              <a:xfrm>
                <a:off x="4506"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166"/>
              <p:cNvSpPr>
                <a:spLocks/>
              </p:cNvSpPr>
              <p:nvPr/>
            </p:nvSpPr>
            <p:spPr bwMode="auto">
              <a:xfrm>
                <a:off x="4498"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67"/>
              <p:cNvSpPr>
                <a:spLocks/>
              </p:cNvSpPr>
              <p:nvPr/>
            </p:nvSpPr>
            <p:spPr bwMode="auto">
              <a:xfrm>
                <a:off x="4528"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168"/>
              <p:cNvSpPr>
                <a:spLocks/>
              </p:cNvSpPr>
              <p:nvPr/>
            </p:nvSpPr>
            <p:spPr bwMode="auto">
              <a:xfrm>
                <a:off x="4498"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69"/>
              <p:cNvSpPr>
                <a:spLocks/>
              </p:cNvSpPr>
              <p:nvPr/>
            </p:nvSpPr>
            <p:spPr bwMode="auto">
              <a:xfrm>
                <a:off x="4498"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Rectangle 1170"/>
              <p:cNvSpPr>
                <a:spLocks noChangeArrowheads="1"/>
              </p:cNvSpPr>
              <p:nvPr/>
            </p:nvSpPr>
            <p:spPr bwMode="auto">
              <a:xfrm>
                <a:off x="4563"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71"/>
              <p:cNvSpPr>
                <a:spLocks/>
              </p:cNvSpPr>
              <p:nvPr/>
            </p:nvSpPr>
            <p:spPr bwMode="auto">
              <a:xfrm>
                <a:off x="4555"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172"/>
              <p:cNvSpPr>
                <a:spLocks/>
              </p:cNvSpPr>
              <p:nvPr/>
            </p:nvSpPr>
            <p:spPr bwMode="auto">
              <a:xfrm>
                <a:off x="4586"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73"/>
              <p:cNvSpPr>
                <a:spLocks/>
              </p:cNvSpPr>
              <p:nvPr/>
            </p:nvSpPr>
            <p:spPr bwMode="auto">
              <a:xfrm>
                <a:off x="4555"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1174"/>
              <p:cNvSpPr>
                <a:spLocks/>
              </p:cNvSpPr>
              <p:nvPr/>
            </p:nvSpPr>
            <p:spPr bwMode="auto">
              <a:xfrm>
                <a:off x="455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Rectangle 1175"/>
              <p:cNvSpPr>
                <a:spLocks noChangeArrowheads="1"/>
              </p:cNvSpPr>
              <p:nvPr/>
            </p:nvSpPr>
            <p:spPr bwMode="auto">
              <a:xfrm>
                <a:off x="3735" y="1812"/>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6" name="Freeform 1176"/>
              <p:cNvSpPr>
                <a:spLocks/>
              </p:cNvSpPr>
              <p:nvPr/>
            </p:nvSpPr>
            <p:spPr bwMode="auto">
              <a:xfrm>
                <a:off x="3773" y="1838"/>
                <a:ext cx="12" cy="5"/>
              </a:xfrm>
              <a:custGeom>
                <a:avLst/>
                <a:gdLst>
                  <a:gd name="T0" fmla="*/ 0 w 54"/>
                  <a:gd name="T1" fmla="*/ 21 h 21"/>
                  <a:gd name="T2" fmla="*/ 30 w 54"/>
                  <a:gd name="T3" fmla="*/ 6 h 21"/>
                  <a:gd name="T4" fmla="*/ 54 w 54"/>
                  <a:gd name="T5" fmla="*/ 6 h 21"/>
                  <a:gd name="T6" fmla="*/ 54 w 54"/>
                  <a:gd name="T7" fmla="*/ 21 h 21"/>
                  <a:gd name="T8" fmla="*/ 0 w 54"/>
                  <a:gd name="T9" fmla="*/ 21 h 21"/>
                </a:gdLst>
                <a:ahLst/>
                <a:cxnLst>
                  <a:cxn ang="0">
                    <a:pos x="T0" y="T1"/>
                  </a:cxn>
                  <a:cxn ang="0">
                    <a:pos x="T2" y="T3"/>
                  </a:cxn>
                  <a:cxn ang="0">
                    <a:pos x="T4" y="T5"/>
                  </a:cxn>
                  <a:cxn ang="0">
                    <a:pos x="T6" y="T7"/>
                  </a:cxn>
                  <a:cxn ang="0">
                    <a:pos x="T8" y="T9"/>
                  </a:cxn>
                </a:cxnLst>
                <a:rect l="0" t="0" r="r" b="b"/>
                <a:pathLst>
                  <a:path w="54" h="21">
                    <a:moveTo>
                      <a:pt x="0" y="21"/>
                    </a:moveTo>
                    <a:cubicBezTo>
                      <a:pt x="0" y="21"/>
                      <a:pt x="22" y="4"/>
                      <a:pt x="30" y="6"/>
                    </a:cubicBezTo>
                    <a:cubicBezTo>
                      <a:pt x="38" y="7"/>
                      <a:pt x="49" y="0"/>
                      <a:pt x="54" y="6"/>
                    </a:cubicBezTo>
                    <a:lnTo>
                      <a:pt x="54" y="21"/>
                    </a:lnTo>
                    <a:lnTo>
                      <a:pt x="0" y="21"/>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7" name="Rectangle 1177"/>
              <p:cNvSpPr>
                <a:spLocks noChangeArrowheads="1"/>
              </p:cNvSpPr>
              <p:nvPr/>
            </p:nvSpPr>
            <p:spPr bwMode="auto">
              <a:xfrm>
                <a:off x="3760" y="1823"/>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8" name="Rectangle 1178"/>
              <p:cNvSpPr>
                <a:spLocks noChangeArrowheads="1"/>
              </p:cNvSpPr>
              <p:nvPr/>
            </p:nvSpPr>
            <p:spPr bwMode="auto">
              <a:xfrm>
                <a:off x="3760" y="183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79"/>
              <p:cNvSpPr>
                <a:spLocks/>
              </p:cNvSpPr>
              <p:nvPr/>
            </p:nvSpPr>
            <p:spPr bwMode="auto">
              <a:xfrm>
                <a:off x="3778" y="1834"/>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0" name="Freeform 1180"/>
              <p:cNvSpPr>
                <a:spLocks/>
              </p:cNvSpPr>
              <p:nvPr/>
            </p:nvSpPr>
            <p:spPr bwMode="auto">
              <a:xfrm>
                <a:off x="3766" y="1829"/>
                <a:ext cx="13" cy="9"/>
              </a:xfrm>
              <a:custGeom>
                <a:avLst/>
                <a:gdLst>
                  <a:gd name="T0" fmla="*/ 53 w 55"/>
                  <a:gd name="T1" fmla="*/ 38 h 38"/>
                  <a:gd name="T2" fmla="*/ 53 w 55"/>
                  <a:gd name="T3" fmla="*/ 38 h 38"/>
                  <a:gd name="T4" fmla="*/ 32 w 55"/>
                  <a:gd name="T5" fmla="*/ 32 h 38"/>
                  <a:gd name="T6" fmla="*/ 3 w 55"/>
                  <a:gd name="T7" fmla="*/ 7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4" y="36"/>
                      <a:pt x="37" y="34"/>
                      <a:pt x="32" y="32"/>
                    </a:cubicBezTo>
                    <a:cubicBezTo>
                      <a:pt x="25" y="29"/>
                      <a:pt x="12" y="4"/>
                      <a:pt x="3" y="7"/>
                    </a:cubicBezTo>
                    <a:cubicBezTo>
                      <a:pt x="2" y="8"/>
                      <a:pt x="1" y="7"/>
                      <a:pt x="0" y="6"/>
                    </a:cubicBezTo>
                    <a:cubicBezTo>
                      <a:pt x="0" y="5"/>
                      <a:pt x="1" y="3"/>
                      <a:pt x="2" y="3"/>
                    </a:cubicBezTo>
                    <a:cubicBezTo>
                      <a:pt x="13" y="0"/>
                      <a:pt x="26" y="25"/>
                      <a:pt x="33" y="28"/>
                    </a:cubicBezTo>
                    <a:cubicBezTo>
                      <a:pt x="39" y="30"/>
                      <a:pt x="45" y="32"/>
                      <a:pt x="53" y="33"/>
                    </a:cubicBezTo>
                    <a:cubicBezTo>
                      <a:pt x="55" y="33"/>
                      <a:pt x="55" y="34"/>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81"/>
              <p:cNvSpPr>
                <a:spLocks/>
              </p:cNvSpPr>
              <p:nvPr/>
            </p:nvSpPr>
            <p:spPr bwMode="auto">
              <a:xfrm>
                <a:off x="3743" y="1815"/>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2" name="Freeform 1182"/>
              <p:cNvSpPr>
                <a:spLocks/>
              </p:cNvSpPr>
              <p:nvPr/>
            </p:nvSpPr>
            <p:spPr bwMode="auto">
              <a:xfrm>
                <a:off x="3748" y="1818"/>
                <a:ext cx="16" cy="10"/>
              </a:xfrm>
              <a:custGeom>
                <a:avLst/>
                <a:gdLst>
                  <a:gd name="T0" fmla="*/ 71 w 73"/>
                  <a:gd name="T1" fmla="*/ 46 h 46"/>
                  <a:gd name="T2" fmla="*/ 69 w 73"/>
                  <a:gd name="T3" fmla="*/ 45 h 46"/>
                  <a:gd name="T4" fmla="*/ 2 w 73"/>
                  <a:gd name="T5" fmla="*/ 4 h 46"/>
                  <a:gd name="T6" fmla="*/ 0 w 73"/>
                  <a:gd name="T7" fmla="*/ 2 h 46"/>
                  <a:gd name="T8" fmla="*/ 2 w 73"/>
                  <a:gd name="T9" fmla="*/ 0 h 46"/>
                  <a:gd name="T10" fmla="*/ 2 w 73"/>
                  <a:gd name="T11" fmla="*/ 0 h 46"/>
                  <a:gd name="T12" fmla="*/ 73 w 73"/>
                  <a:gd name="T13" fmla="*/ 44 h 46"/>
                  <a:gd name="T14" fmla="*/ 71 w 73"/>
                  <a:gd name="T15" fmla="*/ 46 h 46"/>
                  <a:gd name="T16" fmla="*/ 71 w 73"/>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6">
                    <a:moveTo>
                      <a:pt x="71" y="46"/>
                    </a:moveTo>
                    <a:cubicBezTo>
                      <a:pt x="70" y="46"/>
                      <a:pt x="69" y="46"/>
                      <a:pt x="69" y="45"/>
                    </a:cubicBezTo>
                    <a:cubicBezTo>
                      <a:pt x="67" y="34"/>
                      <a:pt x="31" y="4"/>
                      <a:pt x="2" y="4"/>
                    </a:cubicBezTo>
                    <a:cubicBezTo>
                      <a:pt x="1" y="4"/>
                      <a:pt x="0" y="3"/>
                      <a:pt x="0" y="2"/>
                    </a:cubicBezTo>
                    <a:cubicBezTo>
                      <a:pt x="0" y="1"/>
                      <a:pt x="1" y="0"/>
                      <a:pt x="2" y="0"/>
                    </a:cubicBezTo>
                    <a:lnTo>
                      <a:pt x="2" y="0"/>
                    </a:lnTo>
                    <a:cubicBezTo>
                      <a:pt x="29" y="0"/>
                      <a:pt x="69" y="27"/>
                      <a:pt x="73" y="44"/>
                    </a:cubicBezTo>
                    <a:cubicBezTo>
                      <a:pt x="73" y="45"/>
                      <a:pt x="72" y="46"/>
                      <a:pt x="71" y="46"/>
                    </a:cubicBezTo>
                    <a:cubicBezTo>
                      <a:pt x="71" y="46"/>
                      <a:pt x="71" y="46"/>
                      <a:pt x="71" y="46"/>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83"/>
              <p:cNvSpPr>
                <a:spLocks/>
              </p:cNvSpPr>
              <p:nvPr/>
            </p:nvSpPr>
            <p:spPr bwMode="auto">
              <a:xfrm>
                <a:off x="3764" y="1829"/>
                <a:ext cx="3" cy="2"/>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4" name="Freeform 1184"/>
              <p:cNvSpPr>
                <a:spLocks/>
              </p:cNvSpPr>
              <p:nvPr/>
            </p:nvSpPr>
            <p:spPr bwMode="auto">
              <a:xfrm>
                <a:off x="3762" y="1826"/>
                <a:ext cx="3" cy="3"/>
              </a:xfrm>
              <a:custGeom>
                <a:avLst/>
                <a:gdLst>
                  <a:gd name="T0" fmla="*/ 9 w 15"/>
                  <a:gd name="T1" fmla="*/ 0 h 14"/>
                  <a:gd name="T2" fmla="*/ 11 w 15"/>
                  <a:gd name="T3" fmla="*/ 12 h 14"/>
                  <a:gd name="T4" fmla="*/ 2 w 15"/>
                  <a:gd name="T5" fmla="*/ 11 h 14"/>
                  <a:gd name="T6" fmla="*/ 9 w 15"/>
                  <a:gd name="T7" fmla="*/ 0 h 14"/>
                </a:gdLst>
                <a:ahLst/>
                <a:cxnLst>
                  <a:cxn ang="0">
                    <a:pos x="T0" y="T1"/>
                  </a:cxn>
                  <a:cxn ang="0">
                    <a:pos x="T2" y="T3"/>
                  </a:cxn>
                  <a:cxn ang="0">
                    <a:pos x="T4" y="T5"/>
                  </a:cxn>
                  <a:cxn ang="0">
                    <a:pos x="T6" y="T7"/>
                  </a:cxn>
                </a:cxnLst>
                <a:rect l="0" t="0" r="r" b="b"/>
                <a:pathLst>
                  <a:path w="15" h="14">
                    <a:moveTo>
                      <a:pt x="9" y="0"/>
                    </a:moveTo>
                    <a:cubicBezTo>
                      <a:pt x="9" y="0"/>
                      <a:pt x="15" y="10"/>
                      <a:pt x="11" y="12"/>
                    </a:cubicBezTo>
                    <a:cubicBezTo>
                      <a:pt x="7" y="14"/>
                      <a:pt x="5"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85"/>
              <p:cNvSpPr>
                <a:spLocks/>
              </p:cNvSpPr>
              <p:nvPr/>
            </p:nvSpPr>
            <p:spPr bwMode="auto">
              <a:xfrm>
                <a:off x="3767" y="1830"/>
                <a:ext cx="11" cy="8"/>
              </a:xfrm>
              <a:custGeom>
                <a:avLst/>
                <a:gdLst>
                  <a:gd name="T0" fmla="*/ 0 w 50"/>
                  <a:gd name="T1" fmla="*/ 5 h 36"/>
                  <a:gd name="T2" fmla="*/ 29 w 50"/>
                  <a:gd name="T3" fmla="*/ 30 h 36"/>
                  <a:gd name="T4" fmla="*/ 50 w 50"/>
                  <a:gd name="T5" fmla="*/ 36 h 36"/>
                  <a:gd name="T6" fmla="*/ 50 w 50"/>
                  <a:gd name="T7" fmla="*/ 33 h 36"/>
                  <a:gd name="T8" fmla="*/ 29 w 50"/>
                  <a:gd name="T9" fmla="*/ 28 h 36"/>
                  <a:gd name="T10" fmla="*/ 0 w 50"/>
                  <a:gd name="T11" fmla="*/ 3 h 36"/>
                  <a:gd name="T12" fmla="*/ 0 w 50"/>
                  <a:gd name="T13" fmla="*/ 5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0" y="5"/>
                    </a:moveTo>
                    <a:cubicBezTo>
                      <a:pt x="9" y="2"/>
                      <a:pt x="22" y="27"/>
                      <a:pt x="29" y="30"/>
                    </a:cubicBezTo>
                    <a:cubicBezTo>
                      <a:pt x="34" y="32"/>
                      <a:pt x="41" y="34"/>
                      <a:pt x="50" y="36"/>
                    </a:cubicBezTo>
                    <a:lnTo>
                      <a:pt x="50" y="33"/>
                    </a:lnTo>
                    <a:cubicBezTo>
                      <a:pt x="41" y="32"/>
                      <a:pt x="34" y="30"/>
                      <a:pt x="29" y="28"/>
                    </a:cubicBezTo>
                    <a:cubicBezTo>
                      <a:pt x="22" y="25"/>
                      <a:pt x="9" y="0"/>
                      <a:pt x="0" y="3"/>
                    </a:cubicBezTo>
                    <a:lnTo>
                      <a:pt x="0" y="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6" name="Freeform 1186"/>
              <p:cNvSpPr>
                <a:spLocks/>
              </p:cNvSpPr>
              <p:nvPr/>
            </p:nvSpPr>
            <p:spPr bwMode="auto">
              <a:xfrm>
                <a:off x="3743" y="1820"/>
                <a:ext cx="7" cy="2"/>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87"/>
              <p:cNvSpPr>
                <a:spLocks/>
              </p:cNvSpPr>
              <p:nvPr/>
            </p:nvSpPr>
            <p:spPr bwMode="auto">
              <a:xfrm>
                <a:off x="3748" y="1818"/>
                <a:ext cx="15" cy="11"/>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5" y="34"/>
                      <a:pt x="29" y="2"/>
                      <a:pt x="0" y="4"/>
                    </a:cubicBezTo>
                    <a:lnTo>
                      <a:pt x="0" y="2"/>
                    </a:lnTo>
                    <a:cubicBezTo>
                      <a:pt x="31" y="0"/>
                      <a:pt x="65" y="32"/>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8" name="Rectangle 1188"/>
              <p:cNvSpPr>
                <a:spLocks noChangeArrowheads="1"/>
              </p:cNvSpPr>
              <p:nvPr/>
            </p:nvSpPr>
            <p:spPr bwMode="auto">
              <a:xfrm>
                <a:off x="3764" y="183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89"/>
              <p:cNvSpPr>
                <a:spLocks/>
              </p:cNvSpPr>
              <p:nvPr/>
            </p:nvSpPr>
            <p:spPr bwMode="auto">
              <a:xfrm>
                <a:off x="3762" y="1829"/>
                <a:ext cx="2" cy="1"/>
              </a:xfrm>
              <a:custGeom>
                <a:avLst/>
                <a:gdLst>
                  <a:gd name="T0" fmla="*/ 0 w 9"/>
                  <a:gd name="T1" fmla="*/ 2 h 5"/>
                  <a:gd name="T2" fmla="*/ 9 w 9"/>
                  <a:gd name="T3" fmla="*/ 3 h 5"/>
                  <a:gd name="T4" fmla="*/ 9 w 9"/>
                  <a:gd name="T5" fmla="*/ 1 h 5"/>
                  <a:gd name="T6" fmla="*/ 0 w 9"/>
                  <a:gd name="T7" fmla="*/ 0 h 5"/>
                  <a:gd name="T8" fmla="*/ 0 w 9"/>
                  <a:gd name="T9" fmla="*/ 2 h 5"/>
                  <a:gd name="T10" fmla="*/ 0 w 9"/>
                  <a:gd name="T11" fmla="*/ 2 h 5"/>
                </a:gdLst>
                <a:ahLst/>
                <a:cxnLst>
                  <a:cxn ang="0">
                    <a:pos x="T0" y="T1"/>
                  </a:cxn>
                  <a:cxn ang="0">
                    <a:pos x="T2" y="T3"/>
                  </a:cxn>
                  <a:cxn ang="0">
                    <a:pos x="T4" y="T5"/>
                  </a:cxn>
                  <a:cxn ang="0">
                    <a:pos x="T6" y="T7"/>
                  </a:cxn>
                  <a:cxn ang="0">
                    <a:pos x="T8" y="T9"/>
                  </a:cxn>
                  <a:cxn ang="0">
                    <a:pos x="T10" y="T11"/>
                  </a:cxn>
                </a:cxnLst>
                <a:rect l="0" t="0" r="r" b="b"/>
                <a:pathLst>
                  <a:path w="9" h="5">
                    <a:moveTo>
                      <a:pt x="0" y="2"/>
                    </a:moveTo>
                    <a:cubicBezTo>
                      <a:pt x="3" y="5"/>
                      <a:pt x="5" y="5"/>
                      <a:pt x="9" y="3"/>
                    </a:cubicBezTo>
                    <a:lnTo>
                      <a:pt x="9" y="1"/>
                    </a:lnTo>
                    <a:cubicBezTo>
                      <a:pt x="5" y="3"/>
                      <a:pt x="3" y="3"/>
                      <a:pt x="0" y="0"/>
                    </a:cubicBezTo>
                    <a:lnTo>
                      <a:pt x="0" y="2"/>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0" name="Rectangle 1190"/>
              <p:cNvSpPr>
                <a:spLocks noChangeArrowheads="1"/>
              </p:cNvSpPr>
              <p:nvPr/>
            </p:nvSpPr>
            <p:spPr bwMode="auto">
              <a:xfrm>
                <a:off x="3747" y="1812"/>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Rectangle 1191"/>
              <p:cNvSpPr>
                <a:spLocks noChangeArrowheads="1"/>
              </p:cNvSpPr>
              <p:nvPr/>
            </p:nvSpPr>
            <p:spPr bwMode="auto">
              <a:xfrm>
                <a:off x="3743" y="1812"/>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2" name="Freeform 1192"/>
              <p:cNvSpPr>
                <a:spLocks/>
              </p:cNvSpPr>
              <p:nvPr/>
            </p:nvSpPr>
            <p:spPr bwMode="auto">
              <a:xfrm>
                <a:off x="3743" y="1813"/>
                <a:ext cx="41" cy="6"/>
              </a:xfrm>
              <a:custGeom>
                <a:avLst/>
                <a:gdLst>
                  <a:gd name="T0" fmla="*/ 1 w 182"/>
                  <a:gd name="T1" fmla="*/ 19 h 25"/>
                  <a:gd name="T2" fmla="*/ 1 w 182"/>
                  <a:gd name="T3" fmla="*/ 10 h 25"/>
                  <a:gd name="T4" fmla="*/ 4 w 182"/>
                  <a:gd name="T5" fmla="*/ 0 h 25"/>
                  <a:gd name="T6" fmla="*/ 176 w 182"/>
                  <a:gd name="T7" fmla="*/ 0 h 25"/>
                  <a:gd name="T8" fmla="*/ 175 w 182"/>
                  <a:gd name="T9" fmla="*/ 2 h 25"/>
                  <a:gd name="T10" fmla="*/ 22 w 182"/>
                  <a:gd name="T11" fmla="*/ 2 h 25"/>
                  <a:gd name="T12" fmla="*/ 4 w 182"/>
                  <a:gd name="T13" fmla="*/ 9 h 25"/>
                  <a:gd name="T14" fmla="*/ 4 w 182"/>
                  <a:gd name="T15" fmla="*/ 19 h 25"/>
                  <a:gd name="T16" fmla="*/ 1 w 182"/>
                  <a:gd name="T17"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5">
                    <a:moveTo>
                      <a:pt x="1" y="19"/>
                    </a:moveTo>
                    <a:lnTo>
                      <a:pt x="1" y="10"/>
                    </a:lnTo>
                    <a:cubicBezTo>
                      <a:pt x="2" y="4"/>
                      <a:pt x="0" y="0"/>
                      <a:pt x="4" y="0"/>
                    </a:cubicBezTo>
                    <a:lnTo>
                      <a:pt x="176" y="0"/>
                    </a:lnTo>
                    <a:cubicBezTo>
                      <a:pt x="182" y="0"/>
                      <a:pt x="182" y="2"/>
                      <a:pt x="175" y="2"/>
                    </a:cubicBezTo>
                    <a:lnTo>
                      <a:pt x="22" y="2"/>
                    </a:lnTo>
                    <a:cubicBezTo>
                      <a:pt x="6" y="2"/>
                      <a:pt x="4" y="6"/>
                      <a:pt x="4" y="9"/>
                    </a:cubicBezTo>
                    <a:lnTo>
                      <a:pt x="4" y="19"/>
                    </a:lnTo>
                    <a:cubicBezTo>
                      <a:pt x="4" y="25"/>
                      <a:pt x="1" y="25"/>
                      <a:pt x="1" y="1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93"/>
              <p:cNvSpPr>
                <a:spLocks/>
              </p:cNvSpPr>
              <p:nvPr/>
            </p:nvSpPr>
            <p:spPr bwMode="auto">
              <a:xfrm>
                <a:off x="3743" y="1841"/>
                <a:ext cx="41" cy="1"/>
              </a:xfrm>
              <a:custGeom>
                <a:avLst/>
                <a:gdLst>
                  <a:gd name="T0" fmla="*/ 180 w 180"/>
                  <a:gd name="T1" fmla="*/ 0 h 5"/>
                  <a:gd name="T2" fmla="*/ 176 w 180"/>
                  <a:gd name="T3" fmla="*/ 5 h 5"/>
                  <a:gd name="T4" fmla="*/ 6 w 180"/>
                  <a:gd name="T5" fmla="*/ 5 h 5"/>
                  <a:gd name="T6" fmla="*/ 7 w 180"/>
                  <a:gd name="T7" fmla="*/ 2 h 5"/>
                  <a:gd name="T8" fmla="*/ 133 w 180"/>
                  <a:gd name="T9" fmla="*/ 2 h 5"/>
                  <a:gd name="T10" fmla="*/ 180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80" y="0"/>
                    </a:moveTo>
                    <a:cubicBezTo>
                      <a:pt x="180" y="2"/>
                      <a:pt x="180" y="5"/>
                      <a:pt x="176" y="5"/>
                    </a:cubicBezTo>
                    <a:lnTo>
                      <a:pt x="6" y="5"/>
                    </a:lnTo>
                    <a:cubicBezTo>
                      <a:pt x="0" y="5"/>
                      <a:pt x="0" y="2"/>
                      <a:pt x="7" y="2"/>
                    </a:cubicBezTo>
                    <a:cubicBezTo>
                      <a:pt x="11" y="2"/>
                      <a:pt x="117" y="2"/>
                      <a:pt x="133" y="2"/>
                    </a:cubicBezTo>
                    <a:cubicBezTo>
                      <a:pt x="154" y="2"/>
                      <a:pt x="180" y="0"/>
                      <a:pt x="180"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4" name="Freeform 1194"/>
              <p:cNvSpPr>
                <a:spLocks/>
              </p:cNvSpPr>
              <p:nvPr/>
            </p:nvSpPr>
            <p:spPr bwMode="auto">
              <a:xfrm>
                <a:off x="3735" y="1812"/>
                <a:ext cx="8" cy="31"/>
              </a:xfrm>
              <a:custGeom>
                <a:avLst/>
                <a:gdLst>
                  <a:gd name="T0" fmla="*/ 1 w 35"/>
                  <a:gd name="T1" fmla="*/ 136 h 136"/>
                  <a:gd name="T2" fmla="*/ 29 w 35"/>
                  <a:gd name="T3" fmla="*/ 136 h 136"/>
                  <a:gd name="T4" fmla="*/ 29 w 35"/>
                  <a:gd name="T5" fmla="*/ 117 h 136"/>
                  <a:gd name="T6" fmla="*/ 35 w 35"/>
                  <a:gd name="T7" fmla="*/ 108 h 136"/>
                  <a:gd name="T8" fmla="*/ 35 w 35"/>
                  <a:gd name="T9" fmla="*/ 0 h 136"/>
                  <a:gd name="T10" fmla="*/ 0 w 35"/>
                  <a:gd name="T11" fmla="*/ 0 h 136"/>
                  <a:gd name="T12" fmla="*/ 0 w 35"/>
                  <a:gd name="T13" fmla="*/ 134 h 136"/>
                  <a:gd name="T14" fmla="*/ 0 w 35"/>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1" y="136"/>
                    </a:moveTo>
                    <a:lnTo>
                      <a:pt x="29" y="136"/>
                    </a:lnTo>
                    <a:lnTo>
                      <a:pt x="29" y="117"/>
                    </a:lnTo>
                    <a:cubicBezTo>
                      <a:pt x="29" y="113"/>
                      <a:pt x="31" y="110"/>
                      <a:pt x="35" y="108"/>
                    </a:cubicBezTo>
                    <a:lnTo>
                      <a:pt x="35"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5" name="Rectangle 1195"/>
              <p:cNvSpPr>
                <a:spLocks noChangeArrowheads="1"/>
              </p:cNvSpPr>
              <p:nvPr/>
            </p:nvSpPr>
            <p:spPr bwMode="auto">
              <a:xfrm>
                <a:off x="3735" y="1812"/>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6" name="Freeform 1196"/>
              <p:cNvSpPr>
                <a:spLocks/>
              </p:cNvSpPr>
              <p:nvPr/>
            </p:nvSpPr>
            <p:spPr bwMode="auto">
              <a:xfrm>
                <a:off x="3785" y="1812"/>
                <a:ext cx="9" cy="31"/>
              </a:xfrm>
              <a:custGeom>
                <a:avLst/>
                <a:gdLst>
                  <a:gd name="T0" fmla="*/ 37 w 37"/>
                  <a:gd name="T1" fmla="*/ 136 h 136"/>
                  <a:gd name="T2" fmla="*/ 37 w 37"/>
                  <a:gd name="T3" fmla="*/ 134 h 136"/>
                  <a:gd name="T4" fmla="*/ 37 w 37"/>
                  <a:gd name="T5" fmla="*/ 0 h 136"/>
                  <a:gd name="T6" fmla="*/ 0 w 37"/>
                  <a:gd name="T7" fmla="*/ 0 h 136"/>
                  <a:gd name="T8" fmla="*/ 0 w 37"/>
                  <a:gd name="T9" fmla="*/ 123 h 136"/>
                  <a:gd name="T10" fmla="*/ 6 w 37"/>
                  <a:gd name="T11" fmla="*/ 132 h 136"/>
                  <a:gd name="T12" fmla="*/ 6 w 37"/>
                  <a:gd name="T13" fmla="*/ 136 h 136"/>
                  <a:gd name="T14" fmla="*/ 36 w 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36">
                    <a:moveTo>
                      <a:pt x="37" y="136"/>
                    </a:moveTo>
                    <a:lnTo>
                      <a:pt x="37" y="134"/>
                    </a:lnTo>
                    <a:lnTo>
                      <a:pt x="37" y="0"/>
                    </a:lnTo>
                    <a:lnTo>
                      <a:pt x="0" y="0"/>
                    </a:lnTo>
                    <a:lnTo>
                      <a:pt x="0" y="123"/>
                    </a:lnTo>
                    <a:cubicBezTo>
                      <a:pt x="3" y="125"/>
                      <a:pt x="6" y="128"/>
                      <a:pt x="6" y="132"/>
                    </a:cubicBezTo>
                    <a:lnTo>
                      <a:pt x="6" y="136"/>
                    </a:lnTo>
                    <a:lnTo>
                      <a:pt x="36"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7" name="Rectangle 1197"/>
              <p:cNvSpPr>
                <a:spLocks noChangeArrowheads="1"/>
              </p:cNvSpPr>
              <p:nvPr/>
            </p:nvSpPr>
            <p:spPr bwMode="auto">
              <a:xfrm>
                <a:off x="3785" y="1812"/>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8" name="Rectangle 1198"/>
              <p:cNvSpPr>
                <a:spLocks noChangeArrowheads="1"/>
              </p:cNvSpPr>
              <p:nvPr/>
            </p:nvSpPr>
            <p:spPr bwMode="auto">
              <a:xfrm>
                <a:off x="4450" y="192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99"/>
              <p:cNvSpPr>
                <a:spLocks/>
              </p:cNvSpPr>
              <p:nvPr/>
            </p:nvSpPr>
            <p:spPr bwMode="auto">
              <a:xfrm>
                <a:off x="4488" y="1946"/>
                <a:ext cx="13" cy="5"/>
              </a:xfrm>
              <a:custGeom>
                <a:avLst/>
                <a:gdLst>
                  <a:gd name="T0" fmla="*/ 0 w 55"/>
                  <a:gd name="T1" fmla="*/ 20 h 20"/>
                  <a:gd name="T2" fmla="*/ 31 w 55"/>
                  <a:gd name="T3" fmla="*/ 5 h 20"/>
                  <a:gd name="T4" fmla="*/ 55 w 55"/>
                  <a:gd name="T5" fmla="*/ 5 h 20"/>
                  <a:gd name="T6" fmla="*/ 54 w 55"/>
                  <a:gd name="T7" fmla="*/ 20 h 20"/>
                  <a:gd name="T8" fmla="*/ 0 w 55"/>
                  <a:gd name="T9" fmla="*/ 20 h 20"/>
                </a:gdLst>
                <a:ahLst/>
                <a:cxnLst>
                  <a:cxn ang="0">
                    <a:pos x="T0" y="T1"/>
                  </a:cxn>
                  <a:cxn ang="0">
                    <a:pos x="T2" y="T3"/>
                  </a:cxn>
                  <a:cxn ang="0">
                    <a:pos x="T4" y="T5"/>
                  </a:cxn>
                  <a:cxn ang="0">
                    <a:pos x="T6" y="T7"/>
                  </a:cxn>
                  <a:cxn ang="0">
                    <a:pos x="T8" y="T9"/>
                  </a:cxn>
                </a:cxnLst>
                <a:rect l="0" t="0" r="r" b="b"/>
                <a:pathLst>
                  <a:path w="55" h="20">
                    <a:moveTo>
                      <a:pt x="0" y="20"/>
                    </a:moveTo>
                    <a:cubicBezTo>
                      <a:pt x="0" y="20"/>
                      <a:pt x="23" y="3"/>
                      <a:pt x="31" y="5"/>
                    </a:cubicBezTo>
                    <a:cubicBezTo>
                      <a:pt x="39" y="6"/>
                      <a:pt x="50" y="0"/>
                      <a:pt x="55" y="5"/>
                    </a:cubicBezTo>
                    <a:lnTo>
                      <a:pt x="54" y="20"/>
                    </a:lnTo>
                    <a:lnTo>
                      <a:pt x="0" y="2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0" name="Rectangle 1200"/>
              <p:cNvSpPr>
                <a:spLocks noChangeArrowheads="1"/>
              </p:cNvSpPr>
              <p:nvPr/>
            </p:nvSpPr>
            <p:spPr bwMode="auto">
              <a:xfrm>
                <a:off x="4476" y="1931"/>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Rectangle 1201"/>
              <p:cNvSpPr>
                <a:spLocks noChangeArrowheads="1"/>
              </p:cNvSpPr>
              <p:nvPr/>
            </p:nvSpPr>
            <p:spPr bwMode="auto">
              <a:xfrm>
                <a:off x="4476" y="1939"/>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2" name="Freeform 1202"/>
              <p:cNvSpPr>
                <a:spLocks/>
              </p:cNvSpPr>
              <p:nvPr/>
            </p:nvSpPr>
            <p:spPr bwMode="auto">
              <a:xfrm>
                <a:off x="4493" y="1942"/>
                <a:ext cx="8" cy="6"/>
              </a:xfrm>
              <a:custGeom>
                <a:avLst/>
                <a:gdLst>
                  <a:gd name="T0" fmla="*/ 0 w 34"/>
                  <a:gd name="T1" fmla="*/ 22 h 26"/>
                  <a:gd name="T2" fmla="*/ 34 w 34"/>
                  <a:gd name="T3" fmla="*/ 26 h 26"/>
                  <a:gd name="T4" fmla="*/ 34 w 34"/>
                  <a:gd name="T5" fmla="*/ 0 h 26"/>
                  <a:gd name="T6" fmla="*/ 0 w 34"/>
                  <a:gd name="T7" fmla="*/ 3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3"/>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3" name="Freeform 1203"/>
              <p:cNvSpPr>
                <a:spLocks/>
              </p:cNvSpPr>
              <p:nvPr/>
            </p:nvSpPr>
            <p:spPr bwMode="auto">
              <a:xfrm>
                <a:off x="4482" y="1937"/>
                <a:ext cx="12" cy="9"/>
              </a:xfrm>
              <a:custGeom>
                <a:avLst/>
                <a:gdLst>
                  <a:gd name="T0" fmla="*/ 53 w 55"/>
                  <a:gd name="T1" fmla="*/ 38 h 38"/>
                  <a:gd name="T2" fmla="*/ 53 w 55"/>
                  <a:gd name="T3" fmla="*/ 38 h 38"/>
                  <a:gd name="T4" fmla="*/ 32 w 55"/>
                  <a:gd name="T5" fmla="*/ 32 h 38"/>
                  <a:gd name="T6" fmla="*/ 2 w 55"/>
                  <a:gd name="T7" fmla="*/ 8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3" y="37"/>
                      <a:pt x="37" y="34"/>
                      <a:pt x="32" y="32"/>
                    </a:cubicBezTo>
                    <a:cubicBezTo>
                      <a:pt x="24" y="29"/>
                      <a:pt x="12" y="5"/>
                      <a:pt x="2" y="8"/>
                    </a:cubicBezTo>
                    <a:cubicBezTo>
                      <a:pt x="2" y="8"/>
                      <a:pt x="0" y="7"/>
                      <a:pt x="0" y="6"/>
                    </a:cubicBezTo>
                    <a:cubicBezTo>
                      <a:pt x="0" y="5"/>
                      <a:pt x="1" y="4"/>
                      <a:pt x="2" y="3"/>
                    </a:cubicBezTo>
                    <a:cubicBezTo>
                      <a:pt x="12" y="0"/>
                      <a:pt x="25" y="25"/>
                      <a:pt x="33" y="28"/>
                    </a:cubicBezTo>
                    <a:cubicBezTo>
                      <a:pt x="38" y="30"/>
                      <a:pt x="44" y="32"/>
                      <a:pt x="53" y="33"/>
                    </a:cubicBezTo>
                    <a:cubicBezTo>
                      <a:pt x="54" y="34"/>
                      <a:pt x="55" y="35"/>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4" name="Freeform 1204"/>
              <p:cNvSpPr>
                <a:spLocks/>
              </p:cNvSpPr>
              <p:nvPr/>
            </p:nvSpPr>
            <p:spPr bwMode="auto">
              <a:xfrm>
                <a:off x="4458" y="1923"/>
                <a:ext cx="8"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205"/>
              <p:cNvSpPr>
                <a:spLocks/>
              </p:cNvSpPr>
              <p:nvPr/>
            </p:nvSpPr>
            <p:spPr bwMode="auto">
              <a:xfrm>
                <a:off x="4463" y="1926"/>
                <a:ext cx="16" cy="10"/>
              </a:xfrm>
              <a:custGeom>
                <a:avLst/>
                <a:gdLst>
                  <a:gd name="T0" fmla="*/ 71 w 73"/>
                  <a:gd name="T1" fmla="*/ 47 h 47"/>
                  <a:gd name="T2" fmla="*/ 69 w 73"/>
                  <a:gd name="T3" fmla="*/ 45 h 47"/>
                  <a:gd name="T4" fmla="*/ 2 w 73"/>
                  <a:gd name="T5" fmla="*/ 4 h 47"/>
                  <a:gd name="T6" fmla="*/ 0 w 73"/>
                  <a:gd name="T7" fmla="*/ 2 h 47"/>
                  <a:gd name="T8" fmla="*/ 2 w 73"/>
                  <a:gd name="T9" fmla="*/ 0 h 47"/>
                  <a:gd name="T10" fmla="*/ 2 w 73"/>
                  <a:gd name="T11" fmla="*/ 0 h 47"/>
                  <a:gd name="T12" fmla="*/ 72 w 73"/>
                  <a:gd name="T13" fmla="*/ 44 h 47"/>
                  <a:gd name="T14" fmla="*/ 71 w 73"/>
                  <a:gd name="T15" fmla="*/ 47 h 47"/>
                  <a:gd name="T16" fmla="*/ 71 w 73"/>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71" y="47"/>
                    </a:moveTo>
                    <a:cubicBezTo>
                      <a:pt x="70" y="47"/>
                      <a:pt x="69" y="46"/>
                      <a:pt x="69" y="45"/>
                    </a:cubicBezTo>
                    <a:cubicBezTo>
                      <a:pt x="66" y="35"/>
                      <a:pt x="30" y="4"/>
                      <a:pt x="2" y="4"/>
                    </a:cubicBezTo>
                    <a:cubicBezTo>
                      <a:pt x="1" y="4"/>
                      <a:pt x="0" y="3"/>
                      <a:pt x="0" y="2"/>
                    </a:cubicBezTo>
                    <a:cubicBezTo>
                      <a:pt x="0" y="1"/>
                      <a:pt x="1" y="0"/>
                      <a:pt x="2" y="0"/>
                    </a:cubicBezTo>
                    <a:lnTo>
                      <a:pt x="2" y="0"/>
                    </a:lnTo>
                    <a:cubicBezTo>
                      <a:pt x="29" y="0"/>
                      <a:pt x="69" y="27"/>
                      <a:pt x="72" y="44"/>
                    </a:cubicBezTo>
                    <a:cubicBezTo>
                      <a:pt x="73" y="45"/>
                      <a:pt x="72" y="46"/>
                      <a:pt x="71" y="47"/>
                    </a:cubicBezTo>
                    <a:cubicBezTo>
                      <a:pt x="71" y="47"/>
                      <a:pt x="71" y="47"/>
                      <a:pt x="71" y="47"/>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6" name="Freeform 1206"/>
              <p:cNvSpPr>
                <a:spLocks/>
              </p:cNvSpPr>
              <p:nvPr/>
            </p:nvSpPr>
            <p:spPr bwMode="auto">
              <a:xfrm>
                <a:off x="4480" y="1936"/>
                <a:ext cx="3" cy="3"/>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207"/>
              <p:cNvSpPr>
                <a:spLocks/>
              </p:cNvSpPr>
              <p:nvPr/>
            </p:nvSpPr>
            <p:spPr bwMode="auto">
              <a:xfrm>
                <a:off x="4477" y="1934"/>
                <a:ext cx="3" cy="3"/>
              </a:xfrm>
              <a:custGeom>
                <a:avLst/>
                <a:gdLst>
                  <a:gd name="T0" fmla="*/ 9 w 14"/>
                  <a:gd name="T1" fmla="*/ 0 h 14"/>
                  <a:gd name="T2" fmla="*/ 11 w 14"/>
                  <a:gd name="T3" fmla="*/ 12 h 14"/>
                  <a:gd name="T4" fmla="*/ 2 w 14"/>
                  <a:gd name="T5" fmla="*/ 11 h 14"/>
                  <a:gd name="T6" fmla="*/ 9 w 14"/>
                  <a:gd name="T7" fmla="*/ 0 h 14"/>
                </a:gdLst>
                <a:ahLst/>
                <a:cxnLst>
                  <a:cxn ang="0">
                    <a:pos x="T0" y="T1"/>
                  </a:cxn>
                  <a:cxn ang="0">
                    <a:pos x="T2" y="T3"/>
                  </a:cxn>
                  <a:cxn ang="0">
                    <a:pos x="T4" y="T5"/>
                  </a:cxn>
                  <a:cxn ang="0">
                    <a:pos x="T6" y="T7"/>
                  </a:cxn>
                </a:cxnLst>
                <a:rect l="0" t="0" r="r" b="b"/>
                <a:pathLst>
                  <a:path w="14" h="14">
                    <a:moveTo>
                      <a:pt x="9" y="0"/>
                    </a:moveTo>
                    <a:cubicBezTo>
                      <a:pt x="9" y="0"/>
                      <a:pt x="14" y="11"/>
                      <a:pt x="11" y="12"/>
                    </a:cubicBezTo>
                    <a:cubicBezTo>
                      <a:pt x="7" y="14"/>
                      <a:pt x="4"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8" name="Freeform 1208"/>
              <p:cNvSpPr>
                <a:spLocks/>
              </p:cNvSpPr>
              <p:nvPr/>
            </p:nvSpPr>
            <p:spPr bwMode="auto">
              <a:xfrm>
                <a:off x="4482" y="1938"/>
                <a:ext cx="12" cy="8"/>
              </a:xfrm>
              <a:custGeom>
                <a:avLst/>
                <a:gdLst>
                  <a:gd name="T0" fmla="*/ 0 w 51"/>
                  <a:gd name="T1" fmla="*/ 6 h 36"/>
                  <a:gd name="T2" fmla="*/ 30 w 51"/>
                  <a:gd name="T3" fmla="*/ 30 h 36"/>
                  <a:gd name="T4" fmla="*/ 51 w 51"/>
                  <a:gd name="T5" fmla="*/ 36 h 36"/>
                  <a:gd name="T6" fmla="*/ 51 w 51"/>
                  <a:gd name="T7" fmla="*/ 34 h 36"/>
                  <a:gd name="T8" fmla="*/ 30 w 51"/>
                  <a:gd name="T9" fmla="*/ 28 h 36"/>
                  <a:gd name="T10" fmla="*/ 0 w 51"/>
                  <a:gd name="T11" fmla="*/ 3 h 36"/>
                  <a:gd name="T12" fmla="*/ 0 w 51"/>
                  <a:gd name="T13" fmla="*/ 6 h 36"/>
                </a:gdLst>
                <a:ahLst/>
                <a:cxnLst>
                  <a:cxn ang="0">
                    <a:pos x="T0" y="T1"/>
                  </a:cxn>
                  <a:cxn ang="0">
                    <a:pos x="T2" y="T3"/>
                  </a:cxn>
                  <a:cxn ang="0">
                    <a:pos x="T4" y="T5"/>
                  </a:cxn>
                  <a:cxn ang="0">
                    <a:pos x="T6" y="T7"/>
                  </a:cxn>
                  <a:cxn ang="0">
                    <a:pos x="T8" y="T9"/>
                  </a:cxn>
                  <a:cxn ang="0">
                    <a:pos x="T10" y="T11"/>
                  </a:cxn>
                  <a:cxn ang="0">
                    <a:pos x="T12" y="T13"/>
                  </a:cxn>
                </a:cxnLst>
                <a:rect l="0" t="0" r="r" b="b"/>
                <a:pathLst>
                  <a:path w="51" h="36">
                    <a:moveTo>
                      <a:pt x="0" y="6"/>
                    </a:moveTo>
                    <a:cubicBezTo>
                      <a:pt x="10" y="3"/>
                      <a:pt x="22" y="27"/>
                      <a:pt x="30" y="30"/>
                    </a:cubicBezTo>
                    <a:cubicBezTo>
                      <a:pt x="35" y="32"/>
                      <a:pt x="41" y="35"/>
                      <a:pt x="51" y="36"/>
                    </a:cubicBezTo>
                    <a:lnTo>
                      <a:pt x="51" y="34"/>
                    </a:lnTo>
                    <a:cubicBezTo>
                      <a:pt x="41" y="33"/>
                      <a:pt x="35" y="30"/>
                      <a:pt x="30" y="28"/>
                    </a:cubicBezTo>
                    <a:cubicBezTo>
                      <a:pt x="22" y="25"/>
                      <a:pt x="10" y="0"/>
                      <a:pt x="0" y="3"/>
                    </a:cubicBezTo>
                    <a:lnTo>
                      <a:pt x="0" y="6"/>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209"/>
              <p:cNvSpPr>
                <a:spLocks/>
              </p:cNvSpPr>
              <p:nvPr/>
            </p:nvSpPr>
            <p:spPr bwMode="auto">
              <a:xfrm>
                <a:off x="4458" y="1928"/>
                <a:ext cx="8" cy="1"/>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0" name="Freeform 1210"/>
              <p:cNvSpPr>
                <a:spLocks/>
              </p:cNvSpPr>
              <p:nvPr/>
            </p:nvSpPr>
            <p:spPr bwMode="auto">
              <a:xfrm>
                <a:off x="4463" y="1926"/>
                <a:ext cx="16" cy="10"/>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4" y="35"/>
                      <a:pt x="29" y="2"/>
                      <a:pt x="0" y="4"/>
                    </a:cubicBezTo>
                    <a:lnTo>
                      <a:pt x="0" y="2"/>
                    </a:lnTo>
                    <a:cubicBezTo>
                      <a:pt x="31" y="0"/>
                      <a:pt x="64" y="33"/>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1" name="Rectangle 1211"/>
              <p:cNvSpPr>
                <a:spLocks noChangeArrowheads="1"/>
              </p:cNvSpPr>
              <p:nvPr/>
            </p:nvSpPr>
            <p:spPr bwMode="auto">
              <a:xfrm>
                <a:off x="4480" y="193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 name="Freeform 1212"/>
              <p:cNvSpPr>
                <a:spLocks/>
              </p:cNvSpPr>
              <p:nvPr/>
            </p:nvSpPr>
            <p:spPr bwMode="auto">
              <a:xfrm>
                <a:off x="4478" y="1936"/>
                <a:ext cx="2" cy="1"/>
              </a:xfrm>
              <a:custGeom>
                <a:avLst/>
                <a:gdLst>
                  <a:gd name="T0" fmla="*/ 0 w 9"/>
                  <a:gd name="T1" fmla="*/ 2 h 5"/>
                  <a:gd name="T2" fmla="*/ 9 w 9"/>
                  <a:gd name="T3" fmla="*/ 3 h 5"/>
                  <a:gd name="T4" fmla="*/ 9 w 9"/>
                  <a:gd name="T5" fmla="*/ 1 h 5"/>
                  <a:gd name="T6" fmla="*/ 0 w 9"/>
                  <a:gd name="T7" fmla="*/ 0 h 5"/>
                  <a:gd name="T8" fmla="*/ 0 w 9"/>
                  <a:gd name="T9" fmla="*/ 2 h 5"/>
                </a:gdLst>
                <a:ahLst/>
                <a:cxnLst>
                  <a:cxn ang="0">
                    <a:pos x="T0" y="T1"/>
                  </a:cxn>
                  <a:cxn ang="0">
                    <a:pos x="T2" y="T3"/>
                  </a:cxn>
                  <a:cxn ang="0">
                    <a:pos x="T4" y="T5"/>
                  </a:cxn>
                  <a:cxn ang="0">
                    <a:pos x="T6" y="T7"/>
                  </a:cxn>
                  <a:cxn ang="0">
                    <a:pos x="T8" y="T9"/>
                  </a:cxn>
                </a:cxnLst>
                <a:rect l="0" t="0" r="r" b="b"/>
                <a:pathLst>
                  <a:path w="9" h="5">
                    <a:moveTo>
                      <a:pt x="0" y="2"/>
                    </a:moveTo>
                    <a:cubicBezTo>
                      <a:pt x="2" y="5"/>
                      <a:pt x="5" y="5"/>
                      <a:pt x="9" y="3"/>
                    </a:cubicBezTo>
                    <a:lnTo>
                      <a:pt x="9" y="1"/>
                    </a:lnTo>
                    <a:cubicBezTo>
                      <a:pt x="5" y="3"/>
                      <a:pt x="2" y="3"/>
                      <a:pt x="0" y="0"/>
                    </a:cubicBez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 name="Rectangle 1213"/>
              <p:cNvSpPr>
                <a:spLocks noChangeArrowheads="1"/>
              </p:cNvSpPr>
              <p:nvPr/>
            </p:nvSpPr>
            <p:spPr bwMode="auto">
              <a:xfrm>
                <a:off x="4462" y="1920"/>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 name="Rectangle 1214"/>
              <p:cNvSpPr>
                <a:spLocks noChangeArrowheads="1"/>
              </p:cNvSpPr>
              <p:nvPr/>
            </p:nvSpPr>
            <p:spPr bwMode="auto">
              <a:xfrm>
                <a:off x="4458" y="1920"/>
                <a:ext cx="43"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215"/>
              <p:cNvSpPr>
                <a:spLocks/>
              </p:cNvSpPr>
              <p:nvPr/>
            </p:nvSpPr>
            <p:spPr bwMode="auto">
              <a:xfrm>
                <a:off x="4458" y="1921"/>
                <a:ext cx="42" cy="6"/>
              </a:xfrm>
              <a:custGeom>
                <a:avLst/>
                <a:gdLst>
                  <a:gd name="T0" fmla="*/ 1 w 182"/>
                  <a:gd name="T1" fmla="*/ 20 h 26"/>
                  <a:gd name="T2" fmla="*/ 1 w 182"/>
                  <a:gd name="T3" fmla="*/ 10 h 26"/>
                  <a:gd name="T4" fmla="*/ 4 w 182"/>
                  <a:gd name="T5" fmla="*/ 0 h 26"/>
                  <a:gd name="T6" fmla="*/ 175 w 182"/>
                  <a:gd name="T7" fmla="*/ 0 h 26"/>
                  <a:gd name="T8" fmla="*/ 175 w 182"/>
                  <a:gd name="T9" fmla="*/ 3 h 26"/>
                  <a:gd name="T10" fmla="*/ 21 w 182"/>
                  <a:gd name="T11" fmla="*/ 3 h 26"/>
                  <a:gd name="T12" fmla="*/ 3 w 182"/>
                  <a:gd name="T13" fmla="*/ 10 h 26"/>
                  <a:gd name="T14" fmla="*/ 3 w 182"/>
                  <a:gd name="T15" fmla="*/ 19 h 26"/>
                  <a:gd name="T16" fmla="*/ 1 w 182"/>
                  <a:gd name="T1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6">
                    <a:moveTo>
                      <a:pt x="1" y="20"/>
                    </a:moveTo>
                    <a:lnTo>
                      <a:pt x="1" y="10"/>
                    </a:lnTo>
                    <a:cubicBezTo>
                      <a:pt x="1" y="5"/>
                      <a:pt x="0" y="0"/>
                      <a:pt x="4" y="0"/>
                    </a:cubicBezTo>
                    <a:lnTo>
                      <a:pt x="175" y="0"/>
                    </a:lnTo>
                    <a:cubicBezTo>
                      <a:pt x="181" y="0"/>
                      <a:pt x="182" y="3"/>
                      <a:pt x="175" y="3"/>
                    </a:cubicBezTo>
                    <a:lnTo>
                      <a:pt x="21" y="3"/>
                    </a:lnTo>
                    <a:cubicBezTo>
                      <a:pt x="5" y="3"/>
                      <a:pt x="3" y="6"/>
                      <a:pt x="3" y="10"/>
                    </a:cubicBezTo>
                    <a:lnTo>
                      <a:pt x="3" y="19"/>
                    </a:lnTo>
                    <a:cubicBezTo>
                      <a:pt x="3" y="26"/>
                      <a:pt x="1" y="26"/>
                      <a:pt x="1" y="2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6" name="Freeform 1216"/>
              <p:cNvSpPr>
                <a:spLocks/>
              </p:cNvSpPr>
              <p:nvPr/>
            </p:nvSpPr>
            <p:spPr bwMode="auto">
              <a:xfrm>
                <a:off x="4459" y="1949"/>
                <a:ext cx="41" cy="1"/>
              </a:xfrm>
              <a:custGeom>
                <a:avLst/>
                <a:gdLst>
                  <a:gd name="T0" fmla="*/ 179 w 180"/>
                  <a:gd name="T1" fmla="*/ 0 h 5"/>
                  <a:gd name="T2" fmla="*/ 176 w 180"/>
                  <a:gd name="T3" fmla="*/ 5 h 5"/>
                  <a:gd name="T4" fmla="*/ 6 w 180"/>
                  <a:gd name="T5" fmla="*/ 5 h 5"/>
                  <a:gd name="T6" fmla="*/ 6 w 180"/>
                  <a:gd name="T7" fmla="*/ 3 h 5"/>
                  <a:gd name="T8" fmla="*/ 133 w 180"/>
                  <a:gd name="T9" fmla="*/ 2 h 5"/>
                  <a:gd name="T10" fmla="*/ 179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79" y="0"/>
                    </a:moveTo>
                    <a:cubicBezTo>
                      <a:pt x="179" y="2"/>
                      <a:pt x="180" y="5"/>
                      <a:pt x="176" y="5"/>
                    </a:cubicBezTo>
                    <a:lnTo>
                      <a:pt x="6" y="5"/>
                    </a:lnTo>
                    <a:cubicBezTo>
                      <a:pt x="0" y="5"/>
                      <a:pt x="0" y="3"/>
                      <a:pt x="6" y="3"/>
                    </a:cubicBezTo>
                    <a:cubicBezTo>
                      <a:pt x="11" y="3"/>
                      <a:pt x="117" y="2"/>
                      <a:pt x="133" y="2"/>
                    </a:cubicBezTo>
                    <a:cubicBezTo>
                      <a:pt x="154" y="2"/>
                      <a:pt x="179" y="0"/>
                      <a:pt x="179"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217"/>
              <p:cNvSpPr>
                <a:spLocks/>
              </p:cNvSpPr>
              <p:nvPr/>
            </p:nvSpPr>
            <p:spPr bwMode="auto">
              <a:xfrm>
                <a:off x="4450" y="1920"/>
                <a:ext cx="8" cy="31"/>
              </a:xfrm>
              <a:custGeom>
                <a:avLst/>
                <a:gdLst>
                  <a:gd name="T0" fmla="*/ 2 w 36"/>
                  <a:gd name="T1" fmla="*/ 136 h 136"/>
                  <a:gd name="T2" fmla="*/ 29 w 36"/>
                  <a:gd name="T3" fmla="*/ 136 h 136"/>
                  <a:gd name="T4" fmla="*/ 29 w 36"/>
                  <a:gd name="T5" fmla="*/ 117 h 136"/>
                  <a:gd name="T6" fmla="*/ 36 w 36"/>
                  <a:gd name="T7" fmla="*/ 108 h 136"/>
                  <a:gd name="T8" fmla="*/ 36 w 36"/>
                  <a:gd name="T9" fmla="*/ 0 h 136"/>
                  <a:gd name="T10" fmla="*/ 0 w 36"/>
                  <a:gd name="T11" fmla="*/ 0 h 136"/>
                  <a:gd name="T12" fmla="*/ 0 w 36"/>
                  <a:gd name="T13" fmla="*/ 134 h 136"/>
                  <a:gd name="T14" fmla="*/ 0 w 36"/>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36">
                    <a:moveTo>
                      <a:pt x="2" y="136"/>
                    </a:moveTo>
                    <a:lnTo>
                      <a:pt x="29" y="136"/>
                    </a:lnTo>
                    <a:lnTo>
                      <a:pt x="29" y="117"/>
                    </a:lnTo>
                    <a:cubicBezTo>
                      <a:pt x="29" y="113"/>
                      <a:pt x="32" y="110"/>
                      <a:pt x="36" y="108"/>
                    </a:cubicBezTo>
                    <a:lnTo>
                      <a:pt x="36"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8" name="Rectangle 1218"/>
              <p:cNvSpPr>
                <a:spLocks noChangeArrowheads="1"/>
              </p:cNvSpPr>
              <p:nvPr/>
            </p:nvSpPr>
            <p:spPr bwMode="auto">
              <a:xfrm>
                <a:off x="4450"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219"/>
              <p:cNvSpPr>
                <a:spLocks/>
              </p:cNvSpPr>
              <p:nvPr/>
            </p:nvSpPr>
            <p:spPr bwMode="auto">
              <a:xfrm>
                <a:off x="4501" y="1920"/>
                <a:ext cx="8" cy="31"/>
              </a:xfrm>
              <a:custGeom>
                <a:avLst/>
                <a:gdLst>
                  <a:gd name="T0" fmla="*/ 38 w 38"/>
                  <a:gd name="T1" fmla="*/ 135 h 135"/>
                  <a:gd name="T2" fmla="*/ 38 w 38"/>
                  <a:gd name="T3" fmla="*/ 133 h 135"/>
                  <a:gd name="T4" fmla="*/ 38 w 38"/>
                  <a:gd name="T5" fmla="*/ 0 h 135"/>
                  <a:gd name="T6" fmla="*/ 0 w 38"/>
                  <a:gd name="T7" fmla="*/ 0 h 135"/>
                  <a:gd name="T8" fmla="*/ 0 w 38"/>
                  <a:gd name="T9" fmla="*/ 122 h 135"/>
                  <a:gd name="T10" fmla="*/ 7 w 38"/>
                  <a:gd name="T11" fmla="*/ 131 h 135"/>
                  <a:gd name="T12" fmla="*/ 7 w 38"/>
                  <a:gd name="T13" fmla="*/ 135 h 135"/>
                  <a:gd name="T14" fmla="*/ 36 w 38"/>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38" y="135"/>
                    </a:moveTo>
                    <a:lnTo>
                      <a:pt x="38" y="133"/>
                    </a:lnTo>
                    <a:lnTo>
                      <a:pt x="38" y="0"/>
                    </a:lnTo>
                    <a:lnTo>
                      <a:pt x="0" y="0"/>
                    </a:lnTo>
                    <a:lnTo>
                      <a:pt x="0" y="122"/>
                    </a:lnTo>
                    <a:cubicBezTo>
                      <a:pt x="4" y="124"/>
                      <a:pt x="7" y="127"/>
                      <a:pt x="7" y="131"/>
                    </a:cubicBezTo>
                    <a:lnTo>
                      <a:pt x="7" y="135"/>
                    </a:lnTo>
                    <a:lnTo>
                      <a:pt x="36" y="135"/>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0" name="Rectangle 1220"/>
              <p:cNvSpPr>
                <a:spLocks noChangeArrowheads="1"/>
              </p:cNvSpPr>
              <p:nvPr/>
            </p:nvSpPr>
            <p:spPr bwMode="auto">
              <a:xfrm>
                <a:off x="4501"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Rectangle 1221"/>
              <p:cNvSpPr>
                <a:spLocks noChangeArrowheads="1"/>
              </p:cNvSpPr>
              <p:nvPr/>
            </p:nvSpPr>
            <p:spPr bwMode="auto">
              <a:xfrm>
                <a:off x="3708"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2" name="Rectangle 1222"/>
              <p:cNvSpPr>
                <a:spLocks noChangeArrowheads="1"/>
              </p:cNvSpPr>
              <p:nvPr/>
            </p:nvSpPr>
            <p:spPr bwMode="auto">
              <a:xfrm>
                <a:off x="3708"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Rectangle 1223"/>
              <p:cNvSpPr>
                <a:spLocks noChangeArrowheads="1"/>
              </p:cNvSpPr>
              <p:nvPr/>
            </p:nvSpPr>
            <p:spPr bwMode="auto">
              <a:xfrm>
                <a:off x="3716" y="2630"/>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4" name="Rectangle 1224"/>
              <p:cNvSpPr>
                <a:spLocks noChangeArrowheads="1"/>
              </p:cNvSpPr>
              <p:nvPr/>
            </p:nvSpPr>
            <p:spPr bwMode="auto">
              <a:xfrm>
                <a:off x="3716" y="2475"/>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Rectangle 1225"/>
              <p:cNvSpPr>
                <a:spLocks noChangeArrowheads="1"/>
              </p:cNvSpPr>
              <p:nvPr/>
            </p:nvSpPr>
            <p:spPr bwMode="auto">
              <a:xfrm>
                <a:off x="3708" y="2630"/>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6" name="Rectangle 1226"/>
              <p:cNvSpPr>
                <a:spLocks noChangeArrowheads="1"/>
              </p:cNvSpPr>
              <p:nvPr/>
            </p:nvSpPr>
            <p:spPr bwMode="auto">
              <a:xfrm>
                <a:off x="3708" y="2475"/>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Freeform 1227"/>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5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5"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8" name="Oval 1228"/>
              <p:cNvSpPr>
                <a:spLocks noChangeArrowheads="1"/>
              </p:cNvSpPr>
              <p:nvPr/>
            </p:nvSpPr>
            <p:spPr bwMode="auto">
              <a:xfrm>
                <a:off x="3643" y="2487"/>
                <a:ext cx="139"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229"/>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5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5"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0" name="Freeform 1230"/>
              <p:cNvSpPr>
                <a:spLocks/>
              </p:cNvSpPr>
              <p:nvPr/>
            </p:nvSpPr>
            <p:spPr bwMode="auto">
              <a:xfrm>
                <a:off x="3754"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231"/>
              <p:cNvSpPr>
                <a:spLocks/>
              </p:cNvSpPr>
              <p:nvPr/>
            </p:nvSpPr>
            <p:spPr bwMode="auto">
              <a:xfrm>
                <a:off x="3639"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2" name="Freeform 1232"/>
              <p:cNvSpPr>
                <a:spLocks/>
              </p:cNvSpPr>
              <p:nvPr/>
            </p:nvSpPr>
            <p:spPr bwMode="auto">
              <a:xfrm>
                <a:off x="3644" y="2487"/>
                <a:ext cx="139" cy="139"/>
              </a:xfrm>
              <a:custGeom>
                <a:avLst/>
                <a:gdLst>
                  <a:gd name="T0" fmla="*/ 614 w 614"/>
                  <a:gd name="T1" fmla="*/ 307 h 614"/>
                  <a:gd name="T2" fmla="*/ 557 w 614"/>
                  <a:gd name="T3" fmla="*/ 485 h 614"/>
                  <a:gd name="T4" fmla="*/ 307 w 614"/>
                  <a:gd name="T5" fmla="*/ 614 h 614"/>
                  <a:gd name="T6" fmla="*/ 57 w 614"/>
                  <a:gd name="T7" fmla="*/ 485 h 614"/>
                  <a:gd name="T8" fmla="*/ 0 w 614"/>
                  <a:gd name="T9" fmla="*/ 307 h 614"/>
                  <a:gd name="T10" fmla="*/ 307 w 614"/>
                  <a:gd name="T11" fmla="*/ 0 h 614"/>
                  <a:gd name="T12" fmla="*/ 614 w 614"/>
                  <a:gd name="T13" fmla="*/ 307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7"/>
                    </a:moveTo>
                    <a:cubicBezTo>
                      <a:pt x="614" y="374"/>
                      <a:pt x="593" y="435"/>
                      <a:pt x="557" y="485"/>
                    </a:cubicBezTo>
                    <a:cubicBezTo>
                      <a:pt x="501" y="563"/>
                      <a:pt x="410" y="614"/>
                      <a:pt x="307" y="614"/>
                    </a:cubicBezTo>
                    <a:cubicBezTo>
                      <a:pt x="204" y="614"/>
                      <a:pt x="113" y="563"/>
                      <a:pt x="57" y="485"/>
                    </a:cubicBezTo>
                    <a:cubicBezTo>
                      <a:pt x="21" y="435"/>
                      <a:pt x="0" y="374"/>
                      <a:pt x="0" y="307"/>
                    </a:cubicBezTo>
                    <a:cubicBezTo>
                      <a:pt x="0" y="138"/>
                      <a:pt x="137" y="0"/>
                      <a:pt x="307" y="0"/>
                    </a:cubicBezTo>
                    <a:cubicBezTo>
                      <a:pt x="476" y="0"/>
                      <a:pt x="614" y="138"/>
                      <a:pt x="614" y="307"/>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233"/>
              <p:cNvSpPr>
                <a:spLocks/>
              </p:cNvSpPr>
              <p:nvPr/>
            </p:nvSpPr>
            <p:spPr bwMode="auto">
              <a:xfrm>
                <a:off x="3656" y="2597"/>
                <a:ext cx="113"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3" y="130"/>
                      <a:pt x="444" y="78"/>
                      <a:pt x="500" y="0"/>
                    </a:cubicBezTo>
                    <a:lnTo>
                      <a:pt x="0" y="0"/>
                    </a:lnTo>
                    <a:cubicBezTo>
                      <a:pt x="55" y="78"/>
                      <a:pt x="146"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4" name="Freeform 1234"/>
              <p:cNvSpPr>
                <a:spLocks/>
              </p:cNvSpPr>
              <p:nvPr/>
            </p:nvSpPr>
            <p:spPr bwMode="auto">
              <a:xfrm>
                <a:off x="3643" y="2487"/>
                <a:ext cx="71" cy="139"/>
              </a:xfrm>
              <a:custGeom>
                <a:avLst/>
                <a:gdLst>
                  <a:gd name="T0" fmla="*/ 315 w 315"/>
                  <a:gd name="T1" fmla="*/ 0 h 614"/>
                  <a:gd name="T2" fmla="*/ 8 w 315"/>
                  <a:gd name="T3" fmla="*/ 307 h 614"/>
                  <a:gd name="T4" fmla="*/ 65 w 315"/>
                  <a:gd name="T5" fmla="*/ 485 h 614"/>
                  <a:gd name="T6" fmla="*/ 315 w 315"/>
                  <a:gd name="T7" fmla="*/ 614 h 614"/>
                  <a:gd name="T8" fmla="*/ 307 w 315"/>
                  <a:gd name="T9" fmla="*/ 614 h 614"/>
                  <a:gd name="T10" fmla="*/ 57 w 315"/>
                  <a:gd name="T11" fmla="*/ 485 h 614"/>
                  <a:gd name="T12" fmla="*/ 0 w 315"/>
                  <a:gd name="T13" fmla="*/ 307 h 614"/>
                  <a:gd name="T14" fmla="*/ 307 w 315"/>
                  <a:gd name="T15" fmla="*/ 0 h 614"/>
                  <a:gd name="T16" fmla="*/ 315 w 315"/>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614">
                    <a:moveTo>
                      <a:pt x="315" y="0"/>
                    </a:moveTo>
                    <a:cubicBezTo>
                      <a:pt x="146" y="0"/>
                      <a:pt x="8" y="138"/>
                      <a:pt x="8" y="307"/>
                    </a:cubicBezTo>
                    <a:cubicBezTo>
                      <a:pt x="8" y="374"/>
                      <a:pt x="30" y="435"/>
                      <a:pt x="65" y="485"/>
                    </a:cubicBezTo>
                    <a:cubicBezTo>
                      <a:pt x="121" y="563"/>
                      <a:pt x="212" y="614"/>
                      <a:pt x="315" y="614"/>
                    </a:cubicBezTo>
                    <a:lnTo>
                      <a:pt x="307" y="614"/>
                    </a:lnTo>
                    <a:cubicBezTo>
                      <a:pt x="203" y="614"/>
                      <a:pt x="112" y="563"/>
                      <a:pt x="57" y="485"/>
                    </a:cubicBezTo>
                    <a:cubicBezTo>
                      <a:pt x="21" y="435"/>
                      <a:pt x="0" y="374"/>
                      <a:pt x="0" y="307"/>
                    </a:cubicBezTo>
                    <a:cubicBezTo>
                      <a:pt x="0" y="138"/>
                      <a:pt x="137" y="0"/>
                      <a:pt x="307" y="0"/>
                    </a:cubicBezTo>
                    <a:lnTo>
                      <a:pt x="3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235"/>
              <p:cNvSpPr>
                <a:spLocks/>
              </p:cNvSpPr>
              <p:nvPr/>
            </p:nvSpPr>
            <p:spPr bwMode="auto">
              <a:xfrm>
                <a:off x="3711" y="2597"/>
                <a:ext cx="58"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3" y="130"/>
                      <a:pt x="194" y="78"/>
                      <a:pt x="250" y="0"/>
                    </a:cubicBezTo>
                    <a:lnTo>
                      <a:pt x="258" y="0"/>
                    </a:lnTo>
                    <a:cubicBezTo>
                      <a:pt x="202" y="78"/>
                      <a:pt x="111"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6" name="Freeform 1236"/>
              <p:cNvSpPr>
                <a:spLocks/>
              </p:cNvSpPr>
              <p:nvPr/>
            </p:nvSpPr>
            <p:spPr bwMode="auto">
              <a:xfrm>
                <a:off x="3711" y="2487"/>
                <a:ext cx="71" cy="110"/>
              </a:xfrm>
              <a:custGeom>
                <a:avLst/>
                <a:gdLst>
                  <a:gd name="T0" fmla="*/ 250 w 315"/>
                  <a:gd name="T1" fmla="*/ 485 h 485"/>
                  <a:gd name="T2" fmla="*/ 307 w 315"/>
                  <a:gd name="T3" fmla="*/ 307 h 485"/>
                  <a:gd name="T4" fmla="*/ 0 w 315"/>
                  <a:gd name="T5" fmla="*/ 0 h 485"/>
                  <a:gd name="T6" fmla="*/ 8 w 315"/>
                  <a:gd name="T7" fmla="*/ 0 h 485"/>
                  <a:gd name="T8" fmla="*/ 315 w 315"/>
                  <a:gd name="T9" fmla="*/ 307 h 485"/>
                  <a:gd name="T10" fmla="*/ 258 w 315"/>
                  <a:gd name="T11" fmla="*/ 485 h 485"/>
                  <a:gd name="T12" fmla="*/ 250 w 315"/>
                  <a:gd name="T13" fmla="*/ 485 h 485"/>
                </a:gdLst>
                <a:ahLst/>
                <a:cxnLst>
                  <a:cxn ang="0">
                    <a:pos x="T0" y="T1"/>
                  </a:cxn>
                  <a:cxn ang="0">
                    <a:pos x="T2" y="T3"/>
                  </a:cxn>
                  <a:cxn ang="0">
                    <a:pos x="T4" y="T5"/>
                  </a:cxn>
                  <a:cxn ang="0">
                    <a:pos x="T6" y="T7"/>
                  </a:cxn>
                  <a:cxn ang="0">
                    <a:pos x="T8" y="T9"/>
                  </a:cxn>
                  <a:cxn ang="0">
                    <a:pos x="T10" y="T11"/>
                  </a:cxn>
                  <a:cxn ang="0">
                    <a:pos x="T12" y="T13"/>
                  </a:cxn>
                </a:cxnLst>
                <a:rect l="0" t="0" r="r" b="b"/>
                <a:pathLst>
                  <a:path w="315" h="485">
                    <a:moveTo>
                      <a:pt x="250" y="485"/>
                    </a:moveTo>
                    <a:cubicBezTo>
                      <a:pt x="285" y="435"/>
                      <a:pt x="307" y="374"/>
                      <a:pt x="307" y="307"/>
                    </a:cubicBezTo>
                    <a:cubicBezTo>
                      <a:pt x="307" y="138"/>
                      <a:pt x="169" y="0"/>
                      <a:pt x="0" y="0"/>
                    </a:cubicBezTo>
                    <a:lnTo>
                      <a:pt x="8" y="0"/>
                    </a:lnTo>
                    <a:cubicBezTo>
                      <a:pt x="177" y="0"/>
                      <a:pt x="315" y="138"/>
                      <a:pt x="315" y="307"/>
                    </a:cubicBezTo>
                    <a:cubicBezTo>
                      <a:pt x="315" y="374"/>
                      <a:pt x="293" y="435"/>
                      <a:pt x="258" y="485"/>
                    </a:cubicBezTo>
                    <a:lnTo>
                      <a:pt x="250" y="48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7" name="Rectangle 1237"/>
              <p:cNvSpPr>
                <a:spLocks noChangeArrowheads="1"/>
              </p:cNvSpPr>
              <p:nvPr/>
            </p:nvSpPr>
            <p:spPr bwMode="auto">
              <a:xfrm>
                <a:off x="3546"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8" name="Rectangle 1238"/>
              <p:cNvSpPr>
                <a:spLocks noChangeArrowheads="1"/>
              </p:cNvSpPr>
              <p:nvPr/>
            </p:nvSpPr>
            <p:spPr bwMode="auto">
              <a:xfrm>
                <a:off x="3546"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Rectangle 1239"/>
              <p:cNvSpPr>
                <a:spLocks noChangeArrowheads="1"/>
              </p:cNvSpPr>
              <p:nvPr/>
            </p:nvSpPr>
            <p:spPr bwMode="auto">
              <a:xfrm>
                <a:off x="3555" y="2630"/>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0" name="Rectangle 1240"/>
              <p:cNvSpPr>
                <a:spLocks noChangeArrowheads="1"/>
              </p:cNvSpPr>
              <p:nvPr/>
            </p:nvSpPr>
            <p:spPr bwMode="auto">
              <a:xfrm>
                <a:off x="3555" y="2475"/>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Rectangle 1241"/>
              <p:cNvSpPr>
                <a:spLocks noChangeArrowheads="1"/>
              </p:cNvSpPr>
              <p:nvPr/>
            </p:nvSpPr>
            <p:spPr bwMode="auto">
              <a:xfrm>
                <a:off x="3546" y="2630"/>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2" name="Rectangle 1242"/>
              <p:cNvSpPr>
                <a:spLocks noChangeArrowheads="1"/>
              </p:cNvSpPr>
              <p:nvPr/>
            </p:nvSpPr>
            <p:spPr bwMode="auto">
              <a:xfrm>
                <a:off x="3546" y="2475"/>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243"/>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4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4"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4" name="Oval 1244"/>
              <p:cNvSpPr>
                <a:spLocks noChangeArrowheads="1"/>
              </p:cNvSpPr>
              <p:nvPr/>
            </p:nvSpPr>
            <p:spPr bwMode="auto">
              <a:xfrm>
                <a:off x="3481" y="2487"/>
                <a:ext cx="140"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245"/>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4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4"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6" name="Freeform 1246"/>
              <p:cNvSpPr>
                <a:spLocks/>
              </p:cNvSpPr>
              <p:nvPr/>
            </p:nvSpPr>
            <p:spPr bwMode="auto">
              <a:xfrm>
                <a:off x="3592"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247"/>
              <p:cNvSpPr>
                <a:spLocks/>
              </p:cNvSpPr>
              <p:nvPr/>
            </p:nvSpPr>
            <p:spPr bwMode="auto">
              <a:xfrm>
                <a:off x="3478"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Freeform 1248"/>
              <p:cNvSpPr>
                <a:spLocks/>
              </p:cNvSpPr>
              <p:nvPr/>
            </p:nvSpPr>
            <p:spPr bwMode="auto">
              <a:xfrm>
                <a:off x="3482" y="2487"/>
                <a:ext cx="140" cy="139"/>
              </a:xfrm>
              <a:custGeom>
                <a:avLst/>
                <a:gdLst>
                  <a:gd name="T0" fmla="*/ 614 w 614"/>
                  <a:gd name="T1" fmla="*/ 306 h 614"/>
                  <a:gd name="T2" fmla="*/ 557 w 614"/>
                  <a:gd name="T3" fmla="*/ 484 h 614"/>
                  <a:gd name="T4" fmla="*/ 307 w 614"/>
                  <a:gd name="T5" fmla="*/ 614 h 614"/>
                  <a:gd name="T6" fmla="*/ 57 w 614"/>
                  <a:gd name="T7" fmla="*/ 484 h 614"/>
                  <a:gd name="T8" fmla="*/ 0 w 614"/>
                  <a:gd name="T9" fmla="*/ 306 h 614"/>
                  <a:gd name="T10" fmla="*/ 307 w 614"/>
                  <a:gd name="T11" fmla="*/ 0 h 614"/>
                  <a:gd name="T12" fmla="*/ 614 w 614"/>
                  <a:gd name="T13" fmla="*/ 306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6"/>
                    </a:moveTo>
                    <a:cubicBezTo>
                      <a:pt x="614" y="373"/>
                      <a:pt x="592" y="434"/>
                      <a:pt x="557" y="484"/>
                    </a:cubicBezTo>
                    <a:cubicBezTo>
                      <a:pt x="501" y="562"/>
                      <a:pt x="410" y="614"/>
                      <a:pt x="307" y="614"/>
                    </a:cubicBezTo>
                    <a:cubicBezTo>
                      <a:pt x="203" y="614"/>
                      <a:pt x="112" y="562"/>
                      <a:pt x="57" y="484"/>
                    </a:cubicBezTo>
                    <a:cubicBezTo>
                      <a:pt x="21" y="434"/>
                      <a:pt x="0" y="373"/>
                      <a:pt x="0" y="306"/>
                    </a:cubicBezTo>
                    <a:cubicBezTo>
                      <a:pt x="0" y="137"/>
                      <a:pt x="137" y="0"/>
                      <a:pt x="307" y="0"/>
                    </a:cubicBezTo>
                    <a:cubicBezTo>
                      <a:pt x="476" y="0"/>
                      <a:pt x="614" y="137"/>
                      <a:pt x="614" y="306"/>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249"/>
              <p:cNvSpPr>
                <a:spLocks/>
              </p:cNvSpPr>
              <p:nvPr/>
            </p:nvSpPr>
            <p:spPr bwMode="auto">
              <a:xfrm>
                <a:off x="3494" y="2597"/>
                <a:ext cx="114"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4" y="130"/>
                      <a:pt x="445" y="78"/>
                      <a:pt x="500" y="0"/>
                    </a:cubicBezTo>
                    <a:lnTo>
                      <a:pt x="0" y="0"/>
                    </a:lnTo>
                    <a:cubicBezTo>
                      <a:pt x="56" y="78"/>
                      <a:pt x="147"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0" name="Freeform 1250"/>
              <p:cNvSpPr>
                <a:spLocks/>
              </p:cNvSpPr>
              <p:nvPr/>
            </p:nvSpPr>
            <p:spPr bwMode="auto">
              <a:xfrm>
                <a:off x="3481" y="2487"/>
                <a:ext cx="72" cy="139"/>
              </a:xfrm>
              <a:custGeom>
                <a:avLst/>
                <a:gdLst>
                  <a:gd name="T0" fmla="*/ 316 w 316"/>
                  <a:gd name="T1" fmla="*/ 0 h 614"/>
                  <a:gd name="T2" fmla="*/ 9 w 316"/>
                  <a:gd name="T3" fmla="*/ 306 h 614"/>
                  <a:gd name="T4" fmla="*/ 66 w 316"/>
                  <a:gd name="T5" fmla="*/ 484 h 614"/>
                  <a:gd name="T6" fmla="*/ 316 w 316"/>
                  <a:gd name="T7" fmla="*/ 614 h 614"/>
                  <a:gd name="T8" fmla="*/ 307 w 316"/>
                  <a:gd name="T9" fmla="*/ 614 h 614"/>
                  <a:gd name="T10" fmla="*/ 57 w 316"/>
                  <a:gd name="T11" fmla="*/ 484 h 614"/>
                  <a:gd name="T12" fmla="*/ 0 w 316"/>
                  <a:gd name="T13" fmla="*/ 306 h 614"/>
                  <a:gd name="T14" fmla="*/ 307 w 316"/>
                  <a:gd name="T15" fmla="*/ 0 h 614"/>
                  <a:gd name="T16" fmla="*/ 316 w 316"/>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614">
                    <a:moveTo>
                      <a:pt x="316" y="0"/>
                    </a:moveTo>
                    <a:cubicBezTo>
                      <a:pt x="146" y="0"/>
                      <a:pt x="9" y="137"/>
                      <a:pt x="9" y="306"/>
                    </a:cubicBezTo>
                    <a:cubicBezTo>
                      <a:pt x="9" y="373"/>
                      <a:pt x="30" y="434"/>
                      <a:pt x="66" y="484"/>
                    </a:cubicBezTo>
                    <a:cubicBezTo>
                      <a:pt x="122" y="562"/>
                      <a:pt x="213" y="614"/>
                      <a:pt x="316" y="614"/>
                    </a:cubicBezTo>
                    <a:lnTo>
                      <a:pt x="307" y="614"/>
                    </a:lnTo>
                    <a:cubicBezTo>
                      <a:pt x="204" y="614"/>
                      <a:pt x="113" y="562"/>
                      <a:pt x="57" y="484"/>
                    </a:cubicBezTo>
                    <a:cubicBezTo>
                      <a:pt x="22" y="434"/>
                      <a:pt x="0" y="373"/>
                      <a:pt x="0" y="306"/>
                    </a:cubicBezTo>
                    <a:cubicBezTo>
                      <a:pt x="0" y="137"/>
                      <a:pt x="138" y="0"/>
                      <a:pt x="307" y="0"/>
                    </a:cubicBezTo>
                    <a:lnTo>
                      <a:pt x="3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1" name="Freeform 1251"/>
              <p:cNvSpPr>
                <a:spLocks/>
              </p:cNvSpPr>
              <p:nvPr/>
            </p:nvSpPr>
            <p:spPr bwMode="auto">
              <a:xfrm>
                <a:off x="3549" y="2597"/>
                <a:ext cx="59"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4" y="130"/>
                      <a:pt x="195" y="78"/>
                      <a:pt x="250" y="0"/>
                    </a:cubicBezTo>
                    <a:lnTo>
                      <a:pt x="258" y="0"/>
                    </a:lnTo>
                    <a:cubicBezTo>
                      <a:pt x="203" y="78"/>
                      <a:pt x="112"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2" name="Freeform 1252"/>
              <p:cNvSpPr>
                <a:spLocks/>
              </p:cNvSpPr>
              <p:nvPr/>
            </p:nvSpPr>
            <p:spPr bwMode="auto">
              <a:xfrm>
                <a:off x="3549" y="2487"/>
                <a:ext cx="72" cy="110"/>
              </a:xfrm>
              <a:custGeom>
                <a:avLst/>
                <a:gdLst>
                  <a:gd name="T0" fmla="*/ 250 w 315"/>
                  <a:gd name="T1" fmla="*/ 484 h 484"/>
                  <a:gd name="T2" fmla="*/ 307 w 315"/>
                  <a:gd name="T3" fmla="*/ 306 h 484"/>
                  <a:gd name="T4" fmla="*/ 0 w 315"/>
                  <a:gd name="T5" fmla="*/ 0 h 484"/>
                  <a:gd name="T6" fmla="*/ 8 w 315"/>
                  <a:gd name="T7" fmla="*/ 0 h 484"/>
                  <a:gd name="T8" fmla="*/ 315 w 315"/>
                  <a:gd name="T9" fmla="*/ 306 h 484"/>
                  <a:gd name="T10" fmla="*/ 258 w 315"/>
                  <a:gd name="T11" fmla="*/ 484 h 484"/>
                  <a:gd name="T12" fmla="*/ 250 w 315"/>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315" h="484">
                    <a:moveTo>
                      <a:pt x="250" y="484"/>
                    </a:moveTo>
                    <a:cubicBezTo>
                      <a:pt x="286" y="434"/>
                      <a:pt x="307" y="373"/>
                      <a:pt x="307" y="306"/>
                    </a:cubicBezTo>
                    <a:cubicBezTo>
                      <a:pt x="307" y="137"/>
                      <a:pt x="170" y="0"/>
                      <a:pt x="0" y="0"/>
                    </a:cubicBezTo>
                    <a:lnTo>
                      <a:pt x="8" y="0"/>
                    </a:lnTo>
                    <a:cubicBezTo>
                      <a:pt x="178" y="0"/>
                      <a:pt x="315" y="137"/>
                      <a:pt x="315" y="306"/>
                    </a:cubicBezTo>
                    <a:cubicBezTo>
                      <a:pt x="315" y="373"/>
                      <a:pt x="294" y="434"/>
                      <a:pt x="258" y="484"/>
                    </a:cubicBezTo>
                    <a:lnTo>
                      <a:pt x="250" y="48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3" name="Rectangle 1253"/>
              <p:cNvSpPr>
                <a:spLocks noChangeArrowheads="1"/>
              </p:cNvSpPr>
              <p:nvPr/>
            </p:nvSpPr>
            <p:spPr bwMode="auto">
              <a:xfrm>
                <a:off x="3738" y="2678"/>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4" name="Rectangle 1254"/>
              <p:cNvSpPr>
                <a:spLocks noChangeArrowheads="1"/>
              </p:cNvSpPr>
              <p:nvPr/>
            </p:nvSpPr>
            <p:spPr bwMode="auto">
              <a:xfrm>
                <a:off x="375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255"/>
              <p:cNvSpPr>
                <a:spLocks/>
              </p:cNvSpPr>
              <p:nvPr/>
            </p:nvSpPr>
            <p:spPr bwMode="auto">
              <a:xfrm>
                <a:off x="3748"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6" name="Freeform 1256"/>
              <p:cNvSpPr>
                <a:spLocks/>
              </p:cNvSpPr>
              <p:nvPr/>
            </p:nvSpPr>
            <p:spPr bwMode="auto">
              <a:xfrm>
                <a:off x="3778"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257"/>
              <p:cNvSpPr>
                <a:spLocks/>
              </p:cNvSpPr>
              <p:nvPr/>
            </p:nvSpPr>
            <p:spPr bwMode="auto">
              <a:xfrm>
                <a:off x="3748"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8" name="Freeform 1258"/>
              <p:cNvSpPr>
                <a:spLocks/>
              </p:cNvSpPr>
              <p:nvPr/>
            </p:nvSpPr>
            <p:spPr bwMode="auto">
              <a:xfrm>
                <a:off x="374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9" name="Rectangle 1259"/>
              <p:cNvSpPr>
                <a:spLocks noChangeArrowheads="1"/>
              </p:cNvSpPr>
              <p:nvPr/>
            </p:nvSpPr>
            <p:spPr bwMode="auto">
              <a:xfrm>
                <a:off x="3814"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0" name="Freeform 1260"/>
              <p:cNvSpPr>
                <a:spLocks/>
              </p:cNvSpPr>
              <p:nvPr/>
            </p:nvSpPr>
            <p:spPr bwMode="auto">
              <a:xfrm>
                <a:off x="3806"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261"/>
              <p:cNvSpPr>
                <a:spLocks/>
              </p:cNvSpPr>
              <p:nvPr/>
            </p:nvSpPr>
            <p:spPr bwMode="auto">
              <a:xfrm>
                <a:off x="383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2" name="Freeform 1262"/>
              <p:cNvSpPr>
                <a:spLocks/>
              </p:cNvSpPr>
              <p:nvPr/>
            </p:nvSpPr>
            <p:spPr bwMode="auto">
              <a:xfrm>
                <a:off x="3806"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63"/>
              <p:cNvSpPr>
                <a:spLocks/>
              </p:cNvSpPr>
              <p:nvPr/>
            </p:nvSpPr>
            <p:spPr bwMode="auto">
              <a:xfrm>
                <a:off x="380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4" name="Rectangle 1264"/>
              <p:cNvSpPr>
                <a:spLocks noChangeArrowheads="1"/>
              </p:cNvSpPr>
              <p:nvPr/>
            </p:nvSpPr>
            <p:spPr bwMode="auto">
              <a:xfrm>
                <a:off x="3871"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65"/>
              <p:cNvSpPr>
                <a:spLocks/>
              </p:cNvSpPr>
              <p:nvPr/>
            </p:nvSpPr>
            <p:spPr bwMode="auto">
              <a:xfrm>
                <a:off x="3863"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6" name="Freeform 1266"/>
              <p:cNvSpPr>
                <a:spLocks/>
              </p:cNvSpPr>
              <p:nvPr/>
            </p:nvSpPr>
            <p:spPr bwMode="auto">
              <a:xfrm>
                <a:off x="3894"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67"/>
              <p:cNvSpPr>
                <a:spLocks/>
              </p:cNvSpPr>
              <p:nvPr/>
            </p:nvSpPr>
            <p:spPr bwMode="auto">
              <a:xfrm>
                <a:off x="3863"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8" name="Freeform 1268"/>
              <p:cNvSpPr>
                <a:spLocks/>
              </p:cNvSpPr>
              <p:nvPr/>
            </p:nvSpPr>
            <p:spPr bwMode="auto">
              <a:xfrm>
                <a:off x="3863"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Rectangle 1269"/>
              <p:cNvSpPr>
                <a:spLocks noChangeArrowheads="1"/>
              </p:cNvSpPr>
              <p:nvPr/>
            </p:nvSpPr>
            <p:spPr bwMode="auto">
              <a:xfrm>
                <a:off x="3929"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270"/>
              <p:cNvSpPr>
                <a:spLocks/>
              </p:cNvSpPr>
              <p:nvPr/>
            </p:nvSpPr>
            <p:spPr bwMode="auto">
              <a:xfrm>
                <a:off x="3921"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71"/>
              <p:cNvSpPr>
                <a:spLocks/>
              </p:cNvSpPr>
              <p:nvPr/>
            </p:nvSpPr>
            <p:spPr bwMode="auto">
              <a:xfrm>
                <a:off x="3951"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272"/>
              <p:cNvSpPr>
                <a:spLocks/>
              </p:cNvSpPr>
              <p:nvPr/>
            </p:nvSpPr>
            <p:spPr bwMode="auto">
              <a:xfrm>
                <a:off x="3921"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73"/>
              <p:cNvSpPr>
                <a:spLocks/>
              </p:cNvSpPr>
              <p:nvPr/>
            </p:nvSpPr>
            <p:spPr bwMode="auto">
              <a:xfrm>
                <a:off x="3921"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Rectangle 1274"/>
              <p:cNvSpPr>
                <a:spLocks noChangeArrowheads="1"/>
              </p:cNvSpPr>
              <p:nvPr/>
            </p:nvSpPr>
            <p:spPr bwMode="auto">
              <a:xfrm>
                <a:off x="3987"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75"/>
              <p:cNvSpPr>
                <a:spLocks/>
              </p:cNvSpPr>
              <p:nvPr/>
            </p:nvSpPr>
            <p:spPr bwMode="auto">
              <a:xfrm>
                <a:off x="3979"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Freeform 1276"/>
              <p:cNvSpPr>
                <a:spLocks/>
              </p:cNvSpPr>
              <p:nvPr/>
            </p:nvSpPr>
            <p:spPr bwMode="auto">
              <a:xfrm>
                <a:off x="4009"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77"/>
              <p:cNvSpPr>
                <a:spLocks/>
              </p:cNvSpPr>
              <p:nvPr/>
            </p:nvSpPr>
            <p:spPr bwMode="auto">
              <a:xfrm>
                <a:off x="3979"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278"/>
              <p:cNvSpPr>
                <a:spLocks/>
              </p:cNvSpPr>
              <p:nvPr/>
            </p:nvSpPr>
            <p:spPr bwMode="auto">
              <a:xfrm>
                <a:off x="3979"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Rectangle 1279"/>
              <p:cNvSpPr>
                <a:spLocks noChangeArrowheads="1"/>
              </p:cNvSpPr>
              <p:nvPr/>
            </p:nvSpPr>
            <p:spPr bwMode="auto">
              <a:xfrm>
                <a:off x="4044"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280"/>
              <p:cNvSpPr>
                <a:spLocks/>
              </p:cNvSpPr>
              <p:nvPr/>
            </p:nvSpPr>
            <p:spPr bwMode="auto">
              <a:xfrm>
                <a:off x="4036"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81"/>
              <p:cNvSpPr>
                <a:spLocks/>
              </p:cNvSpPr>
              <p:nvPr/>
            </p:nvSpPr>
            <p:spPr bwMode="auto">
              <a:xfrm>
                <a:off x="4067"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282"/>
              <p:cNvSpPr>
                <a:spLocks/>
              </p:cNvSpPr>
              <p:nvPr/>
            </p:nvSpPr>
            <p:spPr bwMode="auto">
              <a:xfrm>
                <a:off x="4036"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83"/>
              <p:cNvSpPr>
                <a:spLocks/>
              </p:cNvSpPr>
              <p:nvPr/>
            </p:nvSpPr>
            <p:spPr bwMode="auto">
              <a:xfrm>
                <a:off x="403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Rectangle 1284"/>
              <p:cNvSpPr>
                <a:spLocks noChangeArrowheads="1"/>
              </p:cNvSpPr>
              <p:nvPr/>
            </p:nvSpPr>
            <p:spPr bwMode="auto">
              <a:xfrm>
                <a:off x="4102"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85"/>
              <p:cNvSpPr>
                <a:spLocks/>
              </p:cNvSpPr>
              <p:nvPr/>
            </p:nvSpPr>
            <p:spPr bwMode="auto">
              <a:xfrm>
                <a:off x="4094"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286"/>
              <p:cNvSpPr>
                <a:spLocks/>
              </p:cNvSpPr>
              <p:nvPr/>
            </p:nvSpPr>
            <p:spPr bwMode="auto">
              <a:xfrm>
                <a:off x="4124"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87"/>
              <p:cNvSpPr>
                <a:spLocks/>
              </p:cNvSpPr>
              <p:nvPr/>
            </p:nvSpPr>
            <p:spPr bwMode="auto">
              <a:xfrm>
                <a:off x="4094"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288"/>
              <p:cNvSpPr>
                <a:spLocks/>
              </p:cNvSpPr>
              <p:nvPr/>
            </p:nvSpPr>
            <p:spPr bwMode="auto">
              <a:xfrm>
                <a:off x="4094"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Rectangle 1289"/>
              <p:cNvSpPr>
                <a:spLocks noChangeArrowheads="1"/>
              </p:cNvSpPr>
              <p:nvPr/>
            </p:nvSpPr>
            <p:spPr bwMode="auto">
              <a:xfrm>
                <a:off x="4160"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290"/>
              <p:cNvSpPr>
                <a:spLocks/>
              </p:cNvSpPr>
              <p:nvPr/>
            </p:nvSpPr>
            <p:spPr bwMode="auto">
              <a:xfrm>
                <a:off x="4152"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91"/>
              <p:cNvSpPr>
                <a:spLocks/>
              </p:cNvSpPr>
              <p:nvPr/>
            </p:nvSpPr>
            <p:spPr bwMode="auto">
              <a:xfrm>
                <a:off x="4182"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292"/>
              <p:cNvSpPr>
                <a:spLocks/>
              </p:cNvSpPr>
              <p:nvPr/>
            </p:nvSpPr>
            <p:spPr bwMode="auto">
              <a:xfrm>
                <a:off x="4152"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93"/>
              <p:cNvSpPr>
                <a:spLocks/>
              </p:cNvSpPr>
              <p:nvPr/>
            </p:nvSpPr>
            <p:spPr bwMode="auto">
              <a:xfrm>
                <a:off x="415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Rectangle 1294"/>
              <p:cNvSpPr>
                <a:spLocks noChangeArrowheads="1"/>
              </p:cNvSpPr>
              <p:nvPr/>
            </p:nvSpPr>
            <p:spPr bwMode="auto">
              <a:xfrm>
                <a:off x="3734" y="197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95"/>
              <p:cNvSpPr>
                <a:spLocks/>
              </p:cNvSpPr>
              <p:nvPr/>
            </p:nvSpPr>
            <p:spPr bwMode="auto">
              <a:xfrm>
                <a:off x="3743" y="1970"/>
                <a:ext cx="12" cy="5"/>
              </a:xfrm>
              <a:custGeom>
                <a:avLst/>
                <a:gdLst>
                  <a:gd name="T0" fmla="*/ 54 w 54"/>
                  <a:gd name="T1" fmla="*/ 0 h 21"/>
                  <a:gd name="T2" fmla="*/ 24 w 54"/>
                  <a:gd name="T3" fmla="*/ 15 h 21"/>
                  <a:gd name="T4" fmla="*/ 0 w 54"/>
                  <a:gd name="T5" fmla="*/ 15 h 21"/>
                  <a:gd name="T6" fmla="*/ 0 w 54"/>
                  <a:gd name="T7" fmla="*/ 0 h 21"/>
                  <a:gd name="T8" fmla="*/ 54 w 54"/>
                  <a:gd name="T9" fmla="*/ 0 h 21"/>
                </a:gdLst>
                <a:ahLst/>
                <a:cxnLst>
                  <a:cxn ang="0">
                    <a:pos x="T0" y="T1"/>
                  </a:cxn>
                  <a:cxn ang="0">
                    <a:pos x="T2" y="T3"/>
                  </a:cxn>
                  <a:cxn ang="0">
                    <a:pos x="T4" y="T5"/>
                  </a:cxn>
                  <a:cxn ang="0">
                    <a:pos x="T6" y="T7"/>
                  </a:cxn>
                  <a:cxn ang="0">
                    <a:pos x="T8" y="T9"/>
                  </a:cxn>
                </a:cxnLst>
                <a:rect l="0" t="0" r="r" b="b"/>
                <a:pathLst>
                  <a:path w="54" h="21">
                    <a:moveTo>
                      <a:pt x="54" y="0"/>
                    </a:moveTo>
                    <a:cubicBezTo>
                      <a:pt x="54" y="0"/>
                      <a:pt x="31" y="17"/>
                      <a:pt x="24" y="15"/>
                    </a:cubicBezTo>
                    <a:cubicBezTo>
                      <a:pt x="16" y="14"/>
                      <a:pt x="5" y="21"/>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Rectangle 1296"/>
              <p:cNvSpPr>
                <a:spLocks noChangeArrowheads="1"/>
              </p:cNvSpPr>
              <p:nvPr/>
            </p:nvSpPr>
            <p:spPr bwMode="auto">
              <a:xfrm>
                <a:off x="3761" y="1982"/>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Rectangle 1297"/>
              <p:cNvSpPr>
                <a:spLocks noChangeArrowheads="1"/>
              </p:cNvSpPr>
              <p:nvPr/>
            </p:nvSpPr>
            <p:spPr bwMode="auto">
              <a:xfrm>
                <a:off x="3761" y="198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298"/>
              <p:cNvSpPr>
                <a:spLocks/>
              </p:cNvSpPr>
              <p:nvPr/>
            </p:nvSpPr>
            <p:spPr bwMode="auto">
              <a:xfrm>
                <a:off x="3743" y="1973"/>
                <a:ext cx="7" cy="5"/>
              </a:xfrm>
              <a:custGeom>
                <a:avLst/>
                <a:gdLst>
                  <a:gd name="T0" fmla="*/ 34 w 34"/>
                  <a:gd name="T1" fmla="*/ 3 h 25"/>
                  <a:gd name="T2" fmla="*/ 0 w 34"/>
                  <a:gd name="T3" fmla="*/ 0 h 25"/>
                  <a:gd name="T4" fmla="*/ 0 w 34"/>
                  <a:gd name="T5" fmla="*/ 25 h 25"/>
                  <a:gd name="T6" fmla="*/ 34 w 34"/>
                  <a:gd name="T7" fmla="*/ 22 h 25"/>
                  <a:gd name="T8" fmla="*/ 34 w 34"/>
                  <a:gd name="T9" fmla="*/ 3 h 25"/>
                </a:gdLst>
                <a:ahLst/>
                <a:cxnLst>
                  <a:cxn ang="0">
                    <a:pos x="T0" y="T1"/>
                  </a:cxn>
                  <a:cxn ang="0">
                    <a:pos x="T2" y="T3"/>
                  </a:cxn>
                  <a:cxn ang="0">
                    <a:pos x="T4" y="T5"/>
                  </a:cxn>
                  <a:cxn ang="0">
                    <a:pos x="T6" y="T7"/>
                  </a:cxn>
                  <a:cxn ang="0">
                    <a:pos x="T8" y="T9"/>
                  </a:cxn>
                </a:cxnLst>
                <a:rect l="0" t="0" r="r" b="b"/>
                <a:pathLst>
                  <a:path w="34" h="25">
                    <a:moveTo>
                      <a:pt x="34" y="3"/>
                    </a:moveTo>
                    <a:lnTo>
                      <a:pt x="0" y="0"/>
                    </a:lnTo>
                    <a:lnTo>
                      <a:pt x="0" y="25"/>
                    </a:lnTo>
                    <a:lnTo>
                      <a:pt x="34" y="22"/>
                    </a:lnTo>
                    <a:lnTo>
                      <a:pt x="34" y="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99"/>
              <p:cNvSpPr>
                <a:spLocks/>
              </p:cNvSpPr>
              <p:nvPr/>
            </p:nvSpPr>
            <p:spPr bwMode="auto">
              <a:xfrm>
                <a:off x="3749" y="1975"/>
                <a:ext cx="13" cy="8"/>
              </a:xfrm>
              <a:custGeom>
                <a:avLst/>
                <a:gdLst>
                  <a:gd name="T0" fmla="*/ 3 w 56"/>
                  <a:gd name="T1" fmla="*/ 0 h 38"/>
                  <a:gd name="T2" fmla="*/ 3 w 56"/>
                  <a:gd name="T3" fmla="*/ 0 h 38"/>
                  <a:gd name="T4" fmla="*/ 24 w 56"/>
                  <a:gd name="T5" fmla="*/ 6 h 38"/>
                  <a:gd name="T6" fmla="*/ 53 w 56"/>
                  <a:gd name="T7" fmla="*/ 31 h 38"/>
                  <a:gd name="T8" fmla="*/ 55 w 56"/>
                  <a:gd name="T9" fmla="*/ 32 h 38"/>
                  <a:gd name="T10" fmla="*/ 54 w 56"/>
                  <a:gd name="T11" fmla="*/ 35 h 38"/>
                  <a:gd name="T12" fmla="*/ 23 w 56"/>
                  <a:gd name="T13" fmla="*/ 10 h 38"/>
                  <a:gd name="T14" fmla="*/ 2 w 56"/>
                  <a:gd name="T15" fmla="*/ 5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2"/>
                      <a:pt x="19" y="4"/>
                      <a:pt x="24" y="6"/>
                    </a:cubicBezTo>
                    <a:cubicBezTo>
                      <a:pt x="31" y="9"/>
                      <a:pt x="44" y="34"/>
                      <a:pt x="53" y="31"/>
                    </a:cubicBezTo>
                    <a:cubicBezTo>
                      <a:pt x="54" y="30"/>
                      <a:pt x="55" y="31"/>
                      <a:pt x="55" y="32"/>
                    </a:cubicBezTo>
                    <a:cubicBezTo>
                      <a:pt x="56" y="33"/>
                      <a:pt x="55" y="34"/>
                      <a:pt x="54" y="35"/>
                    </a:cubicBezTo>
                    <a:cubicBezTo>
                      <a:pt x="43" y="38"/>
                      <a:pt x="30" y="13"/>
                      <a:pt x="23" y="10"/>
                    </a:cubicBezTo>
                    <a:cubicBezTo>
                      <a:pt x="17" y="8"/>
                      <a:pt x="11" y="6"/>
                      <a:pt x="2" y="5"/>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300"/>
              <p:cNvSpPr>
                <a:spLocks/>
              </p:cNvSpPr>
              <p:nvPr/>
            </p:nvSpPr>
            <p:spPr bwMode="auto">
              <a:xfrm>
                <a:off x="3778" y="1991"/>
                <a:ext cx="7" cy="6"/>
              </a:xfrm>
              <a:custGeom>
                <a:avLst/>
                <a:gdLst>
                  <a:gd name="T0" fmla="*/ 0 w 34"/>
                  <a:gd name="T1" fmla="*/ 22 h 26"/>
                  <a:gd name="T2" fmla="*/ 34 w 34"/>
                  <a:gd name="T3" fmla="*/ 26 h 26"/>
                  <a:gd name="T4" fmla="*/ 34 w 34"/>
                  <a:gd name="T5" fmla="*/ 0 h 26"/>
                  <a:gd name="T6" fmla="*/ 0 w 34"/>
                  <a:gd name="T7" fmla="*/ 4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4"/>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301"/>
              <p:cNvSpPr>
                <a:spLocks/>
              </p:cNvSpPr>
              <p:nvPr/>
            </p:nvSpPr>
            <p:spPr bwMode="auto">
              <a:xfrm>
                <a:off x="3764" y="1984"/>
                <a:ext cx="17" cy="11"/>
              </a:xfrm>
              <a:custGeom>
                <a:avLst/>
                <a:gdLst>
                  <a:gd name="T0" fmla="*/ 2 w 73"/>
                  <a:gd name="T1" fmla="*/ 0 h 47"/>
                  <a:gd name="T2" fmla="*/ 4 w 73"/>
                  <a:gd name="T3" fmla="*/ 2 h 47"/>
                  <a:gd name="T4" fmla="*/ 70 w 73"/>
                  <a:gd name="T5" fmla="*/ 43 h 47"/>
                  <a:gd name="T6" fmla="*/ 73 w 73"/>
                  <a:gd name="T7" fmla="*/ 45 h 47"/>
                  <a:gd name="T8" fmla="*/ 70 w 73"/>
                  <a:gd name="T9" fmla="*/ 47 h 47"/>
                  <a:gd name="T10" fmla="*/ 70 w 73"/>
                  <a:gd name="T11" fmla="*/ 47 h 47"/>
                  <a:gd name="T12" fmla="*/ 0 w 73"/>
                  <a:gd name="T13" fmla="*/ 3 h 47"/>
                  <a:gd name="T14" fmla="*/ 2 w 73"/>
                  <a:gd name="T15" fmla="*/ 1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3"/>
                      <a:pt x="70" y="43"/>
                    </a:cubicBezTo>
                    <a:cubicBezTo>
                      <a:pt x="72" y="43"/>
                      <a:pt x="73" y="44"/>
                      <a:pt x="73" y="45"/>
                    </a:cubicBezTo>
                    <a:cubicBezTo>
                      <a:pt x="72" y="46"/>
                      <a:pt x="72" y="47"/>
                      <a:pt x="70" y="47"/>
                    </a:cubicBezTo>
                    <a:lnTo>
                      <a:pt x="70" y="47"/>
                    </a:lnTo>
                    <a:cubicBezTo>
                      <a:pt x="44" y="47"/>
                      <a:pt x="4" y="20"/>
                      <a:pt x="0" y="3"/>
                    </a:cubicBezTo>
                    <a:cubicBezTo>
                      <a:pt x="0" y="2"/>
                      <a:pt x="1" y="1"/>
                      <a:pt x="2" y="1"/>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302"/>
              <p:cNvSpPr>
                <a:spLocks/>
              </p:cNvSpPr>
              <p:nvPr/>
            </p:nvSpPr>
            <p:spPr bwMode="auto">
              <a:xfrm>
                <a:off x="3761" y="1982"/>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303"/>
              <p:cNvSpPr>
                <a:spLocks/>
              </p:cNvSpPr>
              <p:nvPr/>
            </p:nvSpPr>
            <p:spPr bwMode="auto">
              <a:xfrm>
                <a:off x="3763" y="1983"/>
                <a:ext cx="3" cy="4"/>
              </a:xfrm>
              <a:custGeom>
                <a:avLst/>
                <a:gdLst>
                  <a:gd name="T0" fmla="*/ 6 w 15"/>
                  <a:gd name="T1" fmla="*/ 14 h 14"/>
                  <a:gd name="T2" fmla="*/ 4 w 15"/>
                  <a:gd name="T3" fmla="*/ 2 h 14"/>
                  <a:gd name="T4" fmla="*/ 12 w 15"/>
                  <a:gd name="T5" fmla="*/ 3 h 14"/>
                  <a:gd name="T6" fmla="*/ 6 w 15"/>
                  <a:gd name="T7" fmla="*/ 14 h 14"/>
                </a:gdLst>
                <a:ahLst/>
                <a:cxnLst>
                  <a:cxn ang="0">
                    <a:pos x="T0" y="T1"/>
                  </a:cxn>
                  <a:cxn ang="0">
                    <a:pos x="T2" y="T3"/>
                  </a:cxn>
                  <a:cxn ang="0">
                    <a:pos x="T4" y="T5"/>
                  </a:cxn>
                  <a:cxn ang="0">
                    <a:pos x="T6" y="T7"/>
                  </a:cxn>
                </a:cxnLst>
                <a:rect l="0" t="0" r="r" b="b"/>
                <a:pathLst>
                  <a:path w="15" h="14">
                    <a:moveTo>
                      <a:pt x="6" y="14"/>
                    </a:moveTo>
                    <a:cubicBezTo>
                      <a:pt x="6" y="14"/>
                      <a:pt x="0" y="3"/>
                      <a:pt x="4" y="2"/>
                    </a:cubicBezTo>
                    <a:cubicBezTo>
                      <a:pt x="8" y="0"/>
                      <a:pt x="10" y="0"/>
                      <a:pt x="12" y="3"/>
                    </a:cubicBezTo>
                    <a:cubicBezTo>
                      <a:pt x="15" y="6"/>
                      <a:pt x="6" y="14"/>
                      <a:pt x="6" y="14"/>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304"/>
              <p:cNvSpPr>
                <a:spLocks/>
              </p:cNvSpPr>
              <p:nvPr/>
            </p:nvSpPr>
            <p:spPr bwMode="auto">
              <a:xfrm>
                <a:off x="3750" y="1974"/>
                <a:ext cx="11" cy="9"/>
              </a:xfrm>
              <a:custGeom>
                <a:avLst/>
                <a:gdLst>
                  <a:gd name="T0" fmla="*/ 50 w 50"/>
                  <a:gd name="T1" fmla="*/ 31 h 36"/>
                  <a:gd name="T2" fmla="*/ 21 w 50"/>
                  <a:gd name="T3" fmla="*/ 6 h 36"/>
                  <a:gd name="T4" fmla="*/ 0 w 50"/>
                  <a:gd name="T5" fmla="*/ 0 h 36"/>
                  <a:gd name="T6" fmla="*/ 0 w 50"/>
                  <a:gd name="T7" fmla="*/ 2 h 36"/>
                  <a:gd name="T8" fmla="*/ 21 w 50"/>
                  <a:gd name="T9" fmla="*/ 8 h 36"/>
                  <a:gd name="T10" fmla="*/ 50 w 50"/>
                  <a:gd name="T11" fmla="*/ 33 h 36"/>
                  <a:gd name="T12" fmla="*/ 50 w 50"/>
                  <a:gd name="T13" fmla="*/ 31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50" y="31"/>
                    </a:moveTo>
                    <a:cubicBezTo>
                      <a:pt x="41" y="34"/>
                      <a:pt x="28" y="9"/>
                      <a:pt x="21" y="6"/>
                    </a:cubicBezTo>
                    <a:cubicBezTo>
                      <a:pt x="16" y="4"/>
                      <a:pt x="9" y="2"/>
                      <a:pt x="0" y="0"/>
                    </a:cubicBezTo>
                    <a:lnTo>
                      <a:pt x="0" y="2"/>
                    </a:lnTo>
                    <a:cubicBezTo>
                      <a:pt x="9" y="4"/>
                      <a:pt x="16" y="6"/>
                      <a:pt x="21" y="8"/>
                    </a:cubicBezTo>
                    <a:cubicBezTo>
                      <a:pt x="28" y="11"/>
                      <a:pt x="41" y="36"/>
                      <a:pt x="50" y="33"/>
                    </a:cubicBezTo>
                    <a:lnTo>
                      <a:pt x="50" y="3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305"/>
              <p:cNvSpPr>
                <a:spLocks/>
              </p:cNvSpPr>
              <p:nvPr/>
            </p:nvSpPr>
            <p:spPr bwMode="auto">
              <a:xfrm>
                <a:off x="3778" y="1991"/>
                <a:ext cx="7" cy="1"/>
              </a:xfrm>
              <a:custGeom>
                <a:avLst/>
                <a:gdLst>
                  <a:gd name="T0" fmla="*/ 0 w 34"/>
                  <a:gd name="T1" fmla="*/ 4 h 6"/>
                  <a:gd name="T2" fmla="*/ 34 w 34"/>
                  <a:gd name="T3" fmla="*/ 0 h 6"/>
                  <a:gd name="T4" fmla="*/ 34 w 34"/>
                  <a:gd name="T5" fmla="*/ 2 h 6"/>
                  <a:gd name="T6" fmla="*/ 0 w 34"/>
                  <a:gd name="T7" fmla="*/ 6 h 6"/>
                  <a:gd name="T8" fmla="*/ 0 w 34"/>
                  <a:gd name="T9" fmla="*/ 4 h 6"/>
                </a:gdLst>
                <a:ahLst/>
                <a:cxnLst>
                  <a:cxn ang="0">
                    <a:pos x="T0" y="T1"/>
                  </a:cxn>
                  <a:cxn ang="0">
                    <a:pos x="T2" y="T3"/>
                  </a:cxn>
                  <a:cxn ang="0">
                    <a:pos x="T4" y="T5"/>
                  </a:cxn>
                  <a:cxn ang="0">
                    <a:pos x="T6" y="T7"/>
                  </a:cxn>
                  <a:cxn ang="0">
                    <a:pos x="T8" y="T9"/>
                  </a:cxn>
                </a:cxnLst>
                <a:rect l="0" t="0" r="r" b="b"/>
                <a:pathLst>
                  <a:path w="34" h="6">
                    <a:moveTo>
                      <a:pt x="0" y="4"/>
                    </a:moveTo>
                    <a:lnTo>
                      <a:pt x="34" y="0"/>
                    </a:lnTo>
                    <a:lnTo>
                      <a:pt x="34" y="2"/>
                    </a:lnTo>
                    <a:lnTo>
                      <a:pt x="0" y="6"/>
                    </a:lnTo>
                    <a:lnTo>
                      <a:pt x="0" y="4"/>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Freeform 1306"/>
              <p:cNvSpPr>
                <a:spLocks/>
              </p:cNvSpPr>
              <p:nvPr/>
            </p:nvSpPr>
            <p:spPr bwMode="auto">
              <a:xfrm>
                <a:off x="3765" y="1984"/>
                <a:ext cx="15" cy="10"/>
              </a:xfrm>
              <a:custGeom>
                <a:avLst/>
                <a:gdLst>
                  <a:gd name="T0" fmla="*/ 0 w 67"/>
                  <a:gd name="T1" fmla="*/ 0 h 45"/>
                  <a:gd name="T2" fmla="*/ 67 w 67"/>
                  <a:gd name="T3" fmla="*/ 41 h 45"/>
                  <a:gd name="T4" fmla="*/ 67 w 67"/>
                  <a:gd name="T5" fmla="*/ 43 h 45"/>
                  <a:gd name="T6" fmla="*/ 0 w 67"/>
                  <a:gd name="T7" fmla="*/ 2 h 45"/>
                  <a:gd name="T8" fmla="*/ 0 w 67"/>
                  <a:gd name="T9" fmla="*/ 0 h 45"/>
                </a:gdLst>
                <a:ahLst/>
                <a:cxnLst>
                  <a:cxn ang="0">
                    <a:pos x="T0" y="T1"/>
                  </a:cxn>
                  <a:cxn ang="0">
                    <a:pos x="T2" y="T3"/>
                  </a:cxn>
                  <a:cxn ang="0">
                    <a:pos x="T4" y="T5"/>
                  </a:cxn>
                  <a:cxn ang="0">
                    <a:pos x="T6" y="T7"/>
                  </a:cxn>
                  <a:cxn ang="0">
                    <a:pos x="T8" y="T9"/>
                  </a:cxn>
                </a:cxnLst>
                <a:rect l="0" t="0" r="r" b="b"/>
                <a:pathLst>
                  <a:path w="67" h="45">
                    <a:moveTo>
                      <a:pt x="0" y="0"/>
                    </a:moveTo>
                    <a:cubicBezTo>
                      <a:pt x="2" y="10"/>
                      <a:pt x="38" y="43"/>
                      <a:pt x="67" y="41"/>
                    </a:cubicBezTo>
                    <a:lnTo>
                      <a:pt x="67" y="43"/>
                    </a:lnTo>
                    <a:cubicBezTo>
                      <a:pt x="36" y="45"/>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Rectangle 1307"/>
              <p:cNvSpPr>
                <a:spLocks noChangeArrowheads="1"/>
              </p:cNvSpPr>
              <p:nvPr/>
            </p:nvSpPr>
            <p:spPr bwMode="auto">
              <a:xfrm>
                <a:off x="3761" y="198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308"/>
              <p:cNvSpPr>
                <a:spLocks/>
              </p:cNvSpPr>
              <p:nvPr/>
            </p:nvSpPr>
            <p:spPr bwMode="auto">
              <a:xfrm>
                <a:off x="3764" y="1983"/>
                <a:ext cx="2" cy="1"/>
              </a:xfrm>
              <a:custGeom>
                <a:avLst/>
                <a:gdLst>
                  <a:gd name="T0" fmla="*/ 8 w 8"/>
                  <a:gd name="T1" fmla="*/ 3 h 5"/>
                  <a:gd name="T2" fmla="*/ 0 w 8"/>
                  <a:gd name="T3" fmla="*/ 2 h 5"/>
                  <a:gd name="T4" fmla="*/ 0 w 8"/>
                  <a:gd name="T5" fmla="*/ 4 h 5"/>
                  <a:gd name="T6" fmla="*/ 8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cubicBezTo>
                      <a:pt x="6" y="0"/>
                      <a:pt x="4" y="0"/>
                      <a:pt x="0" y="2"/>
                    </a:cubicBezTo>
                    <a:lnTo>
                      <a:pt x="0" y="4"/>
                    </a:lnTo>
                    <a:cubicBezTo>
                      <a:pt x="4" y="2"/>
                      <a:pt x="6" y="2"/>
                      <a:pt x="8" y="5"/>
                    </a:cubicBezTo>
                    <a:lnTo>
                      <a:pt x="8"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Rectangle 1309"/>
              <p:cNvSpPr>
                <a:spLocks noChangeArrowheads="1"/>
              </p:cNvSpPr>
              <p:nvPr/>
            </p:nvSpPr>
            <p:spPr bwMode="auto">
              <a:xfrm>
                <a:off x="3748" y="2000"/>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0" name="Rectangle 1310"/>
              <p:cNvSpPr>
                <a:spLocks noChangeArrowheads="1"/>
              </p:cNvSpPr>
              <p:nvPr/>
            </p:nvSpPr>
            <p:spPr bwMode="auto">
              <a:xfrm>
                <a:off x="3743" y="1970"/>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311"/>
              <p:cNvSpPr>
                <a:spLocks/>
              </p:cNvSpPr>
              <p:nvPr/>
            </p:nvSpPr>
            <p:spPr bwMode="auto">
              <a:xfrm>
                <a:off x="3744" y="1994"/>
                <a:ext cx="41" cy="6"/>
              </a:xfrm>
              <a:custGeom>
                <a:avLst/>
                <a:gdLst>
                  <a:gd name="T0" fmla="*/ 181 w 181"/>
                  <a:gd name="T1" fmla="*/ 7 h 26"/>
                  <a:gd name="T2" fmla="*/ 181 w 181"/>
                  <a:gd name="T3" fmla="*/ 16 h 26"/>
                  <a:gd name="T4" fmla="*/ 178 w 181"/>
                  <a:gd name="T5" fmla="*/ 26 h 26"/>
                  <a:gd name="T6" fmla="*/ 6 w 181"/>
                  <a:gd name="T7" fmla="*/ 26 h 26"/>
                  <a:gd name="T8" fmla="*/ 7 w 181"/>
                  <a:gd name="T9" fmla="*/ 23 h 26"/>
                  <a:gd name="T10" fmla="*/ 160 w 181"/>
                  <a:gd name="T11" fmla="*/ 23 h 26"/>
                  <a:gd name="T12" fmla="*/ 178 w 181"/>
                  <a:gd name="T13" fmla="*/ 16 h 26"/>
                  <a:gd name="T14" fmla="*/ 178 w 181"/>
                  <a:gd name="T15" fmla="*/ 7 h 26"/>
                  <a:gd name="T16" fmla="*/ 181 w 18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6">
                    <a:moveTo>
                      <a:pt x="181" y="7"/>
                    </a:moveTo>
                    <a:lnTo>
                      <a:pt x="181" y="16"/>
                    </a:lnTo>
                    <a:cubicBezTo>
                      <a:pt x="180" y="21"/>
                      <a:pt x="181" y="26"/>
                      <a:pt x="178" y="26"/>
                    </a:cubicBezTo>
                    <a:lnTo>
                      <a:pt x="6" y="26"/>
                    </a:lnTo>
                    <a:cubicBezTo>
                      <a:pt x="0" y="26"/>
                      <a:pt x="0" y="23"/>
                      <a:pt x="7" y="23"/>
                    </a:cubicBezTo>
                    <a:lnTo>
                      <a:pt x="160" y="23"/>
                    </a:lnTo>
                    <a:cubicBezTo>
                      <a:pt x="176" y="23"/>
                      <a:pt x="178" y="20"/>
                      <a:pt x="178" y="16"/>
                    </a:cubicBezTo>
                    <a:lnTo>
                      <a:pt x="178" y="7"/>
                    </a:lnTo>
                    <a:cubicBezTo>
                      <a:pt x="178" y="0"/>
                      <a:pt x="181" y="0"/>
                      <a:pt x="181" y="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312"/>
              <p:cNvSpPr>
                <a:spLocks/>
              </p:cNvSpPr>
              <p:nvPr/>
            </p:nvSpPr>
            <p:spPr bwMode="auto">
              <a:xfrm>
                <a:off x="3744" y="1971"/>
                <a:ext cx="41" cy="1"/>
              </a:xfrm>
              <a:custGeom>
                <a:avLst/>
                <a:gdLst>
                  <a:gd name="T0" fmla="*/ 0 w 180"/>
                  <a:gd name="T1" fmla="*/ 5 h 5"/>
                  <a:gd name="T2" fmla="*/ 4 w 180"/>
                  <a:gd name="T3" fmla="*/ 0 h 5"/>
                  <a:gd name="T4" fmla="*/ 174 w 180"/>
                  <a:gd name="T5" fmla="*/ 0 h 5"/>
                  <a:gd name="T6" fmla="*/ 173 w 180"/>
                  <a:gd name="T7" fmla="*/ 3 h 5"/>
                  <a:gd name="T8" fmla="*/ 47 w 180"/>
                  <a:gd name="T9" fmla="*/ 3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3"/>
                      <a:pt x="0" y="0"/>
                      <a:pt x="4" y="0"/>
                    </a:cubicBezTo>
                    <a:lnTo>
                      <a:pt x="174" y="0"/>
                    </a:lnTo>
                    <a:cubicBezTo>
                      <a:pt x="180" y="0"/>
                      <a:pt x="180" y="3"/>
                      <a:pt x="173" y="3"/>
                    </a:cubicBezTo>
                    <a:cubicBezTo>
                      <a:pt x="169" y="3"/>
                      <a:pt x="63" y="3"/>
                      <a:pt x="47" y="3"/>
                    </a:cubicBezTo>
                    <a:cubicBezTo>
                      <a:pt x="26" y="3"/>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313"/>
              <p:cNvSpPr>
                <a:spLocks/>
              </p:cNvSpPr>
              <p:nvPr/>
            </p:nvSpPr>
            <p:spPr bwMode="auto">
              <a:xfrm>
                <a:off x="3785" y="1970"/>
                <a:ext cx="8" cy="31"/>
              </a:xfrm>
              <a:custGeom>
                <a:avLst/>
                <a:gdLst>
                  <a:gd name="T0" fmla="*/ 34 w 35"/>
                  <a:gd name="T1" fmla="*/ 0 h 136"/>
                  <a:gd name="T2" fmla="*/ 6 w 35"/>
                  <a:gd name="T3" fmla="*/ 0 h 136"/>
                  <a:gd name="T4" fmla="*/ 6 w 35"/>
                  <a:gd name="T5" fmla="*/ 19 h 136"/>
                  <a:gd name="T6" fmla="*/ 0 w 35"/>
                  <a:gd name="T7" fmla="*/ 28 h 136"/>
                  <a:gd name="T8" fmla="*/ 0 w 35"/>
                  <a:gd name="T9" fmla="*/ 136 h 136"/>
                  <a:gd name="T10" fmla="*/ 35 w 35"/>
                  <a:gd name="T11" fmla="*/ 136 h 136"/>
                  <a:gd name="T12" fmla="*/ 35 w 35"/>
                  <a:gd name="T13" fmla="*/ 2 h 136"/>
                  <a:gd name="T14" fmla="*/ 35 w 35"/>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34" y="0"/>
                    </a:moveTo>
                    <a:lnTo>
                      <a:pt x="6" y="0"/>
                    </a:lnTo>
                    <a:lnTo>
                      <a:pt x="6" y="19"/>
                    </a:lnTo>
                    <a:cubicBezTo>
                      <a:pt x="6" y="23"/>
                      <a:pt x="4" y="26"/>
                      <a:pt x="0" y="28"/>
                    </a:cubicBezTo>
                    <a:lnTo>
                      <a:pt x="0" y="136"/>
                    </a:lnTo>
                    <a:lnTo>
                      <a:pt x="35" y="136"/>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Rectangle 1314"/>
              <p:cNvSpPr>
                <a:spLocks noChangeArrowheads="1"/>
              </p:cNvSpPr>
              <p:nvPr/>
            </p:nvSpPr>
            <p:spPr bwMode="auto">
              <a:xfrm>
                <a:off x="3785" y="200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315"/>
              <p:cNvSpPr>
                <a:spLocks/>
              </p:cNvSpPr>
              <p:nvPr/>
            </p:nvSpPr>
            <p:spPr bwMode="auto">
              <a:xfrm>
                <a:off x="3734" y="1970"/>
                <a:ext cx="9" cy="31"/>
              </a:xfrm>
              <a:custGeom>
                <a:avLst/>
                <a:gdLst>
                  <a:gd name="T0" fmla="*/ 0 w 38"/>
                  <a:gd name="T1" fmla="*/ 0 h 136"/>
                  <a:gd name="T2" fmla="*/ 0 w 38"/>
                  <a:gd name="T3" fmla="*/ 2 h 136"/>
                  <a:gd name="T4" fmla="*/ 0 w 38"/>
                  <a:gd name="T5" fmla="*/ 136 h 136"/>
                  <a:gd name="T6" fmla="*/ 38 w 38"/>
                  <a:gd name="T7" fmla="*/ 136 h 136"/>
                  <a:gd name="T8" fmla="*/ 38 w 38"/>
                  <a:gd name="T9" fmla="*/ 13 h 136"/>
                  <a:gd name="T10" fmla="*/ 32 w 38"/>
                  <a:gd name="T11" fmla="*/ 4 h 136"/>
                  <a:gd name="T12" fmla="*/ 32 w 38"/>
                  <a:gd name="T13" fmla="*/ 0 h 136"/>
                  <a:gd name="T14" fmla="*/ 2 w 38"/>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6">
                    <a:moveTo>
                      <a:pt x="0" y="0"/>
                    </a:moveTo>
                    <a:lnTo>
                      <a:pt x="0" y="2"/>
                    </a:lnTo>
                    <a:lnTo>
                      <a:pt x="0" y="136"/>
                    </a:lnTo>
                    <a:lnTo>
                      <a:pt x="38" y="136"/>
                    </a:lnTo>
                    <a:lnTo>
                      <a:pt x="38" y="13"/>
                    </a:lnTo>
                    <a:cubicBezTo>
                      <a:pt x="35" y="11"/>
                      <a:pt x="32" y="8"/>
                      <a:pt x="32" y="4"/>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Rectangle 1316"/>
              <p:cNvSpPr>
                <a:spLocks noChangeArrowheads="1"/>
              </p:cNvSpPr>
              <p:nvPr/>
            </p:nvSpPr>
            <p:spPr bwMode="auto">
              <a:xfrm>
                <a:off x="3734" y="2000"/>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Rectangle 1317"/>
              <p:cNvSpPr>
                <a:spLocks noChangeArrowheads="1"/>
              </p:cNvSpPr>
              <p:nvPr/>
            </p:nvSpPr>
            <p:spPr bwMode="auto">
              <a:xfrm>
                <a:off x="3734" y="1918"/>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318"/>
              <p:cNvSpPr>
                <a:spLocks/>
              </p:cNvSpPr>
              <p:nvPr/>
            </p:nvSpPr>
            <p:spPr bwMode="auto">
              <a:xfrm>
                <a:off x="3743" y="1918"/>
                <a:ext cx="12" cy="5"/>
              </a:xfrm>
              <a:custGeom>
                <a:avLst/>
                <a:gdLst>
                  <a:gd name="T0" fmla="*/ 54 w 54"/>
                  <a:gd name="T1" fmla="*/ 0 h 20"/>
                  <a:gd name="T2" fmla="*/ 24 w 54"/>
                  <a:gd name="T3" fmla="*/ 15 h 20"/>
                  <a:gd name="T4" fmla="*/ 0 w 54"/>
                  <a:gd name="T5" fmla="*/ 15 h 20"/>
                  <a:gd name="T6" fmla="*/ 0 w 54"/>
                  <a:gd name="T7" fmla="*/ 0 h 20"/>
                  <a:gd name="T8" fmla="*/ 54 w 54"/>
                  <a:gd name="T9" fmla="*/ 0 h 20"/>
                </a:gdLst>
                <a:ahLst/>
                <a:cxnLst>
                  <a:cxn ang="0">
                    <a:pos x="T0" y="T1"/>
                  </a:cxn>
                  <a:cxn ang="0">
                    <a:pos x="T2" y="T3"/>
                  </a:cxn>
                  <a:cxn ang="0">
                    <a:pos x="T4" y="T5"/>
                  </a:cxn>
                  <a:cxn ang="0">
                    <a:pos x="T6" y="T7"/>
                  </a:cxn>
                  <a:cxn ang="0">
                    <a:pos x="T8" y="T9"/>
                  </a:cxn>
                </a:cxnLst>
                <a:rect l="0" t="0" r="r" b="b"/>
                <a:pathLst>
                  <a:path w="54" h="20">
                    <a:moveTo>
                      <a:pt x="54" y="0"/>
                    </a:moveTo>
                    <a:cubicBezTo>
                      <a:pt x="54" y="0"/>
                      <a:pt x="31" y="16"/>
                      <a:pt x="24" y="15"/>
                    </a:cubicBezTo>
                    <a:cubicBezTo>
                      <a:pt x="16" y="13"/>
                      <a:pt x="5" y="20"/>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Rectangle 1319"/>
              <p:cNvSpPr>
                <a:spLocks noChangeArrowheads="1"/>
              </p:cNvSpPr>
              <p:nvPr/>
            </p:nvSpPr>
            <p:spPr bwMode="auto">
              <a:xfrm>
                <a:off x="3761" y="1930"/>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0" name="Rectangle 1320"/>
              <p:cNvSpPr>
                <a:spLocks noChangeArrowheads="1"/>
              </p:cNvSpPr>
              <p:nvPr/>
            </p:nvSpPr>
            <p:spPr bwMode="auto">
              <a:xfrm>
                <a:off x="3761" y="193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321"/>
              <p:cNvSpPr>
                <a:spLocks/>
              </p:cNvSpPr>
              <p:nvPr/>
            </p:nvSpPr>
            <p:spPr bwMode="auto">
              <a:xfrm>
                <a:off x="3743" y="1921"/>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322"/>
              <p:cNvSpPr>
                <a:spLocks/>
              </p:cNvSpPr>
              <p:nvPr/>
            </p:nvSpPr>
            <p:spPr bwMode="auto">
              <a:xfrm>
                <a:off x="3749" y="1923"/>
                <a:ext cx="13" cy="9"/>
              </a:xfrm>
              <a:custGeom>
                <a:avLst/>
                <a:gdLst>
                  <a:gd name="T0" fmla="*/ 3 w 56"/>
                  <a:gd name="T1" fmla="*/ 0 h 38"/>
                  <a:gd name="T2" fmla="*/ 3 w 56"/>
                  <a:gd name="T3" fmla="*/ 0 h 38"/>
                  <a:gd name="T4" fmla="*/ 24 w 56"/>
                  <a:gd name="T5" fmla="*/ 5 h 38"/>
                  <a:gd name="T6" fmla="*/ 53 w 56"/>
                  <a:gd name="T7" fmla="*/ 30 h 38"/>
                  <a:gd name="T8" fmla="*/ 55 w 56"/>
                  <a:gd name="T9" fmla="*/ 31 h 38"/>
                  <a:gd name="T10" fmla="*/ 54 w 56"/>
                  <a:gd name="T11" fmla="*/ 34 h 38"/>
                  <a:gd name="T12" fmla="*/ 23 w 56"/>
                  <a:gd name="T13" fmla="*/ 9 h 38"/>
                  <a:gd name="T14" fmla="*/ 2 w 56"/>
                  <a:gd name="T15" fmla="*/ 4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1"/>
                      <a:pt x="19" y="3"/>
                      <a:pt x="24" y="5"/>
                    </a:cubicBezTo>
                    <a:cubicBezTo>
                      <a:pt x="31" y="8"/>
                      <a:pt x="44" y="33"/>
                      <a:pt x="53" y="30"/>
                    </a:cubicBezTo>
                    <a:cubicBezTo>
                      <a:pt x="54" y="30"/>
                      <a:pt x="55" y="30"/>
                      <a:pt x="55" y="31"/>
                    </a:cubicBezTo>
                    <a:cubicBezTo>
                      <a:pt x="56" y="33"/>
                      <a:pt x="55" y="34"/>
                      <a:pt x="54" y="34"/>
                    </a:cubicBezTo>
                    <a:cubicBezTo>
                      <a:pt x="43" y="38"/>
                      <a:pt x="30" y="12"/>
                      <a:pt x="23" y="9"/>
                    </a:cubicBezTo>
                    <a:cubicBezTo>
                      <a:pt x="17" y="7"/>
                      <a:pt x="11" y="5"/>
                      <a:pt x="2" y="4"/>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323"/>
              <p:cNvSpPr>
                <a:spLocks/>
              </p:cNvSpPr>
              <p:nvPr/>
            </p:nvSpPr>
            <p:spPr bwMode="auto">
              <a:xfrm>
                <a:off x="3778" y="1939"/>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324"/>
              <p:cNvSpPr>
                <a:spLocks/>
              </p:cNvSpPr>
              <p:nvPr/>
            </p:nvSpPr>
            <p:spPr bwMode="auto">
              <a:xfrm>
                <a:off x="3764" y="1932"/>
                <a:ext cx="17" cy="11"/>
              </a:xfrm>
              <a:custGeom>
                <a:avLst/>
                <a:gdLst>
                  <a:gd name="T0" fmla="*/ 2 w 73"/>
                  <a:gd name="T1" fmla="*/ 0 h 47"/>
                  <a:gd name="T2" fmla="*/ 4 w 73"/>
                  <a:gd name="T3" fmla="*/ 2 h 47"/>
                  <a:gd name="T4" fmla="*/ 70 w 73"/>
                  <a:gd name="T5" fmla="*/ 42 h 47"/>
                  <a:gd name="T6" fmla="*/ 73 w 73"/>
                  <a:gd name="T7" fmla="*/ 44 h 47"/>
                  <a:gd name="T8" fmla="*/ 70 w 73"/>
                  <a:gd name="T9" fmla="*/ 47 h 47"/>
                  <a:gd name="T10" fmla="*/ 70 w 73"/>
                  <a:gd name="T11" fmla="*/ 47 h 47"/>
                  <a:gd name="T12" fmla="*/ 0 w 73"/>
                  <a:gd name="T13" fmla="*/ 3 h 47"/>
                  <a:gd name="T14" fmla="*/ 2 w 73"/>
                  <a:gd name="T15" fmla="*/ 0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2"/>
                      <a:pt x="70" y="42"/>
                    </a:cubicBezTo>
                    <a:cubicBezTo>
                      <a:pt x="72" y="42"/>
                      <a:pt x="73" y="43"/>
                      <a:pt x="73" y="44"/>
                    </a:cubicBezTo>
                    <a:cubicBezTo>
                      <a:pt x="72" y="46"/>
                      <a:pt x="72" y="47"/>
                      <a:pt x="70" y="47"/>
                    </a:cubicBezTo>
                    <a:lnTo>
                      <a:pt x="70" y="47"/>
                    </a:lnTo>
                    <a:cubicBezTo>
                      <a:pt x="44" y="47"/>
                      <a:pt x="4" y="19"/>
                      <a:pt x="0" y="3"/>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325"/>
              <p:cNvSpPr>
                <a:spLocks/>
              </p:cNvSpPr>
              <p:nvPr/>
            </p:nvSpPr>
            <p:spPr bwMode="auto">
              <a:xfrm>
                <a:off x="3761" y="1930"/>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326"/>
              <p:cNvSpPr>
                <a:spLocks/>
              </p:cNvSpPr>
              <p:nvPr/>
            </p:nvSpPr>
            <p:spPr bwMode="auto">
              <a:xfrm>
                <a:off x="3763" y="1932"/>
                <a:ext cx="3" cy="3"/>
              </a:xfrm>
              <a:custGeom>
                <a:avLst/>
                <a:gdLst>
                  <a:gd name="T0" fmla="*/ 6 w 15"/>
                  <a:gd name="T1" fmla="*/ 15 h 15"/>
                  <a:gd name="T2" fmla="*/ 4 w 15"/>
                  <a:gd name="T3" fmla="*/ 2 h 15"/>
                  <a:gd name="T4" fmla="*/ 12 w 15"/>
                  <a:gd name="T5" fmla="*/ 3 h 15"/>
                  <a:gd name="T6" fmla="*/ 6 w 15"/>
                  <a:gd name="T7" fmla="*/ 15 h 15"/>
                </a:gdLst>
                <a:ahLst/>
                <a:cxnLst>
                  <a:cxn ang="0">
                    <a:pos x="T0" y="T1"/>
                  </a:cxn>
                  <a:cxn ang="0">
                    <a:pos x="T2" y="T3"/>
                  </a:cxn>
                  <a:cxn ang="0">
                    <a:pos x="T4" y="T5"/>
                  </a:cxn>
                  <a:cxn ang="0">
                    <a:pos x="T6" y="T7"/>
                  </a:cxn>
                </a:cxnLst>
                <a:rect l="0" t="0" r="r" b="b"/>
                <a:pathLst>
                  <a:path w="15" h="15">
                    <a:moveTo>
                      <a:pt x="6" y="15"/>
                    </a:moveTo>
                    <a:cubicBezTo>
                      <a:pt x="6" y="15"/>
                      <a:pt x="0" y="4"/>
                      <a:pt x="4" y="2"/>
                    </a:cubicBezTo>
                    <a:cubicBezTo>
                      <a:pt x="8" y="1"/>
                      <a:pt x="10" y="0"/>
                      <a:pt x="12" y="3"/>
                    </a:cubicBezTo>
                    <a:cubicBezTo>
                      <a:pt x="15" y="6"/>
                      <a:pt x="6" y="15"/>
                      <a:pt x="6" y="15"/>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327"/>
              <p:cNvSpPr>
                <a:spLocks/>
              </p:cNvSpPr>
              <p:nvPr/>
            </p:nvSpPr>
            <p:spPr bwMode="auto">
              <a:xfrm>
                <a:off x="3750" y="1923"/>
                <a:ext cx="11" cy="8"/>
              </a:xfrm>
              <a:custGeom>
                <a:avLst/>
                <a:gdLst>
                  <a:gd name="T0" fmla="*/ 50 w 50"/>
                  <a:gd name="T1" fmla="*/ 30 h 35"/>
                  <a:gd name="T2" fmla="*/ 21 w 50"/>
                  <a:gd name="T3" fmla="*/ 5 h 35"/>
                  <a:gd name="T4" fmla="*/ 0 w 50"/>
                  <a:gd name="T5" fmla="*/ 0 h 35"/>
                  <a:gd name="T6" fmla="*/ 0 w 50"/>
                  <a:gd name="T7" fmla="*/ 2 h 35"/>
                  <a:gd name="T8" fmla="*/ 21 w 50"/>
                  <a:gd name="T9" fmla="*/ 8 h 35"/>
                  <a:gd name="T10" fmla="*/ 50 w 50"/>
                  <a:gd name="T11" fmla="*/ 32 h 35"/>
                  <a:gd name="T12" fmla="*/ 50 w 50"/>
                  <a:gd name="T13" fmla="*/ 30 h 35"/>
                </a:gdLst>
                <a:ahLst/>
                <a:cxnLst>
                  <a:cxn ang="0">
                    <a:pos x="T0" y="T1"/>
                  </a:cxn>
                  <a:cxn ang="0">
                    <a:pos x="T2" y="T3"/>
                  </a:cxn>
                  <a:cxn ang="0">
                    <a:pos x="T4" y="T5"/>
                  </a:cxn>
                  <a:cxn ang="0">
                    <a:pos x="T6" y="T7"/>
                  </a:cxn>
                  <a:cxn ang="0">
                    <a:pos x="T8" y="T9"/>
                  </a:cxn>
                  <a:cxn ang="0">
                    <a:pos x="T10" y="T11"/>
                  </a:cxn>
                  <a:cxn ang="0">
                    <a:pos x="T12" y="T13"/>
                  </a:cxn>
                </a:cxnLst>
                <a:rect l="0" t="0" r="r" b="b"/>
                <a:pathLst>
                  <a:path w="50" h="35">
                    <a:moveTo>
                      <a:pt x="50" y="30"/>
                    </a:moveTo>
                    <a:cubicBezTo>
                      <a:pt x="41" y="33"/>
                      <a:pt x="28" y="8"/>
                      <a:pt x="21" y="5"/>
                    </a:cubicBezTo>
                    <a:cubicBezTo>
                      <a:pt x="16" y="3"/>
                      <a:pt x="9" y="1"/>
                      <a:pt x="0" y="0"/>
                    </a:cubicBezTo>
                    <a:lnTo>
                      <a:pt x="0" y="2"/>
                    </a:lnTo>
                    <a:cubicBezTo>
                      <a:pt x="9" y="3"/>
                      <a:pt x="16" y="6"/>
                      <a:pt x="21" y="8"/>
                    </a:cubicBezTo>
                    <a:cubicBezTo>
                      <a:pt x="28" y="10"/>
                      <a:pt x="41" y="35"/>
                      <a:pt x="50" y="32"/>
                    </a:cubicBezTo>
                    <a:lnTo>
                      <a:pt x="50" y="3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328"/>
              <p:cNvSpPr>
                <a:spLocks/>
              </p:cNvSpPr>
              <p:nvPr/>
            </p:nvSpPr>
            <p:spPr bwMode="auto">
              <a:xfrm>
                <a:off x="3778" y="1939"/>
                <a:ext cx="7" cy="1"/>
              </a:xfrm>
              <a:custGeom>
                <a:avLst/>
                <a:gdLst>
                  <a:gd name="T0" fmla="*/ 0 w 34"/>
                  <a:gd name="T1" fmla="*/ 3 h 5"/>
                  <a:gd name="T2" fmla="*/ 34 w 34"/>
                  <a:gd name="T3" fmla="*/ 0 h 5"/>
                  <a:gd name="T4" fmla="*/ 34 w 34"/>
                  <a:gd name="T5" fmla="*/ 1 h 5"/>
                  <a:gd name="T6" fmla="*/ 0 w 34"/>
                  <a:gd name="T7" fmla="*/ 5 h 5"/>
                  <a:gd name="T8" fmla="*/ 0 w 34"/>
                  <a:gd name="T9" fmla="*/ 3 h 5"/>
                </a:gdLst>
                <a:ahLst/>
                <a:cxnLst>
                  <a:cxn ang="0">
                    <a:pos x="T0" y="T1"/>
                  </a:cxn>
                  <a:cxn ang="0">
                    <a:pos x="T2" y="T3"/>
                  </a:cxn>
                  <a:cxn ang="0">
                    <a:pos x="T4" y="T5"/>
                  </a:cxn>
                  <a:cxn ang="0">
                    <a:pos x="T6" y="T7"/>
                  </a:cxn>
                  <a:cxn ang="0">
                    <a:pos x="T8" y="T9"/>
                  </a:cxn>
                </a:cxnLst>
                <a:rect l="0" t="0" r="r" b="b"/>
                <a:pathLst>
                  <a:path w="34" h="5">
                    <a:moveTo>
                      <a:pt x="0" y="3"/>
                    </a:moveTo>
                    <a:lnTo>
                      <a:pt x="34" y="0"/>
                    </a:lnTo>
                    <a:lnTo>
                      <a:pt x="34" y="1"/>
                    </a:lnTo>
                    <a:lnTo>
                      <a:pt x="0" y="5"/>
                    </a:lnTo>
                    <a:lnTo>
                      <a:pt x="0"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329"/>
              <p:cNvSpPr>
                <a:spLocks/>
              </p:cNvSpPr>
              <p:nvPr/>
            </p:nvSpPr>
            <p:spPr bwMode="auto">
              <a:xfrm>
                <a:off x="3765" y="1932"/>
                <a:ext cx="15" cy="10"/>
              </a:xfrm>
              <a:custGeom>
                <a:avLst/>
                <a:gdLst>
                  <a:gd name="T0" fmla="*/ 0 w 67"/>
                  <a:gd name="T1" fmla="*/ 0 h 44"/>
                  <a:gd name="T2" fmla="*/ 67 w 67"/>
                  <a:gd name="T3" fmla="*/ 40 h 44"/>
                  <a:gd name="T4" fmla="*/ 67 w 67"/>
                  <a:gd name="T5" fmla="*/ 42 h 44"/>
                  <a:gd name="T6" fmla="*/ 0 w 67"/>
                  <a:gd name="T7" fmla="*/ 2 h 44"/>
                  <a:gd name="T8" fmla="*/ 0 w 67"/>
                  <a:gd name="T9" fmla="*/ 0 h 44"/>
                </a:gdLst>
                <a:ahLst/>
                <a:cxnLst>
                  <a:cxn ang="0">
                    <a:pos x="T0" y="T1"/>
                  </a:cxn>
                  <a:cxn ang="0">
                    <a:pos x="T2" y="T3"/>
                  </a:cxn>
                  <a:cxn ang="0">
                    <a:pos x="T4" y="T5"/>
                  </a:cxn>
                  <a:cxn ang="0">
                    <a:pos x="T6" y="T7"/>
                  </a:cxn>
                  <a:cxn ang="0">
                    <a:pos x="T8" y="T9"/>
                  </a:cxn>
                </a:cxnLst>
                <a:rect l="0" t="0" r="r" b="b"/>
                <a:pathLst>
                  <a:path w="67" h="44">
                    <a:moveTo>
                      <a:pt x="0" y="0"/>
                    </a:moveTo>
                    <a:cubicBezTo>
                      <a:pt x="2" y="10"/>
                      <a:pt x="38" y="42"/>
                      <a:pt x="67" y="40"/>
                    </a:cubicBezTo>
                    <a:lnTo>
                      <a:pt x="67" y="42"/>
                    </a:lnTo>
                    <a:cubicBezTo>
                      <a:pt x="36" y="44"/>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Rectangle 1330"/>
              <p:cNvSpPr>
                <a:spLocks noChangeArrowheads="1"/>
              </p:cNvSpPr>
              <p:nvPr/>
            </p:nvSpPr>
            <p:spPr bwMode="auto">
              <a:xfrm>
                <a:off x="3761" y="192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331"/>
              <p:cNvSpPr>
                <a:spLocks/>
              </p:cNvSpPr>
              <p:nvPr/>
            </p:nvSpPr>
            <p:spPr bwMode="auto">
              <a:xfrm>
                <a:off x="3764" y="1931"/>
                <a:ext cx="2" cy="1"/>
              </a:xfrm>
              <a:custGeom>
                <a:avLst/>
                <a:gdLst>
                  <a:gd name="T0" fmla="*/ 8 w 8"/>
                  <a:gd name="T1" fmla="*/ 2 h 4"/>
                  <a:gd name="T2" fmla="*/ 0 w 8"/>
                  <a:gd name="T3" fmla="*/ 1 h 4"/>
                  <a:gd name="T4" fmla="*/ 0 w 8"/>
                  <a:gd name="T5" fmla="*/ 3 h 4"/>
                  <a:gd name="T6" fmla="*/ 8 w 8"/>
                  <a:gd name="T7" fmla="*/ 4 h 4"/>
                  <a:gd name="T8" fmla="*/ 8 w 8"/>
                  <a:gd name="T9" fmla="*/ 2 h 4"/>
                </a:gdLst>
                <a:ahLst/>
                <a:cxnLst>
                  <a:cxn ang="0">
                    <a:pos x="T0" y="T1"/>
                  </a:cxn>
                  <a:cxn ang="0">
                    <a:pos x="T2" y="T3"/>
                  </a:cxn>
                  <a:cxn ang="0">
                    <a:pos x="T4" y="T5"/>
                  </a:cxn>
                  <a:cxn ang="0">
                    <a:pos x="T6" y="T7"/>
                  </a:cxn>
                  <a:cxn ang="0">
                    <a:pos x="T8" y="T9"/>
                  </a:cxn>
                </a:cxnLst>
                <a:rect l="0" t="0" r="r" b="b"/>
                <a:pathLst>
                  <a:path w="8" h="4">
                    <a:moveTo>
                      <a:pt x="8" y="2"/>
                    </a:moveTo>
                    <a:cubicBezTo>
                      <a:pt x="6" y="0"/>
                      <a:pt x="4" y="0"/>
                      <a:pt x="0" y="1"/>
                    </a:cubicBezTo>
                    <a:lnTo>
                      <a:pt x="0" y="3"/>
                    </a:lnTo>
                    <a:cubicBezTo>
                      <a:pt x="4" y="2"/>
                      <a:pt x="6" y="2"/>
                      <a:pt x="8" y="4"/>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2" name="Rectangle 1332"/>
              <p:cNvSpPr>
                <a:spLocks noChangeArrowheads="1"/>
              </p:cNvSpPr>
              <p:nvPr/>
            </p:nvSpPr>
            <p:spPr bwMode="auto">
              <a:xfrm>
                <a:off x="3748" y="1948"/>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333"/>
              <p:cNvSpPr>
                <a:spLocks noChangeArrowheads="1"/>
              </p:cNvSpPr>
              <p:nvPr/>
            </p:nvSpPr>
            <p:spPr bwMode="auto">
              <a:xfrm>
                <a:off x="3743" y="1918"/>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334"/>
              <p:cNvSpPr>
                <a:spLocks/>
              </p:cNvSpPr>
              <p:nvPr/>
            </p:nvSpPr>
            <p:spPr bwMode="auto">
              <a:xfrm>
                <a:off x="3744" y="1942"/>
                <a:ext cx="41" cy="6"/>
              </a:xfrm>
              <a:custGeom>
                <a:avLst/>
                <a:gdLst>
                  <a:gd name="T0" fmla="*/ 181 w 181"/>
                  <a:gd name="T1" fmla="*/ 6 h 25"/>
                  <a:gd name="T2" fmla="*/ 181 w 181"/>
                  <a:gd name="T3" fmla="*/ 16 h 25"/>
                  <a:gd name="T4" fmla="*/ 178 w 181"/>
                  <a:gd name="T5" fmla="*/ 25 h 25"/>
                  <a:gd name="T6" fmla="*/ 6 w 181"/>
                  <a:gd name="T7" fmla="*/ 25 h 25"/>
                  <a:gd name="T8" fmla="*/ 7 w 181"/>
                  <a:gd name="T9" fmla="*/ 23 h 25"/>
                  <a:gd name="T10" fmla="*/ 160 w 181"/>
                  <a:gd name="T11" fmla="*/ 23 h 25"/>
                  <a:gd name="T12" fmla="*/ 178 w 181"/>
                  <a:gd name="T13" fmla="*/ 16 h 25"/>
                  <a:gd name="T14" fmla="*/ 178 w 181"/>
                  <a:gd name="T15" fmla="*/ 6 h 25"/>
                  <a:gd name="T16" fmla="*/ 181 w 181"/>
                  <a:gd name="T1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5">
                    <a:moveTo>
                      <a:pt x="181" y="6"/>
                    </a:moveTo>
                    <a:lnTo>
                      <a:pt x="181" y="16"/>
                    </a:lnTo>
                    <a:cubicBezTo>
                      <a:pt x="180" y="21"/>
                      <a:pt x="181" y="25"/>
                      <a:pt x="178" y="25"/>
                    </a:cubicBezTo>
                    <a:lnTo>
                      <a:pt x="6" y="25"/>
                    </a:lnTo>
                    <a:cubicBezTo>
                      <a:pt x="0" y="25"/>
                      <a:pt x="0" y="23"/>
                      <a:pt x="7" y="23"/>
                    </a:cubicBezTo>
                    <a:lnTo>
                      <a:pt x="160" y="23"/>
                    </a:lnTo>
                    <a:cubicBezTo>
                      <a:pt x="176" y="23"/>
                      <a:pt x="178" y="19"/>
                      <a:pt x="178" y="16"/>
                    </a:cubicBezTo>
                    <a:lnTo>
                      <a:pt x="178" y="6"/>
                    </a:lnTo>
                    <a:cubicBezTo>
                      <a:pt x="178" y="0"/>
                      <a:pt x="181" y="0"/>
                      <a:pt x="181" y="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335"/>
              <p:cNvSpPr>
                <a:spLocks/>
              </p:cNvSpPr>
              <p:nvPr/>
            </p:nvSpPr>
            <p:spPr bwMode="auto">
              <a:xfrm>
                <a:off x="3744" y="1919"/>
                <a:ext cx="41" cy="1"/>
              </a:xfrm>
              <a:custGeom>
                <a:avLst/>
                <a:gdLst>
                  <a:gd name="T0" fmla="*/ 0 w 180"/>
                  <a:gd name="T1" fmla="*/ 5 h 5"/>
                  <a:gd name="T2" fmla="*/ 4 w 180"/>
                  <a:gd name="T3" fmla="*/ 0 h 5"/>
                  <a:gd name="T4" fmla="*/ 174 w 180"/>
                  <a:gd name="T5" fmla="*/ 0 h 5"/>
                  <a:gd name="T6" fmla="*/ 173 w 180"/>
                  <a:gd name="T7" fmla="*/ 2 h 5"/>
                  <a:gd name="T8" fmla="*/ 47 w 180"/>
                  <a:gd name="T9" fmla="*/ 2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2"/>
                      <a:pt x="0" y="0"/>
                      <a:pt x="4" y="0"/>
                    </a:cubicBezTo>
                    <a:lnTo>
                      <a:pt x="174" y="0"/>
                    </a:lnTo>
                    <a:cubicBezTo>
                      <a:pt x="180" y="0"/>
                      <a:pt x="180" y="2"/>
                      <a:pt x="173" y="2"/>
                    </a:cubicBezTo>
                    <a:cubicBezTo>
                      <a:pt x="169" y="2"/>
                      <a:pt x="63" y="2"/>
                      <a:pt x="47" y="2"/>
                    </a:cubicBezTo>
                    <a:cubicBezTo>
                      <a:pt x="26" y="2"/>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43" name="Freeform 1337"/>
            <p:cNvSpPr>
              <a:spLocks/>
            </p:cNvSpPr>
            <p:nvPr/>
          </p:nvSpPr>
          <p:spPr bwMode="auto">
            <a:xfrm>
              <a:off x="6008688" y="3044825"/>
              <a:ext cx="12700" cy="49213"/>
            </a:xfrm>
            <a:custGeom>
              <a:avLst/>
              <a:gdLst>
                <a:gd name="T0" fmla="*/ 34 w 35"/>
                <a:gd name="T1" fmla="*/ 0 h 135"/>
                <a:gd name="T2" fmla="*/ 6 w 35"/>
                <a:gd name="T3" fmla="*/ 0 h 135"/>
                <a:gd name="T4" fmla="*/ 6 w 35"/>
                <a:gd name="T5" fmla="*/ 18 h 135"/>
                <a:gd name="T6" fmla="*/ 0 w 35"/>
                <a:gd name="T7" fmla="*/ 28 h 135"/>
                <a:gd name="T8" fmla="*/ 0 w 35"/>
                <a:gd name="T9" fmla="*/ 135 h 135"/>
                <a:gd name="T10" fmla="*/ 35 w 35"/>
                <a:gd name="T11" fmla="*/ 135 h 135"/>
                <a:gd name="T12" fmla="*/ 35 w 35"/>
                <a:gd name="T13" fmla="*/ 2 h 135"/>
                <a:gd name="T14" fmla="*/ 35 w 3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5">
                  <a:moveTo>
                    <a:pt x="34" y="0"/>
                  </a:moveTo>
                  <a:lnTo>
                    <a:pt x="6" y="0"/>
                  </a:lnTo>
                  <a:lnTo>
                    <a:pt x="6" y="18"/>
                  </a:lnTo>
                  <a:cubicBezTo>
                    <a:pt x="6" y="23"/>
                    <a:pt x="4" y="26"/>
                    <a:pt x="0" y="28"/>
                  </a:cubicBezTo>
                  <a:lnTo>
                    <a:pt x="0" y="135"/>
                  </a:lnTo>
                  <a:lnTo>
                    <a:pt x="35" y="135"/>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38"/>
            <p:cNvSpPr>
              <a:spLocks noChangeArrowheads="1"/>
            </p:cNvSpPr>
            <p:nvPr/>
          </p:nvSpPr>
          <p:spPr bwMode="auto">
            <a:xfrm>
              <a:off x="6008688" y="3092450"/>
              <a:ext cx="12700"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1339"/>
            <p:cNvSpPr>
              <a:spLocks/>
            </p:cNvSpPr>
            <p:nvPr/>
          </p:nvSpPr>
          <p:spPr bwMode="auto">
            <a:xfrm>
              <a:off x="5927726" y="3044825"/>
              <a:ext cx="14288" cy="49213"/>
            </a:xfrm>
            <a:custGeom>
              <a:avLst/>
              <a:gdLst>
                <a:gd name="T0" fmla="*/ 0 w 38"/>
                <a:gd name="T1" fmla="*/ 0 h 135"/>
                <a:gd name="T2" fmla="*/ 0 w 38"/>
                <a:gd name="T3" fmla="*/ 1 h 135"/>
                <a:gd name="T4" fmla="*/ 0 w 38"/>
                <a:gd name="T5" fmla="*/ 135 h 135"/>
                <a:gd name="T6" fmla="*/ 38 w 38"/>
                <a:gd name="T7" fmla="*/ 135 h 135"/>
                <a:gd name="T8" fmla="*/ 38 w 38"/>
                <a:gd name="T9" fmla="*/ 13 h 135"/>
                <a:gd name="T10" fmla="*/ 32 w 38"/>
                <a:gd name="T11" fmla="*/ 3 h 135"/>
                <a:gd name="T12" fmla="*/ 32 w 38"/>
                <a:gd name="T13" fmla="*/ 0 h 135"/>
                <a:gd name="T14" fmla="*/ 2 w 3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0" y="0"/>
                  </a:moveTo>
                  <a:lnTo>
                    <a:pt x="0" y="1"/>
                  </a:lnTo>
                  <a:lnTo>
                    <a:pt x="0" y="135"/>
                  </a:lnTo>
                  <a:lnTo>
                    <a:pt x="38" y="135"/>
                  </a:lnTo>
                  <a:lnTo>
                    <a:pt x="38" y="13"/>
                  </a:lnTo>
                  <a:cubicBezTo>
                    <a:pt x="35" y="11"/>
                    <a:pt x="32" y="8"/>
                    <a:pt x="32" y="3"/>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0"/>
            <p:cNvSpPr>
              <a:spLocks noChangeArrowheads="1"/>
            </p:cNvSpPr>
            <p:nvPr/>
          </p:nvSpPr>
          <p:spPr bwMode="auto">
            <a:xfrm>
              <a:off x="5927726" y="3092450"/>
              <a:ext cx="14288"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41"/>
            <p:cNvSpPr>
              <a:spLocks noChangeArrowheads="1"/>
            </p:cNvSpPr>
            <p:nvPr/>
          </p:nvSpPr>
          <p:spPr bwMode="auto">
            <a:xfrm>
              <a:off x="5313363" y="3822700"/>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42"/>
            <p:cNvSpPr>
              <a:spLocks noChangeArrowheads="1"/>
            </p:cNvSpPr>
            <p:nvPr/>
          </p:nvSpPr>
          <p:spPr bwMode="auto">
            <a:xfrm>
              <a:off x="5313363" y="3740150"/>
              <a:ext cx="63500" cy="42863"/>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43"/>
            <p:cNvSpPr>
              <a:spLocks noChangeArrowheads="1"/>
            </p:cNvSpPr>
            <p:nvPr/>
          </p:nvSpPr>
          <p:spPr bwMode="auto">
            <a:xfrm>
              <a:off x="5313363" y="3656013"/>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44"/>
            <p:cNvSpPr>
              <a:spLocks noChangeArrowheads="1"/>
            </p:cNvSpPr>
            <p:nvPr/>
          </p:nvSpPr>
          <p:spPr bwMode="auto">
            <a:xfrm>
              <a:off x="5373688" y="3822700"/>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45"/>
            <p:cNvSpPr>
              <a:spLocks noChangeArrowheads="1"/>
            </p:cNvSpPr>
            <p:nvPr/>
          </p:nvSpPr>
          <p:spPr bwMode="auto">
            <a:xfrm>
              <a:off x="5373688" y="3740150"/>
              <a:ext cx="3175"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346"/>
            <p:cNvSpPr>
              <a:spLocks noChangeArrowheads="1"/>
            </p:cNvSpPr>
            <p:nvPr/>
          </p:nvSpPr>
          <p:spPr bwMode="auto">
            <a:xfrm>
              <a:off x="5373688" y="3656013"/>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347"/>
            <p:cNvSpPr>
              <a:spLocks noChangeArrowheads="1"/>
            </p:cNvSpPr>
            <p:nvPr/>
          </p:nvSpPr>
          <p:spPr bwMode="auto">
            <a:xfrm>
              <a:off x="5119688" y="3697288"/>
              <a:ext cx="68263" cy="12858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348"/>
            <p:cNvSpPr>
              <a:spLocks noChangeArrowheads="1"/>
            </p:cNvSpPr>
            <p:nvPr/>
          </p:nvSpPr>
          <p:spPr bwMode="auto">
            <a:xfrm>
              <a:off x="5119688" y="3697288"/>
              <a:ext cx="3175" cy="128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349"/>
            <p:cNvSpPr>
              <a:spLocks noChangeArrowheads="1"/>
            </p:cNvSpPr>
            <p:nvPr/>
          </p:nvSpPr>
          <p:spPr bwMode="auto">
            <a:xfrm>
              <a:off x="5187951" y="3640138"/>
              <a:ext cx="125413" cy="242888"/>
            </a:xfrm>
            <a:prstGeom prst="rect">
              <a:avLst/>
            </a:prstGeom>
            <a:solidFill>
              <a:srgbClr val="3030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1350"/>
            <p:cNvSpPr>
              <a:spLocks/>
            </p:cNvSpPr>
            <p:nvPr/>
          </p:nvSpPr>
          <p:spPr bwMode="auto">
            <a:xfrm>
              <a:off x="5187951" y="3640138"/>
              <a:ext cx="7938" cy="242888"/>
            </a:xfrm>
            <a:custGeom>
              <a:avLst/>
              <a:gdLst>
                <a:gd name="T0" fmla="*/ 0 w 26"/>
                <a:gd name="T1" fmla="*/ 676 h 676"/>
                <a:gd name="T2" fmla="*/ 0 w 26"/>
                <a:gd name="T3" fmla="*/ 0 h 676"/>
                <a:gd name="T4" fmla="*/ 26 w 26"/>
                <a:gd name="T5" fmla="*/ 25 h 676"/>
                <a:gd name="T6" fmla="*/ 26 w 26"/>
                <a:gd name="T7" fmla="*/ 650 h 676"/>
                <a:gd name="T8" fmla="*/ 0 w 26"/>
                <a:gd name="T9" fmla="*/ 676 h 676"/>
              </a:gdLst>
              <a:ahLst/>
              <a:cxnLst>
                <a:cxn ang="0">
                  <a:pos x="T0" y="T1"/>
                </a:cxn>
                <a:cxn ang="0">
                  <a:pos x="T2" y="T3"/>
                </a:cxn>
                <a:cxn ang="0">
                  <a:pos x="T4" y="T5"/>
                </a:cxn>
                <a:cxn ang="0">
                  <a:pos x="T6" y="T7"/>
                </a:cxn>
                <a:cxn ang="0">
                  <a:pos x="T8" y="T9"/>
                </a:cxn>
              </a:cxnLst>
              <a:rect l="0" t="0" r="r" b="b"/>
              <a:pathLst>
                <a:path w="26" h="676">
                  <a:moveTo>
                    <a:pt x="0" y="676"/>
                  </a:moveTo>
                  <a:lnTo>
                    <a:pt x="0" y="0"/>
                  </a:lnTo>
                  <a:lnTo>
                    <a:pt x="26" y="25"/>
                  </a:lnTo>
                  <a:lnTo>
                    <a:pt x="26" y="650"/>
                  </a:lnTo>
                  <a:lnTo>
                    <a:pt x="0"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1351"/>
            <p:cNvSpPr>
              <a:spLocks/>
            </p:cNvSpPr>
            <p:nvPr/>
          </p:nvSpPr>
          <p:spPr bwMode="auto">
            <a:xfrm>
              <a:off x="5305426" y="3640138"/>
              <a:ext cx="7938" cy="242888"/>
            </a:xfrm>
            <a:custGeom>
              <a:avLst/>
              <a:gdLst>
                <a:gd name="T0" fmla="*/ 25 w 25"/>
                <a:gd name="T1" fmla="*/ 676 h 676"/>
                <a:gd name="T2" fmla="*/ 25 w 25"/>
                <a:gd name="T3" fmla="*/ 0 h 676"/>
                <a:gd name="T4" fmla="*/ 0 w 25"/>
                <a:gd name="T5" fmla="*/ 25 h 676"/>
                <a:gd name="T6" fmla="*/ 0 w 25"/>
                <a:gd name="T7" fmla="*/ 650 h 676"/>
                <a:gd name="T8" fmla="*/ 25 w 25"/>
                <a:gd name="T9" fmla="*/ 676 h 676"/>
              </a:gdLst>
              <a:ahLst/>
              <a:cxnLst>
                <a:cxn ang="0">
                  <a:pos x="T0" y="T1"/>
                </a:cxn>
                <a:cxn ang="0">
                  <a:pos x="T2" y="T3"/>
                </a:cxn>
                <a:cxn ang="0">
                  <a:pos x="T4" y="T5"/>
                </a:cxn>
                <a:cxn ang="0">
                  <a:pos x="T6" y="T7"/>
                </a:cxn>
                <a:cxn ang="0">
                  <a:pos x="T8" y="T9"/>
                </a:cxn>
              </a:cxnLst>
              <a:rect l="0" t="0" r="r" b="b"/>
              <a:pathLst>
                <a:path w="25" h="676">
                  <a:moveTo>
                    <a:pt x="25" y="676"/>
                  </a:moveTo>
                  <a:lnTo>
                    <a:pt x="25" y="0"/>
                  </a:lnTo>
                  <a:lnTo>
                    <a:pt x="0" y="25"/>
                  </a:lnTo>
                  <a:lnTo>
                    <a:pt x="0" y="650"/>
                  </a:lnTo>
                  <a:lnTo>
                    <a:pt x="25"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352"/>
            <p:cNvSpPr>
              <a:spLocks/>
            </p:cNvSpPr>
            <p:nvPr/>
          </p:nvSpPr>
          <p:spPr bwMode="auto">
            <a:xfrm>
              <a:off x="5187951" y="3873500"/>
              <a:ext cx="125413" cy="9525"/>
            </a:xfrm>
            <a:custGeom>
              <a:avLst/>
              <a:gdLst>
                <a:gd name="T0" fmla="*/ 0 w 351"/>
                <a:gd name="T1" fmla="*/ 26 h 26"/>
                <a:gd name="T2" fmla="*/ 351 w 351"/>
                <a:gd name="T3" fmla="*/ 26 h 26"/>
                <a:gd name="T4" fmla="*/ 326 w 351"/>
                <a:gd name="T5" fmla="*/ 0 h 26"/>
                <a:gd name="T6" fmla="*/ 26 w 351"/>
                <a:gd name="T7" fmla="*/ 0 h 26"/>
                <a:gd name="T8" fmla="*/ 0 w 351"/>
                <a:gd name="T9" fmla="*/ 26 h 26"/>
              </a:gdLst>
              <a:ahLst/>
              <a:cxnLst>
                <a:cxn ang="0">
                  <a:pos x="T0" y="T1"/>
                </a:cxn>
                <a:cxn ang="0">
                  <a:pos x="T2" y="T3"/>
                </a:cxn>
                <a:cxn ang="0">
                  <a:pos x="T4" y="T5"/>
                </a:cxn>
                <a:cxn ang="0">
                  <a:pos x="T6" y="T7"/>
                </a:cxn>
                <a:cxn ang="0">
                  <a:pos x="T8" y="T9"/>
                </a:cxn>
              </a:cxnLst>
              <a:rect l="0" t="0" r="r" b="b"/>
              <a:pathLst>
                <a:path w="351" h="26">
                  <a:moveTo>
                    <a:pt x="0" y="26"/>
                  </a:moveTo>
                  <a:lnTo>
                    <a:pt x="351" y="26"/>
                  </a:lnTo>
                  <a:lnTo>
                    <a:pt x="326" y="0"/>
                  </a:lnTo>
                  <a:lnTo>
                    <a:pt x="26" y="0"/>
                  </a:lnTo>
                  <a:lnTo>
                    <a:pt x="0" y="2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353"/>
            <p:cNvSpPr>
              <a:spLocks/>
            </p:cNvSpPr>
            <p:nvPr/>
          </p:nvSpPr>
          <p:spPr bwMode="auto">
            <a:xfrm>
              <a:off x="5187951" y="3640138"/>
              <a:ext cx="125413" cy="7938"/>
            </a:xfrm>
            <a:custGeom>
              <a:avLst/>
              <a:gdLst>
                <a:gd name="T0" fmla="*/ 0 w 351"/>
                <a:gd name="T1" fmla="*/ 0 h 25"/>
                <a:gd name="T2" fmla="*/ 351 w 351"/>
                <a:gd name="T3" fmla="*/ 0 h 25"/>
                <a:gd name="T4" fmla="*/ 326 w 351"/>
                <a:gd name="T5" fmla="*/ 25 h 25"/>
                <a:gd name="T6" fmla="*/ 26 w 351"/>
                <a:gd name="T7" fmla="*/ 25 h 25"/>
                <a:gd name="T8" fmla="*/ 0 w 351"/>
                <a:gd name="T9" fmla="*/ 0 h 25"/>
              </a:gdLst>
              <a:ahLst/>
              <a:cxnLst>
                <a:cxn ang="0">
                  <a:pos x="T0" y="T1"/>
                </a:cxn>
                <a:cxn ang="0">
                  <a:pos x="T2" y="T3"/>
                </a:cxn>
                <a:cxn ang="0">
                  <a:pos x="T4" y="T5"/>
                </a:cxn>
                <a:cxn ang="0">
                  <a:pos x="T6" y="T7"/>
                </a:cxn>
                <a:cxn ang="0">
                  <a:pos x="T8" y="T9"/>
                </a:cxn>
              </a:cxnLst>
              <a:rect l="0" t="0" r="r" b="b"/>
              <a:pathLst>
                <a:path w="351" h="25">
                  <a:moveTo>
                    <a:pt x="0" y="0"/>
                  </a:moveTo>
                  <a:lnTo>
                    <a:pt x="351" y="0"/>
                  </a:lnTo>
                  <a:lnTo>
                    <a:pt x="326" y="25"/>
                  </a:lnTo>
                  <a:lnTo>
                    <a:pt x="26" y="25"/>
                  </a:lnTo>
                  <a:lnTo>
                    <a:pt x="0" y="0"/>
                  </a:lnTo>
                  <a:close/>
                </a:path>
              </a:pathLst>
            </a:custGeom>
            <a:solidFill>
              <a:srgbClr val="3D3D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Oval 1354"/>
            <p:cNvSpPr>
              <a:spLocks noChangeArrowheads="1"/>
            </p:cNvSpPr>
            <p:nvPr/>
          </p:nvSpPr>
          <p:spPr bwMode="auto">
            <a:xfrm>
              <a:off x="5276851" y="3846513"/>
              <a:ext cx="19050" cy="17463"/>
            </a:xfrm>
            <a:prstGeom prst="ellipse">
              <a:avLst/>
            </a:pr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355"/>
            <p:cNvSpPr>
              <a:spLocks noChangeArrowheads="1"/>
            </p:cNvSpPr>
            <p:nvPr/>
          </p:nvSpPr>
          <p:spPr bwMode="auto">
            <a:xfrm>
              <a:off x="4968876" y="3956050"/>
              <a:ext cx="419100" cy="30162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356"/>
            <p:cNvSpPr>
              <a:spLocks noChangeArrowheads="1"/>
            </p:cNvSpPr>
            <p:nvPr/>
          </p:nvSpPr>
          <p:spPr bwMode="auto">
            <a:xfrm>
              <a:off x="4976813" y="3963988"/>
              <a:ext cx="406400" cy="2063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357"/>
            <p:cNvSpPr>
              <a:spLocks noChangeArrowheads="1"/>
            </p:cNvSpPr>
            <p:nvPr/>
          </p:nvSpPr>
          <p:spPr bwMode="auto">
            <a:xfrm>
              <a:off x="4976813" y="3984625"/>
              <a:ext cx="406400" cy="6826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358"/>
            <p:cNvSpPr>
              <a:spLocks noChangeArrowheads="1"/>
            </p:cNvSpPr>
            <p:nvPr/>
          </p:nvSpPr>
          <p:spPr bwMode="auto">
            <a:xfrm>
              <a:off x="4964113" y="4230688"/>
              <a:ext cx="419100" cy="2063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359"/>
            <p:cNvSpPr>
              <a:spLocks noChangeArrowheads="1"/>
            </p:cNvSpPr>
            <p:nvPr/>
          </p:nvSpPr>
          <p:spPr bwMode="auto">
            <a:xfrm>
              <a:off x="4964113" y="4156075"/>
              <a:ext cx="419100" cy="74613"/>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360"/>
            <p:cNvSpPr>
              <a:spLocks noChangeArrowheads="1"/>
            </p:cNvSpPr>
            <p:nvPr/>
          </p:nvSpPr>
          <p:spPr bwMode="auto">
            <a:xfrm>
              <a:off x="5381626" y="3956050"/>
              <a:ext cx="6350"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Line 1361"/>
            <p:cNvSpPr>
              <a:spLocks noChangeShapeType="1"/>
            </p:cNvSpPr>
            <p:nvPr/>
          </p:nvSpPr>
          <p:spPr bwMode="auto">
            <a:xfrm flipV="1">
              <a:off x="5353051" y="3956050"/>
              <a:ext cx="0" cy="301625"/>
            </a:xfrm>
            <a:prstGeom prst="line">
              <a:avLst/>
            </a:prstGeom>
            <a:noFill/>
            <a:ln w="3175"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8" name="Rectangle 1362"/>
            <p:cNvSpPr>
              <a:spLocks noChangeArrowheads="1"/>
            </p:cNvSpPr>
            <p:nvPr/>
          </p:nvSpPr>
          <p:spPr bwMode="auto">
            <a:xfrm>
              <a:off x="4997451" y="3956050"/>
              <a:ext cx="15875"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363"/>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00000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364"/>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365"/>
            <p:cNvSpPr>
              <a:spLocks noChangeArrowheads="1"/>
            </p:cNvSpPr>
            <p:nvPr/>
          </p:nvSpPr>
          <p:spPr bwMode="auto">
            <a:xfrm>
              <a:off x="4911726" y="3944938"/>
              <a:ext cx="98425" cy="32385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366"/>
            <p:cNvSpPr>
              <a:spLocks noChangeArrowheads="1"/>
            </p:cNvSpPr>
            <p:nvPr/>
          </p:nvSpPr>
          <p:spPr bwMode="auto">
            <a:xfrm>
              <a:off x="5387976" y="4070350"/>
              <a:ext cx="22225" cy="73025"/>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367"/>
            <p:cNvSpPr>
              <a:spLocks noChangeArrowheads="1"/>
            </p:cNvSpPr>
            <p:nvPr/>
          </p:nvSpPr>
          <p:spPr bwMode="auto">
            <a:xfrm>
              <a:off x="5387976" y="4035425"/>
              <a:ext cx="12700" cy="142875"/>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368"/>
            <p:cNvSpPr>
              <a:spLocks noChangeArrowheads="1"/>
            </p:cNvSpPr>
            <p:nvPr/>
          </p:nvSpPr>
          <p:spPr bwMode="auto">
            <a:xfrm>
              <a:off x="4921251" y="3949700"/>
              <a:ext cx="79375" cy="1428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369"/>
            <p:cNvSpPr>
              <a:spLocks noChangeArrowheads="1"/>
            </p:cNvSpPr>
            <p:nvPr/>
          </p:nvSpPr>
          <p:spPr bwMode="auto">
            <a:xfrm>
              <a:off x="4921251" y="4251325"/>
              <a:ext cx="79375" cy="127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370"/>
            <p:cNvSpPr>
              <a:spLocks/>
            </p:cNvSpPr>
            <p:nvPr/>
          </p:nvSpPr>
          <p:spPr bwMode="auto">
            <a:xfrm>
              <a:off x="4968876" y="2757488"/>
              <a:ext cx="63500" cy="52388"/>
            </a:xfrm>
            <a:custGeom>
              <a:avLst/>
              <a:gdLst>
                <a:gd name="T0" fmla="*/ 68 w 173"/>
                <a:gd name="T1" fmla="*/ 0 h 144"/>
                <a:gd name="T2" fmla="*/ 173 w 173"/>
                <a:gd name="T3" fmla="*/ 0 h 144"/>
                <a:gd name="T4" fmla="*/ 173 w 173"/>
                <a:gd name="T5" fmla="*/ 72 h 144"/>
                <a:gd name="T6" fmla="*/ 173 w 173"/>
                <a:gd name="T7" fmla="*/ 144 h 144"/>
                <a:gd name="T8" fmla="*/ 68 w 173"/>
                <a:gd name="T9" fmla="*/ 144 h 144"/>
                <a:gd name="T10" fmla="*/ 0 w 173"/>
                <a:gd name="T11" fmla="*/ 144 h 144"/>
                <a:gd name="T12" fmla="*/ 0 w 173"/>
                <a:gd name="T13" fmla="*/ 32 h 144"/>
                <a:gd name="T14" fmla="*/ 32 w 173"/>
                <a:gd name="T15" fmla="*/ 0 h 144"/>
                <a:gd name="T16" fmla="*/ 68 w 173"/>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0"/>
                  </a:moveTo>
                  <a:lnTo>
                    <a:pt x="173" y="0"/>
                  </a:lnTo>
                  <a:lnTo>
                    <a:pt x="173" y="72"/>
                  </a:lnTo>
                  <a:lnTo>
                    <a:pt x="173" y="144"/>
                  </a:lnTo>
                  <a:lnTo>
                    <a:pt x="68" y="144"/>
                  </a:lnTo>
                  <a:lnTo>
                    <a:pt x="0" y="144"/>
                  </a:lnTo>
                  <a:lnTo>
                    <a:pt x="0" y="32"/>
                  </a:lnTo>
                  <a:cubicBezTo>
                    <a:pt x="0" y="15"/>
                    <a:pt x="15" y="0"/>
                    <a:pt x="32" y="0"/>
                  </a:cubicBezTo>
                  <a:cubicBezTo>
                    <a:pt x="32" y="0"/>
                    <a:pt x="68" y="0"/>
                    <a:pt x="68" y="0"/>
                  </a:cubicBez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371"/>
            <p:cNvSpPr>
              <a:spLocks/>
            </p:cNvSpPr>
            <p:nvPr/>
          </p:nvSpPr>
          <p:spPr bwMode="auto">
            <a:xfrm>
              <a:off x="4968876" y="2757488"/>
              <a:ext cx="11113" cy="52388"/>
            </a:xfrm>
            <a:custGeom>
              <a:avLst/>
              <a:gdLst>
                <a:gd name="T0" fmla="*/ 29 w 29"/>
                <a:gd name="T1" fmla="*/ 0 h 144"/>
                <a:gd name="T2" fmla="*/ 29 w 29"/>
                <a:gd name="T3" fmla="*/ 144 h 144"/>
                <a:gd name="T4" fmla="*/ 0 w 29"/>
                <a:gd name="T5" fmla="*/ 144 h 144"/>
                <a:gd name="T6" fmla="*/ 0 w 29"/>
                <a:gd name="T7" fmla="*/ 27 h 144"/>
                <a:gd name="T8" fmla="*/ 29 w 29"/>
                <a:gd name="T9" fmla="*/ 0 h 144"/>
              </a:gdLst>
              <a:ahLst/>
              <a:cxnLst>
                <a:cxn ang="0">
                  <a:pos x="T0" y="T1"/>
                </a:cxn>
                <a:cxn ang="0">
                  <a:pos x="T2" y="T3"/>
                </a:cxn>
                <a:cxn ang="0">
                  <a:pos x="T4" y="T5"/>
                </a:cxn>
                <a:cxn ang="0">
                  <a:pos x="T6" y="T7"/>
                </a:cxn>
                <a:cxn ang="0">
                  <a:pos x="T8" y="T9"/>
                </a:cxn>
              </a:cxnLst>
              <a:rect l="0" t="0" r="r" b="b"/>
              <a:pathLst>
                <a:path w="29" h="144">
                  <a:moveTo>
                    <a:pt x="29" y="0"/>
                  </a:moveTo>
                  <a:lnTo>
                    <a:pt x="29" y="144"/>
                  </a:lnTo>
                  <a:lnTo>
                    <a:pt x="0" y="144"/>
                  </a:lnTo>
                  <a:lnTo>
                    <a:pt x="0" y="27"/>
                  </a:lnTo>
                  <a:cubicBezTo>
                    <a:pt x="0" y="13"/>
                    <a:pt x="20" y="0"/>
                    <a:pt x="29" y="0"/>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372"/>
            <p:cNvSpPr>
              <a:spLocks noChangeArrowheads="1"/>
            </p:cNvSpPr>
            <p:nvPr/>
          </p:nvSpPr>
          <p:spPr bwMode="auto">
            <a:xfrm>
              <a:off x="4843463" y="2809875"/>
              <a:ext cx="466725" cy="412750"/>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373"/>
            <p:cNvSpPr>
              <a:spLocks noChangeArrowheads="1"/>
            </p:cNvSpPr>
            <p:nvPr/>
          </p:nvSpPr>
          <p:spPr bwMode="auto">
            <a:xfrm>
              <a:off x="4748213" y="2809875"/>
              <a:ext cx="95250" cy="4127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374"/>
            <p:cNvSpPr>
              <a:spLocks noChangeArrowheads="1"/>
            </p:cNvSpPr>
            <p:nvPr/>
          </p:nvSpPr>
          <p:spPr bwMode="auto">
            <a:xfrm>
              <a:off x="4748213" y="3195638"/>
              <a:ext cx="561975" cy="2698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375"/>
            <p:cNvSpPr>
              <a:spLocks noChangeArrowheads="1"/>
            </p:cNvSpPr>
            <p:nvPr/>
          </p:nvSpPr>
          <p:spPr bwMode="auto">
            <a:xfrm>
              <a:off x="4748213" y="2809875"/>
              <a:ext cx="561975"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376"/>
            <p:cNvSpPr>
              <a:spLocks/>
            </p:cNvSpPr>
            <p:nvPr/>
          </p:nvSpPr>
          <p:spPr bwMode="auto">
            <a:xfrm>
              <a:off x="4968876" y="3222625"/>
              <a:ext cx="63500" cy="50800"/>
            </a:xfrm>
            <a:custGeom>
              <a:avLst/>
              <a:gdLst>
                <a:gd name="T0" fmla="*/ 68 w 173"/>
                <a:gd name="T1" fmla="*/ 144 h 144"/>
                <a:gd name="T2" fmla="*/ 173 w 173"/>
                <a:gd name="T3" fmla="*/ 144 h 144"/>
                <a:gd name="T4" fmla="*/ 173 w 173"/>
                <a:gd name="T5" fmla="*/ 72 h 144"/>
                <a:gd name="T6" fmla="*/ 173 w 173"/>
                <a:gd name="T7" fmla="*/ 0 h 144"/>
                <a:gd name="T8" fmla="*/ 68 w 173"/>
                <a:gd name="T9" fmla="*/ 0 h 144"/>
                <a:gd name="T10" fmla="*/ 0 w 173"/>
                <a:gd name="T11" fmla="*/ 0 h 144"/>
                <a:gd name="T12" fmla="*/ 0 w 173"/>
                <a:gd name="T13" fmla="*/ 112 h 144"/>
                <a:gd name="T14" fmla="*/ 32 w 173"/>
                <a:gd name="T15" fmla="*/ 144 h 144"/>
                <a:gd name="T16" fmla="*/ 68 w 17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144"/>
                  </a:moveTo>
                  <a:lnTo>
                    <a:pt x="173" y="144"/>
                  </a:lnTo>
                  <a:lnTo>
                    <a:pt x="173" y="72"/>
                  </a:lnTo>
                  <a:lnTo>
                    <a:pt x="173" y="0"/>
                  </a:lnTo>
                  <a:lnTo>
                    <a:pt x="68" y="0"/>
                  </a:lnTo>
                  <a:lnTo>
                    <a:pt x="0" y="0"/>
                  </a:lnTo>
                  <a:lnTo>
                    <a:pt x="0" y="112"/>
                  </a:lnTo>
                  <a:cubicBezTo>
                    <a:pt x="0" y="129"/>
                    <a:pt x="15" y="144"/>
                    <a:pt x="32" y="144"/>
                  </a:cubicBezTo>
                  <a:lnTo>
                    <a:pt x="68" y="14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377"/>
            <p:cNvSpPr>
              <a:spLocks/>
            </p:cNvSpPr>
            <p:nvPr/>
          </p:nvSpPr>
          <p:spPr bwMode="auto">
            <a:xfrm>
              <a:off x="4968876" y="3222625"/>
              <a:ext cx="11113" cy="50800"/>
            </a:xfrm>
            <a:custGeom>
              <a:avLst/>
              <a:gdLst>
                <a:gd name="T0" fmla="*/ 29 w 29"/>
                <a:gd name="T1" fmla="*/ 144 h 144"/>
                <a:gd name="T2" fmla="*/ 29 w 29"/>
                <a:gd name="T3" fmla="*/ 0 h 144"/>
                <a:gd name="T4" fmla="*/ 0 w 29"/>
                <a:gd name="T5" fmla="*/ 0 h 144"/>
                <a:gd name="T6" fmla="*/ 0 w 29"/>
                <a:gd name="T7" fmla="*/ 117 h 144"/>
                <a:gd name="T8" fmla="*/ 29 w 29"/>
                <a:gd name="T9" fmla="*/ 144 h 144"/>
              </a:gdLst>
              <a:ahLst/>
              <a:cxnLst>
                <a:cxn ang="0">
                  <a:pos x="T0" y="T1"/>
                </a:cxn>
                <a:cxn ang="0">
                  <a:pos x="T2" y="T3"/>
                </a:cxn>
                <a:cxn ang="0">
                  <a:pos x="T4" y="T5"/>
                </a:cxn>
                <a:cxn ang="0">
                  <a:pos x="T6" y="T7"/>
                </a:cxn>
                <a:cxn ang="0">
                  <a:pos x="T8" y="T9"/>
                </a:cxn>
              </a:cxnLst>
              <a:rect l="0" t="0" r="r" b="b"/>
              <a:pathLst>
                <a:path w="29" h="144">
                  <a:moveTo>
                    <a:pt x="29" y="144"/>
                  </a:moveTo>
                  <a:lnTo>
                    <a:pt x="29" y="0"/>
                  </a:lnTo>
                  <a:lnTo>
                    <a:pt x="0" y="0"/>
                  </a:lnTo>
                  <a:lnTo>
                    <a:pt x="0" y="117"/>
                  </a:lnTo>
                  <a:cubicBezTo>
                    <a:pt x="0" y="131"/>
                    <a:pt x="20" y="144"/>
                    <a:pt x="29" y="144"/>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378"/>
            <p:cNvSpPr>
              <a:spLocks/>
            </p:cNvSpPr>
            <p:nvPr/>
          </p:nvSpPr>
          <p:spPr bwMode="auto">
            <a:xfrm>
              <a:off x="5057776" y="2513013"/>
              <a:ext cx="263525" cy="203200"/>
            </a:xfrm>
            <a:custGeom>
              <a:avLst/>
              <a:gdLst>
                <a:gd name="T0" fmla="*/ 220 w 732"/>
                <a:gd name="T1" fmla="*/ 564 h 564"/>
                <a:gd name="T2" fmla="*/ 220 w 732"/>
                <a:gd name="T3" fmla="*/ 551 h 564"/>
                <a:gd name="T4" fmla="*/ 512 w 732"/>
                <a:gd name="T5" fmla="*/ 551 h 564"/>
                <a:gd name="T6" fmla="*/ 512 w 732"/>
                <a:gd name="T7" fmla="*/ 564 h 564"/>
                <a:gd name="T8" fmla="*/ 732 w 732"/>
                <a:gd name="T9" fmla="*/ 564 h 564"/>
                <a:gd name="T10" fmla="*/ 732 w 732"/>
                <a:gd name="T11" fmla="*/ 0 h 564"/>
                <a:gd name="T12" fmla="*/ 0 w 732"/>
                <a:gd name="T13" fmla="*/ 0 h 564"/>
                <a:gd name="T14" fmla="*/ 0 w 732"/>
                <a:gd name="T15" fmla="*/ 564 h 564"/>
                <a:gd name="T16" fmla="*/ 220 w 732"/>
                <a:gd name="T17"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64">
                  <a:moveTo>
                    <a:pt x="220" y="564"/>
                  </a:moveTo>
                  <a:lnTo>
                    <a:pt x="220" y="551"/>
                  </a:lnTo>
                  <a:lnTo>
                    <a:pt x="512" y="551"/>
                  </a:lnTo>
                  <a:lnTo>
                    <a:pt x="512" y="564"/>
                  </a:lnTo>
                  <a:lnTo>
                    <a:pt x="732" y="564"/>
                  </a:lnTo>
                  <a:lnTo>
                    <a:pt x="732" y="0"/>
                  </a:lnTo>
                  <a:lnTo>
                    <a:pt x="0" y="0"/>
                  </a:lnTo>
                  <a:lnTo>
                    <a:pt x="0" y="564"/>
                  </a:lnTo>
                  <a:lnTo>
                    <a:pt x="220" y="564"/>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379"/>
            <p:cNvSpPr>
              <a:spLocks/>
            </p:cNvSpPr>
            <p:nvPr/>
          </p:nvSpPr>
          <p:spPr bwMode="auto">
            <a:xfrm>
              <a:off x="5057776" y="2479675"/>
              <a:ext cx="263525" cy="201613"/>
            </a:xfrm>
            <a:custGeom>
              <a:avLst/>
              <a:gdLst>
                <a:gd name="T0" fmla="*/ 512 w 732"/>
                <a:gd name="T1" fmla="*/ 0 h 559"/>
                <a:gd name="T2" fmla="*/ 512 w 732"/>
                <a:gd name="T3" fmla="*/ 13 h 559"/>
                <a:gd name="T4" fmla="*/ 220 w 732"/>
                <a:gd name="T5" fmla="*/ 13 h 559"/>
                <a:gd name="T6" fmla="*/ 220 w 732"/>
                <a:gd name="T7" fmla="*/ 0 h 559"/>
                <a:gd name="T8" fmla="*/ 0 w 732"/>
                <a:gd name="T9" fmla="*/ 0 h 559"/>
                <a:gd name="T10" fmla="*/ 0 w 732"/>
                <a:gd name="T11" fmla="*/ 559 h 559"/>
                <a:gd name="T12" fmla="*/ 732 w 732"/>
                <a:gd name="T13" fmla="*/ 559 h 559"/>
                <a:gd name="T14" fmla="*/ 732 w 732"/>
                <a:gd name="T15" fmla="*/ 0 h 559"/>
                <a:gd name="T16" fmla="*/ 512 w 732"/>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59">
                  <a:moveTo>
                    <a:pt x="512" y="0"/>
                  </a:moveTo>
                  <a:lnTo>
                    <a:pt x="512" y="13"/>
                  </a:lnTo>
                  <a:lnTo>
                    <a:pt x="220" y="13"/>
                  </a:lnTo>
                  <a:lnTo>
                    <a:pt x="220" y="0"/>
                  </a:lnTo>
                  <a:lnTo>
                    <a:pt x="0" y="0"/>
                  </a:lnTo>
                  <a:lnTo>
                    <a:pt x="0" y="559"/>
                  </a:lnTo>
                  <a:lnTo>
                    <a:pt x="732" y="559"/>
                  </a:lnTo>
                  <a:lnTo>
                    <a:pt x="732" y="0"/>
                  </a:lnTo>
                  <a:lnTo>
                    <a:pt x="512"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Oval 1380"/>
            <p:cNvSpPr>
              <a:spLocks noChangeArrowheads="1"/>
            </p:cNvSpPr>
            <p:nvPr/>
          </p:nvSpPr>
          <p:spPr bwMode="auto">
            <a:xfrm>
              <a:off x="5124451" y="2532063"/>
              <a:ext cx="130175" cy="130175"/>
            </a:xfrm>
            <a:prstGeom prst="ellipse">
              <a:avLst/>
            </a:prstGeom>
            <a:solidFill>
              <a:srgbClr val="641D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381"/>
            <p:cNvSpPr>
              <a:spLocks/>
            </p:cNvSpPr>
            <p:nvPr/>
          </p:nvSpPr>
          <p:spPr bwMode="auto">
            <a:xfrm>
              <a:off x="5124451" y="2528888"/>
              <a:ext cx="130175" cy="68263"/>
            </a:xfrm>
            <a:custGeom>
              <a:avLst/>
              <a:gdLst>
                <a:gd name="T0" fmla="*/ 361 w 361"/>
                <a:gd name="T1" fmla="*/ 181 h 190"/>
                <a:gd name="T2" fmla="*/ 180 w 361"/>
                <a:gd name="T3" fmla="*/ 0 h 190"/>
                <a:gd name="T4" fmla="*/ 0 w 361"/>
                <a:gd name="T5" fmla="*/ 181 h 190"/>
                <a:gd name="T6" fmla="*/ 0 w 361"/>
                <a:gd name="T7" fmla="*/ 190 h 190"/>
                <a:gd name="T8" fmla="*/ 180 w 361"/>
                <a:gd name="T9" fmla="*/ 9 h 190"/>
                <a:gd name="T10" fmla="*/ 361 w 361"/>
                <a:gd name="T11" fmla="*/ 190 h 190"/>
                <a:gd name="T12" fmla="*/ 361 w 361"/>
                <a:gd name="T13" fmla="*/ 181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361" y="181"/>
                  </a:moveTo>
                  <a:cubicBezTo>
                    <a:pt x="361" y="81"/>
                    <a:pt x="280" y="0"/>
                    <a:pt x="180" y="0"/>
                  </a:cubicBezTo>
                  <a:cubicBezTo>
                    <a:pt x="80" y="0"/>
                    <a:pt x="0" y="81"/>
                    <a:pt x="0" y="181"/>
                  </a:cubicBezTo>
                  <a:lnTo>
                    <a:pt x="0" y="190"/>
                  </a:lnTo>
                  <a:cubicBezTo>
                    <a:pt x="0" y="90"/>
                    <a:pt x="80" y="9"/>
                    <a:pt x="180" y="9"/>
                  </a:cubicBezTo>
                  <a:cubicBezTo>
                    <a:pt x="280" y="9"/>
                    <a:pt x="361" y="90"/>
                    <a:pt x="361" y="190"/>
                  </a:cubicBezTo>
                  <a:lnTo>
                    <a:pt x="361" y="18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Oval 1382"/>
            <p:cNvSpPr>
              <a:spLocks noChangeArrowheads="1"/>
            </p:cNvSpPr>
            <p:nvPr/>
          </p:nvSpPr>
          <p:spPr bwMode="auto">
            <a:xfrm>
              <a:off x="5126038" y="2535238"/>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Oval 1383"/>
            <p:cNvSpPr>
              <a:spLocks noChangeArrowheads="1"/>
            </p:cNvSpPr>
            <p:nvPr/>
          </p:nvSpPr>
          <p:spPr bwMode="auto">
            <a:xfrm>
              <a:off x="5126038" y="2536825"/>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384"/>
            <p:cNvSpPr>
              <a:spLocks/>
            </p:cNvSpPr>
            <p:nvPr/>
          </p:nvSpPr>
          <p:spPr bwMode="auto">
            <a:xfrm>
              <a:off x="5187951" y="2535238"/>
              <a:ext cx="65088" cy="125413"/>
            </a:xfrm>
            <a:custGeom>
              <a:avLst/>
              <a:gdLst>
                <a:gd name="T0" fmla="*/ 8 w 182"/>
                <a:gd name="T1" fmla="*/ 348 h 348"/>
                <a:gd name="T2" fmla="*/ 182 w 182"/>
                <a:gd name="T3" fmla="*/ 174 h 348"/>
                <a:gd name="T4" fmla="*/ 8 w 182"/>
                <a:gd name="T5" fmla="*/ 0 h 348"/>
                <a:gd name="T6" fmla="*/ 0 w 182"/>
                <a:gd name="T7" fmla="*/ 0 h 348"/>
                <a:gd name="T8" fmla="*/ 174 w 182"/>
                <a:gd name="T9" fmla="*/ 174 h 348"/>
                <a:gd name="T10" fmla="*/ 0 w 182"/>
                <a:gd name="T11" fmla="*/ 348 h 348"/>
                <a:gd name="T12" fmla="*/ 8 w 182"/>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8" y="348"/>
                  </a:moveTo>
                  <a:cubicBezTo>
                    <a:pt x="104" y="348"/>
                    <a:pt x="182" y="270"/>
                    <a:pt x="182" y="174"/>
                  </a:cubicBezTo>
                  <a:cubicBezTo>
                    <a:pt x="182" y="77"/>
                    <a:pt x="104" y="0"/>
                    <a:pt x="8" y="0"/>
                  </a:cubicBezTo>
                  <a:lnTo>
                    <a:pt x="0" y="0"/>
                  </a:lnTo>
                  <a:cubicBezTo>
                    <a:pt x="96" y="0"/>
                    <a:pt x="174" y="78"/>
                    <a:pt x="174" y="174"/>
                  </a:cubicBezTo>
                  <a:cubicBezTo>
                    <a:pt x="174" y="270"/>
                    <a:pt x="96" y="348"/>
                    <a:pt x="0" y="348"/>
                  </a:cubicBezTo>
                  <a:lnTo>
                    <a:pt x="8" y="34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385"/>
            <p:cNvSpPr>
              <a:spLocks/>
            </p:cNvSpPr>
            <p:nvPr/>
          </p:nvSpPr>
          <p:spPr bwMode="auto">
            <a:xfrm>
              <a:off x="5126038" y="2535238"/>
              <a:ext cx="65088" cy="125413"/>
            </a:xfrm>
            <a:custGeom>
              <a:avLst/>
              <a:gdLst>
                <a:gd name="T0" fmla="*/ 182 w 182"/>
                <a:gd name="T1" fmla="*/ 0 h 348"/>
                <a:gd name="T2" fmla="*/ 8 w 182"/>
                <a:gd name="T3" fmla="*/ 174 h 348"/>
                <a:gd name="T4" fmla="*/ 182 w 182"/>
                <a:gd name="T5" fmla="*/ 348 h 348"/>
                <a:gd name="T6" fmla="*/ 174 w 182"/>
                <a:gd name="T7" fmla="*/ 348 h 348"/>
                <a:gd name="T8" fmla="*/ 0 w 182"/>
                <a:gd name="T9" fmla="*/ 174 h 348"/>
                <a:gd name="T10" fmla="*/ 174 w 182"/>
                <a:gd name="T11" fmla="*/ 0 h 348"/>
                <a:gd name="T12" fmla="*/ 182 w 182"/>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182" y="0"/>
                  </a:moveTo>
                  <a:cubicBezTo>
                    <a:pt x="86" y="0"/>
                    <a:pt x="8" y="78"/>
                    <a:pt x="8" y="174"/>
                  </a:cubicBezTo>
                  <a:cubicBezTo>
                    <a:pt x="8" y="270"/>
                    <a:pt x="86" y="348"/>
                    <a:pt x="182" y="348"/>
                  </a:cubicBezTo>
                  <a:lnTo>
                    <a:pt x="174" y="348"/>
                  </a:lnTo>
                  <a:cubicBezTo>
                    <a:pt x="78" y="348"/>
                    <a:pt x="0" y="270"/>
                    <a:pt x="0" y="174"/>
                  </a:cubicBezTo>
                  <a:cubicBezTo>
                    <a:pt x="0" y="77"/>
                    <a:pt x="78" y="0"/>
                    <a:pt x="174" y="0"/>
                  </a:cubicBez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Rectangle 1386"/>
            <p:cNvSpPr>
              <a:spLocks noChangeArrowheads="1"/>
            </p:cNvSpPr>
            <p:nvPr/>
          </p:nvSpPr>
          <p:spPr bwMode="auto">
            <a:xfrm>
              <a:off x="505777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3" name="Rectangle 1387"/>
            <p:cNvSpPr>
              <a:spLocks noChangeArrowheads="1"/>
            </p:cNvSpPr>
            <p:nvPr/>
          </p:nvSpPr>
          <p:spPr bwMode="auto">
            <a:xfrm>
              <a:off x="524192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388"/>
            <p:cNvSpPr>
              <a:spLocks noChangeArrowheads="1"/>
            </p:cNvSpPr>
            <p:nvPr/>
          </p:nvSpPr>
          <p:spPr bwMode="auto">
            <a:xfrm>
              <a:off x="5137151" y="2706688"/>
              <a:ext cx="104775" cy="47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389"/>
            <p:cNvSpPr>
              <a:spLocks noChangeArrowheads="1"/>
            </p:cNvSpPr>
            <p:nvPr/>
          </p:nvSpPr>
          <p:spPr bwMode="auto">
            <a:xfrm>
              <a:off x="505777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390"/>
            <p:cNvSpPr>
              <a:spLocks noChangeArrowheads="1"/>
            </p:cNvSpPr>
            <p:nvPr/>
          </p:nvSpPr>
          <p:spPr bwMode="auto">
            <a:xfrm>
              <a:off x="524192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391"/>
            <p:cNvSpPr>
              <a:spLocks noChangeArrowheads="1"/>
            </p:cNvSpPr>
            <p:nvPr/>
          </p:nvSpPr>
          <p:spPr bwMode="auto">
            <a:xfrm>
              <a:off x="5137151" y="2484438"/>
              <a:ext cx="1047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Rectangle 1392"/>
            <p:cNvSpPr>
              <a:spLocks noChangeArrowheads="1"/>
            </p:cNvSpPr>
            <p:nvPr/>
          </p:nvSpPr>
          <p:spPr bwMode="auto">
            <a:xfrm>
              <a:off x="5321301"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393"/>
            <p:cNvSpPr>
              <a:spLocks noChangeArrowheads="1"/>
            </p:cNvSpPr>
            <p:nvPr/>
          </p:nvSpPr>
          <p:spPr bwMode="auto">
            <a:xfrm>
              <a:off x="5321301"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394"/>
            <p:cNvSpPr>
              <a:spLocks noChangeArrowheads="1"/>
            </p:cNvSpPr>
            <p:nvPr/>
          </p:nvSpPr>
          <p:spPr bwMode="auto">
            <a:xfrm>
              <a:off x="5024438" y="2574925"/>
              <a:ext cx="34925" cy="42863"/>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395"/>
            <p:cNvSpPr>
              <a:spLocks noChangeArrowheads="1"/>
            </p:cNvSpPr>
            <p:nvPr/>
          </p:nvSpPr>
          <p:spPr bwMode="auto">
            <a:xfrm>
              <a:off x="5024438"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396"/>
            <p:cNvSpPr>
              <a:spLocks noChangeArrowheads="1"/>
            </p:cNvSpPr>
            <p:nvPr/>
          </p:nvSpPr>
          <p:spPr bwMode="auto">
            <a:xfrm>
              <a:off x="5024438"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397"/>
            <p:cNvSpPr>
              <a:spLocks noChangeArrowheads="1"/>
            </p:cNvSpPr>
            <p:nvPr/>
          </p:nvSpPr>
          <p:spPr bwMode="auto">
            <a:xfrm>
              <a:off x="5024438" y="2574925"/>
              <a:ext cx="4763"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398"/>
            <p:cNvSpPr>
              <a:spLocks noChangeArrowheads="1"/>
            </p:cNvSpPr>
            <p:nvPr/>
          </p:nvSpPr>
          <p:spPr bwMode="auto">
            <a:xfrm>
              <a:off x="5024438" y="2660650"/>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399"/>
            <p:cNvSpPr>
              <a:spLocks noChangeArrowheads="1"/>
            </p:cNvSpPr>
            <p:nvPr/>
          </p:nvSpPr>
          <p:spPr bwMode="auto">
            <a:xfrm>
              <a:off x="5024438" y="2505075"/>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400"/>
            <p:cNvSpPr>
              <a:spLocks noChangeArrowheads="1"/>
            </p:cNvSpPr>
            <p:nvPr/>
          </p:nvSpPr>
          <p:spPr bwMode="auto">
            <a:xfrm>
              <a:off x="5356226" y="2660650"/>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401"/>
            <p:cNvSpPr>
              <a:spLocks noChangeArrowheads="1"/>
            </p:cNvSpPr>
            <p:nvPr/>
          </p:nvSpPr>
          <p:spPr bwMode="auto">
            <a:xfrm>
              <a:off x="5356226" y="2505075"/>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402"/>
            <p:cNvSpPr>
              <a:spLocks noChangeArrowheads="1"/>
            </p:cNvSpPr>
            <p:nvPr/>
          </p:nvSpPr>
          <p:spPr bwMode="auto">
            <a:xfrm>
              <a:off x="5322888" y="2660650"/>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403"/>
            <p:cNvSpPr>
              <a:spLocks noChangeArrowheads="1"/>
            </p:cNvSpPr>
            <p:nvPr/>
          </p:nvSpPr>
          <p:spPr bwMode="auto">
            <a:xfrm>
              <a:off x="5322888" y="2505075"/>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1404"/>
            <p:cNvSpPr>
              <a:spLocks noEditPoints="1"/>
            </p:cNvSpPr>
            <p:nvPr/>
          </p:nvSpPr>
          <p:spPr bwMode="auto">
            <a:xfrm>
              <a:off x="5099051" y="2725738"/>
              <a:ext cx="33338" cy="38100"/>
            </a:xfrm>
            <a:custGeom>
              <a:avLst/>
              <a:gdLst>
                <a:gd name="T0" fmla="*/ 0 w 93"/>
                <a:gd name="T1" fmla="*/ 106 h 106"/>
                <a:gd name="T2" fmla="*/ 0 w 93"/>
                <a:gd name="T3" fmla="*/ 0 h 106"/>
                <a:gd name="T4" fmla="*/ 46 w 93"/>
                <a:gd name="T5" fmla="*/ 0 h 106"/>
                <a:gd name="T6" fmla="*/ 68 w 93"/>
                <a:gd name="T7" fmla="*/ 3 h 106"/>
                <a:gd name="T8" fmla="*/ 79 w 93"/>
                <a:gd name="T9" fmla="*/ 13 h 106"/>
                <a:gd name="T10" fmla="*/ 84 w 93"/>
                <a:gd name="T11" fmla="*/ 29 h 106"/>
                <a:gd name="T12" fmla="*/ 77 w 93"/>
                <a:gd name="T13" fmla="*/ 48 h 106"/>
                <a:gd name="T14" fmla="*/ 54 w 93"/>
                <a:gd name="T15" fmla="*/ 58 h 106"/>
                <a:gd name="T16" fmla="*/ 63 w 93"/>
                <a:gd name="T17" fmla="*/ 63 h 106"/>
                <a:gd name="T18" fmla="*/ 74 w 93"/>
                <a:gd name="T19" fmla="*/ 77 h 106"/>
                <a:gd name="T20" fmla="*/ 93 w 93"/>
                <a:gd name="T21" fmla="*/ 106 h 106"/>
                <a:gd name="T22" fmla="*/ 75 w 93"/>
                <a:gd name="T23" fmla="*/ 106 h 106"/>
                <a:gd name="T24" fmla="*/ 61 w 93"/>
                <a:gd name="T25" fmla="*/ 84 h 106"/>
                <a:gd name="T26" fmla="*/ 51 w 93"/>
                <a:gd name="T27" fmla="*/ 69 h 106"/>
                <a:gd name="T28" fmla="*/ 44 w 93"/>
                <a:gd name="T29" fmla="*/ 62 h 106"/>
                <a:gd name="T30" fmla="*/ 37 w 93"/>
                <a:gd name="T31" fmla="*/ 59 h 106"/>
                <a:gd name="T32" fmla="*/ 30 w 93"/>
                <a:gd name="T33" fmla="*/ 59 h 106"/>
                <a:gd name="T34" fmla="*/ 14 w 93"/>
                <a:gd name="T35" fmla="*/ 59 h 106"/>
                <a:gd name="T36" fmla="*/ 14 w 93"/>
                <a:gd name="T37" fmla="*/ 106 h 106"/>
                <a:gd name="T38" fmla="*/ 0 w 93"/>
                <a:gd name="T39" fmla="*/ 106 h 106"/>
                <a:gd name="T40" fmla="*/ 14 w 93"/>
                <a:gd name="T41" fmla="*/ 47 h 106"/>
                <a:gd name="T42" fmla="*/ 44 w 93"/>
                <a:gd name="T43" fmla="*/ 47 h 106"/>
                <a:gd name="T44" fmla="*/ 58 w 93"/>
                <a:gd name="T45" fmla="*/ 45 h 106"/>
                <a:gd name="T46" fmla="*/ 67 w 93"/>
                <a:gd name="T47" fmla="*/ 38 h 106"/>
                <a:gd name="T48" fmla="*/ 70 w 93"/>
                <a:gd name="T49" fmla="*/ 29 h 106"/>
                <a:gd name="T50" fmla="*/ 64 w 93"/>
                <a:gd name="T51" fmla="*/ 17 h 106"/>
                <a:gd name="T52" fmla="*/ 47 w 93"/>
                <a:gd name="T53" fmla="*/ 12 h 106"/>
                <a:gd name="T54" fmla="*/ 14 w 93"/>
                <a:gd name="T55" fmla="*/ 12 h 106"/>
                <a:gd name="T56" fmla="*/ 14 w 93"/>
                <a:gd name="T57" fmla="*/ 4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06">
                  <a:moveTo>
                    <a:pt x="0" y="106"/>
                  </a:moveTo>
                  <a:lnTo>
                    <a:pt x="0" y="0"/>
                  </a:lnTo>
                  <a:lnTo>
                    <a:pt x="46" y="0"/>
                  </a:lnTo>
                  <a:cubicBezTo>
                    <a:pt x="56" y="0"/>
                    <a:pt x="63" y="1"/>
                    <a:pt x="68" y="3"/>
                  </a:cubicBezTo>
                  <a:cubicBezTo>
                    <a:pt x="73" y="5"/>
                    <a:pt x="77" y="8"/>
                    <a:pt x="79" y="13"/>
                  </a:cubicBezTo>
                  <a:cubicBezTo>
                    <a:pt x="82" y="18"/>
                    <a:pt x="84" y="23"/>
                    <a:pt x="84" y="29"/>
                  </a:cubicBezTo>
                  <a:cubicBezTo>
                    <a:pt x="84" y="36"/>
                    <a:pt x="81" y="43"/>
                    <a:pt x="77" y="48"/>
                  </a:cubicBezTo>
                  <a:cubicBezTo>
                    <a:pt x="72" y="53"/>
                    <a:pt x="64" y="56"/>
                    <a:pt x="54" y="58"/>
                  </a:cubicBezTo>
                  <a:cubicBezTo>
                    <a:pt x="58" y="59"/>
                    <a:pt x="61" y="61"/>
                    <a:pt x="63" y="63"/>
                  </a:cubicBezTo>
                  <a:cubicBezTo>
                    <a:pt x="67" y="67"/>
                    <a:pt x="71" y="71"/>
                    <a:pt x="74" y="77"/>
                  </a:cubicBezTo>
                  <a:lnTo>
                    <a:pt x="93" y="106"/>
                  </a:lnTo>
                  <a:lnTo>
                    <a:pt x="75" y="106"/>
                  </a:lnTo>
                  <a:lnTo>
                    <a:pt x="61" y="84"/>
                  </a:lnTo>
                  <a:cubicBezTo>
                    <a:pt x="57" y="77"/>
                    <a:pt x="54" y="72"/>
                    <a:pt x="51" y="69"/>
                  </a:cubicBezTo>
                  <a:cubicBezTo>
                    <a:pt x="48" y="66"/>
                    <a:pt x="46" y="63"/>
                    <a:pt x="44" y="62"/>
                  </a:cubicBezTo>
                  <a:cubicBezTo>
                    <a:pt x="42" y="61"/>
                    <a:pt x="40" y="60"/>
                    <a:pt x="37" y="59"/>
                  </a:cubicBezTo>
                  <a:cubicBezTo>
                    <a:pt x="36" y="59"/>
                    <a:pt x="33" y="59"/>
                    <a:pt x="30" y="59"/>
                  </a:cubicBezTo>
                  <a:lnTo>
                    <a:pt x="14" y="59"/>
                  </a:lnTo>
                  <a:lnTo>
                    <a:pt x="14" y="106"/>
                  </a:lnTo>
                  <a:lnTo>
                    <a:pt x="0" y="106"/>
                  </a:lnTo>
                  <a:close/>
                  <a:moveTo>
                    <a:pt x="14" y="47"/>
                  </a:moveTo>
                  <a:lnTo>
                    <a:pt x="44" y="47"/>
                  </a:lnTo>
                  <a:cubicBezTo>
                    <a:pt x="50" y="47"/>
                    <a:pt x="55" y="46"/>
                    <a:pt x="58" y="45"/>
                  </a:cubicBezTo>
                  <a:cubicBezTo>
                    <a:pt x="62" y="43"/>
                    <a:pt x="65" y="41"/>
                    <a:pt x="67" y="38"/>
                  </a:cubicBezTo>
                  <a:cubicBezTo>
                    <a:pt x="69" y="35"/>
                    <a:pt x="70" y="32"/>
                    <a:pt x="70" y="29"/>
                  </a:cubicBezTo>
                  <a:cubicBezTo>
                    <a:pt x="70" y="24"/>
                    <a:pt x="68" y="20"/>
                    <a:pt x="64" y="17"/>
                  </a:cubicBezTo>
                  <a:cubicBezTo>
                    <a:pt x="60" y="13"/>
                    <a:pt x="55" y="12"/>
                    <a:pt x="47" y="12"/>
                  </a:cubicBezTo>
                  <a:lnTo>
                    <a:pt x="14" y="12"/>
                  </a:lnTo>
                  <a:lnTo>
                    <a:pt x="14" y="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1405"/>
            <p:cNvSpPr>
              <a:spLocks/>
            </p:cNvSpPr>
            <p:nvPr/>
          </p:nvSpPr>
          <p:spPr bwMode="auto">
            <a:xfrm>
              <a:off x="5137151" y="2725738"/>
              <a:ext cx="28575"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1406"/>
            <p:cNvSpPr>
              <a:spLocks/>
            </p:cNvSpPr>
            <p:nvPr/>
          </p:nvSpPr>
          <p:spPr bwMode="auto">
            <a:xfrm>
              <a:off x="5170488" y="2725738"/>
              <a:ext cx="30163" cy="39688"/>
            </a:xfrm>
            <a:custGeom>
              <a:avLst/>
              <a:gdLst>
                <a:gd name="T0" fmla="*/ 0 w 84"/>
                <a:gd name="T1" fmla="*/ 74 h 109"/>
                <a:gd name="T2" fmla="*/ 14 w 84"/>
                <a:gd name="T3" fmla="*/ 72 h 109"/>
                <a:gd name="T4" fmla="*/ 18 w 84"/>
                <a:gd name="T5" fmla="*/ 85 h 109"/>
                <a:gd name="T6" fmla="*/ 29 w 84"/>
                <a:gd name="T7" fmla="*/ 94 h 109"/>
                <a:gd name="T8" fmla="*/ 45 w 84"/>
                <a:gd name="T9" fmla="*/ 97 h 109"/>
                <a:gd name="T10" fmla="*/ 59 w 84"/>
                <a:gd name="T11" fmla="*/ 94 h 109"/>
                <a:gd name="T12" fmla="*/ 68 w 84"/>
                <a:gd name="T13" fmla="*/ 88 h 109"/>
                <a:gd name="T14" fmla="*/ 71 w 84"/>
                <a:gd name="T15" fmla="*/ 79 h 109"/>
                <a:gd name="T16" fmla="*/ 68 w 84"/>
                <a:gd name="T17" fmla="*/ 70 h 109"/>
                <a:gd name="T18" fmla="*/ 59 w 84"/>
                <a:gd name="T19" fmla="*/ 64 h 109"/>
                <a:gd name="T20" fmla="*/ 40 w 84"/>
                <a:gd name="T21" fmla="*/ 59 h 109"/>
                <a:gd name="T22" fmla="*/ 19 w 84"/>
                <a:gd name="T23" fmla="*/ 52 h 109"/>
                <a:gd name="T24" fmla="*/ 8 w 84"/>
                <a:gd name="T25" fmla="*/ 42 h 109"/>
                <a:gd name="T26" fmla="*/ 5 w 84"/>
                <a:gd name="T27" fmla="*/ 29 h 109"/>
                <a:gd name="T28" fmla="*/ 9 w 84"/>
                <a:gd name="T29" fmla="*/ 14 h 109"/>
                <a:gd name="T30" fmla="*/ 22 w 84"/>
                <a:gd name="T31" fmla="*/ 4 h 109"/>
                <a:gd name="T32" fmla="*/ 42 w 84"/>
                <a:gd name="T33" fmla="*/ 0 h 109"/>
                <a:gd name="T34" fmla="*/ 62 w 84"/>
                <a:gd name="T35" fmla="*/ 4 h 109"/>
                <a:gd name="T36" fmla="*/ 76 w 84"/>
                <a:gd name="T37" fmla="*/ 15 h 109"/>
                <a:gd name="T38" fmla="*/ 81 w 84"/>
                <a:gd name="T39" fmla="*/ 32 h 109"/>
                <a:gd name="T40" fmla="*/ 68 w 84"/>
                <a:gd name="T41" fmla="*/ 33 h 109"/>
                <a:gd name="T42" fmla="*/ 61 w 84"/>
                <a:gd name="T43" fmla="*/ 18 h 109"/>
                <a:gd name="T44" fmla="*/ 42 w 84"/>
                <a:gd name="T45" fmla="*/ 13 h 109"/>
                <a:gd name="T46" fmla="*/ 24 w 84"/>
                <a:gd name="T47" fmla="*/ 17 h 109"/>
                <a:gd name="T48" fmla="*/ 18 w 84"/>
                <a:gd name="T49" fmla="*/ 28 h 109"/>
                <a:gd name="T50" fmla="*/ 22 w 84"/>
                <a:gd name="T51" fmla="*/ 38 h 109"/>
                <a:gd name="T52" fmla="*/ 43 w 84"/>
                <a:gd name="T53" fmla="*/ 45 h 109"/>
                <a:gd name="T54" fmla="*/ 66 w 84"/>
                <a:gd name="T55" fmla="*/ 52 h 109"/>
                <a:gd name="T56" fmla="*/ 80 w 84"/>
                <a:gd name="T57" fmla="*/ 63 h 109"/>
                <a:gd name="T58" fmla="*/ 84 w 84"/>
                <a:gd name="T59" fmla="*/ 78 h 109"/>
                <a:gd name="T60" fmla="*/ 80 w 84"/>
                <a:gd name="T61" fmla="*/ 94 h 109"/>
                <a:gd name="T62" fmla="*/ 66 w 84"/>
                <a:gd name="T63" fmla="*/ 105 h 109"/>
                <a:gd name="T64" fmla="*/ 45 w 84"/>
                <a:gd name="T65" fmla="*/ 109 h 109"/>
                <a:gd name="T66" fmla="*/ 21 w 84"/>
                <a:gd name="T67" fmla="*/ 105 h 109"/>
                <a:gd name="T68" fmla="*/ 6 w 84"/>
                <a:gd name="T69" fmla="*/ 93 h 109"/>
                <a:gd name="T70" fmla="*/ 0 w 84"/>
                <a:gd name="T71" fmla="*/ 7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4"/>
                  </a:moveTo>
                  <a:lnTo>
                    <a:pt x="14" y="72"/>
                  </a:lnTo>
                  <a:cubicBezTo>
                    <a:pt x="14" y="78"/>
                    <a:pt x="16" y="82"/>
                    <a:pt x="18" y="85"/>
                  </a:cubicBezTo>
                  <a:cubicBezTo>
                    <a:pt x="20" y="89"/>
                    <a:pt x="24" y="92"/>
                    <a:pt x="29" y="94"/>
                  </a:cubicBezTo>
                  <a:cubicBezTo>
                    <a:pt x="33" y="96"/>
                    <a:pt x="39" y="97"/>
                    <a:pt x="45" y="97"/>
                  </a:cubicBezTo>
                  <a:cubicBezTo>
                    <a:pt x="50" y="97"/>
                    <a:pt x="55" y="96"/>
                    <a:pt x="59" y="94"/>
                  </a:cubicBezTo>
                  <a:cubicBezTo>
                    <a:pt x="63" y="93"/>
                    <a:pt x="66" y="91"/>
                    <a:pt x="68" y="88"/>
                  </a:cubicBezTo>
                  <a:cubicBezTo>
                    <a:pt x="70" y="85"/>
                    <a:pt x="71" y="82"/>
                    <a:pt x="71" y="79"/>
                  </a:cubicBezTo>
                  <a:cubicBezTo>
                    <a:pt x="71" y="76"/>
                    <a:pt x="70" y="73"/>
                    <a:pt x="68" y="70"/>
                  </a:cubicBezTo>
                  <a:cubicBezTo>
                    <a:pt x="66" y="68"/>
                    <a:pt x="63" y="66"/>
                    <a:pt x="59" y="64"/>
                  </a:cubicBezTo>
                  <a:cubicBezTo>
                    <a:pt x="56" y="63"/>
                    <a:pt x="50" y="61"/>
                    <a:pt x="40" y="59"/>
                  </a:cubicBezTo>
                  <a:cubicBezTo>
                    <a:pt x="30" y="57"/>
                    <a:pt x="23" y="54"/>
                    <a:pt x="19" y="52"/>
                  </a:cubicBezTo>
                  <a:cubicBezTo>
                    <a:pt x="14" y="50"/>
                    <a:pt x="11" y="46"/>
                    <a:pt x="8" y="42"/>
                  </a:cubicBezTo>
                  <a:cubicBezTo>
                    <a:pt x="6" y="39"/>
                    <a:pt x="5" y="34"/>
                    <a:pt x="5" y="29"/>
                  </a:cubicBezTo>
                  <a:cubicBezTo>
                    <a:pt x="5" y="24"/>
                    <a:pt x="6" y="19"/>
                    <a:pt x="9" y="14"/>
                  </a:cubicBezTo>
                  <a:cubicBezTo>
                    <a:pt x="12" y="10"/>
                    <a:pt x="16" y="6"/>
                    <a:pt x="22" y="4"/>
                  </a:cubicBezTo>
                  <a:cubicBezTo>
                    <a:pt x="28" y="1"/>
                    <a:pt x="35" y="0"/>
                    <a:pt x="42" y="0"/>
                  </a:cubicBezTo>
                  <a:cubicBezTo>
                    <a:pt x="49" y="0"/>
                    <a:pt x="56" y="2"/>
                    <a:pt x="62" y="4"/>
                  </a:cubicBezTo>
                  <a:cubicBezTo>
                    <a:pt x="68" y="7"/>
                    <a:pt x="73" y="10"/>
                    <a:pt x="76" y="15"/>
                  </a:cubicBezTo>
                  <a:cubicBezTo>
                    <a:pt x="79" y="20"/>
                    <a:pt x="81" y="26"/>
                    <a:pt x="81" y="32"/>
                  </a:cubicBezTo>
                  <a:lnTo>
                    <a:pt x="68" y="33"/>
                  </a:lnTo>
                  <a:cubicBezTo>
                    <a:pt x="67" y="26"/>
                    <a:pt x="65" y="21"/>
                    <a:pt x="61" y="18"/>
                  </a:cubicBezTo>
                  <a:cubicBezTo>
                    <a:pt x="56" y="14"/>
                    <a:pt x="50" y="13"/>
                    <a:pt x="42" y="13"/>
                  </a:cubicBezTo>
                  <a:cubicBezTo>
                    <a:pt x="34" y="13"/>
                    <a:pt x="28" y="14"/>
                    <a:pt x="24" y="17"/>
                  </a:cubicBezTo>
                  <a:cubicBezTo>
                    <a:pt x="20" y="20"/>
                    <a:pt x="18" y="24"/>
                    <a:pt x="18" y="28"/>
                  </a:cubicBezTo>
                  <a:cubicBezTo>
                    <a:pt x="18" y="32"/>
                    <a:pt x="19" y="35"/>
                    <a:pt x="22" y="38"/>
                  </a:cubicBezTo>
                  <a:cubicBezTo>
                    <a:pt x="25" y="40"/>
                    <a:pt x="32" y="43"/>
                    <a:pt x="43" y="45"/>
                  </a:cubicBezTo>
                  <a:cubicBezTo>
                    <a:pt x="54" y="48"/>
                    <a:pt x="62" y="50"/>
                    <a:pt x="66" y="52"/>
                  </a:cubicBezTo>
                  <a:cubicBezTo>
                    <a:pt x="73" y="55"/>
                    <a:pt x="77" y="58"/>
                    <a:pt x="80" y="63"/>
                  </a:cubicBezTo>
                  <a:cubicBezTo>
                    <a:pt x="83" y="67"/>
                    <a:pt x="84" y="72"/>
                    <a:pt x="84" y="78"/>
                  </a:cubicBezTo>
                  <a:cubicBezTo>
                    <a:pt x="84" y="83"/>
                    <a:pt x="83" y="89"/>
                    <a:pt x="80" y="94"/>
                  </a:cubicBezTo>
                  <a:cubicBezTo>
                    <a:pt x="76" y="99"/>
                    <a:pt x="72" y="102"/>
                    <a:pt x="66" y="105"/>
                  </a:cubicBezTo>
                  <a:cubicBezTo>
                    <a:pt x="60" y="108"/>
                    <a:pt x="53" y="109"/>
                    <a:pt x="45" y="109"/>
                  </a:cubicBezTo>
                  <a:cubicBezTo>
                    <a:pt x="36" y="109"/>
                    <a:pt x="28" y="108"/>
                    <a:pt x="21" y="105"/>
                  </a:cubicBezTo>
                  <a:cubicBezTo>
                    <a:pt x="15" y="102"/>
                    <a:pt x="10" y="98"/>
                    <a:pt x="6" y="93"/>
                  </a:cubicBezTo>
                  <a:cubicBezTo>
                    <a:pt x="3" y="87"/>
                    <a:pt x="1" y="81"/>
                    <a:pt x="0" y="7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1407"/>
            <p:cNvSpPr>
              <a:spLocks/>
            </p:cNvSpPr>
            <p:nvPr/>
          </p:nvSpPr>
          <p:spPr bwMode="auto">
            <a:xfrm>
              <a:off x="5208588" y="2725738"/>
              <a:ext cx="26988"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1408"/>
            <p:cNvSpPr>
              <a:spLocks/>
            </p:cNvSpPr>
            <p:nvPr/>
          </p:nvSpPr>
          <p:spPr bwMode="auto">
            <a:xfrm>
              <a:off x="5240338" y="2725738"/>
              <a:ext cx="30163" cy="38100"/>
            </a:xfrm>
            <a:custGeom>
              <a:avLst/>
              <a:gdLst>
                <a:gd name="T0" fmla="*/ 35 w 84"/>
                <a:gd name="T1" fmla="*/ 106 h 106"/>
                <a:gd name="T2" fmla="*/ 35 w 84"/>
                <a:gd name="T3" fmla="*/ 13 h 106"/>
                <a:gd name="T4" fmla="*/ 0 w 84"/>
                <a:gd name="T5" fmla="*/ 13 h 106"/>
                <a:gd name="T6" fmla="*/ 0 w 84"/>
                <a:gd name="T7" fmla="*/ 0 h 106"/>
                <a:gd name="T8" fmla="*/ 84 w 84"/>
                <a:gd name="T9" fmla="*/ 0 h 106"/>
                <a:gd name="T10" fmla="*/ 84 w 84"/>
                <a:gd name="T11" fmla="*/ 13 h 106"/>
                <a:gd name="T12" fmla="*/ 49 w 84"/>
                <a:gd name="T13" fmla="*/ 13 h 106"/>
                <a:gd name="T14" fmla="*/ 49 w 84"/>
                <a:gd name="T15" fmla="*/ 106 h 106"/>
                <a:gd name="T16" fmla="*/ 35 w 84"/>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06">
                  <a:moveTo>
                    <a:pt x="35" y="106"/>
                  </a:moveTo>
                  <a:lnTo>
                    <a:pt x="35" y="13"/>
                  </a:lnTo>
                  <a:lnTo>
                    <a:pt x="0" y="13"/>
                  </a:lnTo>
                  <a:lnTo>
                    <a:pt x="0" y="0"/>
                  </a:lnTo>
                  <a:lnTo>
                    <a:pt x="84" y="0"/>
                  </a:lnTo>
                  <a:lnTo>
                    <a:pt x="84" y="13"/>
                  </a:lnTo>
                  <a:lnTo>
                    <a:pt x="49" y="13"/>
                  </a:lnTo>
                  <a:lnTo>
                    <a:pt x="49" y="106"/>
                  </a:lnTo>
                  <a:lnTo>
                    <a:pt x="35"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1409"/>
            <p:cNvSpPr>
              <a:spLocks noChangeArrowheads="1"/>
            </p:cNvSpPr>
            <p:nvPr/>
          </p:nvSpPr>
          <p:spPr bwMode="auto">
            <a:xfrm>
              <a:off x="5603876" y="2513013"/>
              <a:ext cx="915988" cy="90488"/>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1410"/>
            <p:cNvSpPr>
              <a:spLocks noChangeArrowheads="1"/>
            </p:cNvSpPr>
            <p:nvPr/>
          </p:nvSpPr>
          <p:spPr bwMode="auto">
            <a:xfrm>
              <a:off x="563245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411"/>
            <p:cNvSpPr>
              <a:spLocks/>
            </p:cNvSpPr>
            <p:nvPr/>
          </p:nvSpPr>
          <p:spPr bwMode="auto">
            <a:xfrm>
              <a:off x="56197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1412"/>
            <p:cNvSpPr>
              <a:spLocks/>
            </p:cNvSpPr>
            <p:nvPr/>
          </p:nvSpPr>
          <p:spPr bwMode="auto">
            <a:xfrm>
              <a:off x="5667376"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1413"/>
            <p:cNvSpPr>
              <a:spLocks/>
            </p:cNvSpPr>
            <p:nvPr/>
          </p:nvSpPr>
          <p:spPr bwMode="auto">
            <a:xfrm>
              <a:off x="5619751"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1414"/>
            <p:cNvSpPr>
              <a:spLocks/>
            </p:cNvSpPr>
            <p:nvPr/>
          </p:nvSpPr>
          <p:spPr bwMode="auto">
            <a:xfrm>
              <a:off x="56197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Rectangle 1415"/>
            <p:cNvSpPr>
              <a:spLocks noChangeArrowheads="1"/>
            </p:cNvSpPr>
            <p:nvPr/>
          </p:nvSpPr>
          <p:spPr bwMode="auto">
            <a:xfrm>
              <a:off x="57245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1416"/>
            <p:cNvSpPr>
              <a:spLocks/>
            </p:cNvSpPr>
            <p:nvPr/>
          </p:nvSpPr>
          <p:spPr bwMode="auto">
            <a:xfrm>
              <a:off x="571023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1417"/>
            <p:cNvSpPr>
              <a:spLocks/>
            </p:cNvSpPr>
            <p:nvPr/>
          </p:nvSpPr>
          <p:spPr bwMode="auto">
            <a:xfrm>
              <a:off x="575945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1418"/>
            <p:cNvSpPr>
              <a:spLocks/>
            </p:cNvSpPr>
            <p:nvPr/>
          </p:nvSpPr>
          <p:spPr bwMode="auto">
            <a:xfrm>
              <a:off x="5710238"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1419"/>
            <p:cNvSpPr>
              <a:spLocks/>
            </p:cNvSpPr>
            <p:nvPr/>
          </p:nvSpPr>
          <p:spPr bwMode="auto">
            <a:xfrm>
              <a:off x="5710238"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Rectangle 1420"/>
            <p:cNvSpPr>
              <a:spLocks noChangeArrowheads="1"/>
            </p:cNvSpPr>
            <p:nvPr/>
          </p:nvSpPr>
          <p:spPr bwMode="auto">
            <a:xfrm>
              <a:off x="5815013"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1421"/>
            <p:cNvSpPr>
              <a:spLocks/>
            </p:cNvSpPr>
            <p:nvPr/>
          </p:nvSpPr>
          <p:spPr bwMode="auto">
            <a:xfrm>
              <a:off x="58023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1422"/>
            <p:cNvSpPr>
              <a:spLocks/>
            </p:cNvSpPr>
            <p:nvPr/>
          </p:nvSpPr>
          <p:spPr bwMode="auto">
            <a:xfrm>
              <a:off x="58515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1423"/>
            <p:cNvSpPr>
              <a:spLocks/>
            </p:cNvSpPr>
            <p:nvPr/>
          </p:nvSpPr>
          <p:spPr bwMode="auto">
            <a:xfrm>
              <a:off x="58023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1424"/>
            <p:cNvSpPr>
              <a:spLocks/>
            </p:cNvSpPr>
            <p:nvPr/>
          </p:nvSpPr>
          <p:spPr bwMode="auto">
            <a:xfrm>
              <a:off x="580231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Rectangle 1425"/>
            <p:cNvSpPr>
              <a:spLocks noChangeArrowheads="1"/>
            </p:cNvSpPr>
            <p:nvPr/>
          </p:nvSpPr>
          <p:spPr bwMode="auto">
            <a:xfrm>
              <a:off x="590708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1426"/>
            <p:cNvSpPr>
              <a:spLocks/>
            </p:cNvSpPr>
            <p:nvPr/>
          </p:nvSpPr>
          <p:spPr bwMode="auto">
            <a:xfrm>
              <a:off x="58943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1427"/>
            <p:cNvSpPr>
              <a:spLocks/>
            </p:cNvSpPr>
            <p:nvPr/>
          </p:nvSpPr>
          <p:spPr bwMode="auto">
            <a:xfrm>
              <a:off x="5942013"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1428"/>
            <p:cNvSpPr>
              <a:spLocks/>
            </p:cNvSpPr>
            <p:nvPr/>
          </p:nvSpPr>
          <p:spPr bwMode="auto">
            <a:xfrm>
              <a:off x="58943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1429"/>
            <p:cNvSpPr>
              <a:spLocks/>
            </p:cNvSpPr>
            <p:nvPr/>
          </p:nvSpPr>
          <p:spPr bwMode="auto">
            <a:xfrm>
              <a:off x="58943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Rectangle 1430"/>
            <p:cNvSpPr>
              <a:spLocks noChangeArrowheads="1"/>
            </p:cNvSpPr>
            <p:nvPr/>
          </p:nvSpPr>
          <p:spPr bwMode="auto">
            <a:xfrm>
              <a:off x="59991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1431"/>
            <p:cNvSpPr>
              <a:spLocks/>
            </p:cNvSpPr>
            <p:nvPr/>
          </p:nvSpPr>
          <p:spPr bwMode="auto">
            <a:xfrm>
              <a:off x="598487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1432"/>
            <p:cNvSpPr>
              <a:spLocks/>
            </p:cNvSpPr>
            <p:nvPr/>
          </p:nvSpPr>
          <p:spPr bwMode="auto">
            <a:xfrm>
              <a:off x="6034088"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1433"/>
            <p:cNvSpPr>
              <a:spLocks/>
            </p:cNvSpPr>
            <p:nvPr/>
          </p:nvSpPr>
          <p:spPr bwMode="auto">
            <a:xfrm>
              <a:off x="5984876"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1434"/>
            <p:cNvSpPr>
              <a:spLocks/>
            </p:cNvSpPr>
            <p:nvPr/>
          </p:nvSpPr>
          <p:spPr bwMode="auto">
            <a:xfrm>
              <a:off x="5984876"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Rectangle 1435"/>
            <p:cNvSpPr>
              <a:spLocks noChangeArrowheads="1"/>
            </p:cNvSpPr>
            <p:nvPr/>
          </p:nvSpPr>
          <p:spPr bwMode="auto">
            <a:xfrm>
              <a:off x="609123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1436"/>
            <p:cNvSpPr>
              <a:spLocks/>
            </p:cNvSpPr>
            <p:nvPr/>
          </p:nvSpPr>
          <p:spPr bwMode="auto">
            <a:xfrm>
              <a:off x="60769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1437"/>
            <p:cNvSpPr>
              <a:spLocks/>
            </p:cNvSpPr>
            <p:nvPr/>
          </p:nvSpPr>
          <p:spPr bwMode="auto">
            <a:xfrm>
              <a:off x="6126163"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1438"/>
            <p:cNvSpPr>
              <a:spLocks/>
            </p:cNvSpPr>
            <p:nvPr/>
          </p:nvSpPr>
          <p:spPr bwMode="auto">
            <a:xfrm>
              <a:off x="6076951"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1439"/>
            <p:cNvSpPr>
              <a:spLocks/>
            </p:cNvSpPr>
            <p:nvPr/>
          </p:nvSpPr>
          <p:spPr bwMode="auto">
            <a:xfrm>
              <a:off x="60769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Rectangle 1440"/>
            <p:cNvSpPr>
              <a:spLocks noChangeArrowheads="1"/>
            </p:cNvSpPr>
            <p:nvPr/>
          </p:nvSpPr>
          <p:spPr bwMode="auto">
            <a:xfrm>
              <a:off x="61817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1441"/>
            <p:cNvSpPr>
              <a:spLocks/>
            </p:cNvSpPr>
            <p:nvPr/>
          </p:nvSpPr>
          <p:spPr bwMode="auto">
            <a:xfrm>
              <a:off x="616902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1442"/>
            <p:cNvSpPr>
              <a:spLocks/>
            </p:cNvSpPr>
            <p:nvPr/>
          </p:nvSpPr>
          <p:spPr bwMode="auto">
            <a:xfrm>
              <a:off x="6216651"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1443"/>
            <p:cNvSpPr>
              <a:spLocks/>
            </p:cNvSpPr>
            <p:nvPr/>
          </p:nvSpPr>
          <p:spPr bwMode="auto">
            <a:xfrm>
              <a:off x="6169026"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1444"/>
            <p:cNvSpPr>
              <a:spLocks/>
            </p:cNvSpPr>
            <p:nvPr/>
          </p:nvSpPr>
          <p:spPr bwMode="auto">
            <a:xfrm>
              <a:off x="6169026"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Rectangle 1445"/>
            <p:cNvSpPr>
              <a:spLocks noChangeArrowheads="1"/>
            </p:cNvSpPr>
            <p:nvPr/>
          </p:nvSpPr>
          <p:spPr bwMode="auto">
            <a:xfrm>
              <a:off x="627380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1446"/>
            <p:cNvSpPr>
              <a:spLocks/>
            </p:cNvSpPr>
            <p:nvPr/>
          </p:nvSpPr>
          <p:spPr bwMode="auto">
            <a:xfrm>
              <a:off x="62595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Freeform 1447"/>
            <p:cNvSpPr>
              <a:spLocks/>
            </p:cNvSpPr>
            <p:nvPr/>
          </p:nvSpPr>
          <p:spPr bwMode="auto">
            <a:xfrm>
              <a:off x="63087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1448"/>
            <p:cNvSpPr>
              <a:spLocks/>
            </p:cNvSpPr>
            <p:nvPr/>
          </p:nvSpPr>
          <p:spPr bwMode="auto">
            <a:xfrm>
              <a:off x="62595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1449"/>
            <p:cNvSpPr>
              <a:spLocks/>
            </p:cNvSpPr>
            <p:nvPr/>
          </p:nvSpPr>
          <p:spPr bwMode="auto">
            <a:xfrm>
              <a:off x="6259513"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Rectangle 1450"/>
            <p:cNvSpPr>
              <a:spLocks noChangeArrowheads="1"/>
            </p:cNvSpPr>
            <p:nvPr/>
          </p:nvSpPr>
          <p:spPr bwMode="auto">
            <a:xfrm>
              <a:off x="6364288"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1451"/>
            <p:cNvSpPr>
              <a:spLocks/>
            </p:cNvSpPr>
            <p:nvPr/>
          </p:nvSpPr>
          <p:spPr bwMode="auto">
            <a:xfrm>
              <a:off x="63515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1452"/>
            <p:cNvSpPr>
              <a:spLocks/>
            </p:cNvSpPr>
            <p:nvPr/>
          </p:nvSpPr>
          <p:spPr bwMode="auto">
            <a:xfrm>
              <a:off x="640080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1453"/>
            <p:cNvSpPr>
              <a:spLocks/>
            </p:cNvSpPr>
            <p:nvPr/>
          </p:nvSpPr>
          <p:spPr bwMode="auto">
            <a:xfrm>
              <a:off x="63515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454"/>
            <p:cNvSpPr>
              <a:spLocks/>
            </p:cNvSpPr>
            <p:nvPr/>
          </p:nvSpPr>
          <p:spPr bwMode="auto">
            <a:xfrm>
              <a:off x="63515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Rectangle 1455"/>
            <p:cNvSpPr>
              <a:spLocks noChangeArrowheads="1"/>
            </p:cNvSpPr>
            <p:nvPr/>
          </p:nvSpPr>
          <p:spPr bwMode="auto">
            <a:xfrm>
              <a:off x="64563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1456"/>
            <p:cNvSpPr>
              <a:spLocks/>
            </p:cNvSpPr>
            <p:nvPr/>
          </p:nvSpPr>
          <p:spPr bwMode="auto">
            <a:xfrm>
              <a:off x="644366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1457"/>
            <p:cNvSpPr>
              <a:spLocks/>
            </p:cNvSpPr>
            <p:nvPr/>
          </p:nvSpPr>
          <p:spPr bwMode="auto">
            <a:xfrm>
              <a:off x="6491288"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1458"/>
            <p:cNvSpPr>
              <a:spLocks/>
            </p:cNvSpPr>
            <p:nvPr/>
          </p:nvSpPr>
          <p:spPr bwMode="auto">
            <a:xfrm>
              <a:off x="644366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459"/>
            <p:cNvSpPr>
              <a:spLocks/>
            </p:cNvSpPr>
            <p:nvPr/>
          </p:nvSpPr>
          <p:spPr bwMode="auto">
            <a:xfrm>
              <a:off x="644366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71" name="Arduino Board Outline"/>
          <p:cNvSpPr>
            <a:spLocks noChangeAspect="1"/>
          </p:cNvSpPr>
          <p:nvPr/>
        </p:nvSpPr>
        <p:spPr bwMode="auto">
          <a:xfrm>
            <a:off x="7467871" y="4405480"/>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683214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90" name="Title 989"/>
          <p:cNvSpPr>
            <a:spLocks noGrp="1"/>
          </p:cNvSpPr>
          <p:nvPr>
            <p:ph type="title"/>
          </p:nvPr>
        </p:nvSpPr>
        <p:spPr/>
        <p:txBody>
          <a:bodyPr/>
          <a:lstStyle/>
          <a:p>
            <a:r>
              <a:rPr lang="en-US" dirty="0" smtClean="0"/>
              <a:t>GALILEO BOARD</a:t>
            </a:r>
            <a:endParaRPr lang="en-US" dirty="0"/>
          </a:p>
        </p:txBody>
      </p:sp>
      <p:grpSp>
        <p:nvGrpSpPr>
          <p:cNvPr id="992" name="Galileo from Fritzing"/>
          <p:cNvGrpSpPr>
            <a:grpSpLocks noChangeAspect="1"/>
          </p:cNvGrpSpPr>
          <p:nvPr/>
        </p:nvGrpSpPr>
        <p:grpSpPr bwMode="auto">
          <a:xfrm>
            <a:off x="822960" y="2434845"/>
            <a:ext cx="3924300" cy="2674938"/>
            <a:chOff x="2603" y="1317"/>
            <a:chExt cx="2472" cy="1685"/>
          </a:xfrm>
        </p:grpSpPr>
        <p:grpSp>
          <p:nvGrpSpPr>
            <p:cNvPr id="994" name="Group 1192"/>
            <p:cNvGrpSpPr>
              <a:grpSpLocks/>
            </p:cNvGrpSpPr>
            <p:nvPr/>
          </p:nvGrpSpPr>
          <p:grpSpPr bwMode="auto">
            <a:xfrm>
              <a:off x="2653" y="1387"/>
              <a:ext cx="2422" cy="1615"/>
              <a:chOff x="2653" y="1387"/>
              <a:chExt cx="2422" cy="1615"/>
            </a:xfrm>
          </p:grpSpPr>
          <p:sp>
            <p:nvSpPr>
              <p:cNvPr id="1778" name="Oval 992"/>
              <p:cNvSpPr>
                <a:spLocks noChangeArrowheads="1"/>
              </p:cNvSpPr>
              <p:nvPr/>
            </p:nvSpPr>
            <p:spPr bwMode="auto">
              <a:xfrm>
                <a:off x="466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Oval 993"/>
              <p:cNvSpPr>
                <a:spLocks noChangeArrowheads="1"/>
              </p:cNvSpPr>
              <p:nvPr/>
            </p:nvSpPr>
            <p:spPr bwMode="auto">
              <a:xfrm>
                <a:off x="472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Oval 994"/>
              <p:cNvSpPr>
                <a:spLocks noChangeArrowheads="1"/>
              </p:cNvSpPr>
              <p:nvPr/>
            </p:nvSpPr>
            <p:spPr bwMode="auto">
              <a:xfrm>
                <a:off x="4781"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Oval 995"/>
              <p:cNvSpPr>
                <a:spLocks noChangeArrowheads="1"/>
              </p:cNvSpPr>
              <p:nvPr/>
            </p:nvSpPr>
            <p:spPr bwMode="auto">
              <a:xfrm>
                <a:off x="4839"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2" name="Oval 996"/>
              <p:cNvSpPr>
                <a:spLocks noChangeArrowheads="1"/>
              </p:cNvSpPr>
              <p:nvPr/>
            </p:nvSpPr>
            <p:spPr bwMode="auto">
              <a:xfrm>
                <a:off x="489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3" name="Oval 997"/>
              <p:cNvSpPr>
                <a:spLocks noChangeArrowheads="1"/>
              </p:cNvSpPr>
              <p:nvPr/>
            </p:nvSpPr>
            <p:spPr bwMode="auto">
              <a:xfrm>
                <a:off x="495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4" name="Oval 998"/>
              <p:cNvSpPr>
                <a:spLocks noChangeArrowheads="1"/>
              </p:cNvSpPr>
              <p:nvPr/>
            </p:nvSpPr>
            <p:spPr bwMode="auto">
              <a:xfrm>
                <a:off x="4956" y="2102"/>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5" name="Oval 999"/>
              <p:cNvSpPr>
                <a:spLocks noChangeArrowheads="1"/>
              </p:cNvSpPr>
              <p:nvPr/>
            </p:nvSpPr>
            <p:spPr bwMode="auto">
              <a:xfrm>
                <a:off x="5013" y="2102"/>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6" name="Oval 1000"/>
              <p:cNvSpPr>
                <a:spLocks noChangeArrowheads="1"/>
              </p:cNvSpPr>
              <p:nvPr/>
            </p:nvSpPr>
            <p:spPr bwMode="auto">
              <a:xfrm>
                <a:off x="4956" y="21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7" name="Oval 1001"/>
              <p:cNvSpPr>
                <a:spLocks noChangeArrowheads="1"/>
              </p:cNvSpPr>
              <p:nvPr/>
            </p:nvSpPr>
            <p:spPr bwMode="auto">
              <a:xfrm>
                <a:off x="5013" y="216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8" name="Oval 1002"/>
              <p:cNvSpPr>
                <a:spLocks noChangeArrowheads="1"/>
              </p:cNvSpPr>
              <p:nvPr/>
            </p:nvSpPr>
            <p:spPr bwMode="auto">
              <a:xfrm>
                <a:off x="4956" y="2217"/>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9" name="Oval 1003"/>
              <p:cNvSpPr>
                <a:spLocks noChangeArrowheads="1"/>
              </p:cNvSpPr>
              <p:nvPr/>
            </p:nvSpPr>
            <p:spPr bwMode="auto">
              <a:xfrm>
                <a:off x="5013" y="2217"/>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0" name="Oval 1004"/>
              <p:cNvSpPr>
                <a:spLocks noChangeArrowheads="1"/>
              </p:cNvSpPr>
              <p:nvPr/>
            </p:nvSpPr>
            <p:spPr bwMode="auto">
              <a:xfrm>
                <a:off x="4754" y="1449"/>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1" name="Oval 1005"/>
              <p:cNvSpPr>
                <a:spLocks noChangeArrowheads="1"/>
              </p:cNvSpPr>
              <p:nvPr/>
            </p:nvSpPr>
            <p:spPr bwMode="auto">
              <a:xfrm>
                <a:off x="4754"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2" name="Oval 1006"/>
              <p:cNvSpPr>
                <a:spLocks noChangeArrowheads="1"/>
              </p:cNvSpPr>
              <p:nvPr/>
            </p:nvSpPr>
            <p:spPr bwMode="auto">
              <a:xfrm>
                <a:off x="4696"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3" name="Oval 1007"/>
              <p:cNvSpPr>
                <a:spLocks noChangeArrowheads="1"/>
              </p:cNvSpPr>
              <p:nvPr/>
            </p:nvSpPr>
            <p:spPr bwMode="auto">
              <a:xfrm>
                <a:off x="4696"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4" name="Oval 1008"/>
              <p:cNvSpPr>
                <a:spLocks noChangeArrowheads="1"/>
              </p:cNvSpPr>
              <p:nvPr/>
            </p:nvSpPr>
            <p:spPr bwMode="auto">
              <a:xfrm>
                <a:off x="4638"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5" name="Oval 1009"/>
              <p:cNvSpPr>
                <a:spLocks noChangeArrowheads="1"/>
              </p:cNvSpPr>
              <p:nvPr/>
            </p:nvSpPr>
            <p:spPr bwMode="auto">
              <a:xfrm>
                <a:off x="4638"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6" name="Oval 1010"/>
              <p:cNvSpPr>
                <a:spLocks noChangeArrowheads="1"/>
              </p:cNvSpPr>
              <p:nvPr/>
            </p:nvSpPr>
            <p:spPr bwMode="auto">
              <a:xfrm>
                <a:off x="4581"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7" name="Oval 1011"/>
              <p:cNvSpPr>
                <a:spLocks noChangeArrowheads="1"/>
              </p:cNvSpPr>
              <p:nvPr/>
            </p:nvSpPr>
            <p:spPr bwMode="auto">
              <a:xfrm>
                <a:off x="2919" y="15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8" name="Oval 1012"/>
              <p:cNvSpPr>
                <a:spLocks noChangeArrowheads="1"/>
              </p:cNvSpPr>
              <p:nvPr/>
            </p:nvSpPr>
            <p:spPr bwMode="auto">
              <a:xfrm>
                <a:off x="2919" y="150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9" name="Oval 1013"/>
              <p:cNvSpPr>
                <a:spLocks noChangeArrowheads="1"/>
              </p:cNvSpPr>
              <p:nvPr/>
            </p:nvSpPr>
            <p:spPr bwMode="auto">
              <a:xfrm>
                <a:off x="2919" y="1445"/>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0" name="Oval 1014"/>
              <p:cNvSpPr>
                <a:spLocks noChangeArrowheads="1"/>
              </p:cNvSpPr>
              <p:nvPr/>
            </p:nvSpPr>
            <p:spPr bwMode="auto">
              <a:xfrm>
                <a:off x="414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1" name="Oval 1015"/>
              <p:cNvSpPr>
                <a:spLocks noChangeArrowheads="1"/>
              </p:cNvSpPr>
              <p:nvPr/>
            </p:nvSpPr>
            <p:spPr bwMode="auto">
              <a:xfrm>
                <a:off x="420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2" name="Oval 1016"/>
              <p:cNvSpPr>
                <a:spLocks noChangeArrowheads="1"/>
              </p:cNvSpPr>
              <p:nvPr/>
            </p:nvSpPr>
            <p:spPr bwMode="auto">
              <a:xfrm>
                <a:off x="4261"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3" name="Oval 1017"/>
              <p:cNvSpPr>
                <a:spLocks noChangeArrowheads="1"/>
              </p:cNvSpPr>
              <p:nvPr/>
            </p:nvSpPr>
            <p:spPr bwMode="auto">
              <a:xfrm>
                <a:off x="438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4" name="Oval 1018"/>
              <p:cNvSpPr>
                <a:spLocks noChangeArrowheads="1"/>
              </p:cNvSpPr>
              <p:nvPr/>
            </p:nvSpPr>
            <p:spPr bwMode="auto">
              <a:xfrm>
                <a:off x="444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5" name="Oval 1019"/>
              <p:cNvSpPr>
                <a:spLocks noChangeArrowheads="1"/>
              </p:cNvSpPr>
              <p:nvPr/>
            </p:nvSpPr>
            <p:spPr bwMode="auto">
              <a:xfrm>
                <a:off x="3462"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6" name="Oval 1020"/>
              <p:cNvSpPr>
                <a:spLocks noChangeArrowheads="1"/>
              </p:cNvSpPr>
              <p:nvPr/>
            </p:nvSpPr>
            <p:spPr bwMode="auto">
              <a:xfrm>
                <a:off x="3520"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7" name="Oval 1021"/>
              <p:cNvSpPr>
                <a:spLocks noChangeArrowheads="1"/>
              </p:cNvSpPr>
              <p:nvPr/>
            </p:nvSpPr>
            <p:spPr bwMode="auto">
              <a:xfrm>
                <a:off x="3241"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8" name="Oval 1022"/>
              <p:cNvSpPr>
                <a:spLocks noChangeArrowheads="1"/>
              </p:cNvSpPr>
              <p:nvPr/>
            </p:nvSpPr>
            <p:spPr bwMode="auto">
              <a:xfrm>
                <a:off x="3212"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9" name="Oval 1023"/>
              <p:cNvSpPr>
                <a:spLocks noChangeArrowheads="1"/>
              </p:cNvSpPr>
              <p:nvPr/>
            </p:nvSpPr>
            <p:spPr bwMode="auto">
              <a:xfrm>
                <a:off x="3182" y="2953"/>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0" name="Oval 1024"/>
              <p:cNvSpPr>
                <a:spLocks noChangeArrowheads="1"/>
              </p:cNvSpPr>
              <p:nvPr/>
            </p:nvSpPr>
            <p:spPr bwMode="auto">
              <a:xfrm>
                <a:off x="3153"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1" name="Oval 1025"/>
              <p:cNvSpPr>
                <a:spLocks noChangeArrowheads="1"/>
              </p:cNvSpPr>
              <p:nvPr/>
            </p:nvSpPr>
            <p:spPr bwMode="auto">
              <a:xfrm>
                <a:off x="3124"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2" name="Oval 1026"/>
              <p:cNvSpPr>
                <a:spLocks noChangeArrowheads="1"/>
              </p:cNvSpPr>
              <p:nvPr/>
            </p:nvSpPr>
            <p:spPr bwMode="auto">
              <a:xfrm>
                <a:off x="3241"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3" name="Oval 1027"/>
              <p:cNvSpPr>
                <a:spLocks noChangeArrowheads="1"/>
              </p:cNvSpPr>
              <p:nvPr/>
            </p:nvSpPr>
            <p:spPr bwMode="auto">
              <a:xfrm>
                <a:off x="3212"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4" name="Oval 1028"/>
              <p:cNvSpPr>
                <a:spLocks noChangeArrowheads="1"/>
              </p:cNvSpPr>
              <p:nvPr/>
            </p:nvSpPr>
            <p:spPr bwMode="auto">
              <a:xfrm>
                <a:off x="3182" y="2924"/>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5" name="Oval 1029"/>
              <p:cNvSpPr>
                <a:spLocks noChangeArrowheads="1"/>
              </p:cNvSpPr>
              <p:nvPr/>
            </p:nvSpPr>
            <p:spPr bwMode="auto">
              <a:xfrm>
                <a:off x="3153"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6" name="Oval 1030"/>
              <p:cNvSpPr>
                <a:spLocks noChangeArrowheads="1"/>
              </p:cNvSpPr>
              <p:nvPr/>
            </p:nvSpPr>
            <p:spPr bwMode="auto">
              <a:xfrm>
                <a:off x="3124"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7" name="Oval 1031"/>
              <p:cNvSpPr>
                <a:spLocks noChangeArrowheads="1"/>
              </p:cNvSpPr>
              <p:nvPr/>
            </p:nvSpPr>
            <p:spPr bwMode="auto">
              <a:xfrm>
                <a:off x="445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8" name="Oval 1032"/>
              <p:cNvSpPr>
                <a:spLocks noChangeArrowheads="1"/>
              </p:cNvSpPr>
              <p:nvPr/>
            </p:nvSpPr>
            <p:spPr bwMode="auto">
              <a:xfrm>
                <a:off x="4401"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9" name="Oval 1033"/>
              <p:cNvSpPr>
                <a:spLocks noChangeArrowheads="1"/>
              </p:cNvSpPr>
              <p:nvPr/>
            </p:nvSpPr>
            <p:spPr bwMode="auto">
              <a:xfrm>
                <a:off x="434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0" name="Oval 1034"/>
              <p:cNvSpPr>
                <a:spLocks noChangeArrowheads="1"/>
              </p:cNvSpPr>
              <p:nvPr/>
            </p:nvSpPr>
            <p:spPr bwMode="auto">
              <a:xfrm>
                <a:off x="4285"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1" name="Oval 1035"/>
              <p:cNvSpPr>
                <a:spLocks noChangeArrowheads="1"/>
              </p:cNvSpPr>
              <p:nvPr/>
            </p:nvSpPr>
            <p:spPr bwMode="auto">
              <a:xfrm>
                <a:off x="4228"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2" name="Oval 1036"/>
              <p:cNvSpPr>
                <a:spLocks noChangeArrowheads="1"/>
              </p:cNvSpPr>
              <p:nvPr/>
            </p:nvSpPr>
            <p:spPr bwMode="auto">
              <a:xfrm>
                <a:off x="417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3" name="Oval 1037"/>
              <p:cNvSpPr>
                <a:spLocks noChangeArrowheads="1"/>
              </p:cNvSpPr>
              <p:nvPr/>
            </p:nvSpPr>
            <p:spPr bwMode="auto">
              <a:xfrm>
                <a:off x="4112"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4" name="Oval 1038"/>
              <p:cNvSpPr>
                <a:spLocks noChangeArrowheads="1"/>
              </p:cNvSpPr>
              <p:nvPr/>
            </p:nvSpPr>
            <p:spPr bwMode="auto">
              <a:xfrm>
                <a:off x="4055"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5" name="Oval 1039"/>
              <p:cNvSpPr>
                <a:spLocks noChangeArrowheads="1"/>
              </p:cNvSpPr>
              <p:nvPr/>
            </p:nvSpPr>
            <p:spPr bwMode="auto">
              <a:xfrm>
                <a:off x="3997"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6" name="Oval 1040"/>
              <p:cNvSpPr>
                <a:spLocks noChangeArrowheads="1"/>
              </p:cNvSpPr>
              <p:nvPr/>
            </p:nvSpPr>
            <p:spPr bwMode="auto">
              <a:xfrm>
                <a:off x="39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7" name="Oval 1041"/>
              <p:cNvSpPr>
                <a:spLocks noChangeArrowheads="1"/>
              </p:cNvSpPr>
              <p:nvPr/>
            </p:nvSpPr>
            <p:spPr bwMode="auto">
              <a:xfrm>
                <a:off x="4954"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8" name="Oval 1042"/>
              <p:cNvSpPr>
                <a:spLocks noChangeArrowheads="1"/>
              </p:cNvSpPr>
              <p:nvPr/>
            </p:nvSpPr>
            <p:spPr bwMode="auto">
              <a:xfrm>
                <a:off x="489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9" name="Oval 1043"/>
              <p:cNvSpPr>
                <a:spLocks noChangeArrowheads="1"/>
              </p:cNvSpPr>
              <p:nvPr/>
            </p:nvSpPr>
            <p:spPr bwMode="auto">
              <a:xfrm>
                <a:off x="48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0" name="Oval 1044"/>
              <p:cNvSpPr>
                <a:spLocks noChangeArrowheads="1"/>
              </p:cNvSpPr>
              <p:nvPr/>
            </p:nvSpPr>
            <p:spPr bwMode="auto">
              <a:xfrm>
                <a:off x="4781"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1" name="Oval 1045"/>
              <p:cNvSpPr>
                <a:spLocks noChangeArrowheads="1"/>
              </p:cNvSpPr>
              <p:nvPr/>
            </p:nvSpPr>
            <p:spPr bwMode="auto">
              <a:xfrm>
                <a:off x="472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2" name="Oval 1046"/>
              <p:cNvSpPr>
                <a:spLocks noChangeArrowheads="1"/>
              </p:cNvSpPr>
              <p:nvPr/>
            </p:nvSpPr>
            <p:spPr bwMode="auto">
              <a:xfrm>
                <a:off x="466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3" name="Oval 1047"/>
              <p:cNvSpPr>
                <a:spLocks noChangeArrowheads="1"/>
              </p:cNvSpPr>
              <p:nvPr/>
            </p:nvSpPr>
            <p:spPr bwMode="auto">
              <a:xfrm>
                <a:off x="460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4" name="Oval 1048"/>
              <p:cNvSpPr>
                <a:spLocks noChangeArrowheads="1"/>
              </p:cNvSpPr>
              <p:nvPr/>
            </p:nvSpPr>
            <p:spPr bwMode="auto">
              <a:xfrm>
                <a:off x="455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5" name="Oval 1049"/>
              <p:cNvSpPr>
                <a:spLocks noChangeArrowheads="1"/>
              </p:cNvSpPr>
              <p:nvPr/>
            </p:nvSpPr>
            <p:spPr bwMode="auto">
              <a:xfrm>
                <a:off x="420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6" name="Oval 1050"/>
              <p:cNvSpPr>
                <a:spLocks noChangeArrowheads="1"/>
              </p:cNvSpPr>
              <p:nvPr/>
            </p:nvSpPr>
            <p:spPr bwMode="auto">
              <a:xfrm>
                <a:off x="4262"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7" name="Oval 1051"/>
              <p:cNvSpPr>
                <a:spLocks noChangeArrowheads="1"/>
              </p:cNvSpPr>
              <p:nvPr/>
            </p:nvSpPr>
            <p:spPr bwMode="auto">
              <a:xfrm>
                <a:off x="432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8" name="Oval 1052"/>
              <p:cNvSpPr>
                <a:spLocks noChangeArrowheads="1"/>
              </p:cNvSpPr>
              <p:nvPr/>
            </p:nvSpPr>
            <p:spPr bwMode="auto">
              <a:xfrm>
                <a:off x="437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9" name="Oval 1053"/>
              <p:cNvSpPr>
                <a:spLocks noChangeArrowheads="1"/>
              </p:cNvSpPr>
              <p:nvPr/>
            </p:nvSpPr>
            <p:spPr bwMode="auto">
              <a:xfrm>
                <a:off x="4435"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0" name="Oval 1054"/>
              <p:cNvSpPr>
                <a:spLocks noChangeArrowheads="1"/>
              </p:cNvSpPr>
              <p:nvPr/>
            </p:nvSpPr>
            <p:spPr bwMode="auto">
              <a:xfrm>
                <a:off x="449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1" name="Oval 1055"/>
              <p:cNvSpPr>
                <a:spLocks noChangeArrowheads="1"/>
              </p:cNvSpPr>
              <p:nvPr/>
            </p:nvSpPr>
            <p:spPr bwMode="auto">
              <a:xfrm>
                <a:off x="455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2" name="Oval 1056"/>
              <p:cNvSpPr>
                <a:spLocks noChangeArrowheads="1"/>
              </p:cNvSpPr>
              <p:nvPr/>
            </p:nvSpPr>
            <p:spPr bwMode="auto">
              <a:xfrm>
                <a:off x="414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057"/>
              <p:cNvSpPr>
                <a:spLocks noEditPoints="1"/>
              </p:cNvSpPr>
              <p:nvPr/>
            </p:nvSpPr>
            <p:spPr bwMode="auto">
              <a:xfrm>
                <a:off x="2653" y="1387"/>
                <a:ext cx="2422" cy="1615"/>
              </a:xfrm>
              <a:custGeom>
                <a:avLst/>
                <a:gdLst>
                  <a:gd name="T0" fmla="*/ 10441 w 10668"/>
                  <a:gd name="T1" fmla="*/ 2296 h 7112"/>
                  <a:gd name="T2" fmla="*/ 10441 w 10668"/>
                  <a:gd name="T3" fmla="*/ 0 h 7112"/>
                  <a:gd name="T4" fmla="*/ 0 w 10668"/>
                  <a:gd name="T5" fmla="*/ 0 h 7112"/>
                  <a:gd name="T6" fmla="*/ 0 w 10668"/>
                  <a:gd name="T7" fmla="*/ 7112 h 7112"/>
                  <a:gd name="T8" fmla="*/ 10441 w 10668"/>
                  <a:gd name="T9" fmla="*/ 7112 h 7112"/>
                  <a:gd name="T10" fmla="*/ 10441 w 10668"/>
                  <a:gd name="T11" fmla="*/ 6042 h 7112"/>
                  <a:gd name="T12" fmla="*/ 10668 w 10668"/>
                  <a:gd name="T13" fmla="*/ 5816 h 7112"/>
                  <a:gd name="T14" fmla="*/ 10668 w 10668"/>
                  <a:gd name="T15" fmla="*/ 5816 h 7112"/>
                  <a:gd name="T16" fmla="*/ 10668 w 10668"/>
                  <a:gd name="T17" fmla="*/ 2523 h 7112"/>
                  <a:gd name="T18" fmla="*/ 10441 w 10668"/>
                  <a:gd name="T19" fmla="*/ 2296 h 7112"/>
                  <a:gd name="T20" fmla="*/ 455 w 10668"/>
                  <a:gd name="T21" fmla="*/ 6939 h 7112"/>
                  <a:gd name="T22" fmla="*/ 219 w 10668"/>
                  <a:gd name="T23" fmla="*/ 6703 h 7112"/>
                  <a:gd name="T24" fmla="*/ 455 w 10668"/>
                  <a:gd name="T25" fmla="*/ 6468 h 7112"/>
                  <a:gd name="T26" fmla="*/ 690 w 10668"/>
                  <a:gd name="T27" fmla="*/ 6703 h 7112"/>
                  <a:gd name="T28" fmla="*/ 455 w 10668"/>
                  <a:gd name="T29" fmla="*/ 6939 h 7112"/>
                  <a:gd name="T30" fmla="*/ 455 w 10668"/>
                  <a:gd name="T31" fmla="*/ 671 h 7112"/>
                  <a:gd name="T32" fmla="*/ 219 w 10668"/>
                  <a:gd name="T33" fmla="*/ 436 h 7112"/>
                  <a:gd name="T34" fmla="*/ 455 w 10668"/>
                  <a:gd name="T35" fmla="*/ 201 h 7112"/>
                  <a:gd name="T36" fmla="*/ 690 w 10668"/>
                  <a:gd name="T37" fmla="*/ 436 h 7112"/>
                  <a:gd name="T38" fmla="*/ 455 w 10668"/>
                  <a:gd name="T39" fmla="*/ 671 h 7112"/>
                  <a:gd name="T40" fmla="*/ 10025 w 10668"/>
                  <a:gd name="T41" fmla="*/ 6939 h 7112"/>
                  <a:gd name="T42" fmla="*/ 9790 w 10668"/>
                  <a:gd name="T43" fmla="*/ 6703 h 7112"/>
                  <a:gd name="T44" fmla="*/ 10025 w 10668"/>
                  <a:gd name="T45" fmla="*/ 6468 h 7112"/>
                  <a:gd name="T46" fmla="*/ 10261 w 10668"/>
                  <a:gd name="T47" fmla="*/ 6703 h 7112"/>
                  <a:gd name="T48" fmla="*/ 10025 w 10668"/>
                  <a:gd name="T49" fmla="*/ 6939 h 7112"/>
                  <a:gd name="T50" fmla="*/ 10025 w 10668"/>
                  <a:gd name="T51" fmla="*/ 671 h 7112"/>
                  <a:gd name="T52" fmla="*/ 9790 w 10668"/>
                  <a:gd name="T53" fmla="*/ 436 h 7112"/>
                  <a:gd name="T54" fmla="*/ 10025 w 10668"/>
                  <a:gd name="T55" fmla="*/ 201 h 7112"/>
                  <a:gd name="T56" fmla="*/ 10261 w 10668"/>
                  <a:gd name="T57" fmla="*/ 436 h 7112"/>
                  <a:gd name="T58" fmla="*/ 10025 w 10668"/>
                  <a:gd name="T59" fmla="*/ 671 h 7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8" h="7112">
                    <a:moveTo>
                      <a:pt x="10441" y="2296"/>
                    </a:moveTo>
                    <a:lnTo>
                      <a:pt x="10441" y="0"/>
                    </a:lnTo>
                    <a:lnTo>
                      <a:pt x="0" y="0"/>
                    </a:lnTo>
                    <a:lnTo>
                      <a:pt x="0" y="7112"/>
                    </a:lnTo>
                    <a:lnTo>
                      <a:pt x="10441" y="7112"/>
                    </a:lnTo>
                    <a:lnTo>
                      <a:pt x="10441" y="6042"/>
                    </a:lnTo>
                    <a:lnTo>
                      <a:pt x="10668" y="5816"/>
                    </a:lnTo>
                    <a:lnTo>
                      <a:pt x="10668" y="5816"/>
                    </a:lnTo>
                    <a:lnTo>
                      <a:pt x="10668" y="2523"/>
                    </a:lnTo>
                    <a:lnTo>
                      <a:pt x="10441" y="2296"/>
                    </a:lnTo>
                    <a:close/>
                    <a:moveTo>
                      <a:pt x="455" y="6939"/>
                    </a:moveTo>
                    <a:cubicBezTo>
                      <a:pt x="325" y="6939"/>
                      <a:pt x="219" y="6833"/>
                      <a:pt x="219" y="6703"/>
                    </a:cubicBezTo>
                    <a:cubicBezTo>
                      <a:pt x="219" y="6574"/>
                      <a:pt x="325" y="6468"/>
                      <a:pt x="455" y="6468"/>
                    </a:cubicBezTo>
                    <a:cubicBezTo>
                      <a:pt x="584" y="6468"/>
                      <a:pt x="690" y="6574"/>
                      <a:pt x="690" y="6703"/>
                    </a:cubicBezTo>
                    <a:cubicBezTo>
                      <a:pt x="690" y="6833"/>
                      <a:pt x="584" y="6939"/>
                      <a:pt x="455" y="6939"/>
                    </a:cubicBezTo>
                    <a:close/>
                    <a:moveTo>
                      <a:pt x="455" y="671"/>
                    </a:moveTo>
                    <a:cubicBezTo>
                      <a:pt x="325" y="671"/>
                      <a:pt x="219" y="566"/>
                      <a:pt x="219" y="436"/>
                    </a:cubicBezTo>
                    <a:cubicBezTo>
                      <a:pt x="219" y="306"/>
                      <a:pt x="325" y="201"/>
                      <a:pt x="455" y="201"/>
                    </a:cubicBezTo>
                    <a:cubicBezTo>
                      <a:pt x="584" y="201"/>
                      <a:pt x="690" y="306"/>
                      <a:pt x="690" y="436"/>
                    </a:cubicBezTo>
                    <a:cubicBezTo>
                      <a:pt x="690" y="566"/>
                      <a:pt x="584" y="671"/>
                      <a:pt x="455" y="671"/>
                    </a:cubicBezTo>
                    <a:close/>
                    <a:moveTo>
                      <a:pt x="10025" y="6939"/>
                    </a:moveTo>
                    <a:cubicBezTo>
                      <a:pt x="9895" y="6939"/>
                      <a:pt x="9790" y="6833"/>
                      <a:pt x="9790" y="6703"/>
                    </a:cubicBezTo>
                    <a:cubicBezTo>
                      <a:pt x="9790" y="6574"/>
                      <a:pt x="9895" y="6468"/>
                      <a:pt x="10025" y="6468"/>
                    </a:cubicBezTo>
                    <a:cubicBezTo>
                      <a:pt x="10155" y="6468"/>
                      <a:pt x="10261" y="6574"/>
                      <a:pt x="10261" y="6703"/>
                    </a:cubicBezTo>
                    <a:cubicBezTo>
                      <a:pt x="10261" y="6833"/>
                      <a:pt x="10155" y="6939"/>
                      <a:pt x="10025" y="6939"/>
                    </a:cubicBezTo>
                    <a:close/>
                    <a:moveTo>
                      <a:pt x="10025" y="671"/>
                    </a:moveTo>
                    <a:cubicBezTo>
                      <a:pt x="9895" y="671"/>
                      <a:pt x="9790" y="566"/>
                      <a:pt x="9790" y="436"/>
                    </a:cubicBezTo>
                    <a:cubicBezTo>
                      <a:pt x="9790" y="306"/>
                      <a:pt x="9895" y="201"/>
                      <a:pt x="10025" y="201"/>
                    </a:cubicBezTo>
                    <a:cubicBezTo>
                      <a:pt x="10155" y="201"/>
                      <a:pt x="10261" y="306"/>
                      <a:pt x="10261" y="436"/>
                    </a:cubicBezTo>
                    <a:cubicBezTo>
                      <a:pt x="10261" y="566"/>
                      <a:pt x="10155" y="671"/>
                      <a:pt x="10025" y="67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4" name="Rectangle 1058"/>
              <p:cNvSpPr>
                <a:spLocks noChangeArrowheads="1"/>
              </p:cNvSpPr>
              <p:nvPr/>
            </p:nvSpPr>
            <p:spPr bwMode="auto">
              <a:xfrm>
                <a:off x="2776" y="2074"/>
                <a:ext cx="127" cy="51"/>
              </a:xfrm>
              <a:prstGeom prst="rect">
                <a:avLst/>
              </a:prstGeom>
              <a:solidFill>
                <a:srgbClr val="EBEB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5" name="Rectangle 1059"/>
              <p:cNvSpPr>
                <a:spLocks noChangeArrowheads="1"/>
              </p:cNvSpPr>
              <p:nvPr/>
            </p:nvSpPr>
            <p:spPr bwMode="auto">
              <a:xfrm>
                <a:off x="2776" y="2074"/>
                <a:ext cx="28"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6" name="Rectangle 1060"/>
              <p:cNvSpPr>
                <a:spLocks noChangeArrowheads="1"/>
              </p:cNvSpPr>
              <p:nvPr/>
            </p:nvSpPr>
            <p:spPr bwMode="auto">
              <a:xfrm>
                <a:off x="2876" y="2074"/>
                <a:ext cx="27"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7" name="Rectangle 1061"/>
              <p:cNvSpPr>
                <a:spLocks noChangeArrowheads="1"/>
              </p:cNvSpPr>
              <p:nvPr/>
            </p:nvSpPr>
            <p:spPr bwMode="auto">
              <a:xfrm>
                <a:off x="4650" y="2722"/>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8" name="Rectangle 1062"/>
              <p:cNvSpPr>
                <a:spLocks noChangeArrowheads="1"/>
              </p:cNvSpPr>
              <p:nvPr/>
            </p:nvSpPr>
            <p:spPr bwMode="auto">
              <a:xfrm>
                <a:off x="466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9" name="Freeform 1063"/>
              <p:cNvSpPr>
                <a:spLocks/>
              </p:cNvSpPr>
              <p:nvPr/>
            </p:nvSpPr>
            <p:spPr bwMode="auto">
              <a:xfrm>
                <a:off x="4659"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0" name="Freeform 1064"/>
              <p:cNvSpPr>
                <a:spLocks/>
              </p:cNvSpPr>
              <p:nvPr/>
            </p:nvSpPr>
            <p:spPr bwMode="auto">
              <a:xfrm>
                <a:off x="4690"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1" name="Freeform 1065"/>
              <p:cNvSpPr>
                <a:spLocks/>
              </p:cNvSpPr>
              <p:nvPr/>
            </p:nvSpPr>
            <p:spPr bwMode="auto">
              <a:xfrm>
                <a:off x="4659"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2" name="Freeform 1066"/>
              <p:cNvSpPr>
                <a:spLocks/>
              </p:cNvSpPr>
              <p:nvPr/>
            </p:nvSpPr>
            <p:spPr bwMode="auto">
              <a:xfrm>
                <a:off x="4659"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3" name="Rectangle 1067"/>
              <p:cNvSpPr>
                <a:spLocks noChangeArrowheads="1"/>
              </p:cNvSpPr>
              <p:nvPr/>
            </p:nvSpPr>
            <p:spPr bwMode="auto">
              <a:xfrm>
                <a:off x="472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4" name="Freeform 1068"/>
              <p:cNvSpPr>
                <a:spLocks/>
              </p:cNvSpPr>
              <p:nvPr/>
            </p:nvSpPr>
            <p:spPr bwMode="auto">
              <a:xfrm>
                <a:off x="4717"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5" name="Freeform 1069"/>
              <p:cNvSpPr>
                <a:spLocks/>
              </p:cNvSpPr>
              <p:nvPr/>
            </p:nvSpPr>
            <p:spPr bwMode="auto">
              <a:xfrm>
                <a:off x="4747"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6" name="Freeform 1070"/>
              <p:cNvSpPr>
                <a:spLocks/>
              </p:cNvSpPr>
              <p:nvPr/>
            </p:nvSpPr>
            <p:spPr bwMode="auto">
              <a:xfrm>
                <a:off x="4717"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7" name="Freeform 1071"/>
              <p:cNvSpPr>
                <a:spLocks/>
              </p:cNvSpPr>
              <p:nvPr/>
            </p:nvSpPr>
            <p:spPr bwMode="auto">
              <a:xfrm>
                <a:off x="4717"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8" name="Rectangle 1072"/>
              <p:cNvSpPr>
                <a:spLocks noChangeArrowheads="1"/>
              </p:cNvSpPr>
              <p:nvPr/>
            </p:nvSpPr>
            <p:spPr bwMode="auto">
              <a:xfrm>
                <a:off x="4783"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9" name="Freeform 1073"/>
              <p:cNvSpPr>
                <a:spLocks/>
              </p:cNvSpPr>
              <p:nvPr/>
            </p:nvSpPr>
            <p:spPr bwMode="auto">
              <a:xfrm>
                <a:off x="4775"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0" name="Freeform 1074"/>
              <p:cNvSpPr>
                <a:spLocks/>
              </p:cNvSpPr>
              <p:nvPr/>
            </p:nvSpPr>
            <p:spPr bwMode="auto">
              <a:xfrm>
                <a:off x="4805"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1" name="Freeform 1075"/>
              <p:cNvSpPr>
                <a:spLocks/>
              </p:cNvSpPr>
              <p:nvPr/>
            </p:nvSpPr>
            <p:spPr bwMode="auto">
              <a:xfrm>
                <a:off x="4775"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2" name="Freeform 1076"/>
              <p:cNvSpPr>
                <a:spLocks/>
              </p:cNvSpPr>
              <p:nvPr/>
            </p:nvSpPr>
            <p:spPr bwMode="auto">
              <a:xfrm>
                <a:off x="4775"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3" name="Rectangle 1077"/>
              <p:cNvSpPr>
                <a:spLocks noChangeArrowheads="1"/>
              </p:cNvSpPr>
              <p:nvPr/>
            </p:nvSpPr>
            <p:spPr bwMode="auto">
              <a:xfrm>
                <a:off x="4841"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1078"/>
              <p:cNvSpPr>
                <a:spLocks/>
              </p:cNvSpPr>
              <p:nvPr/>
            </p:nvSpPr>
            <p:spPr bwMode="auto">
              <a:xfrm>
                <a:off x="4832"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1079"/>
              <p:cNvSpPr>
                <a:spLocks/>
              </p:cNvSpPr>
              <p:nvPr/>
            </p:nvSpPr>
            <p:spPr bwMode="auto">
              <a:xfrm>
                <a:off x="4863"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1080"/>
              <p:cNvSpPr>
                <a:spLocks/>
              </p:cNvSpPr>
              <p:nvPr/>
            </p:nvSpPr>
            <p:spPr bwMode="auto">
              <a:xfrm>
                <a:off x="4832"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1081"/>
              <p:cNvSpPr>
                <a:spLocks/>
              </p:cNvSpPr>
              <p:nvPr/>
            </p:nvSpPr>
            <p:spPr bwMode="auto">
              <a:xfrm>
                <a:off x="4832"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8" name="Rectangle 1082"/>
              <p:cNvSpPr>
                <a:spLocks noChangeArrowheads="1"/>
              </p:cNvSpPr>
              <p:nvPr/>
            </p:nvSpPr>
            <p:spPr bwMode="auto">
              <a:xfrm>
                <a:off x="489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083"/>
              <p:cNvSpPr>
                <a:spLocks/>
              </p:cNvSpPr>
              <p:nvPr/>
            </p:nvSpPr>
            <p:spPr bwMode="auto">
              <a:xfrm>
                <a:off x="489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084"/>
              <p:cNvSpPr>
                <a:spLocks/>
              </p:cNvSpPr>
              <p:nvPr/>
            </p:nvSpPr>
            <p:spPr bwMode="auto">
              <a:xfrm>
                <a:off x="4920"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085"/>
              <p:cNvSpPr>
                <a:spLocks/>
              </p:cNvSpPr>
              <p:nvPr/>
            </p:nvSpPr>
            <p:spPr bwMode="auto">
              <a:xfrm>
                <a:off x="489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086"/>
              <p:cNvSpPr>
                <a:spLocks/>
              </p:cNvSpPr>
              <p:nvPr/>
            </p:nvSpPr>
            <p:spPr bwMode="auto">
              <a:xfrm>
                <a:off x="4890"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3" name="Rectangle 1087"/>
              <p:cNvSpPr>
                <a:spLocks noChangeArrowheads="1"/>
              </p:cNvSpPr>
              <p:nvPr/>
            </p:nvSpPr>
            <p:spPr bwMode="auto">
              <a:xfrm>
                <a:off x="495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088"/>
              <p:cNvSpPr>
                <a:spLocks/>
              </p:cNvSpPr>
              <p:nvPr/>
            </p:nvSpPr>
            <p:spPr bwMode="auto">
              <a:xfrm>
                <a:off x="4948"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089"/>
              <p:cNvSpPr>
                <a:spLocks/>
              </p:cNvSpPr>
              <p:nvPr/>
            </p:nvSpPr>
            <p:spPr bwMode="auto">
              <a:xfrm>
                <a:off x="4978"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090"/>
              <p:cNvSpPr>
                <a:spLocks/>
              </p:cNvSpPr>
              <p:nvPr/>
            </p:nvSpPr>
            <p:spPr bwMode="auto">
              <a:xfrm>
                <a:off x="4948"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091"/>
              <p:cNvSpPr>
                <a:spLocks/>
              </p:cNvSpPr>
              <p:nvPr/>
            </p:nvSpPr>
            <p:spPr bwMode="auto">
              <a:xfrm>
                <a:off x="494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8" name="Rectangle 1092"/>
              <p:cNvSpPr>
                <a:spLocks noChangeArrowheads="1"/>
              </p:cNvSpPr>
              <p:nvPr/>
            </p:nvSpPr>
            <p:spPr bwMode="auto">
              <a:xfrm>
                <a:off x="4534" y="1626"/>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Rectangle 1093"/>
              <p:cNvSpPr>
                <a:spLocks noChangeArrowheads="1"/>
              </p:cNvSpPr>
              <p:nvPr/>
            </p:nvSpPr>
            <p:spPr bwMode="auto">
              <a:xfrm>
                <a:off x="455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1094"/>
              <p:cNvSpPr>
                <a:spLocks/>
              </p:cNvSpPr>
              <p:nvPr/>
            </p:nvSpPr>
            <p:spPr bwMode="auto">
              <a:xfrm>
                <a:off x="4544"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1095"/>
              <p:cNvSpPr>
                <a:spLocks/>
              </p:cNvSpPr>
              <p:nvPr/>
            </p:nvSpPr>
            <p:spPr bwMode="auto">
              <a:xfrm>
                <a:off x="4574"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1096"/>
              <p:cNvSpPr>
                <a:spLocks/>
              </p:cNvSpPr>
              <p:nvPr/>
            </p:nvSpPr>
            <p:spPr bwMode="auto">
              <a:xfrm>
                <a:off x="4544"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3" name="Freeform 1097"/>
              <p:cNvSpPr>
                <a:spLocks/>
              </p:cNvSpPr>
              <p:nvPr/>
            </p:nvSpPr>
            <p:spPr bwMode="auto">
              <a:xfrm>
                <a:off x="4544"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4" name="Rectangle 1098"/>
              <p:cNvSpPr>
                <a:spLocks noChangeArrowheads="1"/>
              </p:cNvSpPr>
              <p:nvPr/>
            </p:nvSpPr>
            <p:spPr bwMode="auto">
              <a:xfrm>
                <a:off x="461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1099"/>
              <p:cNvSpPr>
                <a:spLocks/>
              </p:cNvSpPr>
              <p:nvPr/>
            </p:nvSpPr>
            <p:spPr bwMode="auto">
              <a:xfrm>
                <a:off x="4602"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1100"/>
              <p:cNvSpPr>
                <a:spLocks/>
              </p:cNvSpPr>
              <p:nvPr/>
            </p:nvSpPr>
            <p:spPr bwMode="auto">
              <a:xfrm>
                <a:off x="4632"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1101"/>
              <p:cNvSpPr>
                <a:spLocks/>
              </p:cNvSpPr>
              <p:nvPr/>
            </p:nvSpPr>
            <p:spPr bwMode="auto">
              <a:xfrm>
                <a:off x="4602"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8" name="Freeform 1102"/>
              <p:cNvSpPr>
                <a:spLocks/>
              </p:cNvSpPr>
              <p:nvPr/>
            </p:nvSpPr>
            <p:spPr bwMode="auto">
              <a:xfrm>
                <a:off x="460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Rectangle 1103"/>
              <p:cNvSpPr>
                <a:spLocks noChangeArrowheads="1"/>
              </p:cNvSpPr>
              <p:nvPr/>
            </p:nvSpPr>
            <p:spPr bwMode="auto">
              <a:xfrm>
                <a:off x="466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0" name="Freeform 1104"/>
              <p:cNvSpPr>
                <a:spLocks/>
              </p:cNvSpPr>
              <p:nvPr/>
            </p:nvSpPr>
            <p:spPr bwMode="auto">
              <a:xfrm>
                <a:off x="4659"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1105"/>
              <p:cNvSpPr>
                <a:spLocks/>
              </p:cNvSpPr>
              <p:nvPr/>
            </p:nvSpPr>
            <p:spPr bwMode="auto">
              <a:xfrm>
                <a:off x="4690"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1106"/>
              <p:cNvSpPr>
                <a:spLocks/>
              </p:cNvSpPr>
              <p:nvPr/>
            </p:nvSpPr>
            <p:spPr bwMode="auto">
              <a:xfrm>
                <a:off x="4659"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1107"/>
              <p:cNvSpPr>
                <a:spLocks/>
              </p:cNvSpPr>
              <p:nvPr/>
            </p:nvSpPr>
            <p:spPr bwMode="auto">
              <a:xfrm>
                <a:off x="4659"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Rectangle 1108"/>
              <p:cNvSpPr>
                <a:spLocks noChangeArrowheads="1"/>
              </p:cNvSpPr>
              <p:nvPr/>
            </p:nvSpPr>
            <p:spPr bwMode="auto">
              <a:xfrm>
                <a:off x="4725"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1109"/>
              <p:cNvSpPr>
                <a:spLocks/>
              </p:cNvSpPr>
              <p:nvPr/>
            </p:nvSpPr>
            <p:spPr bwMode="auto">
              <a:xfrm>
                <a:off x="4717"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6" name="Freeform 1110"/>
              <p:cNvSpPr>
                <a:spLocks/>
              </p:cNvSpPr>
              <p:nvPr/>
            </p:nvSpPr>
            <p:spPr bwMode="auto">
              <a:xfrm>
                <a:off x="4747"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1111"/>
              <p:cNvSpPr>
                <a:spLocks/>
              </p:cNvSpPr>
              <p:nvPr/>
            </p:nvSpPr>
            <p:spPr bwMode="auto">
              <a:xfrm>
                <a:off x="4717"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1112"/>
              <p:cNvSpPr>
                <a:spLocks/>
              </p:cNvSpPr>
              <p:nvPr/>
            </p:nvSpPr>
            <p:spPr bwMode="auto">
              <a:xfrm>
                <a:off x="4717"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9" name="Rectangle 1113"/>
              <p:cNvSpPr>
                <a:spLocks noChangeArrowheads="1"/>
              </p:cNvSpPr>
              <p:nvPr/>
            </p:nvSpPr>
            <p:spPr bwMode="auto">
              <a:xfrm>
                <a:off x="4783"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1114"/>
              <p:cNvSpPr>
                <a:spLocks/>
              </p:cNvSpPr>
              <p:nvPr/>
            </p:nvSpPr>
            <p:spPr bwMode="auto">
              <a:xfrm>
                <a:off x="4775"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1115"/>
              <p:cNvSpPr>
                <a:spLocks/>
              </p:cNvSpPr>
              <p:nvPr/>
            </p:nvSpPr>
            <p:spPr bwMode="auto">
              <a:xfrm>
                <a:off x="4805"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1116"/>
              <p:cNvSpPr>
                <a:spLocks/>
              </p:cNvSpPr>
              <p:nvPr/>
            </p:nvSpPr>
            <p:spPr bwMode="auto">
              <a:xfrm>
                <a:off x="4775"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1117"/>
              <p:cNvSpPr>
                <a:spLocks/>
              </p:cNvSpPr>
              <p:nvPr/>
            </p:nvSpPr>
            <p:spPr bwMode="auto">
              <a:xfrm>
                <a:off x="4775"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4" name="Rectangle 1118"/>
              <p:cNvSpPr>
                <a:spLocks noChangeArrowheads="1"/>
              </p:cNvSpPr>
              <p:nvPr/>
            </p:nvSpPr>
            <p:spPr bwMode="auto">
              <a:xfrm>
                <a:off x="48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1119"/>
              <p:cNvSpPr>
                <a:spLocks/>
              </p:cNvSpPr>
              <p:nvPr/>
            </p:nvSpPr>
            <p:spPr bwMode="auto">
              <a:xfrm>
                <a:off x="4832"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1120"/>
              <p:cNvSpPr>
                <a:spLocks/>
              </p:cNvSpPr>
              <p:nvPr/>
            </p:nvSpPr>
            <p:spPr bwMode="auto">
              <a:xfrm>
                <a:off x="4863"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1121"/>
              <p:cNvSpPr>
                <a:spLocks/>
              </p:cNvSpPr>
              <p:nvPr/>
            </p:nvSpPr>
            <p:spPr bwMode="auto">
              <a:xfrm>
                <a:off x="4832"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1122"/>
              <p:cNvSpPr>
                <a:spLocks/>
              </p:cNvSpPr>
              <p:nvPr/>
            </p:nvSpPr>
            <p:spPr bwMode="auto">
              <a:xfrm>
                <a:off x="4832"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9" name="Rectangle 1123"/>
              <p:cNvSpPr>
                <a:spLocks noChangeArrowheads="1"/>
              </p:cNvSpPr>
              <p:nvPr/>
            </p:nvSpPr>
            <p:spPr bwMode="auto">
              <a:xfrm>
                <a:off x="48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1124"/>
              <p:cNvSpPr>
                <a:spLocks/>
              </p:cNvSpPr>
              <p:nvPr/>
            </p:nvSpPr>
            <p:spPr bwMode="auto">
              <a:xfrm>
                <a:off x="4890"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1125"/>
              <p:cNvSpPr>
                <a:spLocks/>
              </p:cNvSpPr>
              <p:nvPr/>
            </p:nvSpPr>
            <p:spPr bwMode="auto">
              <a:xfrm>
                <a:off x="4920"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1126"/>
              <p:cNvSpPr>
                <a:spLocks/>
              </p:cNvSpPr>
              <p:nvPr/>
            </p:nvSpPr>
            <p:spPr bwMode="auto">
              <a:xfrm>
                <a:off x="4890"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1127"/>
              <p:cNvSpPr>
                <a:spLocks/>
              </p:cNvSpPr>
              <p:nvPr/>
            </p:nvSpPr>
            <p:spPr bwMode="auto">
              <a:xfrm>
                <a:off x="48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4" name="Rectangle 1128"/>
              <p:cNvSpPr>
                <a:spLocks noChangeArrowheads="1"/>
              </p:cNvSpPr>
              <p:nvPr/>
            </p:nvSpPr>
            <p:spPr bwMode="auto">
              <a:xfrm>
                <a:off x="49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1129"/>
              <p:cNvSpPr>
                <a:spLocks/>
              </p:cNvSpPr>
              <p:nvPr/>
            </p:nvSpPr>
            <p:spPr bwMode="auto">
              <a:xfrm>
                <a:off x="4948"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1130"/>
              <p:cNvSpPr>
                <a:spLocks/>
              </p:cNvSpPr>
              <p:nvPr/>
            </p:nvSpPr>
            <p:spPr bwMode="auto">
              <a:xfrm>
                <a:off x="4978"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1131"/>
              <p:cNvSpPr>
                <a:spLocks/>
              </p:cNvSpPr>
              <p:nvPr/>
            </p:nvSpPr>
            <p:spPr bwMode="auto">
              <a:xfrm>
                <a:off x="4948"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1132"/>
              <p:cNvSpPr>
                <a:spLocks/>
              </p:cNvSpPr>
              <p:nvPr/>
            </p:nvSpPr>
            <p:spPr bwMode="auto">
              <a:xfrm>
                <a:off x="494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9" name="Rectangle 1133"/>
              <p:cNvSpPr>
                <a:spLocks noChangeArrowheads="1"/>
              </p:cNvSpPr>
              <p:nvPr/>
            </p:nvSpPr>
            <p:spPr bwMode="auto">
              <a:xfrm>
                <a:off x="4131" y="2722"/>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Rectangle 1134"/>
              <p:cNvSpPr>
                <a:spLocks noChangeArrowheads="1"/>
              </p:cNvSpPr>
              <p:nvPr/>
            </p:nvSpPr>
            <p:spPr bwMode="auto">
              <a:xfrm>
                <a:off x="414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1135"/>
              <p:cNvSpPr>
                <a:spLocks/>
              </p:cNvSpPr>
              <p:nvPr/>
            </p:nvSpPr>
            <p:spPr bwMode="auto">
              <a:xfrm>
                <a:off x="414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1136"/>
              <p:cNvSpPr>
                <a:spLocks/>
              </p:cNvSpPr>
              <p:nvPr/>
            </p:nvSpPr>
            <p:spPr bwMode="auto">
              <a:xfrm>
                <a:off x="4171"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1137"/>
              <p:cNvSpPr>
                <a:spLocks/>
              </p:cNvSpPr>
              <p:nvPr/>
            </p:nvSpPr>
            <p:spPr bwMode="auto">
              <a:xfrm>
                <a:off x="414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1138"/>
              <p:cNvSpPr>
                <a:spLocks/>
              </p:cNvSpPr>
              <p:nvPr/>
            </p:nvSpPr>
            <p:spPr bwMode="auto">
              <a:xfrm>
                <a:off x="4140"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5" name="Rectangle 1139"/>
              <p:cNvSpPr>
                <a:spLocks noChangeArrowheads="1"/>
              </p:cNvSpPr>
              <p:nvPr/>
            </p:nvSpPr>
            <p:spPr bwMode="auto">
              <a:xfrm>
                <a:off x="420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1140"/>
              <p:cNvSpPr>
                <a:spLocks/>
              </p:cNvSpPr>
              <p:nvPr/>
            </p:nvSpPr>
            <p:spPr bwMode="auto">
              <a:xfrm>
                <a:off x="4198"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1141"/>
              <p:cNvSpPr>
                <a:spLocks/>
              </p:cNvSpPr>
              <p:nvPr/>
            </p:nvSpPr>
            <p:spPr bwMode="auto">
              <a:xfrm>
                <a:off x="4228"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1142"/>
              <p:cNvSpPr>
                <a:spLocks/>
              </p:cNvSpPr>
              <p:nvPr/>
            </p:nvSpPr>
            <p:spPr bwMode="auto">
              <a:xfrm>
                <a:off x="4198"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1143"/>
              <p:cNvSpPr>
                <a:spLocks/>
              </p:cNvSpPr>
              <p:nvPr/>
            </p:nvSpPr>
            <p:spPr bwMode="auto">
              <a:xfrm>
                <a:off x="419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0" name="Rectangle 1144"/>
              <p:cNvSpPr>
                <a:spLocks noChangeArrowheads="1"/>
              </p:cNvSpPr>
              <p:nvPr/>
            </p:nvSpPr>
            <p:spPr bwMode="auto">
              <a:xfrm>
                <a:off x="4264"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1145"/>
              <p:cNvSpPr>
                <a:spLocks/>
              </p:cNvSpPr>
              <p:nvPr/>
            </p:nvSpPr>
            <p:spPr bwMode="auto">
              <a:xfrm>
                <a:off x="4256"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1146"/>
              <p:cNvSpPr>
                <a:spLocks/>
              </p:cNvSpPr>
              <p:nvPr/>
            </p:nvSpPr>
            <p:spPr bwMode="auto">
              <a:xfrm>
                <a:off x="4286"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1147"/>
              <p:cNvSpPr>
                <a:spLocks/>
              </p:cNvSpPr>
              <p:nvPr/>
            </p:nvSpPr>
            <p:spPr bwMode="auto">
              <a:xfrm>
                <a:off x="4256"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1148"/>
              <p:cNvSpPr>
                <a:spLocks/>
              </p:cNvSpPr>
              <p:nvPr/>
            </p:nvSpPr>
            <p:spPr bwMode="auto">
              <a:xfrm>
                <a:off x="4256"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5" name="Rectangle 1149"/>
              <p:cNvSpPr>
                <a:spLocks noChangeArrowheads="1"/>
              </p:cNvSpPr>
              <p:nvPr/>
            </p:nvSpPr>
            <p:spPr bwMode="auto">
              <a:xfrm>
                <a:off x="432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1150"/>
              <p:cNvSpPr>
                <a:spLocks/>
              </p:cNvSpPr>
              <p:nvPr/>
            </p:nvSpPr>
            <p:spPr bwMode="auto">
              <a:xfrm>
                <a:off x="4313"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1151"/>
              <p:cNvSpPr>
                <a:spLocks/>
              </p:cNvSpPr>
              <p:nvPr/>
            </p:nvSpPr>
            <p:spPr bwMode="auto">
              <a:xfrm>
                <a:off x="4344"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1152"/>
              <p:cNvSpPr>
                <a:spLocks/>
              </p:cNvSpPr>
              <p:nvPr/>
            </p:nvSpPr>
            <p:spPr bwMode="auto">
              <a:xfrm>
                <a:off x="4313"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1153"/>
              <p:cNvSpPr>
                <a:spLocks/>
              </p:cNvSpPr>
              <p:nvPr/>
            </p:nvSpPr>
            <p:spPr bwMode="auto">
              <a:xfrm>
                <a:off x="4313"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0" name="Rectangle 1154"/>
              <p:cNvSpPr>
                <a:spLocks noChangeArrowheads="1"/>
              </p:cNvSpPr>
              <p:nvPr/>
            </p:nvSpPr>
            <p:spPr bwMode="auto">
              <a:xfrm>
                <a:off x="437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1155"/>
              <p:cNvSpPr>
                <a:spLocks/>
              </p:cNvSpPr>
              <p:nvPr/>
            </p:nvSpPr>
            <p:spPr bwMode="auto">
              <a:xfrm>
                <a:off x="4371"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1156"/>
              <p:cNvSpPr>
                <a:spLocks/>
              </p:cNvSpPr>
              <p:nvPr/>
            </p:nvSpPr>
            <p:spPr bwMode="auto">
              <a:xfrm>
                <a:off x="4401"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1157"/>
              <p:cNvSpPr>
                <a:spLocks/>
              </p:cNvSpPr>
              <p:nvPr/>
            </p:nvSpPr>
            <p:spPr bwMode="auto">
              <a:xfrm>
                <a:off x="4371"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1158"/>
              <p:cNvSpPr>
                <a:spLocks/>
              </p:cNvSpPr>
              <p:nvPr/>
            </p:nvSpPr>
            <p:spPr bwMode="auto">
              <a:xfrm>
                <a:off x="4371"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5" name="Rectangle 1159"/>
              <p:cNvSpPr>
                <a:spLocks noChangeArrowheads="1"/>
              </p:cNvSpPr>
              <p:nvPr/>
            </p:nvSpPr>
            <p:spPr bwMode="auto">
              <a:xfrm>
                <a:off x="4437"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1160"/>
              <p:cNvSpPr>
                <a:spLocks/>
              </p:cNvSpPr>
              <p:nvPr/>
            </p:nvSpPr>
            <p:spPr bwMode="auto">
              <a:xfrm>
                <a:off x="4429"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1161"/>
              <p:cNvSpPr>
                <a:spLocks/>
              </p:cNvSpPr>
              <p:nvPr/>
            </p:nvSpPr>
            <p:spPr bwMode="auto">
              <a:xfrm>
                <a:off x="4459"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1162"/>
              <p:cNvSpPr>
                <a:spLocks/>
              </p:cNvSpPr>
              <p:nvPr/>
            </p:nvSpPr>
            <p:spPr bwMode="auto">
              <a:xfrm>
                <a:off x="4429"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1163"/>
              <p:cNvSpPr>
                <a:spLocks/>
              </p:cNvSpPr>
              <p:nvPr/>
            </p:nvSpPr>
            <p:spPr bwMode="auto">
              <a:xfrm>
                <a:off x="4429"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0" name="Rectangle 1164"/>
              <p:cNvSpPr>
                <a:spLocks noChangeArrowheads="1"/>
              </p:cNvSpPr>
              <p:nvPr/>
            </p:nvSpPr>
            <p:spPr bwMode="auto">
              <a:xfrm>
                <a:off x="449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1165"/>
              <p:cNvSpPr>
                <a:spLocks/>
              </p:cNvSpPr>
              <p:nvPr/>
            </p:nvSpPr>
            <p:spPr bwMode="auto">
              <a:xfrm>
                <a:off x="4486"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1166"/>
              <p:cNvSpPr>
                <a:spLocks/>
              </p:cNvSpPr>
              <p:nvPr/>
            </p:nvSpPr>
            <p:spPr bwMode="auto">
              <a:xfrm>
                <a:off x="4517"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1167"/>
              <p:cNvSpPr>
                <a:spLocks/>
              </p:cNvSpPr>
              <p:nvPr/>
            </p:nvSpPr>
            <p:spPr bwMode="auto">
              <a:xfrm>
                <a:off x="4486"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1168"/>
              <p:cNvSpPr>
                <a:spLocks/>
              </p:cNvSpPr>
              <p:nvPr/>
            </p:nvSpPr>
            <p:spPr bwMode="auto">
              <a:xfrm>
                <a:off x="4486"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5" name="Rectangle 1169"/>
              <p:cNvSpPr>
                <a:spLocks noChangeArrowheads="1"/>
              </p:cNvSpPr>
              <p:nvPr/>
            </p:nvSpPr>
            <p:spPr bwMode="auto">
              <a:xfrm>
                <a:off x="455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1170"/>
              <p:cNvSpPr>
                <a:spLocks/>
              </p:cNvSpPr>
              <p:nvPr/>
            </p:nvSpPr>
            <p:spPr bwMode="auto">
              <a:xfrm>
                <a:off x="4544"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171"/>
              <p:cNvSpPr>
                <a:spLocks/>
              </p:cNvSpPr>
              <p:nvPr/>
            </p:nvSpPr>
            <p:spPr bwMode="auto">
              <a:xfrm>
                <a:off x="4574"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172"/>
              <p:cNvSpPr>
                <a:spLocks/>
              </p:cNvSpPr>
              <p:nvPr/>
            </p:nvSpPr>
            <p:spPr bwMode="auto">
              <a:xfrm>
                <a:off x="4544"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173"/>
              <p:cNvSpPr>
                <a:spLocks/>
              </p:cNvSpPr>
              <p:nvPr/>
            </p:nvSpPr>
            <p:spPr bwMode="auto">
              <a:xfrm>
                <a:off x="4544"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0" name="Rectangle 1174"/>
              <p:cNvSpPr>
                <a:spLocks noChangeArrowheads="1"/>
              </p:cNvSpPr>
              <p:nvPr/>
            </p:nvSpPr>
            <p:spPr bwMode="auto">
              <a:xfrm>
                <a:off x="3923" y="1626"/>
                <a:ext cx="577"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Rectangle 1175"/>
              <p:cNvSpPr>
                <a:spLocks noChangeArrowheads="1"/>
              </p:cNvSpPr>
              <p:nvPr/>
            </p:nvSpPr>
            <p:spPr bwMode="auto">
              <a:xfrm>
                <a:off x="39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176"/>
              <p:cNvSpPr>
                <a:spLocks/>
              </p:cNvSpPr>
              <p:nvPr/>
            </p:nvSpPr>
            <p:spPr bwMode="auto">
              <a:xfrm>
                <a:off x="3932"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177"/>
              <p:cNvSpPr>
                <a:spLocks/>
              </p:cNvSpPr>
              <p:nvPr/>
            </p:nvSpPr>
            <p:spPr bwMode="auto">
              <a:xfrm>
                <a:off x="3963"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178"/>
              <p:cNvSpPr>
                <a:spLocks/>
              </p:cNvSpPr>
              <p:nvPr/>
            </p:nvSpPr>
            <p:spPr bwMode="auto">
              <a:xfrm>
                <a:off x="3932"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179"/>
              <p:cNvSpPr>
                <a:spLocks/>
              </p:cNvSpPr>
              <p:nvPr/>
            </p:nvSpPr>
            <p:spPr bwMode="auto">
              <a:xfrm>
                <a:off x="393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6" name="Rectangle 1180"/>
              <p:cNvSpPr>
                <a:spLocks noChangeArrowheads="1"/>
              </p:cNvSpPr>
              <p:nvPr/>
            </p:nvSpPr>
            <p:spPr bwMode="auto">
              <a:xfrm>
                <a:off x="39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81"/>
              <p:cNvSpPr>
                <a:spLocks/>
              </p:cNvSpPr>
              <p:nvPr/>
            </p:nvSpPr>
            <p:spPr bwMode="auto">
              <a:xfrm>
                <a:off x="399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82"/>
              <p:cNvSpPr>
                <a:spLocks/>
              </p:cNvSpPr>
              <p:nvPr/>
            </p:nvSpPr>
            <p:spPr bwMode="auto">
              <a:xfrm>
                <a:off x="4020"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83"/>
              <p:cNvSpPr>
                <a:spLocks/>
              </p:cNvSpPr>
              <p:nvPr/>
            </p:nvSpPr>
            <p:spPr bwMode="auto">
              <a:xfrm>
                <a:off x="399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0" name="Freeform 1184"/>
              <p:cNvSpPr>
                <a:spLocks/>
              </p:cNvSpPr>
              <p:nvPr/>
            </p:nvSpPr>
            <p:spPr bwMode="auto">
              <a:xfrm>
                <a:off x="39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1" name="Rectangle 1185"/>
              <p:cNvSpPr>
                <a:spLocks noChangeArrowheads="1"/>
              </p:cNvSpPr>
              <p:nvPr/>
            </p:nvSpPr>
            <p:spPr bwMode="auto">
              <a:xfrm>
                <a:off x="40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86"/>
              <p:cNvSpPr>
                <a:spLocks/>
              </p:cNvSpPr>
              <p:nvPr/>
            </p:nvSpPr>
            <p:spPr bwMode="auto">
              <a:xfrm>
                <a:off x="4047"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87"/>
              <p:cNvSpPr>
                <a:spLocks/>
              </p:cNvSpPr>
              <p:nvPr/>
            </p:nvSpPr>
            <p:spPr bwMode="auto">
              <a:xfrm>
                <a:off x="4078"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88"/>
              <p:cNvSpPr>
                <a:spLocks/>
              </p:cNvSpPr>
              <p:nvPr/>
            </p:nvSpPr>
            <p:spPr bwMode="auto">
              <a:xfrm>
                <a:off x="4047"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9"/>
              <p:cNvSpPr>
                <a:spLocks/>
              </p:cNvSpPr>
              <p:nvPr/>
            </p:nvSpPr>
            <p:spPr bwMode="auto">
              <a:xfrm>
                <a:off x="4047"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6" name="Rectangle 1190"/>
              <p:cNvSpPr>
                <a:spLocks noChangeArrowheads="1"/>
              </p:cNvSpPr>
              <p:nvPr/>
            </p:nvSpPr>
            <p:spPr bwMode="auto">
              <a:xfrm>
                <a:off x="411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191"/>
              <p:cNvSpPr>
                <a:spLocks/>
              </p:cNvSpPr>
              <p:nvPr/>
            </p:nvSpPr>
            <p:spPr bwMode="auto">
              <a:xfrm>
                <a:off x="4105"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5" name="Group 1393"/>
            <p:cNvGrpSpPr>
              <a:grpSpLocks/>
            </p:cNvGrpSpPr>
            <p:nvPr/>
          </p:nvGrpSpPr>
          <p:grpSpPr bwMode="auto">
            <a:xfrm>
              <a:off x="2603" y="1387"/>
              <a:ext cx="2453" cy="1615"/>
              <a:chOff x="2603" y="1387"/>
              <a:chExt cx="2453" cy="1615"/>
            </a:xfrm>
          </p:grpSpPr>
          <p:sp>
            <p:nvSpPr>
              <p:cNvPr id="1578" name="Freeform 1193"/>
              <p:cNvSpPr>
                <a:spLocks/>
              </p:cNvSpPr>
              <p:nvPr/>
            </p:nvSpPr>
            <p:spPr bwMode="auto">
              <a:xfrm>
                <a:off x="4136"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9" name="Freeform 1194"/>
              <p:cNvSpPr>
                <a:spLocks/>
              </p:cNvSpPr>
              <p:nvPr/>
            </p:nvSpPr>
            <p:spPr bwMode="auto">
              <a:xfrm>
                <a:off x="4105"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0" name="Freeform 1195"/>
              <p:cNvSpPr>
                <a:spLocks/>
              </p:cNvSpPr>
              <p:nvPr/>
            </p:nvSpPr>
            <p:spPr bwMode="auto">
              <a:xfrm>
                <a:off x="4105"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1" name="Rectangle 1196"/>
              <p:cNvSpPr>
                <a:spLocks noChangeArrowheads="1"/>
              </p:cNvSpPr>
              <p:nvPr/>
            </p:nvSpPr>
            <p:spPr bwMode="auto">
              <a:xfrm>
                <a:off x="417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2" name="Freeform 1197"/>
              <p:cNvSpPr>
                <a:spLocks/>
              </p:cNvSpPr>
              <p:nvPr/>
            </p:nvSpPr>
            <p:spPr bwMode="auto">
              <a:xfrm>
                <a:off x="416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3" name="Freeform 1198"/>
              <p:cNvSpPr>
                <a:spLocks/>
              </p:cNvSpPr>
              <p:nvPr/>
            </p:nvSpPr>
            <p:spPr bwMode="auto">
              <a:xfrm>
                <a:off x="4193"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4" name="Freeform 1199"/>
              <p:cNvSpPr>
                <a:spLocks/>
              </p:cNvSpPr>
              <p:nvPr/>
            </p:nvSpPr>
            <p:spPr bwMode="auto">
              <a:xfrm>
                <a:off x="416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5" name="Freeform 1200"/>
              <p:cNvSpPr>
                <a:spLocks/>
              </p:cNvSpPr>
              <p:nvPr/>
            </p:nvSpPr>
            <p:spPr bwMode="auto">
              <a:xfrm>
                <a:off x="4163" y="1635"/>
                <a:ext cx="8"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6" name="Rectangle 1201"/>
              <p:cNvSpPr>
                <a:spLocks noChangeArrowheads="1"/>
              </p:cNvSpPr>
              <p:nvPr/>
            </p:nvSpPr>
            <p:spPr bwMode="auto">
              <a:xfrm>
                <a:off x="4229"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7" name="Freeform 1202"/>
              <p:cNvSpPr>
                <a:spLocks/>
              </p:cNvSpPr>
              <p:nvPr/>
            </p:nvSpPr>
            <p:spPr bwMode="auto">
              <a:xfrm>
                <a:off x="422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8" name="Freeform 1203"/>
              <p:cNvSpPr>
                <a:spLocks/>
              </p:cNvSpPr>
              <p:nvPr/>
            </p:nvSpPr>
            <p:spPr bwMode="auto">
              <a:xfrm>
                <a:off x="4251"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9" name="Freeform 1204"/>
              <p:cNvSpPr>
                <a:spLocks/>
              </p:cNvSpPr>
              <p:nvPr/>
            </p:nvSpPr>
            <p:spPr bwMode="auto">
              <a:xfrm>
                <a:off x="422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0" name="Freeform 1205"/>
              <p:cNvSpPr>
                <a:spLocks/>
              </p:cNvSpPr>
              <p:nvPr/>
            </p:nvSpPr>
            <p:spPr bwMode="auto">
              <a:xfrm>
                <a:off x="4220"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1" name="Rectangle 1206"/>
              <p:cNvSpPr>
                <a:spLocks noChangeArrowheads="1"/>
              </p:cNvSpPr>
              <p:nvPr/>
            </p:nvSpPr>
            <p:spPr bwMode="auto">
              <a:xfrm>
                <a:off x="4287"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2" name="Freeform 1207"/>
              <p:cNvSpPr>
                <a:spLocks/>
              </p:cNvSpPr>
              <p:nvPr/>
            </p:nvSpPr>
            <p:spPr bwMode="auto">
              <a:xfrm>
                <a:off x="4278"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3" name="Freeform 1208"/>
              <p:cNvSpPr>
                <a:spLocks/>
              </p:cNvSpPr>
              <p:nvPr/>
            </p:nvSpPr>
            <p:spPr bwMode="auto">
              <a:xfrm>
                <a:off x="4309"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4" name="Freeform 1209"/>
              <p:cNvSpPr>
                <a:spLocks/>
              </p:cNvSpPr>
              <p:nvPr/>
            </p:nvSpPr>
            <p:spPr bwMode="auto">
              <a:xfrm>
                <a:off x="4278"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5" name="Freeform 1210"/>
              <p:cNvSpPr>
                <a:spLocks/>
              </p:cNvSpPr>
              <p:nvPr/>
            </p:nvSpPr>
            <p:spPr bwMode="auto">
              <a:xfrm>
                <a:off x="427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6" name="Rectangle 1211"/>
              <p:cNvSpPr>
                <a:spLocks noChangeArrowheads="1"/>
              </p:cNvSpPr>
              <p:nvPr/>
            </p:nvSpPr>
            <p:spPr bwMode="auto">
              <a:xfrm>
                <a:off x="434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7" name="Freeform 1212"/>
              <p:cNvSpPr>
                <a:spLocks/>
              </p:cNvSpPr>
              <p:nvPr/>
            </p:nvSpPr>
            <p:spPr bwMode="auto">
              <a:xfrm>
                <a:off x="4336"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8" name="Freeform 1213"/>
              <p:cNvSpPr>
                <a:spLocks/>
              </p:cNvSpPr>
              <p:nvPr/>
            </p:nvSpPr>
            <p:spPr bwMode="auto">
              <a:xfrm>
                <a:off x="4366"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9" name="Freeform 1214"/>
              <p:cNvSpPr>
                <a:spLocks/>
              </p:cNvSpPr>
              <p:nvPr/>
            </p:nvSpPr>
            <p:spPr bwMode="auto">
              <a:xfrm>
                <a:off x="4336"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0" name="Freeform 1215"/>
              <p:cNvSpPr>
                <a:spLocks/>
              </p:cNvSpPr>
              <p:nvPr/>
            </p:nvSpPr>
            <p:spPr bwMode="auto">
              <a:xfrm>
                <a:off x="4336"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1" name="Rectangle 1216"/>
              <p:cNvSpPr>
                <a:spLocks noChangeArrowheads="1"/>
              </p:cNvSpPr>
              <p:nvPr/>
            </p:nvSpPr>
            <p:spPr bwMode="auto">
              <a:xfrm>
                <a:off x="440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2" name="Freeform 1217"/>
              <p:cNvSpPr>
                <a:spLocks/>
              </p:cNvSpPr>
              <p:nvPr/>
            </p:nvSpPr>
            <p:spPr bwMode="auto">
              <a:xfrm>
                <a:off x="439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3" name="Freeform 1218"/>
              <p:cNvSpPr>
                <a:spLocks/>
              </p:cNvSpPr>
              <p:nvPr/>
            </p:nvSpPr>
            <p:spPr bwMode="auto">
              <a:xfrm>
                <a:off x="4424"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4" name="Freeform 1219"/>
              <p:cNvSpPr>
                <a:spLocks/>
              </p:cNvSpPr>
              <p:nvPr/>
            </p:nvSpPr>
            <p:spPr bwMode="auto">
              <a:xfrm>
                <a:off x="439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5" name="Freeform 1220"/>
              <p:cNvSpPr>
                <a:spLocks/>
              </p:cNvSpPr>
              <p:nvPr/>
            </p:nvSpPr>
            <p:spPr bwMode="auto">
              <a:xfrm>
                <a:off x="4393"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6" name="Rectangle 1221"/>
              <p:cNvSpPr>
                <a:spLocks noChangeArrowheads="1"/>
              </p:cNvSpPr>
              <p:nvPr/>
            </p:nvSpPr>
            <p:spPr bwMode="auto">
              <a:xfrm>
                <a:off x="446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7" name="Freeform 1222"/>
              <p:cNvSpPr>
                <a:spLocks/>
              </p:cNvSpPr>
              <p:nvPr/>
            </p:nvSpPr>
            <p:spPr bwMode="auto">
              <a:xfrm>
                <a:off x="4451"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8" name="Freeform 1223"/>
              <p:cNvSpPr>
                <a:spLocks/>
              </p:cNvSpPr>
              <p:nvPr/>
            </p:nvSpPr>
            <p:spPr bwMode="auto">
              <a:xfrm>
                <a:off x="4482"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9" name="Freeform 1224"/>
              <p:cNvSpPr>
                <a:spLocks/>
              </p:cNvSpPr>
              <p:nvPr/>
            </p:nvSpPr>
            <p:spPr bwMode="auto">
              <a:xfrm>
                <a:off x="4451"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0" name="Freeform 1225"/>
              <p:cNvSpPr>
                <a:spLocks/>
              </p:cNvSpPr>
              <p:nvPr/>
            </p:nvSpPr>
            <p:spPr bwMode="auto">
              <a:xfrm>
                <a:off x="4451"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1" name="Rectangle 1226"/>
              <p:cNvSpPr>
                <a:spLocks noChangeArrowheads="1"/>
              </p:cNvSpPr>
              <p:nvPr/>
            </p:nvSpPr>
            <p:spPr bwMode="auto">
              <a:xfrm>
                <a:off x="2639" y="2186"/>
                <a:ext cx="286" cy="19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2" name="Rectangle 1227"/>
              <p:cNvSpPr>
                <a:spLocks noChangeArrowheads="1"/>
              </p:cNvSpPr>
              <p:nvPr/>
            </p:nvSpPr>
            <p:spPr bwMode="auto">
              <a:xfrm>
                <a:off x="2644" y="2191"/>
                <a:ext cx="278" cy="13"/>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3" name="Rectangle 1228"/>
              <p:cNvSpPr>
                <a:spLocks noChangeArrowheads="1"/>
              </p:cNvSpPr>
              <p:nvPr/>
            </p:nvSpPr>
            <p:spPr bwMode="auto">
              <a:xfrm>
                <a:off x="2644" y="2204"/>
                <a:ext cx="278" cy="4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4" name="Rectangle 1229"/>
              <p:cNvSpPr>
                <a:spLocks noChangeArrowheads="1"/>
              </p:cNvSpPr>
              <p:nvPr/>
            </p:nvSpPr>
            <p:spPr bwMode="auto">
              <a:xfrm>
                <a:off x="2635" y="2359"/>
                <a:ext cx="287" cy="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5" name="Rectangle 1230"/>
              <p:cNvSpPr>
                <a:spLocks noChangeArrowheads="1"/>
              </p:cNvSpPr>
              <p:nvPr/>
            </p:nvSpPr>
            <p:spPr bwMode="auto">
              <a:xfrm>
                <a:off x="2635" y="2313"/>
                <a:ext cx="287" cy="47"/>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6" name="Freeform 1231"/>
              <p:cNvSpPr>
                <a:spLocks/>
              </p:cNvSpPr>
              <p:nvPr/>
            </p:nvSpPr>
            <p:spPr bwMode="auto">
              <a:xfrm>
                <a:off x="2659" y="2221"/>
                <a:ext cx="167" cy="121"/>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7" name="Rectangle 1232"/>
              <p:cNvSpPr>
                <a:spLocks noChangeArrowheads="1"/>
              </p:cNvSpPr>
              <p:nvPr/>
            </p:nvSpPr>
            <p:spPr bwMode="auto">
              <a:xfrm>
                <a:off x="2603" y="2179"/>
                <a:ext cx="62" cy="20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8" name="Rectangle 1233"/>
              <p:cNvSpPr>
                <a:spLocks noChangeArrowheads="1"/>
              </p:cNvSpPr>
              <p:nvPr/>
            </p:nvSpPr>
            <p:spPr bwMode="auto">
              <a:xfrm>
                <a:off x="2925" y="2258"/>
                <a:ext cx="14" cy="46"/>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9" name="Rectangle 1234"/>
              <p:cNvSpPr>
                <a:spLocks noChangeArrowheads="1"/>
              </p:cNvSpPr>
              <p:nvPr/>
            </p:nvSpPr>
            <p:spPr bwMode="auto">
              <a:xfrm>
                <a:off x="2925" y="2236"/>
                <a:ext cx="8" cy="90"/>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0" name="Rectangle 1235"/>
              <p:cNvSpPr>
                <a:spLocks noChangeArrowheads="1"/>
              </p:cNvSpPr>
              <p:nvPr/>
            </p:nvSpPr>
            <p:spPr bwMode="auto">
              <a:xfrm>
                <a:off x="2609" y="2182"/>
                <a:ext cx="50" cy="9"/>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1" name="Rectangle 1236"/>
              <p:cNvSpPr>
                <a:spLocks noChangeArrowheads="1"/>
              </p:cNvSpPr>
              <p:nvPr/>
            </p:nvSpPr>
            <p:spPr bwMode="auto">
              <a:xfrm>
                <a:off x="2608" y="2372"/>
                <a:ext cx="51" cy="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2" name="Freeform 1237"/>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3" name="Freeform 1238"/>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4" name="Freeform 1239"/>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5" name="Freeform 1240"/>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6" name="Freeform 1241"/>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7" name="Freeform 1242"/>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8" name="Rectangle 1243"/>
              <p:cNvSpPr>
                <a:spLocks noChangeArrowheads="1"/>
              </p:cNvSpPr>
              <p:nvPr/>
            </p:nvSpPr>
            <p:spPr bwMode="auto">
              <a:xfrm>
                <a:off x="4961"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9" name="Rectangle 1244"/>
              <p:cNvSpPr>
                <a:spLocks noChangeArrowheads="1"/>
              </p:cNvSpPr>
              <p:nvPr/>
            </p:nvSpPr>
            <p:spPr bwMode="auto">
              <a:xfrm>
                <a:off x="5019"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0" name="Rectangle 1245"/>
              <p:cNvSpPr>
                <a:spLocks noChangeArrowheads="1"/>
              </p:cNvSpPr>
              <p:nvPr/>
            </p:nvSpPr>
            <p:spPr bwMode="auto">
              <a:xfrm>
                <a:off x="4961"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1" name="Rectangle 1246"/>
              <p:cNvSpPr>
                <a:spLocks noChangeArrowheads="1"/>
              </p:cNvSpPr>
              <p:nvPr/>
            </p:nvSpPr>
            <p:spPr bwMode="auto">
              <a:xfrm>
                <a:off x="5019"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2" name="Rectangle 1247"/>
              <p:cNvSpPr>
                <a:spLocks noChangeArrowheads="1"/>
              </p:cNvSpPr>
              <p:nvPr/>
            </p:nvSpPr>
            <p:spPr bwMode="auto">
              <a:xfrm>
                <a:off x="4961" y="2105"/>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3" name="Rectangle 1248"/>
              <p:cNvSpPr>
                <a:spLocks noChangeArrowheads="1"/>
              </p:cNvSpPr>
              <p:nvPr/>
            </p:nvSpPr>
            <p:spPr bwMode="auto">
              <a:xfrm>
                <a:off x="5019" y="2105"/>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4" name="Rectangle 1249"/>
              <p:cNvSpPr>
                <a:spLocks noChangeArrowheads="1"/>
              </p:cNvSpPr>
              <p:nvPr/>
            </p:nvSpPr>
            <p:spPr bwMode="auto">
              <a:xfrm>
                <a:off x="5023"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5" name="Freeform 1250"/>
              <p:cNvSpPr>
                <a:spLocks/>
              </p:cNvSpPr>
              <p:nvPr/>
            </p:nvSpPr>
            <p:spPr bwMode="auto">
              <a:xfrm>
                <a:off x="5019"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6" name="Freeform 1251"/>
              <p:cNvSpPr>
                <a:spLocks/>
              </p:cNvSpPr>
              <p:nvPr/>
            </p:nvSpPr>
            <p:spPr bwMode="auto">
              <a:xfrm>
                <a:off x="5033"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7" name="Freeform 1252"/>
              <p:cNvSpPr>
                <a:spLocks/>
              </p:cNvSpPr>
              <p:nvPr/>
            </p:nvSpPr>
            <p:spPr bwMode="auto">
              <a:xfrm>
                <a:off x="5019"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8" name="Freeform 1253"/>
              <p:cNvSpPr>
                <a:spLocks/>
              </p:cNvSpPr>
              <p:nvPr/>
            </p:nvSpPr>
            <p:spPr bwMode="auto">
              <a:xfrm>
                <a:off x="5019"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9" name="Rectangle 1254"/>
              <p:cNvSpPr>
                <a:spLocks noChangeArrowheads="1"/>
              </p:cNvSpPr>
              <p:nvPr/>
            </p:nvSpPr>
            <p:spPr bwMode="auto">
              <a:xfrm>
                <a:off x="4965"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0" name="Freeform 1255"/>
              <p:cNvSpPr>
                <a:spLocks/>
              </p:cNvSpPr>
              <p:nvPr/>
            </p:nvSpPr>
            <p:spPr bwMode="auto">
              <a:xfrm>
                <a:off x="4961"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1" name="Freeform 1256"/>
              <p:cNvSpPr>
                <a:spLocks/>
              </p:cNvSpPr>
              <p:nvPr/>
            </p:nvSpPr>
            <p:spPr bwMode="auto">
              <a:xfrm>
                <a:off x="4975"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2" name="Freeform 1257"/>
              <p:cNvSpPr>
                <a:spLocks/>
              </p:cNvSpPr>
              <p:nvPr/>
            </p:nvSpPr>
            <p:spPr bwMode="auto">
              <a:xfrm>
                <a:off x="4961"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3" name="Freeform 1258"/>
              <p:cNvSpPr>
                <a:spLocks/>
              </p:cNvSpPr>
              <p:nvPr/>
            </p:nvSpPr>
            <p:spPr bwMode="auto">
              <a:xfrm>
                <a:off x="4961"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4" name="Rectangle 1259"/>
              <p:cNvSpPr>
                <a:spLocks noChangeArrowheads="1"/>
              </p:cNvSpPr>
              <p:nvPr/>
            </p:nvSpPr>
            <p:spPr bwMode="auto">
              <a:xfrm>
                <a:off x="5023"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5" name="Freeform 1260"/>
              <p:cNvSpPr>
                <a:spLocks/>
              </p:cNvSpPr>
              <p:nvPr/>
            </p:nvSpPr>
            <p:spPr bwMode="auto">
              <a:xfrm>
                <a:off x="5019"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6" name="Freeform 1261"/>
              <p:cNvSpPr>
                <a:spLocks/>
              </p:cNvSpPr>
              <p:nvPr/>
            </p:nvSpPr>
            <p:spPr bwMode="auto">
              <a:xfrm>
                <a:off x="5033"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7" name="Freeform 1262"/>
              <p:cNvSpPr>
                <a:spLocks/>
              </p:cNvSpPr>
              <p:nvPr/>
            </p:nvSpPr>
            <p:spPr bwMode="auto">
              <a:xfrm>
                <a:off x="5019"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8" name="Freeform 1263"/>
              <p:cNvSpPr>
                <a:spLocks/>
              </p:cNvSpPr>
              <p:nvPr/>
            </p:nvSpPr>
            <p:spPr bwMode="auto">
              <a:xfrm>
                <a:off x="5019"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9" name="Rectangle 1264"/>
              <p:cNvSpPr>
                <a:spLocks noChangeArrowheads="1"/>
              </p:cNvSpPr>
              <p:nvPr/>
            </p:nvSpPr>
            <p:spPr bwMode="auto">
              <a:xfrm>
                <a:off x="4965"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0" name="Freeform 1265"/>
              <p:cNvSpPr>
                <a:spLocks/>
              </p:cNvSpPr>
              <p:nvPr/>
            </p:nvSpPr>
            <p:spPr bwMode="auto">
              <a:xfrm>
                <a:off x="4961"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1" name="Freeform 1266"/>
              <p:cNvSpPr>
                <a:spLocks/>
              </p:cNvSpPr>
              <p:nvPr/>
            </p:nvSpPr>
            <p:spPr bwMode="auto">
              <a:xfrm>
                <a:off x="4975"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2" name="Freeform 1267"/>
              <p:cNvSpPr>
                <a:spLocks/>
              </p:cNvSpPr>
              <p:nvPr/>
            </p:nvSpPr>
            <p:spPr bwMode="auto">
              <a:xfrm>
                <a:off x="4961"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3" name="Freeform 1268"/>
              <p:cNvSpPr>
                <a:spLocks/>
              </p:cNvSpPr>
              <p:nvPr/>
            </p:nvSpPr>
            <p:spPr bwMode="auto">
              <a:xfrm>
                <a:off x="4961"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4" name="Rectangle 1269"/>
              <p:cNvSpPr>
                <a:spLocks noChangeArrowheads="1"/>
              </p:cNvSpPr>
              <p:nvPr/>
            </p:nvSpPr>
            <p:spPr bwMode="auto">
              <a:xfrm>
                <a:off x="5023"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5" name="Freeform 1270"/>
              <p:cNvSpPr>
                <a:spLocks/>
              </p:cNvSpPr>
              <p:nvPr/>
            </p:nvSpPr>
            <p:spPr bwMode="auto">
              <a:xfrm>
                <a:off x="5019"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6" name="Freeform 1271"/>
              <p:cNvSpPr>
                <a:spLocks/>
              </p:cNvSpPr>
              <p:nvPr/>
            </p:nvSpPr>
            <p:spPr bwMode="auto">
              <a:xfrm>
                <a:off x="5033"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7" name="Freeform 1272"/>
              <p:cNvSpPr>
                <a:spLocks/>
              </p:cNvSpPr>
              <p:nvPr/>
            </p:nvSpPr>
            <p:spPr bwMode="auto">
              <a:xfrm>
                <a:off x="5019"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8" name="Freeform 1273"/>
              <p:cNvSpPr>
                <a:spLocks/>
              </p:cNvSpPr>
              <p:nvPr/>
            </p:nvSpPr>
            <p:spPr bwMode="auto">
              <a:xfrm>
                <a:off x="5019"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9" name="Rectangle 1274"/>
              <p:cNvSpPr>
                <a:spLocks noChangeArrowheads="1"/>
              </p:cNvSpPr>
              <p:nvPr/>
            </p:nvSpPr>
            <p:spPr bwMode="auto">
              <a:xfrm>
                <a:off x="4965"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0" name="Freeform 1275"/>
              <p:cNvSpPr>
                <a:spLocks/>
              </p:cNvSpPr>
              <p:nvPr/>
            </p:nvSpPr>
            <p:spPr bwMode="auto">
              <a:xfrm>
                <a:off x="4961"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1" name="Freeform 1276"/>
              <p:cNvSpPr>
                <a:spLocks/>
              </p:cNvSpPr>
              <p:nvPr/>
            </p:nvSpPr>
            <p:spPr bwMode="auto">
              <a:xfrm>
                <a:off x="4975"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2" name="Freeform 1277"/>
              <p:cNvSpPr>
                <a:spLocks/>
              </p:cNvSpPr>
              <p:nvPr/>
            </p:nvSpPr>
            <p:spPr bwMode="auto">
              <a:xfrm>
                <a:off x="4961"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3" name="Freeform 1278"/>
              <p:cNvSpPr>
                <a:spLocks/>
              </p:cNvSpPr>
              <p:nvPr/>
            </p:nvSpPr>
            <p:spPr bwMode="auto">
              <a:xfrm>
                <a:off x="4961"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4" name="Freeform 1279"/>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5" name="Freeform 1280"/>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6" name="Rectangle 1281"/>
              <p:cNvSpPr>
                <a:spLocks noChangeArrowheads="1"/>
              </p:cNvSpPr>
              <p:nvPr/>
            </p:nvSpPr>
            <p:spPr bwMode="auto">
              <a:xfrm>
                <a:off x="4391"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7" name="Rectangle 1282"/>
              <p:cNvSpPr>
                <a:spLocks noChangeArrowheads="1"/>
              </p:cNvSpPr>
              <p:nvPr/>
            </p:nvSpPr>
            <p:spPr bwMode="auto">
              <a:xfrm>
                <a:off x="4449"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8" name="Rectangle 1283"/>
              <p:cNvSpPr>
                <a:spLocks noChangeArrowheads="1"/>
              </p:cNvSpPr>
              <p:nvPr/>
            </p:nvSpPr>
            <p:spPr bwMode="auto">
              <a:xfrm>
                <a:off x="4453"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9" name="Freeform 1284"/>
              <p:cNvSpPr>
                <a:spLocks/>
              </p:cNvSpPr>
              <p:nvPr/>
            </p:nvSpPr>
            <p:spPr bwMode="auto">
              <a:xfrm>
                <a:off x="4449"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0" name="Freeform 1285"/>
              <p:cNvSpPr>
                <a:spLocks/>
              </p:cNvSpPr>
              <p:nvPr/>
            </p:nvSpPr>
            <p:spPr bwMode="auto">
              <a:xfrm>
                <a:off x="4463"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1" name="Freeform 1286"/>
              <p:cNvSpPr>
                <a:spLocks/>
              </p:cNvSpPr>
              <p:nvPr/>
            </p:nvSpPr>
            <p:spPr bwMode="auto">
              <a:xfrm>
                <a:off x="4449"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2" name="Freeform 1287"/>
              <p:cNvSpPr>
                <a:spLocks/>
              </p:cNvSpPr>
              <p:nvPr/>
            </p:nvSpPr>
            <p:spPr bwMode="auto">
              <a:xfrm>
                <a:off x="4449"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3" name="Rectangle 1288"/>
              <p:cNvSpPr>
                <a:spLocks noChangeArrowheads="1"/>
              </p:cNvSpPr>
              <p:nvPr/>
            </p:nvSpPr>
            <p:spPr bwMode="auto">
              <a:xfrm>
                <a:off x="4395"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4" name="Freeform 1289"/>
              <p:cNvSpPr>
                <a:spLocks/>
              </p:cNvSpPr>
              <p:nvPr/>
            </p:nvSpPr>
            <p:spPr bwMode="auto">
              <a:xfrm>
                <a:off x="4391"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5" name="Freeform 1290"/>
              <p:cNvSpPr>
                <a:spLocks/>
              </p:cNvSpPr>
              <p:nvPr/>
            </p:nvSpPr>
            <p:spPr bwMode="auto">
              <a:xfrm>
                <a:off x="4405"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6" name="Freeform 1291"/>
              <p:cNvSpPr>
                <a:spLocks/>
              </p:cNvSpPr>
              <p:nvPr/>
            </p:nvSpPr>
            <p:spPr bwMode="auto">
              <a:xfrm>
                <a:off x="4391"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7" name="Freeform 1292"/>
              <p:cNvSpPr>
                <a:spLocks/>
              </p:cNvSpPr>
              <p:nvPr/>
            </p:nvSpPr>
            <p:spPr bwMode="auto">
              <a:xfrm>
                <a:off x="4391"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8" name="Freeform 1293"/>
              <p:cNvSpPr>
                <a:spLocks/>
              </p:cNvSpPr>
              <p:nvPr/>
            </p:nvSpPr>
            <p:spPr bwMode="auto">
              <a:xfrm>
                <a:off x="4131" y="2832"/>
                <a:ext cx="171" cy="55"/>
              </a:xfrm>
              <a:custGeom>
                <a:avLst/>
                <a:gdLst>
                  <a:gd name="T0" fmla="*/ 703 w 756"/>
                  <a:gd name="T1" fmla="*/ 0 h 245"/>
                  <a:gd name="T2" fmla="*/ 564 w 756"/>
                  <a:gd name="T3" fmla="*/ 0 h 245"/>
                  <a:gd name="T4" fmla="*/ 449 w 756"/>
                  <a:gd name="T5" fmla="*/ 0 h 245"/>
                  <a:gd name="T6" fmla="*/ 446 w 756"/>
                  <a:gd name="T7" fmla="*/ 0 h 245"/>
                  <a:gd name="T8" fmla="*/ 310 w 756"/>
                  <a:gd name="T9" fmla="*/ 0 h 245"/>
                  <a:gd name="T10" fmla="*/ 307 w 756"/>
                  <a:gd name="T11" fmla="*/ 0 h 245"/>
                  <a:gd name="T12" fmla="*/ 192 w 756"/>
                  <a:gd name="T13" fmla="*/ 0 h 245"/>
                  <a:gd name="T14" fmla="*/ 53 w 756"/>
                  <a:gd name="T15" fmla="*/ 0 h 245"/>
                  <a:gd name="T16" fmla="*/ 0 w 756"/>
                  <a:gd name="T17" fmla="*/ 53 h 245"/>
                  <a:gd name="T18" fmla="*/ 0 w 756"/>
                  <a:gd name="T19" fmla="*/ 192 h 245"/>
                  <a:gd name="T20" fmla="*/ 53 w 756"/>
                  <a:gd name="T21" fmla="*/ 245 h 245"/>
                  <a:gd name="T22" fmla="*/ 192 w 756"/>
                  <a:gd name="T23" fmla="*/ 245 h 245"/>
                  <a:gd name="T24" fmla="*/ 307 w 756"/>
                  <a:gd name="T25" fmla="*/ 245 h 245"/>
                  <a:gd name="T26" fmla="*/ 310 w 756"/>
                  <a:gd name="T27" fmla="*/ 245 h 245"/>
                  <a:gd name="T28" fmla="*/ 446 w 756"/>
                  <a:gd name="T29" fmla="*/ 245 h 245"/>
                  <a:gd name="T30" fmla="*/ 449 w 756"/>
                  <a:gd name="T31" fmla="*/ 245 h 245"/>
                  <a:gd name="T32" fmla="*/ 564 w 756"/>
                  <a:gd name="T33" fmla="*/ 245 h 245"/>
                  <a:gd name="T34" fmla="*/ 703 w 756"/>
                  <a:gd name="T35" fmla="*/ 245 h 245"/>
                  <a:gd name="T36" fmla="*/ 756 w 756"/>
                  <a:gd name="T37" fmla="*/ 192 h 245"/>
                  <a:gd name="T38" fmla="*/ 756 w 756"/>
                  <a:gd name="T39" fmla="*/ 53 h 245"/>
                  <a:gd name="T40" fmla="*/ 703 w 756"/>
                  <a:gd name="T4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6" h="245">
                    <a:moveTo>
                      <a:pt x="703" y="0"/>
                    </a:moveTo>
                    <a:lnTo>
                      <a:pt x="564" y="0"/>
                    </a:lnTo>
                    <a:lnTo>
                      <a:pt x="449" y="0"/>
                    </a:lnTo>
                    <a:lnTo>
                      <a:pt x="446" y="0"/>
                    </a:lnTo>
                    <a:lnTo>
                      <a:pt x="310" y="0"/>
                    </a:lnTo>
                    <a:lnTo>
                      <a:pt x="307" y="0"/>
                    </a:lnTo>
                    <a:lnTo>
                      <a:pt x="192" y="0"/>
                    </a:lnTo>
                    <a:lnTo>
                      <a:pt x="53" y="0"/>
                    </a:lnTo>
                    <a:lnTo>
                      <a:pt x="0" y="53"/>
                    </a:lnTo>
                    <a:lnTo>
                      <a:pt x="0" y="192"/>
                    </a:lnTo>
                    <a:lnTo>
                      <a:pt x="53" y="245"/>
                    </a:lnTo>
                    <a:lnTo>
                      <a:pt x="192" y="245"/>
                    </a:lnTo>
                    <a:lnTo>
                      <a:pt x="307" y="245"/>
                    </a:lnTo>
                    <a:lnTo>
                      <a:pt x="310" y="245"/>
                    </a:lnTo>
                    <a:lnTo>
                      <a:pt x="446" y="245"/>
                    </a:lnTo>
                    <a:lnTo>
                      <a:pt x="449" y="245"/>
                    </a:lnTo>
                    <a:lnTo>
                      <a:pt x="564" y="245"/>
                    </a:lnTo>
                    <a:lnTo>
                      <a:pt x="703" y="245"/>
                    </a:lnTo>
                    <a:lnTo>
                      <a:pt x="756" y="192"/>
                    </a:lnTo>
                    <a:lnTo>
                      <a:pt x="756" y="53"/>
                    </a:lnTo>
                    <a:lnTo>
                      <a:pt x="703"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9" name="Rectangle 1294"/>
              <p:cNvSpPr>
                <a:spLocks noChangeArrowheads="1"/>
              </p:cNvSpPr>
              <p:nvPr/>
            </p:nvSpPr>
            <p:spPr bwMode="auto">
              <a:xfrm>
                <a:off x="4150"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0" name="Rectangle 1295"/>
              <p:cNvSpPr>
                <a:spLocks noChangeArrowheads="1"/>
              </p:cNvSpPr>
              <p:nvPr/>
            </p:nvSpPr>
            <p:spPr bwMode="auto">
              <a:xfrm>
                <a:off x="4208"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1" name="Rectangle 1296"/>
              <p:cNvSpPr>
                <a:spLocks noChangeArrowheads="1"/>
              </p:cNvSpPr>
              <p:nvPr/>
            </p:nvSpPr>
            <p:spPr bwMode="auto">
              <a:xfrm>
                <a:off x="4212"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2" name="Freeform 1297"/>
              <p:cNvSpPr>
                <a:spLocks/>
              </p:cNvSpPr>
              <p:nvPr/>
            </p:nvSpPr>
            <p:spPr bwMode="auto">
              <a:xfrm>
                <a:off x="4208"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3" name="Freeform 1298"/>
              <p:cNvSpPr>
                <a:spLocks/>
              </p:cNvSpPr>
              <p:nvPr/>
            </p:nvSpPr>
            <p:spPr bwMode="auto">
              <a:xfrm>
                <a:off x="4222"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4" name="Freeform 1299"/>
              <p:cNvSpPr>
                <a:spLocks/>
              </p:cNvSpPr>
              <p:nvPr/>
            </p:nvSpPr>
            <p:spPr bwMode="auto">
              <a:xfrm>
                <a:off x="4208"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5" name="Freeform 1300"/>
              <p:cNvSpPr>
                <a:spLocks/>
              </p:cNvSpPr>
              <p:nvPr/>
            </p:nvSpPr>
            <p:spPr bwMode="auto">
              <a:xfrm>
                <a:off x="4208" y="2849"/>
                <a:ext cx="4"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6" name="Rectangle 1301"/>
              <p:cNvSpPr>
                <a:spLocks noChangeArrowheads="1"/>
              </p:cNvSpPr>
              <p:nvPr/>
            </p:nvSpPr>
            <p:spPr bwMode="auto">
              <a:xfrm>
                <a:off x="4155"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7" name="Freeform 1302"/>
              <p:cNvSpPr>
                <a:spLocks/>
              </p:cNvSpPr>
              <p:nvPr/>
            </p:nvSpPr>
            <p:spPr bwMode="auto">
              <a:xfrm>
                <a:off x="4150"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8" name="Freeform 1303"/>
              <p:cNvSpPr>
                <a:spLocks/>
              </p:cNvSpPr>
              <p:nvPr/>
            </p:nvSpPr>
            <p:spPr bwMode="auto">
              <a:xfrm>
                <a:off x="4164"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9" name="Freeform 1304"/>
              <p:cNvSpPr>
                <a:spLocks/>
              </p:cNvSpPr>
              <p:nvPr/>
            </p:nvSpPr>
            <p:spPr bwMode="auto">
              <a:xfrm>
                <a:off x="4150"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0" name="Freeform 1305"/>
              <p:cNvSpPr>
                <a:spLocks/>
              </p:cNvSpPr>
              <p:nvPr/>
            </p:nvSpPr>
            <p:spPr bwMode="auto">
              <a:xfrm>
                <a:off x="4150" y="2849"/>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1" name="Rectangle 1306"/>
              <p:cNvSpPr>
                <a:spLocks noChangeArrowheads="1"/>
              </p:cNvSpPr>
              <p:nvPr/>
            </p:nvSpPr>
            <p:spPr bwMode="auto">
              <a:xfrm>
                <a:off x="4265" y="2849"/>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2" name="Rectangle 1307"/>
              <p:cNvSpPr>
                <a:spLocks noChangeArrowheads="1"/>
              </p:cNvSpPr>
              <p:nvPr/>
            </p:nvSpPr>
            <p:spPr bwMode="auto">
              <a:xfrm>
                <a:off x="4270"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3" name="Freeform 1308"/>
              <p:cNvSpPr>
                <a:spLocks/>
              </p:cNvSpPr>
              <p:nvPr/>
            </p:nvSpPr>
            <p:spPr bwMode="auto">
              <a:xfrm>
                <a:off x="4265" y="284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4" name="Freeform 1309"/>
              <p:cNvSpPr>
                <a:spLocks/>
              </p:cNvSpPr>
              <p:nvPr/>
            </p:nvSpPr>
            <p:spPr bwMode="auto">
              <a:xfrm>
                <a:off x="4279" y="2849"/>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5" name="Freeform 1310"/>
              <p:cNvSpPr>
                <a:spLocks/>
              </p:cNvSpPr>
              <p:nvPr/>
            </p:nvSpPr>
            <p:spPr bwMode="auto">
              <a:xfrm>
                <a:off x="4265" y="2863"/>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6" name="Freeform 1311"/>
              <p:cNvSpPr>
                <a:spLocks/>
              </p:cNvSpPr>
              <p:nvPr/>
            </p:nvSpPr>
            <p:spPr bwMode="auto">
              <a:xfrm>
                <a:off x="4265" y="2849"/>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7" name="Freeform 1312"/>
              <p:cNvSpPr>
                <a:spLocks/>
              </p:cNvSpPr>
              <p:nvPr/>
            </p:nvSpPr>
            <p:spPr bwMode="auto">
              <a:xfrm>
                <a:off x="2906" y="1431"/>
                <a:ext cx="56" cy="172"/>
              </a:xfrm>
              <a:custGeom>
                <a:avLst/>
                <a:gdLst>
                  <a:gd name="T0" fmla="*/ 0 w 246"/>
                  <a:gd name="T1" fmla="*/ 54 h 756"/>
                  <a:gd name="T2" fmla="*/ 0 w 246"/>
                  <a:gd name="T3" fmla="*/ 192 h 756"/>
                  <a:gd name="T4" fmla="*/ 0 w 246"/>
                  <a:gd name="T5" fmla="*/ 307 h 756"/>
                  <a:gd name="T6" fmla="*/ 0 w 246"/>
                  <a:gd name="T7" fmla="*/ 310 h 756"/>
                  <a:gd name="T8" fmla="*/ 0 w 246"/>
                  <a:gd name="T9" fmla="*/ 446 h 756"/>
                  <a:gd name="T10" fmla="*/ 0 w 246"/>
                  <a:gd name="T11" fmla="*/ 449 h 756"/>
                  <a:gd name="T12" fmla="*/ 0 w 246"/>
                  <a:gd name="T13" fmla="*/ 564 h 756"/>
                  <a:gd name="T14" fmla="*/ 0 w 246"/>
                  <a:gd name="T15" fmla="*/ 703 h 756"/>
                  <a:gd name="T16" fmla="*/ 54 w 246"/>
                  <a:gd name="T17" fmla="*/ 756 h 756"/>
                  <a:gd name="T18" fmla="*/ 193 w 246"/>
                  <a:gd name="T19" fmla="*/ 756 h 756"/>
                  <a:gd name="T20" fmla="*/ 246 w 246"/>
                  <a:gd name="T21" fmla="*/ 703 h 756"/>
                  <a:gd name="T22" fmla="*/ 246 w 246"/>
                  <a:gd name="T23" fmla="*/ 564 h 756"/>
                  <a:gd name="T24" fmla="*/ 246 w 246"/>
                  <a:gd name="T25" fmla="*/ 449 h 756"/>
                  <a:gd name="T26" fmla="*/ 246 w 246"/>
                  <a:gd name="T27" fmla="*/ 446 h 756"/>
                  <a:gd name="T28" fmla="*/ 246 w 246"/>
                  <a:gd name="T29" fmla="*/ 310 h 756"/>
                  <a:gd name="T30" fmla="*/ 246 w 246"/>
                  <a:gd name="T31" fmla="*/ 307 h 756"/>
                  <a:gd name="T32" fmla="*/ 246 w 246"/>
                  <a:gd name="T33" fmla="*/ 192 h 756"/>
                  <a:gd name="T34" fmla="*/ 246 w 246"/>
                  <a:gd name="T35" fmla="*/ 54 h 756"/>
                  <a:gd name="T36" fmla="*/ 193 w 246"/>
                  <a:gd name="T37" fmla="*/ 0 h 756"/>
                  <a:gd name="T38" fmla="*/ 54 w 246"/>
                  <a:gd name="T39" fmla="*/ 0 h 756"/>
                  <a:gd name="T40" fmla="*/ 0 w 246"/>
                  <a:gd name="T41" fmla="*/ 5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6" h="756">
                    <a:moveTo>
                      <a:pt x="0" y="54"/>
                    </a:moveTo>
                    <a:lnTo>
                      <a:pt x="0" y="192"/>
                    </a:lnTo>
                    <a:lnTo>
                      <a:pt x="0" y="307"/>
                    </a:lnTo>
                    <a:lnTo>
                      <a:pt x="0" y="310"/>
                    </a:lnTo>
                    <a:lnTo>
                      <a:pt x="0" y="446"/>
                    </a:lnTo>
                    <a:lnTo>
                      <a:pt x="0" y="449"/>
                    </a:lnTo>
                    <a:lnTo>
                      <a:pt x="0" y="564"/>
                    </a:lnTo>
                    <a:lnTo>
                      <a:pt x="0" y="703"/>
                    </a:lnTo>
                    <a:lnTo>
                      <a:pt x="54" y="756"/>
                    </a:lnTo>
                    <a:lnTo>
                      <a:pt x="193" y="756"/>
                    </a:lnTo>
                    <a:lnTo>
                      <a:pt x="246" y="703"/>
                    </a:lnTo>
                    <a:lnTo>
                      <a:pt x="246" y="564"/>
                    </a:lnTo>
                    <a:lnTo>
                      <a:pt x="246" y="449"/>
                    </a:lnTo>
                    <a:lnTo>
                      <a:pt x="246" y="446"/>
                    </a:lnTo>
                    <a:lnTo>
                      <a:pt x="246" y="310"/>
                    </a:lnTo>
                    <a:lnTo>
                      <a:pt x="246" y="307"/>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8" name="Rectangle 1313"/>
              <p:cNvSpPr>
                <a:spLocks noChangeArrowheads="1"/>
              </p:cNvSpPr>
              <p:nvPr/>
            </p:nvSpPr>
            <p:spPr bwMode="auto">
              <a:xfrm>
                <a:off x="2924" y="156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9" name="Rectangle 1314"/>
              <p:cNvSpPr>
                <a:spLocks noChangeArrowheads="1"/>
              </p:cNvSpPr>
              <p:nvPr/>
            </p:nvSpPr>
            <p:spPr bwMode="auto">
              <a:xfrm>
                <a:off x="2924" y="1507"/>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0" name="Rectangle 1315"/>
              <p:cNvSpPr>
                <a:spLocks noChangeArrowheads="1"/>
              </p:cNvSpPr>
              <p:nvPr/>
            </p:nvSpPr>
            <p:spPr bwMode="auto">
              <a:xfrm>
                <a:off x="2928" y="151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1" name="Freeform 1316"/>
              <p:cNvSpPr>
                <a:spLocks/>
              </p:cNvSpPr>
              <p:nvPr/>
            </p:nvSpPr>
            <p:spPr bwMode="auto">
              <a:xfrm>
                <a:off x="2924" y="1507"/>
                <a:ext cx="4" cy="19"/>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2" name="Freeform 1317"/>
              <p:cNvSpPr>
                <a:spLocks/>
              </p:cNvSpPr>
              <p:nvPr/>
            </p:nvSpPr>
            <p:spPr bwMode="auto">
              <a:xfrm>
                <a:off x="2924" y="1507"/>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3" name="Freeform 1318"/>
              <p:cNvSpPr>
                <a:spLocks/>
              </p:cNvSpPr>
              <p:nvPr/>
            </p:nvSpPr>
            <p:spPr bwMode="auto">
              <a:xfrm>
                <a:off x="2938" y="1507"/>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4" name="Freeform 1319"/>
              <p:cNvSpPr>
                <a:spLocks/>
              </p:cNvSpPr>
              <p:nvPr/>
            </p:nvSpPr>
            <p:spPr bwMode="auto">
              <a:xfrm>
                <a:off x="2924" y="1521"/>
                <a:ext cx="18" cy="5"/>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5" name="Rectangle 1320"/>
              <p:cNvSpPr>
                <a:spLocks noChangeArrowheads="1"/>
              </p:cNvSpPr>
              <p:nvPr/>
            </p:nvSpPr>
            <p:spPr bwMode="auto">
              <a:xfrm>
                <a:off x="2928" y="157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6" name="Freeform 1321"/>
              <p:cNvSpPr>
                <a:spLocks/>
              </p:cNvSpPr>
              <p:nvPr/>
            </p:nvSpPr>
            <p:spPr bwMode="auto">
              <a:xfrm>
                <a:off x="2924" y="1565"/>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7" name="Freeform 1322"/>
              <p:cNvSpPr>
                <a:spLocks/>
              </p:cNvSpPr>
              <p:nvPr/>
            </p:nvSpPr>
            <p:spPr bwMode="auto">
              <a:xfrm>
                <a:off x="2924" y="1565"/>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8" name="Freeform 1323"/>
              <p:cNvSpPr>
                <a:spLocks/>
              </p:cNvSpPr>
              <p:nvPr/>
            </p:nvSpPr>
            <p:spPr bwMode="auto">
              <a:xfrm>
                <a:off x="2938" y="156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9" name="Freeform 1324"/>
              <p:cNvSpPr>
                <a:spLocks/>
              </p:cNvSpPr>
              <p:nvPr/>
            </p:nvSpPr>
            <p:spPr bwMode="auto">
              <a:xfrm>
                <a:off x="2924" y="1579"/>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0" name="Rectangle 1325"/>
              <p:cNvSpPr>
                <a:spLocks noChangeArrowheads="1"/>
              </p:cNvSpPr>
              <p:nvPr/>
            </p:nvSpPr>
            <p:spPr bwMode="auto">
              <a:xfrm>
                <a:off x="2924" y="1450"/>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1" name="Rectangle 1326"/>
              <p:cNvSpPr>
                <a:spLocks noChangeArrowheads="1"/>
              </p:cNvSpPr>
              <p:nvPr/>
            </p:nvSpPr>
            <p:spPr bwMode="auto">
              <a:xfrm>
                <a:off x="2928" y="1454"/>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2" name="Freeform 1327"/>
              <p:cNvSpPr>
                <a:spLocks/>
              </p:cNvSpPr>
              <p:nvPr/>
            </p:nvSpPr>
            <p:spPr bwMode="auto">
              <a:xfrm>
                <a:off x="2924" y="1450"/>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3" name="Freeform 1328"/>
              <p:cNvSpPr>
                <a:spLocks/>
              </p:cNvSpPr>
              <p:nvPr/>
            </p:nvSpPr>
            <p:spPr bwMode="auto">
              <a:xfrm>
                <a:off x="2924" y="1450"/>
                <a:ext cx="18" cy="4"/>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4" name="Freeform 1329"/>
              <p:cNvSpPr>
                <a:spLocks/>
              </p:cNvSpPr>
              <p:nvPr/>
            </p:nvSpPr>
            <p:spPr bwMode="auto">
              <a:xfrm>
                <a:off x="2938" y="1450"/>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5" name="Freeform 1330"/>
              <p:cNvSpPr>
                <a:spLocks/>
              </p:cNvSpPr>
              <p:nvPr/>
            </p:nvSpPr>
            <p:spPr bwMode="auto">
              <a:xfrm>
                <a:off x="2924" y="1464"/>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6" name="Freeform 1331"/>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7" name="Freeform 1332"/>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8" name="Freeform 1333"/>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9" name="Freeform 1334"/>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0" name="Freeform 1335"/>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1" name="Freeform 1336"/>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2" name="Rectangle 1337"/>
              <p:cNvSpPr>
                <a:spLocks noChangeArrowheads="1"/>
              </p:cNvSpPr>
              <p:nvPr/>
            </p:nvSpPr>
            <p:spPr bwMode="auto">
              <a:xfrm>
                <a:off x="4643"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3" name="Rectangle 1338"/>
              <p:cNvSpPr>
                <a:spLocks noChangeArrowheads="1"/>
              </p:cNvSpPr>
              <p:nvPr/>
            </p:nvSpPr>
            <p:spPr bwMode="auto">
              <a:xfrm>
                <a:off x="4643"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4" name="Rectangle 1339"/>
              <p:cNvSpPr>
                <a:spLocks noChangeArrowheads="1"/>
              </p:cNvSpPr>
              <p:nvPr/>
            </p:nvSpPr>
            <p:spPr bwMode="auto">
              <a:xfrm>
                <a:off x="4701"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5" name="Rectangle 1340"/>
              <p:cNvSpPr>
                <a:spLocks noChangeArrowheads="1"/>
              </p:cNvSpPr>
              <p:nvPr/>
            </p:nvSpPr>
            <p:spPr bwMode="auto">
              <a:xfrm>
                <a:off x="4701"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6" name="Rectangle 1341"/>
              <p:cNvSpPr>
                <a:spLocks noChangeArrowheads="1"/>
              </p:cNvSpPr>
              <p:nvPr/>
            </p:nvSpPr>
            <p:spPr bwMode="auto">
              <a:xfrm>
                <a:off x="4759" y="145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7" name="Rectangle 1342"/>
              <p:cNvSpPr>
                <a:spLocks noChangeArrowheads="1"/>
              </p:cNvSpPr>
              <p:nvPr/>
            </p:nvSpPr>
            <p:spPr bwMode="auto">
              <a:xfrm>
                <a:off x="4759" y="1511"/>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8" name="Rectangle 1343"/>
              <p:cNvSpPr>
                <a:spLocks noChangeArrowheads="1"/>
              </p:cNvSpPr>
              <p:nvPr/>
            </p:nvSpPr>
            <p:spPr bwMode="auto">
              <a:xfrm>
                <a:off x="4763"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9" name="Freeform 1344"/>
              <p:cNvSpPr>
                <a:spLocks/>
              </p:cNvSpPr>
              <p:nvPr/>
            </p:nvSpPr>
            <p:spPr bwMode="auto">
              <a:xfrm>
                <a:off x="4773"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0" name="Freeform 1345"/>
              <p:cNvSpPr>
                <a:spLocks/>
              </p:cNvSpPr>
              <p:nvPr/>
            </p:nvSpPr>
            <p:spPr bwMode="auto">
              <a:xfrm>
                <a:off x="4759" y="1525"/>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1" name="Freeform 1346"/>
              <p:cNvSpPr>
                <a:spLocks/>
              </p:cNvSpPr>
              <p:nvPr/>
            </p:nvSpPr>
            <p:spPr bwMode="auto">
              <a:xfrm>
                <a:off x="4759"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2" name="Freeform 1347"/>
              <p:cNvSpPr>
                <a:spLocks/>
              </p:cNvSpPr>
              <p:nvPr/>
            </p:nvSpPr>
            <p:spPr bwMode="auto">
              <a:xfrm>
                <a:off x="4759" y="1511"/>
                <a:ext cx="18"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3" name="Rectangle 1348"/>
              <p:cNvSpPr>
                <a:spLocks noChangeArrowheads="1"/>
              </p:cNvSpPr>
              <p:nvPr/>
            </p:nvSpPr>
            <p:spPr bwMode="auto">
              <a:xfrm>
                <a:off x="4763"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4" name="Freeform 1349"/>
              <p:cNvSpPr>
                <a:spLocks/>
              </p:cNvSpPr>
              <p:nvPr/>
            </p:nvSpPr>
            <p:spPr bwMode="auto">
              <a:xfrm>
                <a:off x="4773" y="1454"/>
                <a:ext cx="4"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5" name="Freeform 1350"/>
              <p:cNvSpPr>
                <a:spLocks/>
              </p:cNvSpPr>
              <p:nvPr/>
            </p:nvSpPr>
            <p:spPr bwMode="auto">
              <a:xfrm>
                <a:off x="4759" y="1468"/>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6" name="Freeform 1351"/>
              <p:cNvSpPr>
                <a:spLocks/>
              </p:cNvSpPr>
              <p:nvPr/>
            </p:nvSpPr>
            <p:spPr bwMode="auto">
              <a:xfrm>
                <a:off x="4759"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7" name="Freeform 1352"/>
              <p:cNvSpPr>
                <a:spLocks/>
              </p:cNvSpPr>
              <p:nvPr/>
            </p:nvSpPr>
            <p:spPr bwMode="auto">
              <a:xfrm>
                <a:off x="4759" y="1454"/>
                <a:ext cx="18"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8" name="Rectangle 1353"/>
              <p:cNvSpPr>
                <a:spLocks noChangeArrowheads="1"/>
              </p:cNvSpPr>
              <p:nvPr/>
            </p:nvSpPr>
            <p:spPr bwMode="auto">
              <a:xfrm>
                <a:off x="4705"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9" name="Freeform 1354"/>
              <p:cNvSpPr>
                <a:spLocks/>
              </p:cNvSpPr>
              <p:nvPr/>
            </p:nvSpPr>
            <p:spPr bwMode="auto">
              <a:xfrm>
                <a:off x="4715"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0" name="Freeform 1355"/>
              <p:cNvSpPr>
                <a:spLocks/>
              </p:cNvSpPr>
              <p:nvPr/>
            </p:nvSpPr>
            <p:spPr bwMode="auto">
              <a:xfrm>
                <a:off x="4701"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 name="Freeform 1356"/>
              <p:cNvSpPr>
                <a:spLocks/>
              </p:cNvSpPr>
              <p:nvPr/>
            </p:nvSpPr>
            <p:spPr bwMode="auto">
              <a:xfrm>
                <a:off x="4701"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 name="Freeform 1357"/>
              <p:cNvSpPr>
                <a:spLocks/>
              </p:cNvSpPr>
              <p:nvPr/>
            </p:nvSpPr>
            <p:spPr bwMode="auto">
              <a:xfrm>
                <a:off x="4701"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3" name="Rectangle 1358"/>
              <p:cNvSpPr>
                <a:spLocks noChangeArrowheads="1"/>
              </p:cNvSpPr>
              <p:nvPr/>
            </p:nvSpPr>
            <p:spPr bwMode="auto">
              <a:xfrm>
                <a:off x="4705"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4" name="Freeform 1359"/>
              <p:cNvSpPr>
                <a:spLocks/>
              </p:cNvSpPr>
              <p:nvPr/>
            </p:nvSpPr>
            <p:spPr bwMode="auto">
              <a:xfrm>
                <a:off x="4715"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5" name="Freeform 1360"/>
              <p:cNvSpPr>
                <a:spLocks/>
              </p:cNvSpPr>
              <p:nvPr/>
            </p:nvSpPr>
            <p:spPr bwMode="auto">
              <a:xfrm>
                <a:off x="4701"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6" name="Freeform 1361"/>
              <p:cNvSpPr>
                <a:spLocks/>
              </p:cNvSpPr>
              <p:nvPr/>
            </p:nvSpPr>
            <p:spPr bwMode="auto">
              <a:xfrm>
                <a:off x="4701"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7" name="Freeform 1362"/>
              <p:cNvSpPr>
                <a:spLocks/>
              </p:cNvSpPr>
              <p:nvPr/>
            </p:nvSpPr>
            <p:spPr bwMode="auto">
              <a:xfrm>
                <a:off x="4701"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8" name="Rectangle 1363"/>
              <p:cNvSpPr>
                <a:spLocks noChangeArrowheads="1"/>
              </p:cNvSpPr>
              <p:nvPr/>
            </p:nvSpPr>
            <p:spPr bwMode="auto">
              <a:xfrm>
                <a:off x="4648"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9" name="Freeform 1364"/>
              <p:cNvSpPr>
                <a:spLocks/>
              </p:cNvSpPr>
              <p:nvPr/>
            </p:nvSpPr>
            <p:spPr bwMode="auto">
              <a:xfrm>
                <a:off x="4657"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0" name="Freeform 1365"/>
              <p:cNvSpPr>
                <a:spLocks/>
              </p:cNvSpPr>
              <p:nvPr/>
            </p:nvSpPr>
            <p:spPr bwMode="auto">
              <a:xfrm>
                <a:off x="4643"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1" name="Freeform 1366"/>
              <p:cNvSpPr>
                <a:spLocks/>
              </p:cNvSpPr>
              <p:nvPr/>
            </p:nvSpPr>
            <p:spPr bwMode="auto">
              <a:xfrm>
                <a:off x="4643" y="1511"/>
                <a:ext cx="5"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2" name="Freeform 1367"/>
              <p:cNvSpPr>
                <a:spLocks/>
              </p:cNvSpPr>
              <p:nvPr/>
            </p:nvSpPr>
            <p:spPr bwMode="auto">
              <a:xfrm>
                <a:off x="4643"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3" name="Rectangle 1368"/>
              <p:cNvSpPr>
                <a:spLocks noChangeArrowheads="1"/>
              </p:cNvSpPr>
              <p:nvPr/>
            </p:nvSpPr>
            <p:spPr bwMode="auto">
              <a:xfrm>
                <a:off x="4648" y="1458"/>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4" name="Freeform 1369"/>
              <p:cNvSpPr>
                <a:spLocks/>
              </p:cNvSpPr>
              <p:nvPr/>
            </p:nvSpPr>
            <p:spPr bwMode="auto">
              <a:xfrm>
                <a:off x="4657"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5" name="Freeform 1370"/>
              <p:cNvSpPr>
                <a:spLocks/>
              </p:cNvSpPr>
              <p:nvPr/>
            </p:nvSpPr>
            <p:spPr bwMode="auto">
              <a:xfrm>
                <a:off x="4643"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6" name="Freeform 1371"/>
              <p:cNvSpPr>
                <a:spLocks/>
              </p:cNvSpPr>
              <p:nvPr/>
            </p:nvSpPr>
            <p:spPr bwMode="auto">
              <a:xfrm>
                <a:off x="4643" y="1454"/>
                <a:ext cx="5"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7" name="Freeform 1372"/>
              <p:cNvSpPr>
                <a:spLocks/>
              </p:cNvSpPr>
              <p:nvPr/>
            </p:nvSpPr>
            <p:spPr bwMode="auto">
              <a:xfrm>
                <a:off x="4643"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8" name="Freeform 1373"/>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9" name="Freeform 1374"/>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0" name="Rectangle 1375"/>
              <p:cNvSpPr>
                <a:spLocks noChangeArrowheads="1"/>
              </p:cNvSpPr>
              <p:nvPr/>
            </p:nvSpPr>
            <p:spPr bwMode="auto">
              <a:xfrm>
                <a:off x="4586" y="1454"/>
                <a:ext cx="18" cy="18"/>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1" name="Rectangle 1376"/>
              <p:cNvSpPr>
                <a:spLocks noChangeArrowheads="1"/>
              </p:cNvSpPr>
              <p:nvPr/>
            </p:nvSpPr>
            <p:spPr bwMode="auto">
              <a:xfrm>
                <a:off x="4586" y="1511"/>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2" name="Rectangle 1377"/>
              <p:cNvSpPr>
                <a:spLocks noChangeArrowheads="1"/>
              </p:cNvSpPr>
              <p:nvPr/>
            </p:nvSpPr>
            <p:spPr bwMode="auto">
              <a:xfrm>
                <a:off x="4591"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3" name="Freeform 1378"/>
              <p:cNvSpPr>
                <a:spLocks/>
              </p:cNvSpPr>
              <p:nvPr/>
            </p:nvSpPr>
            <p:spPr bwMode="auto">
              <a:xfrm>
                <a:off x="4600"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4" name="Freeform 1379"/>
              <p:cNvSpPr>
                <a:spLocks/>
              </p:cNvSpPr>
              <p:nvPr/>
            </p:nvSpPr>
            <p:spPr bwMode="auto">
              <a:xfrm>
                <a:off x="4586" y="1525"/>
                <a:ext cx="18" cy="5"/>
              </a:xfrm>
              <a:custGeom>
                <a:avLst/>
                <a:gdLst>
                  <a:gd name="T0" fmla="*/ 20 w 81"/>
                  <a:gd name="T1" fmla="*/ 0 h 20"/>
                  <a:gd name="T2" fmla="*/ 61 w 81"/>
                  <a:gd name="T3" fmla="*/ 0 h 20"/>
                  <a:gd name="T4" fmla="*/ 81 w 81"/>
                  <a:gd name="T5" fmla="*/ 20 h 20"/>
                  <a:gd name="T6" fmla="*/ 0 w 81"/>
                  <a:gd name="T7" fmla="*/ 20 h 20"/>
                  <a:gd name="T8" fmla="*/ 20 w 81"/>
                  <a:gd name="T9" fmla="*/ 0 h 20"/>
                </a:gdLst>
                <a:ahLst/>
                <a:cxnLst>
                  <a:cxn ang="0">
                    <a:pos x="T0" y="T1"/>
                  </a:cxn>
                  <a:cxn ang="0">
                    <a:pos x="T2" y="T3"/>
                  </a:cxn>
                  <a:cxn ang="0">
                    <a:pos x="T4" y="T5"/>
                  </a:cxn>
                  <a:cxn ang="0">
                    <a:pos x="T6" y="T7"/>
                  </a:cxn>
                  <a:cxn ang="0">
                    <a:pos x="T8" y="T9"/>
                  </a:cxn>
                </a:cxnLst>
                <a:rect l="0" t="0" r="r" b="b"/>
                <a:pathLst>
                  <a:path w="81" h="20">
                    <a:moveTo>
                      <a:pt x="20" y="0"/>
                    </a:moveTo>
                    <a:lnTo>
                      <a:pt x="61" y="0"/>
                    </a:lnTo>
                    <a:lnTo>
                      <a:pt x="81" y="20"/>
                    </a:lnTo>
                    <a:lnTo>
                      <a:pt x="0" y="20"/>
                    </a:lnTo>
                    <a:lnTo>
                      <a:pt x="20"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5" name="Freeform 1380"/>
              <p:cNvSpPr>
                <a:spLocks/>
              </p:cNvSpPr>
              <p:nvPr/>
            </p:nvSpPr>
            <p:spPr bwMode="auto">
              <a:xfrm>
                <a:off x="4586" y="1511"/>
                <a:ext cx="5" cy="19"/>
              </a:xfrm>
              <a:custGeom>
                <a:avLst/>
                <a:gdLst>
                  <a:gd name="T0" fmla="*/ 20 w 20"/>
                  <a:gd name="T1" fmla="*/ 19 h 81"/>
                  <a:gd name="T2" fmla="*/ 20 w 20"/>
                  <a:gd name="T3" fmla="*/ 61 h 81"/>
                  <a:gd name="T4" fmla="*/ 0 w 20"/>
                  <a:gd name="T5" fmla="*/ 81 h 81"/>
                  <a:gd name="T6" fmla="*/ 0 w 20"/>
                  <a:gd name="T7" fmla="*/ 0 h 81"/>
                  <a:gd name="T8" fmla="*/ 20 w 20"/>
                  <a:gd name="T9" fmla="*/ 19 h 81"/>
                </a:gdLst>
                <a:ahLst/>
                <a:cxnLst>
                  <a:cxn ang="0">
                    <a:pos x="T0" y="T1"/>
                  </a:cxn>
                  <a:cxn ang="0">
                    <a:pos x="T2" y="T3"/>
                  </a:cxn>
                  <a:cxn ang="0">
                    <a:pos x="T4" y="T5"/>
                  </a:cxn>
                  <a:cxn ang="0">
                    <a:pos x="T6" y="T7"/>
                  </a:cxn>
                  <a:cxn ang="0">
                    <a:pos x="T8" y="T9"/>
                  </a:cxn>
                </a:cxnLst>
                <a:rect l="0" t="0" r="r" b="b"/>
                <a:pathLst>
                  <a:path w="20" h="81">
                    <a:moveTo>
                      <a:pt x="20" y="19"/>
                    </a:moveTo>
                    <a:lnTo>
                      <a:pt x="20" y="61"/>
                    </a:lnTo>
                    <a:lnTo>
                      <a:pt x="0" y="81"/>
                    </a:lnTo>
                    <a:lnTo>
                      <a:pt x="0" y="0"/>
                    </a:lnTo>
                    <a:lnTo>
                      <a:pt x="20"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6" name="Freeform 1381"/>
              <p:cNvSpPr>
                <a:spLocks/>
              </p:cNvSpPr>
              <p:nvPr/>
            </p:nvSpPr>
            <p:spPr bwMode="auto">
              <a:xfrm>
                <a:off x="4586" y="1511"/>
                <a:ext cx="18" cy="5"/>
              </a:xfrm>
              <a:custGeom>
                <a:avLst/>
                <a:gdLst>
                  <a:gd name="T0" fmla="*/ 81 w 81"/>
                  <a:gd name="T1" fmla="*/ 0 h 19"/>
                  <a:gd name="T2" fmla="*/ 61 w 81"/>
                  <a:gd name="T3" fmla="*/ 19 h 19"/>
                  <a:gd name="T4" fmla="*/ 20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20"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7" name="Rectangle 1382"/>
              <p:cNvSpPr>
                <a:spLocks noChangeArrowheads="1"/>
              </p:cNvSpPr>
              <p:nvPr/>
            </p:nvSpPr>
            <p:spPr bwMode="auto">
              <a:xfrm>
                <a:off x="3286" y="2192"/>
                <a:ext cx="127"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8" name="Rectangle 1383"/>
              <p:cNvSpPr>
                <a:spLocks noChangeArrowheads="1"/>
              </p:cNvSpPr>
              <p:nvPr/>
            </p:nvSpPr>
            <p:spPr bwMode="auto">
              <a:xfrm>
                <a:off x="3085" y="2442"/>
                <a:ext cx="163" cy="35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9" name="Rectangle 1384"/>
              <p:cNvSpPr>
                <a:spLocks noChangeArrowheads="1"/>
              </p:cNvSpPr>
              <p:nvPr/>
            </p:nvSpPr>
            <p:spPr bwMode="auto">
              <a:xfrm>
                <a:off x="4487" y="2038"/>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0" name="Rectangle 1385"/>
              <p:cNvSpPr>
                <a:spLocks noChangeArrowheads="1"/>
              </p:cNvSpPr>
              <p:nvPr/>
            </p:nvSpPr>
            <p:spPr bwMode="auto">
              <a:xfrm>
                <a:off x="4487" y="2326"/>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1" name="Rectangle 1386"/>
              <p:cNvSpPr>
                <a:spLocks noChangeArrowheads="1"/>
              </p:cNvSpPr>
              <p:nvPr/>
            </p:nvSpPr>
            <p:spPr bwMode="auto">
              <a:xfrm>
                <a:off x="2802" y="1770"/>
                <a:ext cx="150" cy="150"/>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2" name="Rectangle 1387"/>
              <p:cNvSpPr>
                <a:spLocks noChangeArrowheads="1"/>
              </p:cNvSpPr>
              <p:nvPr/>
            </p:nvSpPr>
            <p:spPr bwMode="auto">
              <a:xfrm>
                <a:off x="3710" y="1547"/>
                <a:ext cx="94" cy="108"/>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3" name="Rectangle 1388"/>
              <p:cNvSpPr>
                <a:spLocks noChangeArrowheads="1"/>
              </p:cNvSpPr>
              <p:nvPr/>
            </p:nvSpPr>
            <p:spPr bwMode="auto">
              <a:xfrm>
                <a:off x="4347" y="1446"/>
                <a:ext cx="111" cy="12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4" name="Freeform 1389"/>
              <p:cNvSpPr>
                <a:spLocks noEditPoints="1"/>
              </p:cNvSpPr>
              <p:nvPr/>
            </p:nvSpPr>
            <p:spPr bwMode="auto">
              <a:xfrm>
                <a:off x="2653" y="1387"/>
                <a:ext cx="212" cy="209"/>
              </a:xfrm>
              <a:custGeom>
                <a:avLst/>
                <a:gdLst>
                  <a:gd name="T0" fmla="*/ 455 w 938"/>
                  <a:gd name="T1" fmla="*/ 920 h 920"/>
                  <a:gd name="T2" fmla="*/ 938 w 938"/>
                  <a:gd name="T3" fmla="*/ 436 h 920"/>
                  <a:gd name="T4" fmla="*/ 664 w 938"/>
                  <a:gd name="T5" fmla="*/ 0 h 920"/>
                  <a:gd name="T6" fmla="*/ 245 w 938"/>
                  <a:gd name="T7" fmla="*/ 0 h 920"/>
                  <a:gd name="T8" fmla="*/ 0 w 938"/>
                  <a:gd name="T9" fmla="*/ 271 h 920"/>
                  <a:gd name="T10" fmla="*/ 0 w 938"/>
                  <a:gd name="T11" fmla="*/ 600 h 920"/>
                  <a:gd name="T12" fmla="*/ 455 w 938"/>
                  <a:gd name="T13" fmla="*/ 920 h 920"/>
                  <a:gd name="T14" fmla="*/ 455 w 938"/>
                  <a:gd name="T15" fmla="*/ 201 h 920"/>
                  <a:gd name="T16" fmla="*/ 690 w 938"/>
                  <a:gd name="T17" fmla="*/ 436 h 920"/>
                  <a:gd name="T18" fmla="*/ 455 w 938"/>
                  <a:gd name="T19" fmla="*/ 671 h 920"/>
                  <a:gd name="T20" fmla="*/ 219 w 938"/>
                  <a:gd name="T21" fmla="*/ 436 h 920"/>
                  <a:gd name="T22" fmla="*/ 455 w 938"/>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8" h="920">
                    <a:moveTo>
                      <a:pt x="455" y="920"/>
                    </a:moveTo>
                    <a:cubicBezTo>
                      <a:pt x="722" y="920"/>
                      <a:pt x="938" y="703"/>
                      <a:pt x="938" y="436"/>
                    </a:cubicBezTo>
                    <a:cubicBezTo>
                      <a:pt x="938" y="244"/>
                      <a:pt x="826" y="78"/>
                      <a:pt x="664" y="0"/>
                    </a:cubicBezTo>
                    <a:lnTo>
                      <a:pt x="245" y="0"/>
                    </a:lnTo>
                    <a:cubicBezTo>
                      <a:pt x="132" y="55"/>
                      <a:pt x="43" y="152"/>
                      <a:pt x="0" y="271"/>
                    </a:cubicBezTo>
                    <a:lnTo>
                      <a:pt x="0" y="600"/>
                    </a:lnTo>
                    <a:cubicBezTo>
                      <a:pt x="67" y="786"/>
                      <a:pt x="245" y="920"/>
                      <a:pt x="455" y="920"/>
                    </a:cubicBezTo>
                    <a:close/>
                    <a:moveTo>
                      <a:pt x="455" y="201"/>
                    </a:moveTo>
                    <a:cubicBezTo>
                      <a:pt x="584" y="201"/>
                      <a:pt x="690" y="306"/>
                      <a:pt x="690" y="436"/>
                    </a:cubicBezTo>
                    <a:cubicBezTo>
                      <a:pt x="690" y="566"/>
                      <a:pt x="584" y="671"/>
                      <a:pt x="455" y="671"/>
                    </a:cubicBezTo>
                    <a:cubicBezTo>
                      <a:pt x="325" y="671"/>
                      <a:pt x="219" y="566"/>
                      <a:pt x="219" y="436"/>
                    </a:cubicBezTo>
                    <a:cubicBezTo>
                      <a:pt x="219" y="306"/>
                      <a:pt x="325" y="201"/>
                      <a:pt x="455"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5" name="Freeform 1390"/>
              <p:cNvSpPr>
                <a:spLocks noEditPoints="1"/>
              </p:cNvSpPr>
              <p:nvPr/>
            </p:nvSpPr>
            <p:spPr bwMode="auto">
              <a:xfrm>
                <a:off x="4819" y="1387"/>
                <a:ext cx="204" cy="209"/>
              </a:xfrm>
              <a:custGeom>
                <a:avLst/>
                <a:gdLst>
                  <a:gd name="T0" fmla="*/ 0 w 900"/>
                  <a:gd name="T1" fmla="*/ 436 h 920"/>
                  <a:gd name="T2" fmla="*/ 484 w 900"/>
                  <a:gd name="T3" fmla="*/ 920 h 920"/>
                  <a:gd name="T4" fmla="*/ 900 w 900"/>
                  <a:gd name="T5" fmla="*/ 682 h 920"/>
                  <a:gd name="T6" fmla="*/ 900 w 900"/>
                  <a:gd name="T7" fmla="*/ 189 h 920"/>
                  <a:gd name="T8" fmla="*/ 694 w 900"/>
                  <a:gd name="T9" fmla="*/ 0 h 920"/>
                  <a:gd name="T10" fmla="*/ 275 w 900"/>
                  <a:gd name="T11" fmla="*/ 0 h 920"/>
                  <a:gd name="T12" fmla="*/ 0 w 900"/>
                  <a:gd name="T13" fmla="*/ 436 h 920"/>
                  <a:gd name="T14" fmla="*/ 484 w 900"/>
                  <a:gd name="T15" fmla="*/ 201 h 920"/>
                  <a:gd name="T16" fmla="*/ 720 w 900"/>
                  <a:gd name="T17" fmla="*/ 436 h 920"/>
                  <a:gd name="T18" fmla="*/ 484 w 900"/>
                  <a:gd name="T19" fmla="*/ 671 h 920"/>
                  <a:gd name="T20" fmla="*/ 249 w 900"/>
                  <a:gd name="T21" fmla="*/ 436 h 920"/>
                  <a:gd name="T22" fmla="*/ 484 w 900"/>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920">
                    <a:moveTo>
                      <a:pt x="0" y="436"/>
                    </a:moveTo>
                    <a:cubicBezTo>
                      <a:pt x="0" y="703"/>
                      <a:pt x="217" y="920"/>
                      <a:pt x="484" y="920"/>
                    </a:cubicBezTo>
                    <a:cubicBezTo>
                      <a:pt x="661" y="920"/>
                      <a:pt x="816" y="824"/>
                      <a:pt x="900" y="682"/>
                    </a:cubicBezTo>
                    <a:lnTo>
                      <a:pt x="900" y="189"/>
                    </a:lnTo>
                    <a:cubicBezTo>
                      <a:pt x="852" y="108"/>
                      <a:pt x="780" y="42"/>
                      <a:pt x="694" y="0"/>
                    </a:cubicBezTo>
                    <a:lnTo>
                      <a:pt x="275" y="0"/>
                    </a:lnTo>
                    <a:cubicBezTo>
                      <a:pt x="113" y="78"/>
                      <a:pt x="0" y="244"/>
                      <a:pt x="0" y="436"/>
                    </a:cubicBezTo>
                    <a:close/>
                    <a:moveTo>
                      <a:pt x="484" y="201"/>
                    </a:moveTo>
                    <a:cubicBezTo>
                      <a:pt x="614" y="201"/>
                      <a:pt x="720" y="306"/>
                      <a:pt x="720" y="436"/>
                    </a:cubicBezTo>
                    <a:cubicBezTo>
                      <a:pt x="720" y="566"/>
                      <a:pt x="614" y="671"/>
                      <a:pt x="484" y="671"/>
                    </a:cubicBezTo>
                    <a:cubicBezTo>
                      <a:pt x="354" y="671"/>
                      <a:pt x="249" y="566"/>
                      <a:pt x="249" y="436"/>
                    </a:cubicBezTo>
                    <a:cubicBezTo>
                      <a:pt x="249" y="306"/>
                      <a:pt x="355" y="201"/>
                      <a:pt x="484"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6" name="Freeform 1391"/>
              <p:cNvSpPr>
                <a:spLocks noEditPoints="1"/>
              </p:cNvSpPr>
              <p:nvPr/>
            </p:nvSpPr>
            <p:spPr bwMode="auto">
              <a:xfrm>
                <a:off x="2653" y="2799"/>
                <a:ext cx="213" cy="203"/>
              </a:xfrm>
              <a:custGeom>
                <a:avLst/>
                <a:gdLst>
                  <a:gd name="T0" fmla="*/ 939 w 939"/>
                  <a:gd name="T1" fmla="*/ 484 h 893"/>
                  <a:gd name="T2" fmla="*/ 454 w 939"/>
                  <a:gd name="T3" fmla="*/ 0 h 893"/>
                  <a:gd name="T4" fmla="*/ 0 w 939"/>
                  <a:gd name="T5" fmla="*/ 320 h 893"/>
                  <a:gd name="T6" fmla="*/ 0 w 939"/>
                  <a:gd name="T7" fmla="*/ 649 h 893"/>
                  <a:gd name="T8" fmla="*/ 196 w 939"/>
                  <a:gd name="T9" fmla="*/ 893 h 893"/>
                  <a:gd name="T10" fmla="*/ 713 w 939"/>
                  <a:gd name="T11" fmla="*/ 893 h 893"/>
                  <a:gd name="T12" fmla="*/ 939 w 939"/>
                  <a:gd name="T13" fmla="*/ 484 h 893"/>
                  <a:gd name="T14" fmla="*/ 455 w 939"/>
                  <a:gd name="T15" fmla="*/ 720 h 893"/>
                  <a:gd name="T16" fmla="*/ 219 w 939"/>
                  <a:gd name="T17" fmla="*/ 484 h 893"/>
                  <a:gd name="T18" fmla="*/ 455 w 939"/>
                  <a:gd name="T19" fmla="*/ 249 h 893"/>
                  <a:gd name="T20" fmla="*/ 690 w 939"/>
                  <a:gd name="T21" fmla="*/ 484 h 893"/>
                  <a:gd name="T22" fmla="*/ 455 w 939"/>
                  <a:gd name="T23" fmla="*/ 72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9" h="893">
                    <a:moveTo>
                      <a:pt x="939" y="484"/>
                    </a:moveTo>
                    <a:cubicBezTo>
                      <a:pt x="939" y="217"/>
                      <a:pt x="722" y="0"/>
                      <a:pt x="454" y="0"/>
                    </a:cubicBezTo>
                    <a:cubicBezTo>
                      <a:pt x="245" y="0"/>
                      <a:pt x="67" y="134"/>
                      <a:pt x="0" y="320"/>
                    </a:cubicBezTo>
                    <a:lnTo>
                      <a:pt x="0" y="649"/>
                    </a:lnTo>
                    <a:cubicBezTo>
                      <a:pt x="37" y="751"/>
                      <a:pt x="106" y="836"/>
                      <a:pt x="196" y="893"/>
                    </a:cubicBezTo>
                    <a:lnTo>
                      <a:pt x="713" y="893"/>
                    </a:lnTo>
                    <a:cubicBezTo>
                      <a:pt x="849" y="807"/>
                      <a:pt x="939" y="656"/>
                      <a:pt x="939" y="484"/>
                    </a:cubicBezTo>
                    <a:close/>
                    <a:moveTo>
                      <a:pt x="455" y="720"/>
                    </a:moveTo>
                    <a:cubicBezTo>
                      <a:pt x="325" y="720"/>
                      <a:pt x="219" y="614"/>
                      <a:pt x="219" y="484"/>
                    </a:cubicBezTo>
                    <a:cubicBezTo>
                      <a:pt x="219" y="355"/>
                      <a:pt x="325" y="249"/>
                      <a:pt x="455" y="249"/>
                    </a:cubicBezTo>
                    <a:cubicBezTo>
                      <a:pt x="584" y="249"/>
                      <a:pt x="690" y="355"/>
                      <a:pt x="690" y="484"/>
                    </a:cubicBezTo>
                    <a:cubicBezTo>
                      <a:pt x="690" y="614"/>
                      <a:pt x="584" y="720"/>
                      <a:pt x="455" y="720"/>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7" name="Freeform 1392"/>
              <p:cNvSpPr>
                <a:spLocks noEditPoints="1"/>
              </p:cNvSpPr>
              <p:nvPr/>
            </p:nvSpPr>
            <p:spPr bwMode="auto">
              <a:xfrm>
                <a:off x="4819" y="2800"/>
                <a:ext cx="204" cy="202"/>
              </a:xfrm>
              <a:custGeom>
                <a:avLst/>
                <a:gdLst>
                  <a:gd name="T0" fmla="*/ 484 w 900"/>
                  <a:gd name="T1" fmla="*/ 0 h 892"/>
                  <a:gd name="T2" fmla="*/ 0 w 900"/>
                  <a:gd name="T3" fmla="*/ 483 h 892"/>
                  <a:gd name="T4" fmla="*/ 226 w 900"/>
                  <a:gd name="T5" fmla="*/ 892 h 892"/>
                  <a:gd name="T6" fmla="*/ 743 w 900"/>
                  <a:gd name="T7" fmla="*/ 892 h 892"/>
                  <a:gd name="T8" fmla="*/ 900 w 900"/>
                  <a:gd name="T9" fmla="*/ 730 h 892"/>
                  <a:gd name="T10" fmla="*/ 900 w 900"/>
                  <a:gd name="T11" fmla="*/ 237 h 892"/>
                  <a:gd name="T12" fmla="*/ 484 w 900"/>
                  <a:gd name="T13" fmla="*/ 0 h 892"/>
                  <a:gd name="T14" fmla="*/ 484 w 900"/>
                  <a:gd name="T15" fmla="*/ 719 h 892"/>
                  <a:gd name="T16" fmla="*/ 249 w 900"/>
                  <a:gd name="T17" fmla="*/ 483 h 892"/>
                  <a:gd name="T18" fmla="*/ 484 w 900"/>
                  <a:gd name="T19" fmla="*/ 248 h 892"/>
                  <a:gd name="T20" fmla="*/ 720 w 900"/>
                  <a:gd name="T21" fmla="*/ 483 h 892"/>
                  <a:gd name="T22" fmla="*/ 484 w 900"/>
                  <a:gd name="T23" fmla="*/ 7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892">
                    <a:moveTo>
                      <a:pt x="484" y="0"/>
                    </a:moveTo>
                    <a:cubicBezTo>
                      <a:pt x="217" y="0"/>
                      <a:pt x="0" y="216"/>
                      <a:pt x="0" y="483"/>
                    </a:cubicBezTo>
                    <a:cubicBezTo>
                      <a:pt x="0" y="655"/>
                      <a:pt x="90" y="806"/>
                      <a:pt x="226" y="892"/>
                    </a:cubicBezTo>
                    <a:lnTo>
                      <a:pt x="743" y="892"/>
                    </a:lnTo>
                    <a:cubicBezTo>
                      <a:pt x="807" y="851"/>
                      <a:pt x="861" y="796"/>
                      <a:pt x="900" y="730"/>
                    </a:cubicBezTo>
                    <a:lnTo>
                      <a:pt x="900" y="237"/>
                    </a:lnTo>
                    <a:cubicBezTo>
                      <a:pt x="816" y="95"/>
                      <a:pt x="662" y="0"/>
                      <a:pt x="484" y="0"/>
                    </a:cubicBezTo>
                    <a:close/>
                    <a:moveTo>
                      <a:pt x="484" y="719"/>
                    </a:moveTo>
                    <a:cubicBezTo>
                      <a:pt x="354" y="719"/>
                      <a:pt x="249" y="613"/>
                      <a:pt x="249" y="483"/>
                    </a:cubicBezTo>
                    <a:cubicBezTo>
                      <a:pt x="249" y="354"/>
                      <a:pt x="354" y="248"/>
                      <a:pt x="484" y="248"/>
                    </a:cubicBezTo>
                    <a:cubicBezTo>
                      <a:pt x="614" y="248"/>
                      <a:pt x="720" y="354"/>
                      <a:pt x="720" y="483"/>
                    </a:cubicBezTo>
                    <a:cubicBezTo>
                      <a:pt x="720" y="613"/>
                      <a:pt x="614" y="719"/>
                      <a:pt x="484" y="719"/>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6" name="Group 1594"/>
            <p:cNvGrpSpPr>
              <a:grpSpLocks/>
            </p:cNvGrpSpPr>
            <p:nvPr/>
          </p:nvGrpSpPr>
          <p:grpSpPr bwMode="auto">
            <a:xfrm>
              <a:off x="2751" y="1317"/>
              <a:ext cx="1472" cy="1684"/>
              <a:chOff x="2751" y="1317"/>
              <a:chExt cx="1472" cy="1684"/>
            </a:xfrm>
          </p:grpSpPr>
          <p:sp>
            <p:nvSpPr>
              <p:cNvPr id="1378" name="Freeform 1394"/>
              <p:cNvSpPr>
                <a:spLocks/>
              </p:cNvSpPr>
              <p:nvPr/>
            </p:nvSpPr>
            <p:spPr bwMode="auto">
              <a:xfrm>
                <a:off x="3724" y="1383"/>
                <a:ext cx="172" cy="115"/>
              </a:xfrm>
              <a:custGeom>
                <a:avLst/>
                <a:gdLst>
                  <a:gd name="T0" fmla="*/ 1 w 761"/>
                  <a:gd name="T1" fmla="*/ 0 h 505"/>
                  <a:gd name="T2" fmla="*/ 761 w 761"/>
                  <a:gd name="T3" fmla="*/ 0 h 505"/>
                  <a:gd name="T4" fmla="*/ 761 w 761"/>
                  <a:gd name="T5" fmla="*/ 505 h 505"/>
                  <a:gd name="T6" fmla="*/ 0 w 761"/>
                  <a:gd name="T7" fmla="*/ 505 h 505"/>
                  <a:gd name="T8" fmla="*/ 1 w 761"/>
                  <a:gd name="T9" fmla="*/ 0 h 505"/>
                </a:gdLst>
                <a:ahLst/>
                <a:cxnLst>
                  <a:cxn ang="0">
                    <a:pos x="T0" y="T1"/>
                  </a:cxn>
                  <a:cxn ang="0">
                    <a:pos x="T2" y="T3"/>
                  </a:cxn>
                  <a:cxn ang="0">
                    <a:pos x="T4" y="T5"/>
                  </a:cxn>
                  <a:cxn ang="0">
                    <a:pos x="T6" y="T7"/>
                  </a:cxn>
                  <a:cxn ang="0">
                    <a:pos x="T8" y="T9"/>
                  </a:cxn>
                </a:cxnLst>
                <a:rect l="0" t="0" r="r" b="b"/>
                <a:pathLst>
                  <a:path w="761" h="505">
                    <a:moveTo>
                      <a:pt x="1" y="0"/>
                    </a:moveTo>
                    <a:lnTo>
                      <a:pt x="761" y="0"/>
                    </a:lnTo>
                    <a:lnTo>
                      <a:pt x="761" y="505"/>
                    </a:lnTo>
                    <a:lnTo>
                      <a:pt x="0" y="505"/>
                    </a:lnTo>
                    <a:lnTo>
                      <a:pt x="1"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Rectangle 1395"/>
              <p:cNvSpPr>
                <a:spLocks noChangeArrowheads="1"/>
              </p:cNvSpPr>
              <p:nvPr/>
            </p:nvSpPr>
            <p:spPr bwMode="auto">
              <a:xfrm>
                <a:off x="3743" y="1392"/>
                <a:ext cx="135"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1396"/>
              <p:cNvSpPr>
                <a:spLocks noChangeArrowheads="1"/>
              </p:cNvSpPr>
              <p:nvPr/>
            </p:nvSpPr>
            <p:spPr bwMode="auto">
              <a:xfrm>
                <a:off x="3840"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1397"/>
              <p:cNvSpPr>
                <a:spLocks noChangeArrowheads="1"/>
              </p:cNvSpPr>
              <p:nvPr/>
            </p:nvSpPr>
            <p:spPr bwMode="auto">
              <a:xfrm>
                <a:off x="3848"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Rectangle 1398"/>
              <p:cNvSpPr>
                <a:spLocks noChangeArrowheads="1"/>
              </p:cNvSpPr>
              <p:nvPr/>
            </p:nvSpPr>
            <p:spPr bwMode="auto">
              <a:xfrm>
                <a:off x="3823"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3" name="Rectangle 1399"/>
              <p:cNvSpPr>
                <a:spLocks noChangeArrowheads="1"/>
              </p:cNvSpPr>
              <p:nvPr/>
            </p:nvSpPr>
            <p:spPr bwMode="auto">
              <a:xfrm>
                <a:off x="3831"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4" name="Rectangle 1400"/>
              <p:cNvSpPr>
                <a:spLocks noChangeArrowheads="1"/>
              </p:cNvSpPr>
              <p:nvPr/>
            </p:nvSpPr>
            <p:spPr bwMode="auto">
              <a:xfrm>
                <a:off x="3806"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5" name="Rectangle 1401"/>
              <p:cNvSpPr>
                <a:spLocks noChangeArrowheads="1"/>
              </p:cNvSpPr>
              <p:nvPr/>
            </p:nvSpPr>
            <p:spPr bwMode="auto">
              <a:xfrm>
                <a:off x="3814"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6" name="Rectangle 1402"/>
              <p:cNvSpPr>
                <a:spLocks noChangeArrowheads="1"/>
              </p:cNvSpPr>
              <p:nvPr/>
            </p:nvSpPr>
            <p:spPr bwMode="auto">
              <a:xfrm>
                <a:off x="3789"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7" name="Rectangle 1403"/>
              <p:cNvSpPr>
                <a:spLocks noChangeArrowheads="1"/>
              </p:cNvSpPr>
              <p:nvPr/>
            </p:nvSpPr>
            <p:spPr bwMode="auto">
              <a:xfrm>
                <a:off x="3797"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8" name="Rectangle 1404"/>
              <p:cNvSpPr>
                <a:spLocks noChangeArrowheads="1"/>
              </p:cNvSpPr>
              <p:nvPr/>
            </p:nvSpPr>
            <p:spPr bwMode="auto">
              <a:xfrm>
                <a:off x="3772"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9" name="Rectangle 1405"/>
              <p:cNvSpPr>
                <a:spLocks noChangeArrowheads="1"/>
              </p:cNvSpPr>
              <p:nvPr/>
            </p:nvSpPr>
            <p:spPr bwMode="auto">
              <a:xfrm>
                <a:off x="3780"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0" name="Rectangle 1406"/>
              <p:cNvSpPr>
                <a:spLocks noChangeArrowheads="1"/>
              </p:cNvSpPr>
              <p:nvPr/>
            </p:nvSpPr>
            <p:spPr bwMode="auto">
              <a:xfrm>
                <a:off x="3713"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1" name="Rectangle 1407"/>
              <p:cNvSpPr>
                <a:spLocks noChangeArrowheads="1"/>
              </p:cNvSpPr>
              <p:nvPr/>
            </p:nvSpPr>
            <p:spPr bwMode="auto">
              <a:xfrm>
                <a:off x="3899"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2" name="Rectangle 1408"/>
              <p:cNvSpPr>
                <a:spLocks noChangeArrowheads="1"/>
              </p:cNvSpPr>
              <p:nvPr/>
            </p:nvSpPr>
            <p:spPr bwMode="auto">
              <a:xfrm>
                <a:off x="3724"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3" name="Freeform 1409"/>
              <p:cNvSpPr>
                <a:spLocks noEditPoints="1"/>
              </p:cNvSpPr>
              <p:nvPr/>
            </p:nvSpPr>
            <p:spPr bwMode="auto">
              <a:xfrm>
                <a:off x="3722" y="1383"/>
                <a:ext cx="177" cy="115"/>
              </a:xfrm>
              <a:custGeom>
                <a:avLst/>
                <a:gdLst>
                  <a:gd name="T0" fmla="*/ 0 w 778"/>
                  <a:gd name="T1" fmla="*/ 0 h 505"/>
                  <a:gd name="T2" fmla="*/ 0 w 778"/>
                  <a:gd name="T3" fmla="*/ 505 h 505"/>
                  <a:gd name="T4" fmla="*/ 173 w 778"/>
                  <a:gd name="T5" fmla="*/ 505 h 505"/>
                  <a:gd name="T6" fmla="*/ 173 w 778"/>
                  <a:gd name="T7" fmla="*/ 467 h 505"/>
                  <a:gd name="T8" fmla="*/ 173 w 778"/>
                  <a:gd name="T9" fmla="*/ 463 h 505"/>
                  <a:gd name="T10" fmla="*/ 71 w 778"/>
                  <a:gd name="T11" fmla="*/ 463 h 505"/>
                  <a:gd name="T12" fmla="*/ 71 w 778"/>
                  <a:gd name="T13" fmla="*/ 456 h 505"/>
                  <a:gd name="T14" fmla="*/ 182 w 778"/>
                  <a:gd name="T15" fmla="*/ 456 h 505"/>
                  <a:gd name="T16" fmla="*/ 182 w 778"/>
                  <a:gd name="T17" fmla="*/ 456 h 505"/>
                  <a:gd name="T18" fmla="*/ 202 w 778"/>
                  <a:gd name="T19" fmla="*/ 456 h 505"/>
                  <a:gd name="T20" fmla="*/ 202 w 778"/>
                  <a:gd name="T21" fmla="*/ 505 h 505"/>
                  <a:gd name="T22" fmla="*/ 221 w 778"/>
                  <a:gd name="T23" fmla="*/ 505 h 505"/>
                  <a:gd name="T24" fmla="*/ 558 w 778"/>
                  <a:gd name="T25" fmla="*/ 505 h 505"/>
                  <a:gd name="T26" fmla="*/ 578 w 778"/>
                  <a:gd name="T27" fmla="*/ 505 h 505"/>
                  <a:gd name="T28" fmla="*/ 578 w 778"/>
                  <a:gd name="T29" fmla="*/ 456 h 505"/>
                  <a:gd name="T30" fmla="*/ 579 w 778"/>
                  <a:gd name="T31" fmla="*/ 456 h 505"/>
                  <a:gd name="T32" fmla="*/ 579 w 778"/>
                  <a:gd name="T33" fmla="*/ 456 h 505"/>
                  <a:gd name="T34" fmla="*/ 598 w 778"/>
                  <a:gd name="T35" fmla="*/ 456 h 505"/>
                  <a:gd name="T36" fmla="*/ 598 w 778"/>
                  <a:gd name="T37" fmla="*/ 456 h 505"/>
                  <a:gd name="T38" fmla="*/ 709 w 778"/>
                  <a:gd name="T39" fmla="*/ 456 h 505"/>
                  <a:gd name="T40" fmla="*/ 709 w 778"/>
                  <a:gd name="T41" fmla="*/ 463 h 505"/>
                  <a:gd name="T42" fmla="*/ 607 w 778"/>
                  <a:gd name="T43" fmla="*/ 463 h 505"/>
                  <a:gd name="T44" fmla="*/ 607 w 778"/>
                  <a:gd name="T45" fmla="*/ 505 h 505"/>
                  <a:gd name="T46" fmla="*/ 778 w 778"/>
                  <a:gd name="T47" fmla="*/ 505 h 505"/>
                  <a:gd name="T48" fmla="*/ 778 w 778"/>
                  <a:gd name="T49" fmla="*/ 0 h 505"/>
                  <a:gd name="T50" fmla="*/ 0 w 778"/>
                  <a:gd name="T51" fmla="*/ 0 h 505"/>
                  <a:gd name="T52" fmla="*/ 0 w 778"/>
                  <a:gd name="T53" fmla="*/ 0 h 505"/>
                  <a:gd name="T54" fmla="*/ 142 w 778"/>
                  <a:gd name="T55" fmla="*/ 308 h 505"/>
                  <a:gd name="T56" fmla="*/ 78 w 778"/>
                  <a:gd name="T57" fmla="*/ 308 h 505"/>
                  <a:gd name="T58" fmla="*/ 78 w 778"/>
                  <a:gd name="T59" fmla="*/ 69 h 505"/>
                  <a:gd name="T60" fmla="*/ 142 w 778"/>
                  <a:gd name="T61" fmla="*/ 69 h 505"/>
                  <a:gd name="T62" fmla="*/ 142 w 778"/>
                  <a:gd name="T63" fmla="*/ 308 h 505"/>
                  <a:gd name="T64" fmla="*/ 453 w 778"/>
                  <a:gd name="T65" fmla="*/ 492 h 505"/>
                  <a:gd name="T66" fmla="*/ 328 w 778"/>
                  <a:gd name="T67" fmla="*/ 492 h 505"/>
                  <a:gd name="T68" fmla="*/ 328 w 778"/>
                  <a:gd name="T69" fmla="*/ 467 h 505"/>
                  <a:gd name="T70" fmla="*/ 453 w 778"/>
                  <a:gd name="T71" fmla="*/ 467 h 505"/>
                  <a:gd name="T72" fmla="*/ 453 w 778"/>
                  <a:gd name="T73" fmla="*/ 492 h 505"/>
                  <a:gd name="T74" fmla="*/ 706 w 778"/>
                  <a:gd name="T75" fmla="*/ 308 h 505"/>
                  <a:gd name="T76" fmla="*/ 641 w 778"/>
                  <a:gd name="T77" fmla="*/ 308 h 505"/>
                  <a:gd name="T78" fmla="*/ 641 w 778"/>
                  <a:gd name="T79" fmla="*/ 69 h 505"/>
                  <a:gd name="T80" fmla="*/ 706 w 778"/>
                  <a:gd name="T81" fmla="*/ 69 h 505"/>
                  <a:gd name="T82" fmla="*/ 706 w 778"/>
                  <a:gd name="T83" fmla="*/ 308 h 505"/>
                  <a:gd name="T84" fmla="*/ 706 w 778"/>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8" h="505">
                    <a:moveTo>
                      <a:pt x="0" y="0"/>
                    </a:moveTo>
                    <a:lnTo>
                      <a:pt x="0" y="505"/>
                    </a:lnTo>
                    <a:lnTo>
                      <a:pt x="173" y="505"/>
                    </a:lnTo>
                    <a:lnTo>
                      <a:pt x="173" y="467"/>
                    </a:lnTo>
                    <a:lnTo>
                      <a:pt x="173" y="463"/>
                    </a:lnTo>
                    <a:lnTo>
                      <a:pt x="71" y="463"/>
                    </a:lnTo>
                    <a:lnTo>
                      <a:pt x="71" y="456"/>
                    </a:lnTo>
                    <a:lnTo>
                      <a:pt x="182" y="456"/>
                    </a:lnTo>
                    <a:lnTo>
                      <a:pt x="182" y="456"/>
                    </a:lnTo>
                    <a:lnTo>
                      <a:pt x="202" y="456"/>
                    </a:lnTo>
                    <a:lnTo>
                      <a:pt x="202" y="505"/>
                    </a:lnTo>
                    <a:lnTo>
                      <a:pt x="221" y="505"/>
                    </a:lnTo>
                    <a:lnTo>
                      <a:pt x="558" y="505"/>
                    </a:lnTo>
                    <a:lnTo>
                      <a:pt x="578" y="505"/>
                    </a:lnTo>
                    <a:lnTo>
                      <a:pt x="578" y="456"/>
                    </a:lnTo>
                    <a:lnTo>
                      <a:pt x="579" y="456"/>
                    </a:lnTo>
                    <a:lnTo>
                      <a:pt x="579" y="456"/>
                    </a:lnTo>
                    <a:lnTo>
                      <a:pt x="598" y="456"/>
                    </a:lnTo>
                    <a:lnTo>
                      <a:pt x="598" y="456"/>
                    </a:lnTo>
                    <a:lnTo>
                      <a:pt x="709" y="456"/>
                    </a:lnTo>
                    <a:lnTo>
                      <a:pt x="709" y="463"/>
                    </a:lnTo>
                    <a:lnTo>
                      <a:pt x="607" y="463"/>
                    </a:lnTo>
                    <a:lnTo>
                      <a:pt x="607" y="505"/>
                    </a:lnTo>
                    <a:lnTo>
                      <a:pt x="778" y="505"/>
                    </a:lnTo>
                    <a:lnTo>
                      <a:pt x="778" y="0"/>
                    </a:lnTo>
                    <a:lnTo>
                      <a:pt x="0" y="0"/>
                    </a:lnTo>
                    <a:lnTo>
                      <a:pt x="0" y="0"/>
                    </a:lnTo>
                    <a:close/>
                    <a:moveTo>
                      <a:pt x="142" y="308"/>
                    </a:moveTo>
                    <a:lnTo>
                      <a:pt x="78" y="308"/>
                    </a:lnTo>
                    <a:lnTo>
                      <a:pt x="78" y="69"/>
                    </a:lnTo>
                    <a:lnTo>
                      <a:pt x="142" y="69"/>
                    </a:lnTo>
                    <a:lnTo>
                      <a:pt x="142" y="308"/>
                    </a:lnTo>
                    <a:close/>
                    <a:moveTo>
                      <a:pt x="453" y="492"/>
                    </a:moveTo>
                    <a:lnTo>
                      <a:pt x="328" y="492"/>
                    </a:lnTo>
                    <a:lnTo>
                      <a:pt x="328" y="467"/>
                    </a:lnTo>
                    <a:lnTo>
                      <a:pt x="453" y="467"/>
                    </a:lnTo>
                    <a:lnTo>
                      <a:pt x="453" y="492"/>
                    </a:lnTo>
                    <a:close/>
                    <a:moveTo>
                      <a:pt x="706" y="308"/>
                    </a:moveTo>
                    <a:lnTo>
                      <a:pt x="641" y="308"/>
                    </a:lnTo>
                    <a:lnTo>
                      <a:pt x="641" y="69"/>
                    </a:lnTo>
                    <a:lnTo>
                      <a:pt x="706" y="69"/>
                    </a:lnTo>
                    <a:lnTo>
                      <a:pt x="706" y="308"/>
                    </a:lnTo>
                    <a:lnTo>
                      <a:pt x="706"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Freeform 1410"/>
              <p:cNvSpPr>
                <a:spLocks/>
              </p:cNvSpPr>
              <p:nvPr/>
            </p:nvSpPr>
            <p:spPr bwMode="auto">
              <a:xfrm>
                <a:off x="3899" y="1375"/>
                <a:ext cx="9"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5" name="Freeform 1411"/>
              <p:cNvSpPr>
                <a:spLocks/>
              </p:cNvSpPr>
              <p:nvPr/>
            </p:nvSpPr>
            <p:spPr bwMode="auto">
              <a:xfrm>
                <a:off x="3899" y="1375"/>
                <a:ext cx="5"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6" name="Freeform 1412"/>
              <p:cNvSpPr>
                <a:spLocks/>
              </p:cNvSpPr>
              <p:nvPr/>
            </p:nvSpPr>
            <p:spPr bwMode="auto">
              <a:xfrm>
                <a:off x="3713" y="1375"/>
                <a:ext cx="9" cy="10"/>
              </a:xfrm>
              <a:custGeom>
                <a:avLst/>
                <a:gdLst>
                  <a:gd name="T0" fmla="*/ 0 w 40"/>
                  <a:gd name="T1" fmla="*/ 0 h 47"/>
                  <a:gd name="T2" fmla="*/ 15 w 40"/>
                  <a:gd name="T3" fmla="*/ 0 h 47"/>
                  <a:gd name="T4" fmla="*/ 40 w 40"/>
                  <a:gd name="T5" fmla="*/ 32 h 47"/>
                  <a:gd name="T6" fmla="*/ 40 w 40"/>
                  <a:gd name="T7" fmla="*/ 47 h 47"/>
                  <a:gd name="T8" fmla="*/ 0 w 40"/>
                  <a:gd name="T9" fmla="*/ 0 h 47"/>
                </a:gdLst>
                <a:ahLst/>
                <a:cxnLst>
                  <a:cxn ang="0">
                    <a:pos x="T0" y="T1"/>
                  </a:cxn>
                  <a:cxn ang="0">
                    <a:pos x="T2" y="T3"/>
                  </a:cxn>
                  <a:cxn ang="0">
                    <a:pos x="T4" y="T5"/>
                  </a:cxn>
                  <a:cxn ang="0">
                    <a:pos x="T6" y="T7"/>
                  </a:cxn>
                  <a:cxn ang="0">
                    <a:pos x="T8" y="T9"/>
                  </a:cxn>
                </a:cxnLst>
                <a:rect l="0" t="0" r="r" b="b"/>
                <a:pathLst>
                  <a:path w="40" h="47">
                    <a:moveTo>
                      <a:pt x="0" y="0"/>
                    </a:moveTo>
                    <a:lnTo>
                      <a:pt x="15" y="0"/>
                    </a:lnTo>
                    <a:lnTo>
                      <a:pt x="40" y="32"/>
                    </a:lnTo>
                    <a:lnTo>
                      <a:pt x="40"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7" name="Freeform 1413"/>
              <p:cNvSpPr>
                <a:spLocks/>
              </p:cNvSpPr>
              <p:nvPr/>
            </p:nvSpPr>
            <p:spPr bwMode="auto">
              <a:xfrm>
                <a:off x="3716" y="1375"/>
                <a:ext cx="6" cy="7"/>
              </a:xfrm>
              <a:custGeom>
                <a:avLst/>
                <a:gdLst>
                  <a:gd name="T0" fmla="*/ 0 w 25"/>
                  <a:gd name="T1" fmla="*/ 0 h 32"/>
                  <a:gd name="T2" fmla="*/ 25 w 25"/>
                  <a:gd name="T3" fmla="*/ 16 h 32"/>
                  <a:gd name="T4" fmla="*/ 25 w 25"/>
                  <a:gd name="T5" fmla="*/ 32 h 32"/>
                  <a:gd name="T6" fmla="*/ 25 w 25"/>
                  <a:gd name="T7" fmla="*/ 32 h 32"/>
                  <a:gd name="T8" fmla="*/ 0 w 25"/>
                  <a:gd name="T9" fmla="*/ 0 h 32"/>
                </a:gdLst>
                <a:ahLst/>
                <a:cxnLst>
                  <a:cxn ang="0">
                    <a:pos x="T0" y="T1"/>
                  </a:cxn>
                  <a:cxn ang="0">
                    <a:pos x="T2" y="T3"/>
                  </a:cxn>
                  <a:cxn ang="0">
                    <a:pos x="T4" y="T5"/>
                  </a:cxn>
                  <a:cxn ang="0">
                    <a:pos x="T6" y="T7"/>
                  </a:cxn>
                  <a:cxn ang="0">
                    <a:pos x="T8" y="T9"/>
                  </a:cxn>
                </a:cxnLst>
                <a:rect l="0" t="0" r="r" b="b"/>
                <a:pathLst>
                  <a:path w="25" h="32">
                    <a:moveTo>
                      <a:pt x="0" y="0"/>
                    </a:moveTo>
                    <a:lnTo>
                      <a:pt x="25" y="16"/>
                    </a:lnTo>
                    <a:lnTo>
                      <a:pt x="25" y="32"/>
                    </a:lnTo>
                    <a:lnTo>
                      <a:pt x="25"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8" name="Rectangle 1414"/>
              <p:cNvSpPr>
                <a:spLocks noChangeArrowheads="1"/>
              </p:cNvSpPr>
              <p:nvPr/>
            </p:nvSpPr>
            <p:spPr bwMode="auto">
              <a:xfrm>
                <a:off x="3770"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9" name="Rectangle 1415"/>
              <p:cNvSpPr>
                <a:spLocks noChangeArrowheads="1"/>
              </p:cNvSpPr>
              <p:nvPr/>
            </p:nvSpPr>
            <p:spPr bwMode="auto">
              <a:xfrm>
                <a:off x="3789"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0" name="Rectangle 1416"/>
              <p:cNvSpPr>
                <a:spLocks noChangeArrowheads="1"/>
              </p:cNvSpPr>
              <p:nvPr/>
            </p:nvSpPr>
            <p:spPr bwMode="auto">
              <a:xfrm>
                <a:off x="3808"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1" name="Rectangle 1417"/>
              <p:cNvSpPr>
                <a:spLocks noChangeArrowheads="1"/>
              </p:cNvSpPr>
              <p:nvPr/>
            </p:nvSpPr>
            <p:spPr bwMode="auto">
              <a:xfrm>
                <a:off x="3827"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2" name="Rectangle 1418"/>
              <p:cNvSpPr>
                <a:spLocks noChangeArrowheads="1"/>
              </p:cNvSpPr>
              <p:nvPr/>
            </p:nvSpPr>
            <p:spPr bwMode="auto">
              <a:xfrm>
                <a:off x="3846"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3" name="Rectangle 1419"/>
              <p:cNvSpPr>
                <a:spLocks noChangeArrowheads="1"/>
              </p:cNvSpPr>
              <p:nvPr/>
            </p:nvSpPr>
            <p:spPr bwMode="auto">
              <a:xfrm>
                <a:off x="3850"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4" name="Rectangle 1420"/>
              <p:cNvSpPr>
                <a:spLocks noChangeArrowheads="1"/>
              </p:cNvSpPr>
              <p:nvPr/>
            </p:nvSpPr>
            <p:spPr bwMode="auto">
              <a:xfrm>
                <a:off x="3831"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5" name="Rectangle 1421"/>
              <p:cNvSpPr>
                <a:spLocks noChangeArrowheads="1"/>
              </p:cNvSpPr>
              <p:nvPr/>
            </p:nvSpPr>
            <p:spPr bwMode="auto">
              <a:xfrm>
                <a:off x="3812"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6" name="Rectangle 1422"/>
              <p:cNvSpPr>
                <a:spLocks noChangeArrowheads="1"/>
              </p:cNvSpPr>
              <p:nvPr/>
            </p:nvSpPr>
            <p:spPr bwMode="auto">
              <a:xfrm>
                <a:off x="379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7" name="Rectangle 1423"/>
              <p:cNvSpPr>
                <a:spLocks noChangeArrowheads="1"/>
              </p:cNvSpPr>
              <p:nvPr/>
            </p:nvSpPr>
            <p:spPr bwMode="auto">
              <a:xfrm>
                <a:off x="377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8" name="Freeform 1424"/>
              <p:cNvSpPr>
                <a:spLocks/>
              </p:cNvSpPr>
              <p:nvPr/>
            </p:nvSpPr>
            <p:spPr bwMode="auto">
              <a:xfrm>
                <a:off x="3763"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3 w 415"/>
                  <a:gd name="T31" fmla="*/ 12 h 40"/>
                  <a:gd name="T32" fmla="*/ 113 w 415"/>
                  <a:gd name="T33" fmla="*/ 0 h 40"/>
                  <a:gd name="T34" fmla="*/ 49 w 415"/>
                  <a:gd name="T35" fmla="*/ 0 h 40"/>
                  <a:gd name="T36" fmla="*/ 49 w 415"/>
                  <a:gd name="T37" fmla="*/ 12 h 40"/>
                  <a:gd name="T38" fmla="*/ 29 w 415"/>
                  <a:gd name="T39" fmla="*/ 12 h 40"/>
                  <a:gd name="T40" fmla="*/ 29 w 415"/>
                  <a:gd name="T41" fmla="*/ 0 h 40"/>
                  <a:gd name="T42" fmla="*/ 16 w 415"/>
                  <a:gd name="T43" fmla="*/ 0 h 40"/>
                  <a:gd name="T44" fmla="*/ 5 w 415"/>
                  <a:gd name="T45" fmla="*/ 0 h 40"/>
                  <a:gd name="T46" fmla="*/ 0 w 415"/>
                  <a:gd name="T47" fmla="*/ 4 h 40"/>
                  <a:gd name="T48" fmla="*/ 0 w 415"/>
                  <a:gd name="T49" fmla="*/ 36 h 40"/>
                  <a:gd name="T50" fmla="*/ 5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3" y="12"/>
                    </a:lnTo>
                    <a:lnTo>
                      <a:pt x="113" y="0"/>
                    </a:lnTo>
                    <a:lnTo>
                      <a:pt x="49" y="0"/>
                    </a:lnTo>
                    <a:lnTo>
                      <a:pt x="49" y="12"/>
                    </a:lnTo>
                    <a:lnTo>
                      <a:pt x="29" y="12"/>
                    </a:lnTo>
                    <a:lnTo>
                      <a:pt x="29" y="0"/>
                    </a:lnTo>
                    <a:lnTo>
                      <a:pt x="16" y="0"/>
                    </a:lnTo>
                    <a:lnTo>
                      <a:pt x="5" y="0"/>
                    </a:lnTo>
                    <a:cubicBezTo>
                      <a:pt x="2" y="0"/>
                      <a:pt x="0" y="2"/>
                      <a:pt x="0" y="4"/>
                    </a:cubicBezTo>
                    <a:lnTo>
                      <a:pt x="0" y="36"/>
                    </a:lnTo>
                    <a:cubicBezTo>
                      <a:pt x="0" y="38"/>
                      <a:pt x="2" y="40"/>
                      <a:pt x="5"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9" name="Freeform 1425"/>
              <p:cNvSpPr>
                <a:spLocks/>
              </p:cNvSpPr>
              <p:nvPr/>
            </p:nvSpPr>
            <p:spPr bwMode="auto">
              <a:xfrm>
                <a:off x="3873" y="1494"/>
                <a:ext cx="26" cy="4"/>
              </a:xfrm>
              <a:custGeom>
                <a:avLst/>
                <a:gdLst>
                  <a:gd name="T0" fmla="*/ 111 w 111"/>
                  <a:gd name="T1" fmla="*/ 0 h 17"/>
                  <a:gd name="T2" fmla="*/ 102 w 111"/>
                  <a:gd name="T3" fmla="*/ 17 h 17"/>
                  <a:gd name="T4" fmla="*/ 0 w 111"/>
                  <a:gd name="T5" fmla="*/ 17 h 17"/>
                  <a:gd name="T6" fmla="*/ 96 w 111"/>
                  <a:gd name="T7" fmla="*/ 8 h 17"/>
                  <a:gd name="T8" fmla="*/ 91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99" y="3"/>
                      <a:pt x="91" y="0"/>
                      <a:pt x="91"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Freeform 1426"/>
              <p:cNvSpPr>
                <a:spLocks/>
              </p:cNvSpPr>
              <p:nvPr/>
            </p:nvSpPr>
            <p:spPr bwMode="auto">
              <a:xfrm>
                <a:off x="3722" y="1494"/>
                <a:ext cx="25" cy="4"/>
              </a:xfrm>
              <a:custGeom>
                <a:avLst/>
                <a:gdLst>
                  <a:gd name="T0" fmla="*/ 0 w 112"/>
                  <a:gd name="T1" fmla="*/ 0 h 17"/>
                  <a:gd name="T2" fmla="*/ 10 w 112"/>
                  <a:gd name="T3" fmla="*/ 17 h 17"/>
                  <a:gd name="T4" fmla="*/ 112 w 112"/>
                  <a:gd name="T5" fmla="*/ 17 h 17"/>
                  <a:gd name="T6" fmla="*/ 16 w 112"/>
                  <a:gd name="T7" fmla="*/ 8 h 17"/>
                  <a:gd name="T8" fmla="*/ 20 w 112"/>
                  <a:gd name="T9" fmla="*/ 0 h 17"/>
                  <a:gd name="T10" fmla="*/ 0 w 112"/>
                  <a:gd name="T11" fmla="*/ 0 h 17"/>
                  <a:gd name="T12" fmla="*/ 0 w 11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2" h="17">
                    <a:moveTo>
                      <a:pt x="0" y="0"/>
                    </a:moveTo>
                    <a:lnTo>
                      <a:pt x="10" y="17"/>
                    </a:lnTo>
                    <a:lnTo>
                      <a:pt x="112" y="17"/>
                    </a:lnTo>
                    <a:cubicBezTo>
                      <a:pt x="112" y="17"/>
                      <a:pt x="19" y="13"/>
                      <a:pt x="16" y="8"/>
                    </a:cubicBezTo>
                    <a:cubicBezTo>
                      <a:pt x="12" y="3"/>
                      <a:pt x="20" y="0"/>
                      <a:pt x="20"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1" name="Freeform 1427"/>
              <p:cNvSpPr>
                <a:spLocks/>
              </p:cNvSpPr>
              <p:nvPr/>
            </p:nvSpPr>
            <p:spPr bwMode="auto">
              <a:xfrm>
                <a:off x="3884" y="1383"/>
                <a:ext cx="15" cy="111"/>
              </a:xfrm>
              <a:custGeom>
                <a:avLst/>
                <a:gdLst>
                  <a:gd name="T0" fmla="*/ 46 w 62"/>
                  <a:gd name="T1" fmla="*/ 0 h 488"/>
                  <a:gd name="T2" fmla="*/ 62 w 62"/>
                  <a:gd name="T3" fmla="*/ 0 h 488"/>
                  <a:gd name="T4" fmla="*/ 62 w 62"/>
                  <a:gd name="T5" fmla="*/ 488 h 488"/>
                  <a:gd name="T6" fmla="*/ 0 w 62"/>
                  <a:gd name="T7" fmla="*/ 488 h 488"/>
                  <a:gd name="T8" fmla="*/ 46 w 62"/>
                  <a:gd name="T9" fmla="*/ 0 h 488"/>
                </a:gdLst>
                <a:ahLst/>
                <a:cxnLst>
                  <a:cxn ang="0">
                    <a:pos x="T0" y="T1"/>
                  </a:cxn>
                  <a:cxn ang="0">
                    <a:pos x="T2" y="T3"/>
                  </a:cxn>
                  <a:cxn ang="0">
                    <a:pos x="T4" y="T5"/>
                  </a:cxn>
                  <a:cxn ang="0">
                    <a:pos x="T6" y="T7"/>
                  </a:cxn>
                  <a:cxn ang="0">
                    <a:pos x="T8" y="T9"/>
                  </a:cxn>
                </a:cxnLst>
                <a:rect l="0" t="0" r="r" b="b"/>
                <a:pathLst>
                  <a:path w="62" h="488">
                    <a:moveTo>
                      <a:pt x="46" y="0"/>
                    </a:moveTo>
                    <a:lnTo>
                      <a:pt x="62" y="0"/>
                    </a:lnTo>
                    <a:lnTo>
                      <a:pt x="62" y="488"/>
                    </a:lnTo>
                    <a:lnTo>
                      <a:pt x="0" y="488"/>
                    </a:lnTo>
                    <a:lnTo>
                      <a:pt x="46"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Freeform 1428"/>
              <p:cNvSpPr>
                <a:spLocks/>
              </p:cNvSpPr>
              <p:nvPr/>
            </p:nvSpPr>
            <p:spPr bwMode="auto">
              <a:xfrm>
                <a:off x="3722"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3" name="Rectangle 1429"/>
              <p:cNvSpPr>
                <a:spLocks noChangeArrowheads="1"/>
              </p:cNvSpPr>
              <p:nvPr/>
            </p:nvSpPr>
            <p:spPr bwMode="auto">
              <a:xfrm>
                <a:off x="3867"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4" name="Rectangle 1430"/>
              <p:cNvSpPr>
                <a:spLocks noChangeArrowheads="1"/>
              </p:cNvSpPr>
              <p:nvPr/>
            </p:nvSpPr>
            <p:spPr bwMode="auto">
              <a:xfrm>
                <a:off x="3740"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5" name="Rectangle 1431"/>
              <p:cNvSpPr>
                <a:spLocks noChangeArrowheads="1"/>
              </p:cNvSpPr>
              <p:nvPr/>
            </p:nvSpPr>
            <p:spPr bwMode="auto">
              <a:xfrm>
                <a:off x="3731" y="1384"/>
                <a:ext cx="159"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6" name="Rectangle 1432"/>
              <p:cNvSpPr>
                <a:spLocks noChangeArrowheads="1"/>
              </p:cNvSpPr>
              <p:nvPr/>
            </p:nvSpPr>
            <p:spPr bwMode="auto">
              <a:xfrm>
                <a:off x="3731" y="1383"/>
                <a:ext cx="15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7" name="Rectangle 1433"/>
              <p:cNvSpPr>
                <a:spLocks noChangeArrowheads="1"/>
              </p:cNvSpPr>
              <p:nvPr/>
            </p:nvSpPr>
            <p:spPr bwMode="auto">
              <a:xfrm>
                <a:off x="4039" y="1383"/>
                <a:ext cx="172" cy="11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8" name="Rectangle 1434"/>
              <p:cNvSpPr>
                <a:spLocks noChangeArrowheads="1"/>
              </p:cNvSpPr>
              <p:nvPr/>
            </p:nvSpPr>
            <p:spPr bwMode="auto">
              <a:xfrm>
                <a:off x="4057" y="1392"/>
                <a:ext cx="136"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9" name="Rectangle 1435"/>
              <p:cNvSpPr>
                <a:spLocks noChangeArrowheads="1"/>
              </p:cNvSpPr>
              <p:nvPr/>
            </p:nvSpPr>
            <p:spPr bwMode="auto">
              <a:xfrm>
                <a:off x="415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0" name="Rectangle 1436"/>
              <p:cNvSpPr>
                <a:spLocks noChangeArrowheads="1"/>
              </p:cNvSpPr>
              <p:nvPr/>
            </p:nvSpPr>
            <p:spPr bwMode="auto">
              <a:xfrm>
                <a:off x="4163"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1" name="Rectangle 1437"/>
              <p:cNvSpPr>
                <a:spLocks noChangeArrowheads="1"/>
              </p:cNvSpPr>
              <p:nvPr/>
            </p:nvSpPr>
            <p:spPr bwMode="auto">
              <a:xfrm>
                <a:off x="413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2" name="Rectangle 1438"/>
              <p:cNvSpPr>
                <a:spLocks noChangeArrowheads="1"/>
              </p:cNvSpPr>
              <p:nvPr/>
            </p:nvSpPr>
            <p:spPr bwMode="auto">
              <a:xfrm>
                <a:off x="4146"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3" name="Rectangle 1439"/>
              <p:cNvSpPr>
                <a:spLocks noChangeArrowheads="1"/>
              </p:cNvSpPr>
              <p:nvPr/>
            </p:nvSpPr>
            <p:spPr bwMode="auto">
              <a:xfrm>
                <a:off x="4121"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4" name="Rectangle 1440"/>
              <p:cNvSpPr>
                <a:spLocks noChangeArrowheads="1"/>
              </p:cNvSpPr>
              <p:nvPr/>
            </p:nvSpPr>
            <p:spPr bwMode="auto">
              <a:xfrm>
                <a:off x="4129"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5" name="Rectangle 1441"/>
              <p:cNvSpPr>
                <a:spLocks noChangeArrowheads="1"/>
              </p:cNvSpPr>
              <p:nvPr/>
            </p:nvSpPr>
            <p:spPr bwMode="auto">
              <a:xfrm>
                <a:off x="410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6" name="Rectangle 1442"/>
              <p:cNvSpPr>
                <a:spLocks noChangeArrowheads="1"/>
              </p:cNvSpPr>
              <p:nvPr/>
            </p:nvSpPr>
            <p:spPr bwMode="auto">
              <a:xfrm>
                <a:off x="4112"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7" name="Rectangle 1443"/>
              <p:cNvSpPr>
                <a:spLocks noChangeArrowheads="1"/>
              </p:cNvSpPr>
              <p:nvPr/>
            </p:nvSpPr>
            <p:spPr bwMode="auto">
              <a:xfrm>
                <a:off x="408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8" name="Rectangle 1444"/>
              <p:cNvSpPr>
                <a:spLocks noChangeArrowheads="1"/>
              </p:cNvSpPr>
              <p:nvPr/>
            </p:nvSpPr>
            <p:spPr bwMode="auto">
              <a:xfrm>
                <a:off x="4095"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9" name="Rectangle 1445"/>
              <p:cNvSpPr>
                <a:spLocks noChangeArrowheads="1"/>
              </p:cNvSpPr>
              <p:nvPr/>
            </p:nvSpPr>
            <p:spPr bwMode="auto">
              <a:xfrm>
                <a:off x="4028"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0" name="Rectangle 1446"/>
              <p:cNvSpPr>
                <a:spLocks noChangeArrowheads="1"/>
              </p:cNvSpPr>
              <p:nvPr/>
            </p:nvSpPr>
            <p:spPr bwMode="auto">
              <a:xfrm>
                <a:off x="4213" y="1432"/>
                <a:ext cx="10"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1" name="Rectangle 1447"/>
              <p:cNvSpPr>
                <a:spLocks noChangeArrowheads="1"/>
              </p:cNvSpPr>
              <p:nvPr/>
            </p:nvSpPr>
            <p:spPr bwMode="auto">
              <a:xfrm>
                <a:off x="4039"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2" name="Freeform 1448"/>
              <p:cNvSpPr>
                <a:spLocks noEditPoints="1"/>
              </p:cNvSpPr>
              <p:nvPr/>
            </p:nvSpPr>
            <p:spPr bwMode="auto">
              <a:xfrm>
                <a:off x="4037" y="1383"/>
                <a:ext cx="176" cy="115"/>
              </a:xfrm>
              <a:custGeom>
                <a:avLst/>
                <a:gdLst>
                  <a:gd name="T0" fmla="*/ 0 w 777"/>
                  <a:gd name="T1" fmla="*/ 0 h 505"/>
                  <a:gd name="T2" fmla="*/ 0 w 777"/>
                  <a:gd name="T3" fmla="*/ 505 h 505"/>
                  <a:gd name="T4" fmla="*/ 172 w 777"/>
                  <a:gd name="T5" fmla="*/ 505 h 505"/>
                  <a:gd name="T6" fmla="*/ 172 w 777"/>
                  <a:gd name="T7" fmla="*/ 467 h 505"/>
                  <a:gd name="T8" fmla="*/ 172 w 777"/>
                  <a:gd name="T9" fmla="*/ 463 h 505"/>
                  <a:gd name="T10" fmla="*/ 70 w 777"/>
                  <a:gd name="T11" fmla="*/ 463 h 505"/>
                  <a:gd name="T12" fmla="*/ 70 w 777"/>
                  <a:gd name="T13" fmla="*/ 456 h 505"/>
                  <a:gd name="T14" fmla="*/ 181 w 777"/>
                  <a:gd name="T15" fmla="*/ 456 h 505"/>
                  <a:gd name="T16" fmla="*/ 181 w 777"/>
                  <a:gd name="T17" fmla="*/ 456 h 505"/>
                  <a:gd name="T18" fmla="*/ 201 w 777"/>
                  <a:gd name="T19" fmla="*/ 456 h 505"/>
                  <a:gd name="T20" fmla="*/ 201 w 777"/>
                  <a:gd name="T21" fmla="*/ 505 h 505"/>
                  <a:gd name="T22" fmla="*/ 220 w 777"/>
                  <a:gd name="T23" fmla="*/ 505 h 505"/>
                  <a:gd name="T24" fmla="*/ 557 w 777"/>
                  <a:gd name="T25" fmla="*/ 505 h 505"/>
                  <a:gd name="T26" fmla="*/ 577 w 777"/>
                  <a:gd name="T27" fmla="*/ 505 h 505"/>
                  <a:gd name="T28" fmla="*/ 577 w 777"/>
                  <a:gd name="T29" fmla="*/ 456 h 505"/>
                  <a:gd name="T30" fmla="*/ 578 w 777"/>
                  <a:gd name="T31" fmla="*/ 456 h 505"/>
                  <a:gd name="T32" fmla="*/ 578 w 777"/>
                  <a:gd name="T33" fmla="*/ 456 h 505"/>
                  <a:gd name="T34" fmla="*/ 597 w 777"/>
                  <a:gd name="T35" fmla="*/ 456 h 505"/>
                  <a:gd name="T36" fmla="*/ 597 w 777"/>
                  <a:gd name="T37" fmla="*/ 456 h 505"/>
                  <a:gd name="T38" fmla="*/ 708 w 777"/>
                  <a:gd name="T39" fmla="*/ 456 h 505"/>
                  <a:gd name="T40" fmla="*/ 708 w 777"/>
                  <a:gd name="T41" fmla="*/ 463 h 505"/>
                  <a:gd name="T42" fmla="*/ 607 w 777"/>
                  <a:gd name="T43" fmla="*/ 463 h 505"/>
                  <a:gd name="T44" fmla="*/ 607 w 777"/>
                  <a:gd name="T45" fmla="*/ 505 h 505"/>
                  <a:gd name="T46" fmla="*/ 777 w 777"/>
                  <a:gd name="T47" fmla="*/ 505 h 505"/>
                  <a:gd name="T48" fmla="*/ 777 w 777"/>
                  <a:gd name="T49" fmla="*/ 0 h 505"/>
                  <a:gd name="T50" fmla="*/ 0 w 777"/>
                  <a:gd name="T51" fmla="*/ 0 h 505"/>
                  <a:gd name="T52" fmla="*/ 0 w 777"/>
                  <a:gd name="T53" fmla="*/ 0 h 505"/>
                  <a:gd name="T54" fmla="*/ 142 w 777"/>
                  <a:gd name="T55" fmla="*/ 308 h 505"/>
                  <a:gd name="T56" fmla="*/ 78 w 777"/>
                  <a:gd name="T57" fmla="*/ 308 h 505"/>
                  <a:gd name="T58" fmla="*/ 78 w 777"/>
                  <a:gd name="T59" fmla="*/ 69 h 505"/>
                  <a:gd name="T60" fmla="*/ 142 w 777"/>
                  <a:gd name="T61" fmla="*/ 69 h 505"/>
                  <a:gd name="T62" fmla="*/ 142 w 777"/>
                  <a:gd name="T63" fmla="*/ 308 h 505"/>
                  <a:gd name="T64" fmla="*/ 452 w 777"/>
                  <a:gd name="T65" fmla="*/ 492 h 505"/>
                  <a:gd name="T66" fmla="*/ 328 w 777"/>
                  <a:gd name="T67" fmla="*/ 492 h 505"/>
                  <a:gd name="T68" fmla="*/ 328 w 777"/>
                  <a:gd name="T69" fmla="*/ 467 h 505"/>
                  <a:gd name="T70" fmla="*/ 452 w 777"/>
                  <a:gd name="T71" fmla="*/ 467 h 505"/>
                  <a:gd name="T72" fmla="*/ 452 w 777"/>
                  <a:gd name="T73" fmla="*/ 492 h 505"/>
                  <a:gd name="T74" fmla="*/ 705 w 777"/>
                  <a:gd name="T75" fmla="*/ 308 h 505"/>
                  <a:gd name="T76" fmla="*/ 641 w 777"/>
                  <a:gd name="T77" fmla="*/ 308 h 505"/>
                  <a:gd name="T78" fmla="*/ 641 w 777"/>
                  <a:gd name="T79" fmla="*/ 69 h 505"/>
                  <a:gd name="T80" fmla="*/ 705 w 777"/>
                  <a:gd name="T81" fmla="*/ 69 h 505"/>
                  <a:gd name="T82" fmla="*/ 705 w 777"/>
                  <a:gd name="T83" fmla="*/ 308 h 505"/>
                  <a:gd name="T84" fmla="*/ 705 w 777"/>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7" h="505">
                    <a:moveTo>
                      <a:pt x="0" y="0"/>
                    </a:moveTo>
                    <a:lnTo>
                      <a:pt x="0" y="505"/>
                    </a:lnTo>
                    <a:lnTo>
                      <a:pt x="172" y="505"/>
                    </a:lnTo>
                    <a:lnTo>
                      <a:pt x="172" y="467"/>
                    </a:lnTo>
                    <a:lnTo>
                      <a:pt x="172" y="463"/>
                    </a:lnTo>
                    <a:lnTo>
                      <a:pt x="70" y="463"/>
                    </a:lnTo>
                    <a:lnTo>
                      <a:pt x="70" y="456"/>
                    </a:lnTo>
                    <a:lnTo>
                      <a:pt x="181" y="456"/>
                    </a:lnTo>
                    <a:lnTo>
                      <a:pt x="181" y="456"/>
                    </a:lnTo>
                    <a:lnTo>
                      <a:pt x="201" y="456"/>
                    </a:lnTo>
                    <a:lnTo>
                      <a:pt x="201" y="505"/>
                    </a:lnTo>
                    <a:lnTo>
                      <a:pt x="220" y="505"/>
                    </a:lnTo>
                    <a:lnTo>
                      <a:pt x="557" y="505"/>
                    </a:lnTo>
                    <a:lnTo>
                      <a:pt x="577" y="505"/>
                    </a:lnTo>
                    <a:lnTo>
                      <a:pt x="577" y="456"/>
                    </a:lnTo>
                    <a:lnTo>
                      <a:pt x="578" y="456"/>
                    </a:lnTo>
                    <a:lnTo>
                      <a:pt x="578" y="456"/>
                    </a:lnTo>
                    <a:lnTo>
                      <a:pt x="597" y="456"/>
                    </a:lnTo>
                    <a:lnTo>
                      <a:pt x="597" y="456"/>
                    </a:lnTo>
                    <a:lnTo>
                      <a:pt x="708" y="456"/>
                    </a:lnTo>
                    <a:lnTo>
                      <a:pt x="708" y="463"/>
                    </a:lnTo>
                    <a:lnTo>
                      <a:pt x="607" y="463"/>
                    </a:lnTo>
                    <a:lnTo>
                      <a:pt x="607" y="505"/>
                    </a:lnTo>
                    <a:lnTo>
                      <a:pt x="777" y="505"/>
                    </a:lnTo>
                    <a:lnTo>
                      <a:pt x="777" y="0"/>
                    </a:lnTo>
                    <a:lnTo>
                      <a:pt x="0" y="0"/>
                    </a:lnTo>
                    <a:lnTo>
                      <a:pt x="0" y="0"/>
                    </a:lnTo>
                    <a:close/>
                    <a:moveTo>
                      <a:pt x="142" y="308"/>
                    </a:moveTo>
                    <a:lnTo>
                      <a:pt x="78" y="308"/>
                    </a:lnTo>
                    <a:lnTo>
                      <a:pt x="78" y="69"/>
                    </a:lnTo>
                    <a:lnTo>
                      <a:pt x="142" y="69"/>
                    </a:lnTo>
                    <a:lnTo>
                      <a:pt x="142" y="308"/>
                    </a:lnTo>
                    <a:close/>
                    <a:moveTo>
                      <a:pt x="452" y="492"/>
                    </a:moveTo>
                    <a:lnTo>
                      <a:pt x="328" y="492"/>
                    </a:lnTo>
                    <a:lnTo>
                      <a:pt x="328" y="467"/>
                    </a:lnTo>
                    <a:lnTo>
                      <a:pt x="452" y="467"/>
                    </a:lnTo>
                    <a:lnTo>
                      <a:pt x="452" y="492"/>
                    </a:lnTo>
                    <a:close/>
                    <a:moveTo>
                      <a:pt x="705" y="308"/>
                    </a:moveTo>
                    <a:lnTo>
                      <a:pt x="641" y="308"/>
                    </a:lnTo>
                    <a:lnTo>
                      <a:pt x="641" y="69"/>
                    </a:lnTo>
                    <a:lnTo>
                      <a:pt x="705" y="69"/>
                    </a:lnTo>
                    <a:lnTo>
                      <a:pt x="705" y="308"/>
                    </a:lnTo>
                    <a:lnTo>
                      <a:pt x="705"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3" name="Freeform 1449"/>
              <p:cNvSpPr>
                <a:spLocks/>
              </p:cNvSpPr>
              <p:nvPr/>
            </p:nvSpPr>
            <p:spPr bwMode="auto">
              <a:xfrm>
                <a:off x="4213" y="1375"/>
                <a:ext cx="10"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Freeform 1450"/>
              <p:cNvSpPr>
                <a:spLocks/>
              </p:cNvSpPr>
              <p:nvPr/>
            </p:nvSpPr>
            <p:spPr bwMode="auto">
              <a:xfrm>
                <a:off x="4213" y="1375"/>
                <a:ext cx="6"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5" name="Freeform 1451"/>
              <p:cNvSpPr>
                <a:spLocks/>
              </p:cNvSpPr>
              <p:nvPr/>
            </p:nvSpPr>
            <p:spPr bwMode="auto">
              <a:xfrm>
                <a:off x="4028" y="1375"/>
                <a:ext cx="9" cy="10"/>
              </a:xfrm>
              <a:custGeom>
                <a:avLst/>
                <a:gdLst>
                  <a:gd name="T0" fmla="*/ 0 w 41"/>
                  <a:gd name="T1" fmla="*/ 0 h 47"/>
                  <a:gd name="T2" fmla="*/ 15 w 41"/>
                  <a:gd name="T3" fmla="*/ 0 h 47"/>
                  <a:gd name="T4" fmla="*/ 41 w 41"/>
                  <a:gd name="T5" fmla="*/ 32 h 47"/>
                  <a:gd name="T6" fmla="*/ 41 w 41"/>
                  <a:gd name="T7" fmla="*/ 47 h 47"/>
                  <a:gd name="T8" fmla="*/ 0 w 41"/>
                  <a:gd name="T9" fmla="*/ 0 h 47"/>
                </a:gdLst>
                <a:ahLst/>
                <a:cxnLst>
                  <a:cxn ang="0">
                    <a:pos x="T0" y="T1"/>
                  </a:cxn>
                  <a:cxn ang="0">
                    <a:pos x="T2" y="T3"/>
                  </a:cxn>
                  <a:cxn ang="0">
                    <a:pos x="T4" y="T5"/>
                  </a:cxn>
                  <a:cxn ang="0">
                    <a:pos x="T6" y="T7"/>
                  </a:cxn>
                  <a:cxn ang="0">
                    <a:pos x="T8" y="T9"/>
                  </a:cxn>
                </a:cxnLst>
                <a:rect l="0" t="0" r="r" b="b"/>
                <a:pathLst>
                  <a:path w="41" h="47">
                    <a:moveTo>
                      <a:pt x="0" y="0"/>
                    </a:moveTo>
                    <a:lnTo>
                      <a:pt x="15" y="0"/>
                    </a:lnTo>
                    <a:lnTo>
                      <a:pt x="41" y="32"/>
                    </a:lnTo>
                    <a:lnTo>
                      <a:pt x="41"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Freeform 1452"/>
              <p:cNvSpPr>
                <a:spLocks/>
              </p:cNvSpPr>
              <p:nvPr/>
            </p:nvSpPr>
            <p:spPr bwMode="auto">
              <a:xfrm>
                <a:off x="4031" y="1375"/>
                <a:ext cx="6" cy="7"/>
              </a:xfrm>
              <a:custGeom>
                <a:avLst/>
                <a:gdLst>
                  <a:gd name="T0" fmla="*/ 0 w 26"/>
                  <a:gd name="T1" fmla="*/ 0 h 32"/>
                  <a:gd name="T2" fmla="*/ 26 w 26"/>
                  <a:gd name="T3" fmla="*/ 16 h 32"/>
                  <a:gd name="T4" fmla="*/ 26 w 26"/>
                  <a:gd name="T5" fmla="*/ 32 h 32"/>
                  <a:gd name="T6" fmla="*/ 26 w 26"/>
                  <a:gd name="T7" fmla="*/ 32 h 32"/>
                  <a:gd name="T8" fmla="*/ 0 w 26"/>
                  <a:gd name="T9" fmla="*/ 0 h 32"/>
                </a:gdLst>
                <a:ahLst/>
                <a:cxnLst>
                  <a:cxn ang="0">
                    <a:pos x="T0" y="T1"/>
                  </a:cxn>
                  <a:cxn ang="0">
                    <a:pos x="T2" y="T3"/>
                  </a:cxn>
                  <a:cxn ang="0">
                    <a:pos x="T4" y="T5"/>
                  </a:cxn>
                  <a:cxn ang="0">
                    <a:pos x="T6" y="T7"/>
                  </a:cxn>
                  <a:cxn ang="0">
                    <a:pos x="T8" y="T9"/>
                  </a:cxn>
                </a:cxnLst>
                <a:rect l="0" t="0" r="r" b="b"/>
                <a:pathLst>
                  <a:path w="26" h="32">
                    <a:moveTo>
                      <a:pt x="0" y="0"/>
                    </a:moveTo>
                    <a:lnTo>
                      <a:pt x="26" y="16"/>
                    </a:lnTo>
                    <a:lnTo>
                      <a:pt x="26" y="32"/>
                    </a:lnTo>
                    <a:lnTo>
                      <a:pt x="26"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7" name="Rectangle 1453"/>
              <p:cNvSpPr>
                <a:spLocks noChangeArrowheads="1"/>
              </p:cNvSpPr>
              <p:nvPr/>
            </p:nvSpPr>
            <p:spPr bwMode="auto">
              <a:xfrm>
                <a:off x="4085"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8" name="Rectangle 1454"/>
              <p:cNvSpPr>
                <a:spLocks noChangeArrowheads="1"/>
              </p:cNvSpPr>
              <p:nvPr/>
            </p:nvSpPr>
            <p:spPr bwMode="auto">
              <a:xfrm>
                <a:off x="4104"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9" name="Rectangle 1455"/>
              <p:cNvSpPr>
                <a:spLocks noChangeArrowheads="1"/>
              </p:cNvSpPr>
              <p:nvPr/>
            </p:nvSpPr>
            <p:spPr bwMode="auto">
              <a:xfrm>
                <a:off x="4123"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0" name="Rectangle 1456"/>
              <p:cNvSpPr>
                <a:spLocks noChangeArrowheads="1"/>
              </p:cNvSpPr>
              <p:nvPr/>
            </p:nvSpPr>
            <p:spPr bwMode="auto">
              <a:xfrm>
                <a:off x="4142"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1" name="Rectangle 1457"/>
              <p:cNvSpPr>
                <a:spLocks noChangeArrowheads="1"/>
              </p:cNvSpPr>
              <p:nvPr/>
            </p:nvSpPr>
            <p:spPr bwMode="auto">
              <a:xfrm>
                <a:off x="4161"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2" name="Rectangle 1458"/>
              <p:cNvSpPr>
                <a:spLocks noChangeArrowheads="1"/>
              </p:cNvSpPr>
              <p:nvPr/>
            </p:nvSpPr>
            <p:spPr bwMode="auto">
              <a:xfrm>
                <a:off x="4165"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3" name="Rectangle 1459"/>
              <p:cNvSpPr>
                <a:spLocks noChangeArrowheads="1"/>
              </p:cNvSpPr>
              <p:nvPr/>
            </p:nvSpPr>
            <p:spPr bwMode="auto">
              <a:xfrm>
                <a:off x="414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4" name="Rectangle 1460"/>
              <p:cNvSpPr>
                <a:spLocks noChangeArrowheads="1"/>
              </p:cNvSpPr>
              <p:nvPr/>
            </p:nvSpPr>
            <p:spPr bwMode="auto">
              <a:xfrm>
                <a:off x="412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5" name="Rectangle 1461"/>
              <p:cNvSpPr>
                <a:spLocks noChangeArrowheads="1"/>
              </p:cNvSpPr>
              <p:nvPr/>
            </p:nvSpPr>
            <p:spPr bwMode="auto">
              <a:xfrm>
                <a:off x="4107"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6" name="Rectangle 1462"/>
              <p:cNvSpPr>
                <a:spLocks noChangeArrowheads="1"/>
              </p:cNvSpPr>
              <p:nvPr/>
            </p:nvSpPr>
            <p:spPr bwMode="auto">
              <a:xfrm>
                <a:off x="4088"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7" name="Freeform 1463"/>
              <p:cNvSpPr>
                <a:spLocks/>
              </p:cNvSpPr>
              <p:nvPr/>
            </p:nvSpPr>
            <p:spPr bwMode="auto">
              <a:xfrm>
                <a:off x="4078"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4 w 415"/>
                  <a:gd name="T31" fmla="*/ 12 h 40"/>
                  <a:gd name="T32" fmla="*/ 114 w 415"/>
                  <a:gd name="T33" fmla="*/ 0 h 40"/>
                  <a:gd name="T34" fmla="*/ 49 w 415"/>
                  <a:gd name="T35" fmla="*/ 0 h 40"/>
                  <a:gd name="T36" fmla="*/ 49 w 415"/>
                  <a:gd name="T37" fmla="*/ 12 h 40"/>
                  <a:gd name="T38" fmla="*/ 30 w 415"/>
                  <a:gd name="T39" fmla="*/ 12 h 40"/>
                  <a:gd name="T40" fmla="*/ 30 w 415"/>
                  <a:gd name="T41" fmla="*/ 0 h 40"/>
                  <a:gd name="T42" fmla="*/ 17 w 415"/>
                  <a:gd name="T43" fmla="*/ 0 h 40"/>
                  <a:gd name="T44" fmla="*/ 6 w 415"/>
                  <a:gd name="T45" fmla="*/ 0 h 40"/>
                  <a:gd name="T46" fmla="*/ 0 w 415"/>
                  <a:gd name="T47" fmla="*/ 4 h 40"/>
                  <a:gd name="T48" fmla="*/ 0 w 415"/>
                  <a:gd name="T49" fmla="*/ 36 h 40"/>
                  <a:gd name="T50" fmla="*/ 6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4" y="12"/>
                    </a:lnTo>
                    <a:lnTo>
                      <a:pt x="114" y="0"/>
                    </a:lnTo>
                    <a:lnTo>
                      <a:pt x="49" y="0"/>
                    </a:lnTo>
                    <a:lnTo>
                      <a:pt x="49" y="12"/>
                    </a:lnTo>
                    <a:lnTo>
                      <a:pt x="30" y="12"/>
                    </a:lnTo>
                    <a:lnTo>
                      <a:pt x="30" y="0"/>
                    </a:lnTo>
                    <a:lnTo>
                      <a:pt x="17" y="0"/>
                    </a:lnTo>
                    <a:lnTo>
                      <a:pt x="6" y="0"/>
                    </a:lnTo>
                    <a:cubicBezTo>
                      <a:pt x="2" y="0"/>
                      <a:pt x="0" y="2"/>
                      <a:pt x="0" y="4"/>
                    </a:cubicBezTo>
                    <a:lnTo>
                      <a:pt x="0" y="36"/>
                    </a:lnTo>
                    <a:cubicBezTo>
                      <a:pt x="0" y="38"/>
                      <a:pt x="2" y="40"/>
                      <a:pt x="6"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Freeform 1464"/>
              <p:cNvSpPr>
                <a:spLocks/>
              </p:cNvSpPr>
              <p:nvPr/>
            </p:nvSpPr>
            <p:spPr bwMode="auto">
              <a:xfrm>
                <a:off x="4188" y="1494"/>
                <a:ext cx="25" cy="4"/>
              </a:xfrm>
              <a:custGeom>
                <a:avLst/>
                <a:gdLst>
                  <a:gd name="T0" fmla="*/ 111 w 111"/>
                  <a:gd name="T1" fmla="*/ 0 h 17"/>
                  <a:gd name="T2" fmla="*/ 102 w 111"/>
                  <a:gd name="T3" fmla="*/ 17 h 17"/>
                  <a:gd name="T4" fmla="*/ 0 w 111"/>
                  <a:gd name="T5" fmla="*/ 17 h 17"/>
                  <a:gd name="T6" fmla="*/ 96 w 111"/>
                  <a:gd name="T7" fmla="*/ 8 h 17"/>
                  <a:gd name="T8" fmla="*/ 92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100" y="3"/>
                      <a:pt x="92" y="0"/>
                      <a:pt x="92"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9" name="Freeform 1465"/>
              <p:cNvSpPr>
                <a:spLocks/>
              </p:cNvSpPr>
              <p:nvPr/>
            </p:nvSpPr>
            <p:spPr bwMode="auto">
              <a:xfrm>
                <a:off x="4037" y="1494"/>
                <a:ext cx="25" cy="4"/>
              </a:xfrm>
              <a:custGeom>
                <a:avLst/>
                <a:gdLst>
                  <a:gd name="T0" fmla="*/ 0 w 111"/>
                  <a:gd name="T1" fmla="*/ 0 h 17"/>
                  <a:gd name="T2" fmla="*/ 9 w 111"/>
                  <a:gd name="T3" fmla="*/ 17 h 17"/>
                  <a:gd name="T4" fmla="*/ 111 w 111"/>
                  <a:gd name="T5" fmla="*/ 17 h 17"/>
                  <a:gd name="T6" fmla="*/ 15 w 111"/>
                  <a:gd name="T7" fmla="*/ 8 h 17"/>
                  <a:gd name="T8" fmla="*/ 19 w 111"/>
                  <a:gd name="T9" fmla="*/ 0 h 17"/>
                  <a:gd name="T10" fmla="*/ 0 w 111"/>
                  <a:gd name="T11" fmla="*/ 0 h 17"/>
                  <a:gd name="T12" fmla="*/ 0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0" y="0"/>
                    </a:moveTo>
                    <a:lnTo>
                      <a:pt x="9" y="17"/>
                    </a:lnTo>
                    <a:lnTo>
                      <a:pt x="111" y="17"/>
                    </a:lnTo>
                    <a:cubicBezTo>
                      <a:pt x="111" y="17"/>
                      <a:pt x="18" y="13"/>
                      <a:pt x="15" y="8"/>
                    </a:cubicBezTo>
                    <a:cubicBezTo>
                      <a:pt x="12" y="3"/>
                      <a:pt x="19" y="0"/>
                      <a:pt x="19"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Freeform 1466"/>
              <p:cNvSpPr>
                <a:spLocks/>
              </p:cNvSpPr>
              <p:nvPr/>
            </p:nvSpPr>
            <p:spPr bwMode="auto">
              <a:xfrm>
                <a:off x="4199" y="1383"/>
                <a:ext cx="14" cy="111"/>
              </a:xfrm>
              <a:custGeom>
                <a:avLst/>
                <a:gdLst>
                  <a:gd name="T0" fmla="*/ 45 w 61"/>
                  <a:gd name="T1" fmla="*/ 0 h 488"/>
                  <a:gd name="T2" fmla="*/ 61 w 61"/>
                  <a:gd name="T3" fmla="*/ 0 h 488"/>
                  <a:gd name="T4" fmla="*/ 61 w 61"/>
                  <a:gd name="T5" fmla="*/ 488 h 488"/>
                  <a:gd name="T6" fmla="*/ 0 w 61"/>
                  <a:gd name="T7" fmla="*/ 488 h 488"/>
                  <a:gd name="T8" fmla="*/ 45 w 61"/>
                  <a:gd name="T9" fmla="*/ 0 h 488"/>
                </a:gdLst>
                <a:ahLst/>
                <a:cxnLst>
                  <a:cxn ang="0">
                    <a:pos x="T0" y="T1"/>
                  </a:cxn>
                  <a:cxn ang="0">
                    <a:pos x="T2" y="T3"/>
                  </a:cxn>
                  <a:cxn ang="0">
                    <a:pos x="T4" y="T5"/>
                  </a:cxn>
                  <a:cxn ang="0">
                    <a:pos x="T6" y="T7"/>
                  </a:cxn>
                  <a:cxn ang="0">
                    <a:pos x="T8" y="T9"/>
                  </a:cxn>
                </a:cxnLst>
                <a:rect l="0" t="0" r="r" b="b"/>
                <a:pathLst>
                  <a:path w="61" h="488">
                    <a:moveTo>
                      <a:pt x="45" y="0"/>
                    </a:moveTo>
                    <a:lnTo>
                      <a:pt x="61" y="0"/>
                    </a:lnTo>
                    <a:lnTo>
                      <a:pt x="61" y="488"/>
                    </a:lnTo>
                    <a:lnTo>
                      <a:pt x="0" y="488"/>
                    </a:lnTo>
                    <a:lnTo>
                      <a:pt x="45"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1" name="Freeform 1467"/>
              <p:cNvSpPr>
                <a:spLocks/>
              </p:cNvSpPr>
              <p:nvPr/>
            </p:nvSpPr>
            <p:spPr bwMode="auto">
              <a:xfrm>
                <a:off x="4037"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Rectangle 1468"/>
              <p:cNvSpPr>
                <a:spLocks noChangeArrowheads="1"/>
              </p:cNvSpPr>
              <p:nvPr/>
            </p:nvSpPr>
            <p:spPr bwMode="auto">
              <a:xfrm>
                <a:off x="4182"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3" name="Rectangle 1469"/>
              <p:cNvSpPr>
                <a:spLocks noChangeArrowheads="1"/>
              </p:cNvSpPr>
              <p:nvPr/>
            </p:nvSpPr>
            <p:spPr bwMode="auto">
              <a:xfrm>
                <a:off x="4055"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4" name="Rectangle 1470"/>
              <p:cNvSpPr>
                <a:spLocks noChangeArrowheads="1"/>
              </p:cNvSpPr>
              <p:nvPr/>
            </p:nvSpPr>
            <p:spPr bwMode="auto">
              <a:xfrm>
                <a:off x="4045" y="1384"/>
                <a:ext cx="160"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5" name="Rectangle 1471"/>
              <p:cNvSpPr>
                <a:spLocks noChangeArrowheads="1"/>
              </p:cNvSpPr>
              <p:nvPr/>
            </p:nvSpPr>
            <p:spPr bwMode="auto">
              <a:xfrm>
                <a:off x="4045" y="1383"/>
                <a:ext cx="160"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6" name="Freeform 1472"/>
              <p:cNvSpPr>
                <a:spLocks/>
              </p:cNvSpPr>
              <p:nvPr/>
            </p:nvSpPr>
            <p:spPr bwMode="auto">
              <a:xfrm>
                <a:off x="3383" y="1330"/>
                <a:ext cx="49" cy="166"/>
              </a:xfrm>
              <a:custGeom>
                <a:avLst/>
                <a:gdLst>
                  <a:gd name="T0" fmla="*/ 167 w 217"/>
                  <a:gd name="T1" fmla="*/ 730 h 732"/>
                  <a:gd name="T2" fmla="*/ 155 w 217"/>
                  <a:gd name="T3" fmla="*/ 524 h 732"/>
                  <a:gd name="T4" fmla="*/ 166 w 217"/>
                  <a:gd name="T5" fmla="*/ 461 h 732"/>
                  <a:gd name="T6" fmla="*/ 144 w 217"/>
                  <a:gd name="T7" fmla="*/ 201 h 732"/>
                  <a:gd name="T8" fmla="*/ 0 w 217"/>
                  <a:gd name="T9" fmla="*/ 31 h 732"/>
                  <a:gd name="T10" fmla="*/ 0 w 217"/>
                  <a:gd name="T11" fmla="*/ 0 h 732"/>
                  <a:gd name="T12" fmla="*/ 178 w 217"/>
                  <a:gd name="T13" fmla="*/ 192 h 732"/>
                  <a:gd name="T14" fmla="*/ 201 w 217"/>
                  <a:gd name="T15" fmla="*/ 466 h 732"/>
                  <a:gd name="T16" fmla="*/ 190 w 217"/>
                  <a:gd name="T17" fmla="*/ 531 h 732"/>
                  <a:gd name="T18" fmla="*/ 169 w 217"/>
                  <a:gd name="T19" fmla="*/ 730 h 732"/>
                  <a:gd name="T20" fmla="*/ 167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167" y="730"/>
                    </a:moveTo>
                    <a:cubicBezTo>
                      <a:pt x="165" y="732"/>
                      <a:pt x="142" y="595"/>
                      <a:pt x="155" y="524"/>
                    </a:cubicBezTo>
                    <a:cubicBezTo>
                      <a:pt x="159" y="504"/>
                      <a:pt x="163" y="483"/>
                      <a:pt x="166" y="461"/>
                    </a:cubicBezTo>
                    <a:cubicBezTo>
                      <a:pt x="181" y="358"/>
                      <a:pt x="172" y="308"/>
                      <a:pt x="144" y="201"/>
                    </a:cubicBezTo>
                    <a:cubicBezTo>
                      <a:pt x="118" y="99"/>
                      <a:pt x="2" y="32"/>
                      <a:pt x="0" y="31"/>
                    </a:cubicBezTo>
                    <a:lnTo>
                      <a:pt x="0" y="0"/>
                    </a:lnTo>
                    <a:cubicBezTo>
                      <a:pt x="6" y="3"/>
                      <a:pt x="148" y="76"/>
                      <a:pt x="178" y="192"/>
                    </a:cubicBezTo>
                    <a:cubicBezTo>
                      <a:pt x="207" y="302"/>
                      <a:pt x="217" y="357"/>
                      <a:pt x="201" y="466"/>
                    </a:cubicBezTo>
                    <a:cubicBezTo>
                      <a:pt x="197" y="489"/>
                      <a:pt x="193" y="510"/>
                      <a:pt x="190" y="531"/>
                    </a:cubicBezTo>
                    <a:cubicBezTo>
                      <a:pt x="177" y="601"/>
                      <a:pt x="168" y="732"/>
                      <a:pt x="169" y="730"/>
                    </a:cubicBezTo>
                    <a:lnTo>
                      <a:pt x="167"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7" name="Freeform 1473"/>
              <p:cNvSpPr>
                <a:spLocks/>
              </p:cNvSpPr>
              <p:nvPr/>
            </p:nvSpPr>
            <p:spPr bwMode="auto">
              <a:xfrm>
                <a:off x="3383" y="1330"/>
                <a:ext cx="44" cy="166"/>
              </a:xfrm>
              <a:custGeom>
                <a:avLst/>
                <a:gdLst>
                  <a:gd name="T0" fmla="*/ 181 w 193"/>
                  <a:gd name="T1" fmla="*/ 729 h 732"/>
                  <a:gd name="T2" fmla="*/ 167 w 193"/>
                  <a:gd name="T3" fmla="*/ 730 h 732"/>
                  <a:gd name="T4" fmla="*/ 166 w 193"/>
                  <a:gd name="T5" fmla="*/ 524 h 732"/>
                  <a:gd name="T6" fmla="*/ 177 w 193"/>
                  <a:gd name="T7" fmla="*/ 460 h 732"/>
                  <a:gd name="T8" fmla="*/ 156 w 193"/>
                  <a:gd name="T9" fmla="*/ 200 h 732"/>
                  <a:gd name="T10" fmla="*/ 12 w 193"/>
                  <a:gd name="T11" fmla="*/ 30 h 732"/>
                  <a:gd name="T12" fmla="*/ 0 w 193"/>
                  <a:gd name="T13" fmla="*/ 0 h 732"/>
                  <a:gd name="T14" fmla="*/ 0 w 193"/>
                  <a:gd name="T15" fmla="*/ 31 h 732"/>
                  <a:gd name="T16" fmla="*/ 144 w 193"/>
                  <a:gd name="T17" fmla="*/ 201 h 732"/>
                  <a:gd name="T18" fmla="*/ 166 w 193"/>
                  <a:gd name="T19" fmla="*/ 461 h 732"/>
                  <a:gd name="T20" fmla="*/ 155 w 193"/>
                  <a:gd name="T21" fmla="*/ 525 h 732"/>
                  <a:gd name="T22" fmla="*/ 167 w 193"/>
                  <a:gd name="T23" fmla="*/ 730 h 732"/>
                  <a:gd name="T24" fmla="*/ 169 w 193"/>
                  <a:gd name="T25" fmla="*/ 730 h 732"/>
                  <a:gd name="T26" fmla="*/ 181 w 193"/>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732">
                    <a:moveTo>
                      <a:pt x="181" y="729"/>
                    </a:moveTo>
                    <a:lnTo>
                      <a:pt x="167" y="730"/>
                    </a:lnTo>
                    <a:cubicBezTo>
                      <a:pt x="165" y="732"/>
                      <a:pt x="154" y="595"/>
                      <a:pt x="166" y="524"/>
                    </a:cubicBezTo>
                    <a:cubicBezTo>
                      <a:pt x="170" y="504"/>
                      <a:pt x="174" y="483"/>
                      <a:pt x="177" y="460"/>
                    </a:cubicBezTo>
                    <a:cubicBezTo>
                      <a:pt x="193" y="357"/>
                      <a:pt x="183" y="307"/>
                      <a:pt x="156" y="200"/>
                    </a:cubicBezTo>
                    <a:cubicBezTo>
                      <a:pt x="129" y="99"/>
                      <a:pt x="13" y="31"/>
                      <a:pt x="12" y="30"/>
                    </a:cubicBezTo>
                    <a:lnTo>
                      <a:pt x="0" y="0"/>
                    </a:lnTo>
                    <a:lnTo>
                      <a:pt x="0" y="31"/>
                    </a:lnTo>
                    <a:cubicBezTo>
                      <a:pt x="2" y="32"/>
                      <a:pt x="118" y="99"/>
                      <a:pt x="144" y="201"/>
                    </a:cubicBezTo>
                    <a:cubicBezTo>
                      <a:pt x="172" y="308"/>
                      <a:pt x="181" y="358"/>
                      <a:pt x="166" y="461"/>
                    </a:cubicBezTo>
                    <a:cubicBezTo>
                      <a:pt x="163" y="483"/>
                      <a:pt x="159" y="504"/>
                      <a:pt x="155" y="525"/>
                    </a:cubicBezTo>
                    <a:cubicBezTo>
                      <a:pt x="142" y="596"/>
                      <a:pt x="165" y="732"/>
                      <a:pt x="167" y="730"/>
                    </a:cubicBezTo>
                    <a:lnTo>
                      <a:pt x="169" y="730"/>
                    </a:lnTo>
                    <a:lnTo>
                      <a:pt x="181"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Freeform 1474"/>
              <p:cNvSpPr>
                <a:spLocks/>
              </p:cNvSpPr>
              <p:nvPr/>
            </p:nvSpPr>
            <p:spPr bwMode="auto">
              <a:xfrm>
                <a:off x="2950" y="1330"/>
                <a:ext cx="49" cy="166"/>
              </a:xfrm>
              <a:custGeom>
                <a:avLst/>
                <a:gdLst>
                  <a:gd name="T0" fmla="*/ 51 w 217"/>
                  <a:gd name="T1" fmla="*/ 730 h 732"/>
                  <a:gd name="T2" fmla="*/ 62 w 217"/>
                  <a:gd name="T3" fmla="*/ 524 h 732"/>
                  <a:gd name="T4" fmla="*/ 51 w 217"/>
                  <a:gd name="T5" fmla="*/ 461 h 732"/>
                  <a:gd name="T6" fmla="*/ 73 w 217"/>
                  <a:gd name="T7" fmla="*/ 201 h 732"/>
                  <a:gd name="T8" fmla="*/ 217 w 217"/>
                  <a:gd name="T9" fmla="*/ 31 h 732"/>
                  <a:gd name="T10" fmla="*/ 217 w 217"/>
                  <a:gd name="T11" fmla="*/ 0 h 732"/>
                  <a:gd name="T12" fmla="*/ 39 w 217"/>
                  <a:gd name="T13" fmla="*/ 192 h 732"/>
                  <a:gd name="T14" fmla="*/ 17 w 217"/>
                  <a:gd name="T15" fmla="*/ 466 h 732"/>
                  <a:gd name="T16" fmla="*/ 28 w 217"/>
                  <a:gd name="T17" fmla="*/ 531 h 732"/>
                  <a:gd name="T18" fmla="*/ 48 w 217"/>
                  <a:gd name="T19" fmla="*/ 730 h 732"/>
                  <a:gd name="T20" fmla="*/ 51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51" y="730"/>
                    </a:moveTo>
                    <a:cubicBezTo>
                      <a:pt x="53" y="732"/>
                      <a:pt x="75" y="595"/>
                      <a:pt x="62" y="524"/>
                    </a:cubicBezTo>
                    <a:cubicBezTo>
                      <a:pt x="59" y="504"/>
                      <a:pt x="55" y="483"/>
                      <a:pt x="51" y="461"/>
                    </a:cubicBezTo>
                    <a:cubicBezTo>
                      <a:pt x="36" y="358"/>
                      <a:pt x="45" y="308"/>
                      <a:pt x="73" y="201"/>
                    </a:cubicBezTo>
                    <a:cubicBezTo>
                      <a:pt x="100" y="99"/>
                      <a:pt x="216" y="32"/>
                      <a:pt x="217" y="31"/>
                    </a:cubicBezTo>
                    <a:lnTo>
                      <a:pt x="217" y="0"/>
                    </a:lnTo>
                    <a:cubicBezTo>
                      <a:pt x="212" y="3"/>
                      <a:pt x="69" y="76"/>
                      <a:pt x="39" y="192"/>
                    </a:cubicBezTo>
                    <a:cubicBezTo>
                      <a:pt x="10" y="302"/>
                      <a:pt x="0" y="357"/>
                      <a:pt x="17" y="466"/>
                    </a:cubicBezTo>
                    <a:cubicBezTo>
                      <a:pt x="20" y="489"/>
                      <a:pt x="24" y="510"/>
                      <a:pt x="28" y="531"/>
                    </a:cubicBezTo>
                    <a:cubicBezTo>
                      <a:pt x="40" y="601"/>
                      <a:pt x="49" y="732"/>
                      <a:pt x="48" y="730"/>
                    </a:cubicBezTo>
                    <a:lnTo>
                      <a:pt x="51"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9" name="Freeform 1475"/>
              <p:cNvSpPr>
                <a:spLocks/>
              </p:cNvSpPr>
              <p:nvPr/>
            </p:nvSpPr>
            <p:spPr bwMode="auto">
              <a:xfrm>
                <a:off x="2956" y="1330"/>
                <a:ext cx="43" cy="166"/>
              </a:xfrm>
              <a:custGeom>
                <a:avLst/>
                <a:gdLst>
                  <a:gd name="T0" fmla="*/ 12 w 192"/>
                  <a:gd name="T1" fmla="*/ 729 h 732"/>
                  <a:gd name="T2" fmla="*/ 26 w 192"/>
                  <a:gd name="T3" fmla="*/ 730 h 732"/>
                  <a:gd name="T4" fmla="*/ 26 w 192"/>
                  <a:gd name="T5" fmla="*/ 524 h 732"/>
                  <a:gd name="T6" fmla="*/ 15 w 192"/>
                  <a:gd name="T7" fmla="*/ 460 h 732"/>
                  <a:gd name="T8" fmla="*/ 37 w 192"/>
                  <a:gd name="T9" fmla="*/ 200 h 732"/>
                  <a:gd name="T10" fmla="*/ 181 w 192"/>
                  <a:gd name="T11" fmla="*/ 30 h 732"/>
                  <a:gd name="T12" fmla="*/ 192 w 192"/>
                  <a:gd name="T13" fmla="*/ 0 h 732"/>
                  <a:gd name="T14" fmla="*/ 192 w 192"/>
                  <a:gd name="T15" fmla="*/ 31 h 732"/>
                  <a:gd name="T16" fmla="*/ 48 w 192"/>
                  <a:gd name="T17" fmla="*/ 201 h 732"/>
                  <a:gd name="T18" fmla="*/ 26 w 192"/>
                  <a:gd name="T19" fmla="*/ 461 h 732"/>
                  <a:gd name="T20" fmla="*/ 37 w 192"/>
                  <a:gd name="T21" fmla="*/ 525 h 732"/>
                  <a:gd name="T22" fmla="*/ 26 w 192"/>
                  <a:gd name="T23" fmla="*/ 730 h 732"/>
                  <a:gd name="T24" fmla="*/ 23 w 192"/>
                  <a:gd name="T25" fmla="*/ 730 h 732"/>
                  <a:gd name="T26" fmla="*/ 12 w 192"/>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32">
                    <a:moveTo>
                      <a:pt x="12" y="729"/>
                    </a:moveTo>
                    <a:lnTo>
                      <a:pt x="26" y="730"/>
                    </a:lnTo>
                    <a:cubicBezTo>
                      <a:pt x="27" y="732"/>
                      <a:pt x="39" y="595"/>
                      <a:pt x="26" y="524"/>
                    </a:cubicBezTo>
                    <a:cubicBezTo>
                      <a:pt x="22" y="504"/>
                      <a:pt x="18" y="483"/>
                      <a:pt x="15" y="460"/>
                    </a:cubicBezTo>
                    <a:cubicBezTo>
                      <a:pt x="0" y="357"/>
                      <a:pt x="9" y="307"/>
                      <a:pt x="37" y="200"/>
                    </a:cubicBezTo>
                    <a:cubicBezTo>
                      <a:pt x="63" y="99"/>
                      <a:pt x="179" y="31"/>
                      <a:pt x="181" y="30"/>
                    </a:cubicBezTo>
                    <a:lnTo>
                      <a:pt x="192" y="0"/>
                    </a:lnTo>
                    <a:lnTo>
                      <a:pt x="192" y="31"/>
                    </a:lnTo>
                    <a:cubicBezTo>
                      <a:pt x="191" y="32"/>
                      <a:pt x="74" y="99"/>
                      <a:pt x="48" y="201"/>
                    </a:cubicBezTo>
                    <a:cubicBezTo>
                      <a:pt x="20" y="308"/>
                      <a:pt x="11" y="358"/>
                      <a:pt x="26" y="461"/>
                    </a:cubicBezTo>
                    <a:cubicBezTo>
                      <a:pt x="30" y="483"/>
                      <a:pt x="34" y="504"/>
                      <a:pt x="37" y="525"/>
                    </a:cubicBezTo>
                    <a:cubicBezTo>
                      <a:pt x="50" y="596"/>
                      <a:pt x="27" y="732"/>
                      <a:pt x="26" y="730"/>
                    </a:cubicBezTo>
                    <a:lnTo>
                      <a:pt x="23" y="730"/>
                    </a:lnTo>
                    <a:lnTo>
                      <a:pt x="12"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0" name="Rectangle 1476"/>
              <p:cNvSpPr>
                <a:spLocks noChangeArrowheads="1"/>
              </p:cNvSpPr>
              <p:nvPr/>
            </p:nvSpPr>
            <p:spPr bwMode="auto">
              <a:xfrm>
                <a:off x="2993" y="1325"/>
                <a:ext cx="395" cy="49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1477"/>
              <p:cNvSpPr>
                <a:spLocks/>
              </p:cNvSpPr>
              <p:nvPr/>
            </p:nvSpPr>
            <p:spPr bwMode="auto">
              <a:xfrm>
                <a:off x="3253"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1478"/>
              <p:cNvSpPr>
                <a:spLocks/>
              </p:cNvSpPr>
              <p:nvPr/>
            </p:nvSpPr>
            <p:spPr bwMode="auto">
              <a:xfrm>
                <a:off x="3091"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1479"/>
              <p:cNvSpPr>
                <a:spLocks/>
              </p:cNvSpPr>
              <p:nvPr/>
            </p:nvSpPr>
            <p:spPr bwMode="auto">
              <a:xfrm>
                <a:off x="3253"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 name="T14" fmla="*/ 163 w 163"/>
                  <a:gd name="T15" fmla="*/ 4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1480"/>
              <p:cNvSpPr>
                <a:spLocks/>
              </p:cNvSpPr>
              <p:nvPr/>
            </p:nvSpPr>
            <p:spPr bwMode="auto">
              <a:xfrm>
                <a:off x="3091"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Lst>
                <a:ahLst/>
                <a:cxnLst>
                  <a:cxn ang="0">
                    <a:pos x="T0" y="T1"/>
                  </a:cxn>
                  <a:cxn ang="0">
                    <a:pos x="T2" y="T3"/>
                  </a:cxn>
                  <a:cxn ang="0">
                    <a:pos x="T4" y="T5"/>
                  </a:cxn>
                  <a:cxn ang="0">
                    <a:pos x="T6" y="T7"/>
                  </a:cxn>
                  <a:cxn ang="0">
                    <a:pos x="T8" y="T9"/>
                  </a:cxn>
                  <a:cxn ang="0">
                    <a:pos x="T10" y="T11"/>
                  </a:cxn>
                  <a:cxn ang="0">
                    <a:pos x="T12" y="T13"/>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Rectangle 1481"/>
              <p:cNvSpPr>
                <a:spLocks noChangeArrowheads="1"/>
              </p:cNvSpPr>
              <p:nvPr/>
            </p:nvSpPr>
            <p:spPr bwMode="auto">
              <a:xfrm>
                <a:off x="3253"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6" name="Rectangle 1482"/>
              <p:cNvSpPr>
                <a:spLocks noChangeArrowheads="1"/>
              </p:cNvSpPr>
              <p:nvPr/>
            </p:nvSpPr>
            <p:spPr bwMode="auto">
              <a:xfrm>
                <a:off x="3091"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7" name="Rectangle 1483"/>
              <p:cNvSpPr>
                <a:spLocks noChangeArrowheads="1"/>
              </p:cNvSpPr>
              <p:nvPr/>
            </p:nvSpPr>
            <p:spPr bwMode="auto">
              <a:xfrm>
                <a:off x="3253"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8" name="Rectangle 1484"/>
              <p:cNvSpPr>
                <a:spLocks noChangeArrowheads="1"/>
              </p:cNvSpPr>
              <p:nvPr/>
            </p:nvSpPr>
            <p:spPr bwMode="auto">
              <a:xfrm>
                <a:off x="3091"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9" name="Rectangle 1485"/>
              <p:cNvSpPr>
                <a:spLocks noChangeArrowheads="1"/>
              </p:cNvSpPr>
              <p:nvPr/>
            </p:nvSpPr>
            <p:spPr bwMode="auto">
              <a:xfrm>
                <a:off x="3253"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0" name="Rectangle 1486"/>
              <p:cNvSpPr>
                <a:spLocks noChangeArrowheads="1"/>
              </p:cNvSpPr>
              <p:nvPr/>
            </p:nvSpPr>
            <p:spPr bwMode="auto">
              <a:xfrm>
                <a:off x="3091"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1" name="Rectangle 1487"/>
              <p:cNvSpPr>
                <a:spLocks noChangeArrowheads="1"/>
              </p:cNvSpPr>
              <p:nvPr/>
            </p:nvSpPr>
            <p:spPr bwMode="auto">
              <a:xfrm>
                <a:off x="3253" y="1399"/>
                <a:ext cx="37" cy="2"/>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2" name="Rectangle 1488"/>
              <p:cNvSpPr>
                <a:spLocks noChangeArrowheads="1"/>
              </p:cNvSpPr>
              <p:nvPr/>
            </p:nvSpPr>
            <p:spPr bwMode="auto">
              <a:xfrm>
                <a:off x="3253" y="1402"/>
                <a:ext cx="37" cy="4"/>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3" name="Freeform 1489"/>
              <p:cNvSpPr>
                <a:spLocks/>
              </p:cNvSpPr>
              <p:nvPr/>
            </p:nvSpPr>
            <p:spPr bwMode="auto">
              <a:xfrm>
                <a:off x="2993" y="1325"/>
                <a:ext cx="395" cy="550"/>
              </a:xfrm>
              <a:custGeom>
                <a:avLst/>
                <a:gdLst>
                  <a:gd name="T0" fmla="*/ 0 w 1741"/>
                  <a:gd name="T1" fmla="*/ 415 h 2423"/>
                  <a:gd name="T2" fmla="*/ 0 w 1741"/>
                  <a:gd name="T3" fmla="*/ 2394 h 2423"/>
                  <a:gd name="T4" fmla="*/ 0 w 1741"/>
                  <a:gd name="T5" fmla="*/ 2423 h 2423"/>
                  <a:gd name="T6" fmla="*/ 29 w 1741"/>
                  <a:gd name="T7" fmla="*/ 2423 h 2423"/>
                  <a:gd name="T8" fmla="*/ 1712 w 1741"/>
                  <a:gd name="T9" fmla="*/ 2423 h 2423"/>
                  <a:gd name="T10" fmla="*/ 1741 w 1741"/>
                  <a:gd name="T11" fmla="*/ 2423 h 2423"/>
                  <a:gd name="T12" fmla="*/ 1741 w 1741"/>
                  <a:gd name="T13" fmla="*/ 2394 h 2423"/>
                  <a:gd name="T14" fmla="*/ 1741 w 1741"/>
                  <a:gd name="T15" fmla="*/ 415 h 2423"/>
                  <a:gd name="T16" fmla="*/ 1729 w 1741"/>
                  <a:gd name="T17" fmla="*/ 415 h 2423"/>
                  <a:gd name="T18" fmla="*/ 1729 w 1741"/>
                  <a:gd name="T19" fmla="*/ 0 h 2423"/>
                  <a:gd name="T20" fmla="*/ 1712 w 1741"/>
                  <a:gd name="T21" fmla="*/ 0 h 2423"/>
                  <a:gd name="T22" fmla="*/ 1369 w 1741"/>
                  <a:gd name="T23" fmla="*/ 0 h 2423"/>
                  <a:gd name="T24" fmla="*/ 1340 w 1741"/>
                  <a:gd name="T25" fmla="*/ 0 h 2423"/>
                  <a:gd name="T26" fmla="*/ 1338 w 1741"/>
                  <a:gd name="T27" fmla="*/ 28 h 2423"/>
                  <a:gd name="T28" fmla="*/ 1325 w 1741"/>
                  <a:gd name="T29" fmla="*/ 231 h 2423"/>
                  <a:gd name="T30" fmla="*/ 1312 w 1741"/>
                  <a:gd name="T31" fmla="*/ 434 h 2423"/>
                  <a:gd name="T32" fmla="*/ 1281 w 1741"/>
                  <a:gd name="T33" fmla="*/ 463 h 2423"/>
                  <a:gd name="T34" fmla="*/ 1175 w 1741"/>
                  <a:gd name="T35" fmla="*/ 463 h 2423"/>
                  <a:gd name="T36" fmla="*/ 1144 w 1741"/>
                  <a:gd name="T37" fmla="*/ 434 h 2423"/>
                  <a:gd name="T38" fmla="*/ 1131 w 1741"/>
                  <a:gd name="T39" fmla="*/ 231 h 2423"/>
                  <a:gd name="T40" fmla="*/ 1118 w 1741"/>
                  <a:gd name="T41" fmla="*/ 28 h 2423"/>
                  <a:gd name="T42" fmla="*/ 1118 w 1741"/>
                  <a:gd name="T43" fmla="*/ 28 h 2423"/>
                  <a:gd name="T44" fmla="*/ 1116 w 1741"/>
                  <a:gd name="T45" fmla="*/ 0 h 2423"/>
                  <a:gd name="T46" fmla="*/ 1087 w 1741"/>
                  <a:gd name="T47" fmla="*/ 0 h 2423"/>
                  <a:gd name="T48" fmla="*/ 653 w 1741"/>
                  <a:gd name="T49" fmla="*/ 0 h 2423"/>
                  <a:gd name="T50" fmla="*/ 624 w 1741"/>
                  <a:gd name="T51" fmla="*/ 0 h 2423"/>
                  <a:gd name="T52" fmla="*/ 622 w 1741"/>
                  <a:gd name="T53" fmla="*/ 28 h 2423"/>
                  <a:gd name="T54" fmla="*/ 622 w 1741"/>
                  <a:gd name="T55" fmla="*/ 28 h 2423"/>
                  <a:gd name="T56" fmla="*/ 608 w 1741"/>
                  <a:gd name="T57" fmla="*/ 231 h 2423"/>
                  <a:gd name="T58" fmla="*/ 595 w 1741"/>
                  <a:gd name="T59" fmla="*/ 434 h 2423"/>
                  <a:gd name="T60" fmla="*/ 564 w 1741"/>
                  <a:gd name="T61" fmla="*/ 463 h 2423"/>
                  <a:gd name="T62" fmla="*/ 459 w 1741"/>
                  <a:gd name="T63" fmla="*/ 463 h 2423"/>
                  <a:gd name="T64" fmla="*/ 429 w 1741"/>
                  <a:gd name="T65" fmla="*/ 434 h 2423"/>
                  <a:gd name="T66" fmla="*/ 415 w 1741"/>
                  <a:gd name="T67" fmla="*/ 231 h 2423"/>
                  <a:gd name="T68" fmla="*/ 401 w 1741"/>
                  <a:gd name="T69" fmla="*/ 28 h 2423"/>
                  <a:gd name="T70" fmla="*/ 401 w 1741"/>
                  <a:gd name="T71" fmla="*/ 28 h 2423"/>
                  <a:gd name="T72" fmla="*/ 399 w 1741"/>
                  <a:gd name="T73" fmla="*/ 0 h 2423"/>
                  <a:gd name="T74" fmla="*/ 371 w 1741"/>
                  <a:gd name="T75" fmla="*/ 0 h 2423"/>
                  <a:gd name="T76" fmla="*/ 28 w 1741"/>
                  <a:gd name="T77" fmla="*/ 0 h 2423"/>
                  <a:gd name="T78" fmla="*/ 11 w 1741"/>
                  <a:gd name="T79" fmla="*/ 0 h 2423"/>
                  <a:gd name="T80" fmla="*/ 11 w 1741"/>
                  <a:gd name="T81" fmla="*/ 415 h 2423"/>
                  <a:gd name="T82" fmla="*/ 0 w 1741"/>
                  <a:gd name="T83" fmla="*/ 415 h 2423"/>
                  <a:gd name="T84" fmla="*/ 0 w 1741"/>
                  <a:gd name="T85" fmla="*/ 415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1" h="2423">
                    <a:moveTo>
                      <a:pt x="0" y="415"/>
                    </a:moveTo>
                    <a:lnTo>
                      <a:pt x="0" y="2394"/>
                    </a:lnTo>
                    <a:lnTo>
                      <a:pt x="0" y="2423"/>
                    </a:lnTo>
                    <a:lnTo>
                      <a:pt x="29" y="2423"/>
                    </a:lnTo>
                    <a:lnTo>
                      <a:pt x="1712" y="2423"/>
                    </a:lnTo>
                    <a:lnTo>
                      <a:pt x="1741" y="2423"/>
                    </a:lnTo>
                    <a:lnTo>
                      <a:pt x="1741" y="2394"/>
                    </a:lnTo>
                    <a:lnTo>
                      <a:pt x="1741" y="415"/>
                    </a:lnTo>
                    <a:lnTo>
                      <a:pt x="1729" y="415"/>
                    </a:lnTo>
                    <a:lnTo>
                      <a:pt x="1729" y="0"/>
                    </a:lnTo>
                    <a:lnTo>
                      <a:pt x="1712" y="0"/>
                    </a:lnTo>
                    <a:lnTo>
                      <a:pt x="1369" y="0"/>
                    </a:lnTo>
                    <a:lnTo>
                      <a:pt x="1340" y="0"/>
                    </a:lnTo>
                    <a:lnTo>
                      <a:pt x="1338" y="28"/>
                    </a:lnTo>
                    <a:lnTo>
                      <a:pt x="1325" y="231"/>
                    </a:lnTo>
                    <a:lnTo>
                      <a:pt x="1312" y="434"/>
                    </a:lnTo>
                    <a:cubicBezTo>
                      <a:pt x="1311" y="450"/>
                      <a:pt x="1297" y="463"/>
                      <a:pt x="1281" y="463"/>
                    </a:cubicBezTo>
                    <a:lnTo>
                      <a:pt x="1175" y="463"/>
                    </a:lnTo>
                    <a:cubicBezTo>
                      <a:pt x="1159" y="463"/>
                      <a:pt x="1146" y="450"/>
                      <a:pt x="1144" y="434"/>
                    </a:cubicBezTo>
                    <a:lnTo>
                      <a:pt x="1131" y="231"/>
                    </a:lnTo>
                    <a:lnTo>
                      <a:pt x="1118" y="28"/>
                    </a:lnTo>
                    <a:lnTo>
                      <a:pt x="1118" y="28"/>
                    </a:lnTo>
                    <a:lnTo>
                      <a:pt x="1116" y="0"/>
                    </a:lnTo>
                    <a:lnTo>
                      <a:pt x="1087" y="0"/>
                    </a:lnTo>
                    <a:lnTo>
                      <a:pt x="653" y="0"/>
                    </a:lnTo>
                    <a:lnTo>
                      <a:pt x="624" y="0"/>
                    </a:lnTo>
                    <a:lnTo>
                      <a:pt x="622" y="28"/>
                    </a:lnTo>
                    <a:lnTo>
                      <a:pt x="622" y="28"/>
                    </a:lnTo>
                    <a:lnTo>
                      <a:pt x="608" y="231"/>
                    </a:lnTo>
                    <a:lnTo>
                      <a:pt x="595" y="434"/>
                    </a:lnTo>
                    <a:cubicBezTo>
                      <a:pt x="594" y="450"/>
                      <a:pt x="580" y="463"/>
                      <a:pt x="564" y="463"/>
                    </a:cubicBezTo>
                    <a:lnTo>
                      <a:pt x="459" y="463"/>
                    </a:lnTo>
                    <a:cubicBezTo>
                      <a:pt x="444" y="463"/>
                      <a:pt x="430" y="450"/>
                      <a:pt x="429" y="434"/>
                    </a:cubicBezTo>
                    <a:lnTo>
                      <a:pt x="415" y="231"/>
                    </a:lnTo>
                    <a:lnTo>
                      <a:pt x="401" y="28"/>
                    </a:lnTo>
                    <a:lnTo>
                      <a:pt x="401" y="28"/>
                    </a:lnTo>
                    <a:lnTo>
                      <a:pt x="399" y="0"/>
                    </a:lnTo>
                    <a:lnTo>
                      <a:pt x="371" y="0"/>
                    </a:lnTo>
                    <a:lnTo>
                      <a:pt x="28" y="0"/>
                    </a:lnTo>
                    <a:lnTo>
                      <a:pt x="11" y="0"/>
                    </a:lnTo>
                    <a:lnTo>
                      <a:pt x="11" y="415"/>
                    </a:lnTo>
                    <a:lnTo>
                      <a:pt x="0" y="415"/>
                    </a:lnTo>
                    <a:lnTo>
                      <a:pt x="0" y="41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4" name="Freeform 1490"/>
              <p:cNvSpPr>
                <a:spLocks/>
              </p:cNvSpPr>
              <p:nvPr/>
            </p:nvSpPr>
            <p:spPr bwMode="auto">
              <a:xfrm>
                <a:off x="3478" y="1347"/>
                <a:ext cx="132" cy="44"/>
              </a:xfrm>
              <a:custGeom>
                <a:avLst/>
                <a:gdLst>
                  <a:gd name="T0" fmla="*/ 92 w 584"/>
                  <a:gd name="T1" fmla="*/ 192 h 192"/>
                  <a:gd name="T2" fmla="*/ 92 w 584"/>
                  <a:gd name="T3" fmla="*/ 192 h 192"/>
                  <a:gd name="T4" fmla="*/ 492 w 584"/>
                  <a:gd name="T5" fmla="*/ 192 h 192"/>
                  <a:gd name="T6" fmla="*/ 492 w 584"/>
                  <a:gd name="T7" fmla="*/ 192 h 192"/>
                  <a:gd name="T8" fmla="*/ 584 w 584"/>
                  <a:gd name="T9" fmla="*/ 192 h 192"/>
                  <a:gd name="T10" fmla="*/ 584 w 584"/>
                  <a:gd name="T11" fmla="*/ 0 h 192"/>
                  <a:gd name="T12" fmla="*/ 0 w 584"/>
                  <a:gd name="T13" fmla="*/ 0 h 192"/>
                  <a:gd name="T14" fmla="*/ 0 w 584"/>
                  <a:gd name="T15" fmla="*/ 192 h 192"/>
                  <a:gd name="T16" fmla="*/ 92 w 58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192">
                    <a:moveTo>
                      <a:pt x="92" y="192"/>
                    </a:moveTo>
                    <a:lnTo>
                      <a:pt x="92" y="192"/>
                    </a:lnTo>
                    <a:lnTo>
                      <a:pt x="492" y="192"/>
                    </a:lnTo>
                    <a:lnTo>
                      <a:pt x="492" y="192"/>
                    </a:lnTo>
                    <a:lnTo>
                      <a:pt x="584" y="192"/>
                    </a:lnTo>
                    <a:lnTo>
                      <a:pt x="584" y="0"/>
                    </a:lnTo>
                    <a:lnTo>
                      <a:pt x="0" y="0"/>
                    </a:lnTo>
                    <a:lnTo>
                      <a:pt x="0" y="192"/>
                    </a:lnTo>
                    <a:lnTo>
                      <a:pt x="92" y="192"/>
                    </a:lnTo>
                    <a:close/>
                  </a:path>
                </a:pathLst>
              </a:custGeom>
              <a:solidFill>
                <a:srgbClr val="2B2B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5" name="Freeform 1491"/>
              <p:cNvSpPr>
                <a:spLocks/>
              </p:cNvSpPr>
              <p:nvPr/>
            </p:nvSpPr>
            <p:spPr bwMode="auto">
              <a:xfrm>
                <a:off x="3586" y="1347"/>
                <a:ext cx="19" cy="44"/>
              </a:xfrm>
              <a:custGeom>
                <a:avLst/>
                <a:gdLst>
                  <a:gd name="T0" fmla="*/ 0 w 84"/>
                  <a:gd name="T1" fmla="*/ 192 h 192"/>
                  <a:gd name="T2" fmla="*/ 13 w 84"/>
                  <a:gd name="T3" fmla="*/ 192 h 192"/>
                  <a:gd name="T4" fmla="*/ 13 w 84"/>
                  <a:gd name="T5" fmla="*/ 192 h 192"/>
                  <a:gd name="T6" fmla="*/ 84 w 84"/>
                  <a:gd name="T7" fmla="*/ 192 h 192"/>
                  <a:gd name="T8" fmla="*/ 84 w 84"/>
                  <a:gd name="T9" fmla="*/ 0 h 192"/>
                  <a:gd name="T10" fmla="*/ 0 w 84"/>
                  <a:gd name="T11" fmla="*/ 0 h 192"/>
                  <a:gd name="T12" fmla="*/ 0 w 84"/>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84" h="192">
                    <a:moveTo>
                      <a:pt x="0" y="192"/>
                    </a:moveTo>
                    <a:lnTo>
                      <a:pt x="13" y="192"/>
                    </a:lnTo>
                    <a:lnTo>
                      <a:pt x="13" y="192"/>
                    </a:lnTo>
                    <a:lnTo>
                      <a:pt x="84" y="192"/>
                    </a:lnTo>
                    <a:lnTo>
                      <a:pt x="84" y="0"/>
                    </a:lnTo>
                    <a:lnTo>
                      <a:pt x="0" y="0"/>
                    </a:lnTo>
                    <a:lnTo>
                      <a:pt x="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6" name="Freeform 1492"/>
              <p:cNvSpPr>
                <a:spLocks/>
              </p:cNvSpPr>
              <p:nvPr/>
            </p:nvSpPr>
            <p:spPr bwMode="auto">
              <a:xfrm>
                <a:off x="3482" y="1347"/>
                <a:ext cx="23" cy="44"/>
              </a:xfrm>
              <a:custGeom>
                <a:avLst/>
                <a:gdLst>
                  <a:gd name="T0" fmla="*/ 100 w 100"/>
                  <a:gd name="T1" fmla="*/ 192 h 192"/>
                  <a:gd name="T2" fmla="*/ 71 w 100"/>
                  <a:gd name="T3" fmla="*/ 192 h 192"/>
                  <a:gd name="T4" fmla="*/ 71 w 100"/>
                  <a:gd name="T5" fmla="*/ 192 h 192"/>
                  <a:gd name="T6" fmla="*/ 0 w 100"/>
                  <a:gd name="T7" fmla="*/ 192 h 192"/>
                  <a:gd name="T8" fmla="*/ 0 w 100"/>
                  <a:gd name="T9" fmla="*/ 0 h 192"/>
                  <a:gd name="T10" fmla="*/ 100 w 100"/>
                  <a:gd name="T11" fmla="*/ 0 h 192"/>
                  <a:gd name="T12" fmla="*/ 100 w 1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00" h="192">
                    <a:moveTo>
                      <a:pt x="100" y="192"/>
                    </a:moveTo>
                    <a:lnTo>
                      <a:pt x="71" y="192"/>
                    </a:lnTo>
                    <a:lnTo>
                      <a:pt x="71" y="192"/>
                    </a:lnTo>
                    <a:lnTo>
                      <a:pt x="0" y="192"/>
                    </a:lnTo>
                    <a:lnTo>
                      <a:pt x="0" y="0"/>
                    </a:lnTo>
                    <a:lnTo>
                      <a:pt x="100" y="0"/>
                    </a:lnTo>
                    <a:lnTo>
                      <a:pt x="10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7" name="Rectangle 1493"/>
              <p:cNvSpPr>
                <a:spLocks noChangeArrowheads="1"/>
              </p:cNvSpPr>
              <p:nvPr/>
            </p:nvSpPr>
            <p:spPr bwMode="auto">
              <a:xfrm>
                <a:off x="3520" y="1347"/>
                <a:ext cx="35" cy="4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8" name="Rectangle 1494"/>
              <p:cNvSpPr>
                <a:spLocks noChangeArrowheads="1"/>
              </p:cNvSpPr>
              <p:nvPr/>
            </p:nvSpPr>
            <p:spPr bwMode="auto">
              <a:xfrm>
                <a:off x="3530" y="1347"/>
                <a:ext cx="20" cy="44"/>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9" name="Rectangle 1495"/>
              <p:cNvSpPr>
                <a:spLocks noChangeArrowheads="1"/>
              </p:cNvSpPr>
              <p:nvPr/>
            </p:nvSpPr>
            <p:spPr bwMode="auto">
              <a:xfrm>
                <a:off x="3605" y="1347"/>
                <a:ext cx="5"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0" name="Rectangle 1496"/>
              <p:cNvSpPr>
                <a:spLocks noChangeArrowheads="1"/>
              </p:cNvSpPr>
              <p:nvPr/>
            </p:nvSpPr>
            <p:spPr bwMode="auto">
              <a:xfrm>
                <a:off x="3478" y="1347"/>
                <a:ext cx="4"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1" name="Rectangle 1497"/>
              <p:cNvSpPr>
                <a:spLocks noChangeArrowheads="1"/>
              </p:cNvSpPr>
              <p:nvPr/>
            </p:nvSpPr>
            <p:spPr bwMode="auto">
              <a:xfrm>
                <a:off x="3468" y="1388"/>
                <a:ext cx="152" cy="32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2" name="Rectangle 1498"/>
              <p:cNvSpPr>
                <a:spLocks noChangeArrowheads="1"/>
              </p:cNvSpPr>
              <p:nvPr/>
            </p:nvSpPr>
            <p:spPr bwMode="auto">
              <a:xfrm>
                <a:off x="3468" y="1700"/>
                <a:ext cx="152" cy="11"/>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3" name="Freeform 1499"/>
              <p:cNvSpPr>
                <a:spLocks/>
              </p:cNvSpPr>
              <p:nvPr/>
            </p:nvSpPr>
            <p:spPr bwMode="auto">
              <a:xfrm>
                <a:off x="2751" y="2484"/>
                <a:ext cx="255" cy="260"/>
              </a:xfrm>
              <a:custGeom>
                <a:avLst/>
                <a:gdLst>
                  <a:gd name="T0" fmla="*/ 20 w 1124"/>
                  <a:gd name="T1" fmla="*/ 0 h 1147"/>
                  <a:gd name="T2" fmla="*/ 0 w 1124"/>
                  <a:gd name="T3" fmla="*/ 20 h 1147"/>
                  <a:gd name="T4" fmla="*/ 0 w 1124"/>
                  <a:gd name="T5" fmla="*/ 86 h 1147"/>
                  <a:gd name="T6" fmla="*/ 20 w 1124"/>
                  <a:gd name="T7" fmla="*/ 106 h 1147"/>
                  <a:gd name="T8" fmla="*/ 121 w 1124"/>
                  <a:gd name="T9" fmla="*/ 106 h 1147"/>
                  <a:gd name="T10" fmla="*/ 141 w 1124"/>
                  <a:gd name="T11" fmla="*/ 126 h 1147"/>
                  <a:gd name="T12" fmla="*/ 141 w 1124"/>
                  <a:gd name="T13" fmla="*/ 924 h 1147"/>
                  <a:gd name="T14" fmla="*/ 121 w 1124"/>
                  <a:gd name="T15" fmla="*/ 944 h 1147"/>
                  <a:gd name="T16" fmla="*/ 20 w 1124"/>
                  <a:gd name="T17" fmla="*/ 944 h 1147"/>
                  <a:gd name="T18" fmla="*/ 0 w 1124"/>
                  <a:gd name="T19" fmla="*/ 964 h 1147"/>
                  <a:gd name="T20" fmla="*/ 0 w 1124"/>
                  <a:gd name="T21" fmla="*/ 1127 h 1147"/>
                  <a:gd name="T22" fmla="*/ 20 w 1124"/>
                  <a:gd name="T23" fmla="*/ 1147 h 1147"/>
                  <a:gd name="T24" fmla="*/ 1104 w 1124"/>
                  <a:gd name="T25" fmla="*/ 1147 h 1147"/>
                  <a:gd name="T26" fmla="*/ 1124 w 1124"/>
                  <a:gd name="T27" fmla="*/ 1127 h 1147"/>
                  <a:gd name="T28" fmla="*/ 1124 w 1124"/>
                  <a:gd name="T29" fmla="*/ 20 h 1147"/>
                  <a:gd name="T30" fmla="*/ 1104 w 1124"/>
                  <a:gd name="T31" fmla="*/ 0 h 1147"/>
                  <a:gd name="T32" fmla="*/ 20 w 1124"/>
                  <a:gd name="T33" fmla="*/ 0 h 1147"/>
                  <a:gd name="T34" fmla="*/ 20 w 1124"/>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4" h="1147">
                    <a:moveTo>
                      <a:pt x="20" y="0"/>
                    </a:move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lnTo>
                      <a:pt x="20" y="0"/>
                    </a:lnTo>
                    <a:lnTo>
                      <a:pt x="20" y="0"/>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4" name="Freeform 1500"/>
              <p:cNvSpPr>
                <a:spLocks/>
              </p:cNvSpPr>
              <p:nvPr/>
            </p:nvSpPr>
            <p:spPr bwMode="auto">
              <a:xfrm>
                <a:off x="2940" y="2691"/>
                <a:ext cx="45" cy="23"/>
              </a:xfrm>
              <a:custGeom>
                <a:avLst/>
                <a:gdLst>
                  <a:gd name="T0" fmla="*/ 9 w 200"/>
                  <a:gd name="T1" fmla="*/ 102 h 102"/>
                  <a:gd name="T2" fmla="*/ 0 w 200"/>
                  <a:gd name="T3" fmla="*/ 76 h 102"/>
                  <a:gd name="T4" fmla="*/ 167 w 200"/>
                  <a:gd name="T5" fmla="*/ 3 h 102"/>
                  <a:gd name="T6" fmla="*/ 192 w 200"/>
                  <a:gd name="T7" fmla="*/ 12 h 102"/>
                  <a:gd name="T8" fmla="*/ 183 w 200"/>
                  <a:gd name="T9" fmla="*/ 48 h 102"/>
                  <a:gd name="T10" fmla="*/ 182 w 200"/>
                  <a:gd name="T11" fmla="*/ 46 h 102"/>
                  <a:gd name="T12" fmla="*/ 181 w 200"/>
                  <a:gd name="T13" fmla="*/ 18 h 102"/>
                  <a:gd name="T14" fmla="*/ 175 w 200"/>
                  <a:gd name="T15" fmla="*/ 18 h 102"/>
                  <a:gd name="T16" fmla="*/ 9 w 200"/>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02">
                    <a:moveTo>
                      <a:pt x="9" y="102"/>
                    </a:moveTo>
                    <a:lnTo>
                      <a:pt x="0" y="76"/>
                    </a:lnTo>
                    <a:cubicBezTo>
                      <a:pt x="0" y="76"/>
                      <a:pt x="135" y="9"/>
                      <a:pt x="167" y="3"/>
                    </a:cubicBezTo>
                    <a:cubicBezTo>
                      <a:pt x="186" y="0"/>
                      <a:pt x="189" y="4"/>
                      <a:pt x="192" y="12"/>
                    </a:cubicBezTo>
                    <a:cubicBezTo>
                      <a:pt x="200" y="27"/>
                      <a:pt x="188" y="47"/>
                      <a:pt x="183" y="48"/>
                    </a:cubicBezTo>
                    <a:lnTo>
                      <a:pt x="182" y="46"/>
                    </a:lnTo>
                    <a:cubicBezTo>
                      <a:pt x="186" y="24"/>
                      <a:pt x="181" y="20"/>
                      <a:pt x="181" y="18"/>
                    </a:cubicBezTo>
                    <a:cubicBezTo>
                      <a:pt x="181" y="18"/>
                      <a:pt x="179" y="17"/>
                      <a:pt x="175" y="18"/>
                    </a:cubicBezTo>
                    <a:cubicBezTo>
                      <a:pt x="160" y="18"/>
                      <a:pt x="68" y="67"/>
                      <a:pt x="9" y="102"/>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5" name="Freeform 1501"/>
              <p:cNvSpPr>
                <a:spLocks/>
              </p:cNvSpPr>
              <p:nvPr/>
            </p:nvSpPr>
            <p:spPr bwMode="auto">
              <a:xfrm>
                <a:off x="2942" y="2693"/>
                <a:ext cx="41" cy="21"/>
              </a:xfrm>
              <a:custGeom>
                <a:avLst/>
                <a:gdLst>
                  <a:gd name="T0" fmla="*/ 0 w 182"/>
                  <a:gd name="T1" fmla="*/ 85 h 91"/>
                  <a:gd name="T2" fmla="*/ 166 w 182"/>
                  <a:gd name="T3" fmla="*/ 0 h 91"/>
                  <a:gd name="T4" fmla="*/ 172 w 182"/>
                  <a:gd name="T5" fmla="*/ 0 h 91"/>
                  <a:gd name="T6" fmla="*/ 173 w 182"/>
                  <a:gd name="T7" fmla="*/ 35 h 91"/>
                  <a:gd name="T8" fmla="*/ 172 w 182"/>
                  <a:gd name="T9" fmla="*/ 7 h 91"/>
                  <a:gd name="T10" fmla="*/ 166 w 182"/>
                  <a:gd name="T11" fmla="*/ 7 h 91"/>
                  <a:gd name="T12" fmla="*/ 0 w 182"/>
                  <a:gd name="T13" fmla="*/ 91 h 91"/>
                  <a:gd name="T14" fmla="*/ 0 w 182"/>
                  <a:gd name="T15" fmla="*/ 85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91">
                    <a:moveTo>
                      <a:pt x="0" y="85"/>
                    </a:moveTo>
                    <a:cubicBezTo>
                      <a:pt x="59" y="49"/>
                      <a:pt x="151" y="0"/>
                      <a:pt x="166" y="0"/>
                    </a:cubicBezTo>
                    <a:cubicBezTo>
                      <a:pt x="170" y="0"/>
                      <a:pt x="172" y="0"/>
                      <a:pt x="172" y="0"/>
                    </a:cubicBezTo>
                    <a:cubicBezTo>
                      <a:pt x="172" y="2"/>
                      <a:pt x="182" y="18"/>
                      <a:pt x="173" y="35"/>
                    </a:cubicBezTo>
                    <a:cubicBezTo>
                      <a:pt x="177" y="13"/>
                      <a:pt x="172" y="9"/>
                      <a:pt x="172" y="7"/>
                    </a:cubicBezTo>
                    <a:cubicBezTo>
                      <a:pt x="172" y="7"/>
                      <a:pt x="170" y="7"/>
                      <a:pt x="166" y="7"/>
                    </a:cubicBezTo>
                    <a:cubicBezTo>
                      <a:pt x="151" y="7"/>
                      <a:pt x="59" y="56"/>
                      <a:pt x="0" y="91"/>
                    </a:cubicBezTo>
                    <a:lnTo>
                      <a:pt x="0" y="85"/>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6" name="Rectangle 1502"/>
              <p:cNvSpPr>
                <a:spLocks noChangeArrowheads="1"/>
              </p:cNvSpPr>
              <p:nvPr/>
            </p:nvSpPr>
            <p:spPr bwMode="auto">
              <a:xfrm>
                <a:off x="2751" y="2674"/>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7" name="Rectangle 1503"/>
              <p:cNvSpPr>
                <a:spLocks noChangeArrowheads="1"/>
              </p:cNvSpPr>
              <p:nvPr/>
            </p:nvSpPr>
            <p:spPr bwMode="auto">
              <a:xfrm>
                <a:off x="2751" y="268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8" name="Rectangle 1504"/>
              <p:cNvSpPr>
                <a:spLocks noChangeArrowheads="1"/>
              </p:cNvSpPr>
              <p:nvPr/>
            </p:nvSpPr>
            <p:spPr bwMode="auto">
              <a:xfrm>
                <a:off x="2757" y="267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9" name="Rectangle 1505"/>
              <p:cNvSpPr>
                <a:spLocks noChangeArrowheads="1"/>
              </p:cNvSpPr>
              <p:nvPr/>
            </p:nvSpPr>
            <p:spPr bwMode="auto">
              <a:xfrm>
                <a:off x="2757" y="268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0" name="Rectangle 1506"/>
              <p:cNvSpPr>
                <a:spLocks noChangeArrowheads="1"/>
              </p:cNvSpPr>
              <p:nvPr/>
            </p:nvSpPr>
            <p:spPr bwMode="auto">
              <a:xfrm>
                <a:off x="2751" y="2649"/>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1" name="Rectangle 1507"/>
              <p:cNvSpPr>
                <a:spLocks noChangeArrowheads="1"/>
              </p:cNvSpPr>
              <p:nvPr/>
            </p:nvSpPr>
            <p:spPr bwMode="auto">
              <a:xfrm>
                <a:off x="2751" y="2664"/>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2" name="Rectangle 1508"/>
              <p:cNvSpPr>
                <a:spLocks noChangeArrowheads="1"/>
              </p:cNvSpPr>
              <p:nvPr/>
            </p:nvSpPr>
            <p:spPr bwMode="auto">
              <a:xfrm>
                <a:off x="2757" y="2654"/>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3" name="Rectangle 1509"/>
              <p:cNvSpPr>
                <a:spLocks noChangeArrowheads="1"/>
              </p:cNvSpPr>
              <p:nvPr/>
            </p:nvSpPr>
            <p:spPr bwMode="auto">
              <a:xfrm>
                <a:off x="2757" y="2660"/>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4" name="Rectangle 1510"/>
              <p:cNvSpPr>
                <a:spLocks noChangeArrowheads="1"/>
              </p:cNvSpPr>
              <p:nvPr/>
            </p:nvSpPr>
            <p:spPr bwMode="auto">
              <a:xfrm>
                <a:off x="2751" y="2625"/>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5" name="Rectangle 1511"/>
              <p:cNvSpPr>
                <a:spLocks noChangeArrowheads="1"/>
              </p:cNvSpPr>
              <p:nvPr/>
            </p:nvSpPr>
            <p:spPr bwMode="auto">
              <a:xfrm>
                <a:off x="2751" y="2640"/>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6" name="Rectangle 1512"/>
              <p:cNvSpPr>
                <a:spLocks noChangeArrowheads="1"/>
              </p:cNvSpPr>
              <p:nvPr/>
            </p:nvSpPr>
            <p:spPr bwMode="auto">
              <a:xfrm>
                <a:off x="2757" y="2629"/>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7" name="Rectangle 1513"/>
              <p:cNvSpPr>
                <a:spLocks noChangeArrowheads="1"/>
              </p:cNvSpPr>
              <p:nvPr/>
            </p:nvSpPr>
            <p:spPr bwMode="auto">
              <a:xfrm>
                <a:off x="2757" y="2636"/>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8" name="Rectangle 1514"/>
              <p:cNvSpPr>
                <a:spLocks noChangeArrowheads="1"/>
              </p:cNvSpPr>
              <p:nvPr/>
            </p:nvSpPr>
            <p:spPr bwMode="auto">
              <a:xfrm>
                <a:off x="2751" y="2601"/>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9" name="Rectangle 1515"/>
              <p:cNvSpPr>
                <a:spLocks noChangeArrowheads="1"/>
              </p:cNvSpPr>
              <p:nvPr/>
            </p:nvSpPr>
            <p:spPr bwMode="auto">
              <a:xfrm>
                <a:off x="2751" y="2615"/>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0" name="Rectangle 1516"/>
              <p:cNvSpPr>
                <a:spLocks noChangeArrowheads="1"/>
              </p:cNvSpPr>
              <p:nvPr/>
            </p:nvSpPr>
            <p:spPr bwMode="auto">
              <a:xfrm>
                <a:off x="2757" y="2605"/>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1" name="Rectangle 1517"/>
              <p:cNvSpPr>
                <a:spLocks noChangeArrowheads="1"/>
              </p:cNvSpPr>
              <p:nvPr/>
            </p:nvSpPr>
            <p:spPr bwMode="auto">
              <a:xfrm>
                <a:off x="2757" y="2612"/>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2" name="Rectangle 1518"/>
              <p:cNvSpPr>
                <a:spLocks noChangeArrowheads="1"/>
              </p:cNvSpPr>
              <p:nvPr/>
            </p:nvSpPr>
            <p:spPr bwMode="auto">
              <a:xfrm>
                <a:off x="2751" y="2576"/>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3" name="Rectangle 1519"/>
              <p:cNvSpPr>
                <a:spLocks noChangeArrowheads="1"/>
              </p:cNvSpPr>
              <p:nvPr/>
            </p:nvSpPr>
            <p:spPr bwMode="auto">
              <a:xfrm>
                <a:off x="2751" y="2591"/>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4" name="Rectangle 1520"/>
              <p:cNvSpPr>
                <a:spLocks noChangeArrowheads="1"/>
              </p:cNvSpPr>
              <p:nvPr/>
            </p:nvSpPr>
            <p:spPr bwMode="auto">
              <a:xfrm>
                <a:off x="2757" y="2581"/>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5" name="Rectangle 1521"/>
              <p:cNvSpPr>
                <a:spLocks noChangeArrowheads="1"/>
              </p:cNvSpPr>
              <p:nvPr/>
            </p:nvSpPr>
            <p:spPr bwMode="auto">
              <a:xfrm>
                <a:off x="2757" y="2587"/>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6" name="Rectangle 1522"/>
              <p:cNvSpPr>
                <a:spLocks noChangeArrowheads="1"/>
              </p:cNvSpPr>
              <p:nvPr/>
            </p:nvSpPr>
            <p:spPr bwMode="auto">
              <a:xfrm>
                <a:off x="2751" y="2552"/>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7" name="Rectangle 1523"/>
              <p:cNvSpPr>
                <a:spLocks noChangeArrowheads="1"/>
              </p:cNvSpPr>
              <p:nvPr/>
            </p:nvSpPr>
            <p:spPr bwMode="auto">
              <a:xfrm>
                <a:off x="2751" y="2567"/>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8" name="Rectangle 1524"/>
              <p:cNvSpPr>
                <a:spLocks noChangeArrowheads="1"/>
              </p:cNvSpPr>
              <p:nvPr/>
            </p:nvSpPr>
            <p:spPr bwMode="auto">
              <a:xfrm>
                <a:off x="2757" y="2556"/>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9" name="Rectangle 1525"/>
              <p:cNvSpPr>
                <a:spLocks noChangeArrowheads="1"/>
              </p:cNvSpPr>
              <p:nvPr/>
            </p:nvSpPr>
            <p:spPr bwMode="auto">
              <a:xfrm>
                <a:off x="2757" y="2563"/>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0" name="Rectangle 1526"/>
              <p:cNvSpPr>
                <a:spLocks noChangeArrowheads="1"/>
              </p:cNvSpPr>
              <p:nvPr/>
            </p:nvSpPr>
            <p:spPr bwMode="auto">
              <a:xfrm>
                <a:off x="2751" y="2528"/>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1" name="Rectangle 1527"/>
              <p:cNvSpPr>
                <a:spLocks noChangeArrowheads="1"/>
              </p:cNvSpPr>
              <p:nvPr/>
            </p:nvSpPr>
            <p:spPr bwMode="auto">
              <a:xfrm>
                <a:off x="2751" y="2543"/>
                <a:ext cx="39"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2" name="Rectangle 1528"/>
              <p:cNvSpPr>
                <a:spLocks noChangeArrowheads="1"/>
              </p:cNvSpPr>
              <p:nvPr/>
            </p:nvSpPr>
            <p:spPr bwMode="auto">
              <a:xfrm>
                <a:off x="2757" y="2532"/>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3" name="Rectangle 1529"/>
              <p:cNvSpPr>
                <a:spLocks noChangeArrowheads="1"/>
              </p:cNvSpPr>
              <p:nvPr/>
            </p:nvSpPr>
            <p:spPr bwMode="auto">
              <a:xfrm>
                <a:off x="2757" y="2539"/>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4" name="Rectangle 1530"/>
              <p:cNvSpPr>
                <a:spLocks noChangeArrowheads="1"/>
              </p:cNvSpPr>
              <p:nvPr/>
            </p:nvSpPr>
            <p:spPr bwMode="auto">
              <a:xfrm>
                <a:off x="2751" y="2503"/>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5" name="Rectangle 1531"/>
              <p:cNvSpPr>
                <a:spLocks noChangeArrowheads="1"/>
              </p:cNvSpPr>
              <p:nvPr/>
            </p:nvSpPr>
            <p:spPr bwMode="auto">
              <a:xfrm>
                <a:off x="2751" y="251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6" name="Rectangle 1532"/>
              <p:cNvSpPr>
                <a:spLocks noChangeArrowheads="1"/>
              </p:cNvSpPr>
              <p:nvPr/>
            </p:nvSpPr>
            <p:spPr bwMode="auto">
              <a:xfrm>
                <a:off x="2757" y="250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7" name="Rectangle 1533"/>
              <p:cNvSpPr>
                <a:spLocks noChangeArrowheads="1"/>
              </p:cNvSpPr>
              <p:nvPr/>
            </p:nvSpPr>
            <p:spPr bwMode="auto">
              <a:xfrm>
                <a:off x="2757" y="251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8" name="Freeform 1534"/>
              <p:cNvSpPr>
                <a:spLocks/>
              </p:cNvSpPr>
              <p:nvPr/>
            </p:nvSpPr>
            <p:spPr bwMode="auto">
              <a:xfrm>
                <a:off x="2938" y="2708"/>
                <a:ext cx="44" cy="17"/>
              </a:xfrm>
              <a:custGeom>
                <a:avLst/>
                <a:gdLst>
                  <a:gd name="T0" fmla="*/ 11 w 195"/>
                  <a:gd name="T1" fmla="*/ 74 h 74"/>
                  <a:gd name="T2" fmla="*/ 0 w 195"/>
                  <a:gd name="T3" fmla="*/ 54 h 74"/>
                  <a:gd name="T4" fmla="*/ 193 w 195"/>
                  <a:gd name="T5" fmla="*/ 0 h 74"/>
                  <a:gd name="T6" fmla="*/ 195 w 195"/>
                  <a:gd name="T7" fmla="*/ 8 h 74"/>
                  <a:gd name="T8" fmla="*/ 11 w 195"/>
                  <a:gd name="T9" fmla="*/ 74 h 74"/>
                </a:gdLst>
                <a:ahLst/>
                <a:cxnLst>
                  <a:cxn ang="0">
                    <a:pos x="T0" y="T1"/>
                  </a:cxn>
                  <a:cxn ang="0">
                    <a:pos x="T2" y="T3"/>
                  </a:cxn>
                  <a:cxn ang="0">
                    <a:pos x="T4" y="T5"/>
                  </a:cxn>
                  <a:cxn ang="0">
                    <a:pos x="T6" y="T7"/>
                  </a:cxn>
                  <a:cxn ang="0">
                    <a:pos x="T8" y="T9"/>
                  </a:cxn>
                </a:cxnLst>
                <a:rect l="0" t="0" r="r" b="b"/>
                <a:pathLst>
                  <a:path w="195" h="74">
                    <a:moveTo>
                      <a:pt x="11" y="74"/>
                    </a:moveTo>
                    <a:lnTo>
                      <a:pt x="0" y="54"/>
                    </a:lnTo>
                    <a:lnTo>
                      <a:pt x="193" y="0"/>
                    </a:lnTo>
                    <a:lnTo>
                      <a:pt x="195" y="8"/>
                    </a:lnTo>
                    <a:lnTo>
                      <a:pt x="11" y="7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9" name="Freeform 1535"/>
              <p:cNvSpPr>
                <a:spLocks/>
              </p:cNvSpPr>
              <p:nvPr/>
            </p:nvSpPr>
            <p:spPr bwMode="auto">
              <a:xfrm>
                <a:off x="2938" y="2708"/>
                <a:ext cx="44" cy="17"/>
              </a:xfrm>
              <a:custGeom>
                <a:avLst/>
                <a:gdLst>
                  <a:gd name="T0" fmla="*/ 0 w 195"/>
                  <a:gd name="T1" fmla="*/ 54 h 74"/>
                  <a:gd name="T2" fmla="*/ 11 w 195"/>
                  <a:gd name="T3" fmla="*/ 70 h 74"/>
                  <a:gd name="T4" fmla="*/ 191 w 195"/>
                  <a:gd name="T5" fmla="*/ 5 h 74"/>
                  <a:gd name="T6" fmla="*/ 193 w 195"/>
                  <a:gd name="T7" fmla="*/ 0 h 74"/>
                  <a:gd name="T8" fmla="*/ 195 w 195"/>
                  <a:gd name="T9" fmla="*/ 8 h 74"/>
                  <a:gd name="T10" fmla="*/ 11 w 195"/>
                  <a:gd name="T11" fmla="*/ 74 h 74"/>
                  <a:gd name="T12" fmla="*/ 0 w 195"/>
                  <a:gd name="T13" fmla="*/ 54 h 74"/>
                </a:gdLst>
                <a:ahLst/>
                <a:cxnLst>
                  <a:cxn ang="0">
                    <a:pos x="T0" y="T1"/>
                  </a:cxn>
                  <a:cxn ang="0">
                    <a:pos x="T2" y="T3"/>
                  </a:cxn>
                  <a:cxn ang="0">
                    <a:pos x="T4" y="T5"/>
                  </a:cxn>
                  <a:cxn ang="0">
                    <a:pos x="T6" y="T7"/>
                  </a:cxn>
                  <a:cxn ang="0">
                    <a:pos x="T8" y="T9"/>
                  </a:cxn>
                  <a:cxn ang="0">
                    <a:pos x="T10" y="T11"/>
                  </a:cxn>
                  <a:cxn ang="0">
                    <a:pos x="T12" y="T13"/>
                  </a:cxn>
                </a:cxnLst>
                <a:rect l="0" t="0" r="r" b="b"/>
                <a:pathLst>
                  <a:path w="195" h="74">
                    <a:moveTo>
                      <a:pt x="0" y="54"/>
                    </a:moveTo>
                    <a:lnTo>
                      <a:pt x="11" y="70"/>
                    </a:lnTo>
                    <a:lnTo>
                      <a:pt x="191" y="5"/>
                    </a:lnTo>
                    <a:lnTo>
                      <a:pt x="193" y="0"/>
                    </a:lnTo>
                    <a:lnTo>
                      <a:pt x="195" y="8"/>
                    </a:lnTo>
                    <a:lnTo>
                      <a:pt x="11" y="74"/>
                    </a:lnTo>
                    <a:lnTo>
                      <a:pt x="0" y="54"/>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0" name="Freeform 1536"/>
              <p:cNvSpPr>
                <a:spLocks/>
              </p:cNvSpPr>
              <p:nvPr/>
            </p:nvSpPr>
            <p:spPr bwMode="auto">
              <a:xfrm>
                <a:off x="2873" y="2727"/>
                <a:ext cx="45" cy="2"/>
              </a:xfrm>
              <a:custGeom>
                <a:avLst/>
                <a:gdLst>
                  <a:gd name="T0" fmla="*/ 4 w 200"/>
                  <a:gd name="T1" fmla="*/ 8 h 10"/>
                  <a:gd name="T2" fmla="*/ 0 w 200"/>
                  <a:gd name="T3" fmla="*/ 0 h 10"/>
                  <a:gd name="T4" fmla="*/ 200 w 200"/>
                  <a:gd name="T5" fmla="*/ 1 h 10"/>
                  <a:gd name="T6" fmla="*/ 199 w 200"/>
                  <a:gd name="T7" fmla="*/ 10 h 10"/>
                  <a:gd name="T8" fmla="*/ 4 w 200"/>
                  <a:gd name="T9" fmla="*/ 8 h 10"/>
                </a:gdLst>
                <a:ahLst/>
                <a:cxnLst>
                  <a:cxn ang="0">
                    <a:pos x="T0" y="T1"/>
                  </a:cxn>
                  <a:cxn ang="0">
                    <a:pos x="T2" y="T3"/>
                  </a:cxn>
                  <a:cxn ang="0">
                    <a:pos x="T4" y="T5"/>
                  </a:cxn>
                  <a:cxn ang="0">
                    <a:pos x="T6" y="T7"/>
                  </a:cxn>
                  <a:cxn ang="0">
                    <a:pos x="T8" y="T9"/>
                  </a:cxn>
                </a:cxnLst>
                <a:rect l="0" t="0" r="r" b="b"/>
                <a:pathLst>
                  <a:path w="200" h="10">
                    <a:moveTo>
                      <a:pt x="4" y="8"/>
                    </a:moveTo>
                    <a:lnTo>
                      <a:pt x="0" y="0"/>
                    </a:lnTo>
                    <a:lnTo>
                      <a:pt x="200" y="1"/>
                    </a:lnTo>
                    <a:lnTo>
                      <a:pt x="199" y="10"/>
                    </a:lnTo>
                    <a:lnTo>
                      <a:pt x="4" y="8"/>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1" name="Freeform 1537"/>
              <p:cNvSpPr>
                <a:spLocks/>
              </p:cNvSpPr>
              <p:nvPr/>
            </p:nvSpPr>
            <p:spPr bwMode="auto">
              <a:xfrm>
                <a:off x="2873" y="2727"/>
                <a:ext cx="45" cy="2"/>
              </a:xfrm>
              <a:custGeom>
                <a:avLst/>
                <a:gdLst>
                  <a:gd name="T0" fmla="*/ 0 w 200"/>
                  <a:gd name="T1" fmla="*/ 0 h 10"/>
                  <a:gd name="T2" fmla="*/ 5 w 200"/>
                  <a:gd name="T3" fmla="*/ 4 h 10"/>
                  <a:gd name="T4" fmla="*/ 197 w 200"/>
                  <a:gd name="T5" fmla="*/ 6 h 10"/>
                  <a:gd name="T6" fmla="*/ 200 w 200"/>
                  <a:gd name="T7" fmla="*/ 1 h 10"/>
                  <a:gd name="T8" fmla="*/ 199 w 200"/>
                  <a:gd name="T9" fmla="*/ 10 h 10"/>
                  <a:gd name="T10" fmla="*/ 4 w 200"/>
                  <a:gd name="T11" fmla="*/ 8 h 10"/>
                  <a:gd name="T12" fmla="*/ 0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0" y="0"/>
                    </a:moveTo>
                    <a:lnTo>
                      <a:pt x="5" y="4"/>
                    </a:lnTo>
                    <a:lnTo>
                      <a:pt x="197" y="6"/>
                    </a:lnTo>
                    <a:lnTo>
                      <a:pt x="200" y="1"/>
                    </a:lnTo>
                    <a:lnTo>
                      <a:pt x="199" y="10"/>
                    </a:lnTo>
                    <a:lnTo>
                      <a:pt x="4" y="8"/>
                    </a:lnTo>
                    <a:lnTo>
                      <a:pt x="0" y="0"/>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2" name="Freeform 1538"/>
              <p:cNvSpPr>
                <a:spLocks/>
              </p:cNvSpPr>
              <p:nvPr/>
            </p:nvSpPr>
            <p:spPr bwMode="auto">
              <a:xfrm>
                <a:off x="2919" y="2506"/>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9"/>
                      <a:pt x="4" y="52"/>
                      <a:pt x="9" y="52"/>
                    </a:cubicBezTo>
                    <a:lnTo>
                      <a:pt x="44" y="52"/>
                    </a:lnTo>
                    <a:cubicBezTo>
                      <a:pt x="49" y="52"/>
                      <a:pt x="53" y="49"/>
                      <a:pt x="53" y="44"/>
                    </a:cubicBezTo>
                    <a:lnTo>
                      <a:pt x="53" y="8"/>
                    </a:lnTo>
                    <a:cubicBezTo>
                      <a:pt x="53" y="4"/>
                      <a:pt x="49" y="0"/>
                      <a:pt x="44" y="0"/>
                    </a:cubicBezTo>
                    <a:lnTo>
                      <a:pt x="9" y="0"/>
                    </a:lnTo>
                    <a:cubicBezTo>
                      <a:pt x="4" y="0"/>
                      <a:pt x="0" y="4"/>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3" name="Freeform 1539"/>
              <p:cNvSpPr>
                <a:spLocks/>
              </p:cNvSpPr>
              <p:nvPr/>
            </p:nvSpPr>
            <p:spPr bwMode="auto">
              <a:xfrm>
                <a:off x="2919" y="2531"/>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4" name="Freeform 1540"/>
              <p:cNvSpPr>
                <a:spLocks/>
              </p:cNvSpPr>
              <p:nvPr/>
            </p:nvSpPr>
            <p:spPr bwMode="auto">
              <a:xfrm>
                <a:off x="2914" y="2556"/>
                <a:ext cx="16" cy="12"/>
              </a:xfrm>
              <a:custGeom>
                <a:avLst/>
                <a:gdLst>
                  <a:gd name="T0" fmla="*/ 0 w 69"/>
                  <a:gd name="T1" fmla="*/ 45 h 53"/>
                  <a:gd name="T2" fmla="*/ 8 w 69"/>
                  <a:gd name="T3" fmla="*/ 53 h 53"/>
                  <a:gd name="T4" fmla="*/ 61 w 69"/>
                  <a:gd name="T5" fmla="*/ 53 h 53"/>
                  <a:gd name="T6" fmla="*/ 69 w 69"/>
                  <a:gd name="T7" fmla="*/ 45 h 53"/>
                  <a:gd name="T8" fmla="*/ 69 w 69"/>
                  <a:gd name="T9" fmla="*/ 9 h 53"/>
                  <a:gd name="T10" fmla="*/ 61 w 69"/>
                  <a:gd name="T11" fmla="*/ 0 h 53"/>
                  <a:gd name="T12" fmla="*/ 8 w 69"/>
                  <a:gd name="T13" fmla="*/ 0 h 53"/>
                  <a:gd name="T14" fmla="*/ 0 w 69"/>
                  <a:gd name="T15" fmla="*/ 9 h 53"/>
                  <a:gd name="T16" fmla="*/ 0 w 69"/>
                  <a:gd name="T1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5"/>
                    </a:moveTo>
                    <a:cubicBezTo>
                      <a:pt x="0" y="49"/>
                      <a:pt x="4" y="53"/>
                      <a:pt x="8" y="53"/>
                    </a:cubicBezTo>
                    <a:lnTo>
                      <a:pt x="61" y="53"/>
                    </a:lnTo>
                    <a:cubicBezTo>
                      <a:pt x="65" y="53"/>
                      <a:pt x="69" y="49"/>
                      <a:pt x="69" y="45"/>
                    </a:cubicBezTo>
                    <a:lnTo>
                      <a:pt x="69" y="9"/>
                    </a:lnTo>
                    <a:cubicBezTo>
                      <a:pt x="69" y="4"/>
                      <a:pt x="65" y="0"/>
                      <a:pt x="61" y="0"/>
                    </a:cubicBezTo>
                    <a:lnTo>
                      <a:pt x="8" y="0"/>
                    </a:lnTo>
                    <a:cubicBezTo>
                      <a:pt x="4" y="0"/>
                      <a:pt x="0" y="4"/>
                      <a:pt x="0" y="9"/>
                    </a:cubicBezTo>
                    <a:lnTo>
                      <a:pt x="0" y="45"/>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5" name="Freeform 1541"/>
              <p:cNvSpPr>
                <a:spLocks/>
              </p:cNvSpPr>
              <p:nvPr/>
            </p:nvSpPr>
            <p:spPr bwMode="auto">
              <a:xfrm>
                <a:off x="2919" y="2582"/>
                <a:ext cx="12" cy="13"/>
              </a:xfrm>
              <a:custGeom>
                <a:avLst/>
                <a:gdLst>
                  <a:gd name="T0" fmla="*/ 0 w 53"/>
                  <a:gd name="T1" fmla="*/ 44 h 53"/>
                  <a:gd name="T2" fmla="*/ 9 w 53"/>
                  <a:gd name="T3" fmla="*/ 53 h 53"/>
                  <a:gd name="T4" fmla="*/ 44 w 53"/>
                  <a:gd name="T5" fmla="*/ 53 h 53"/>
                  <a:gd name="T6" fmla="*/ 53 w 53"/>
                  <a:gd name="T7" fmla="*/ 44 h 53"/>
                  <a:gd name="T8" fmla="*/ 53 w 53"/>
                  <a:gd name="T9" fmla="*/ 9 h 53"/>
                  <a:gd name="T10" fmla="*/ 44 w 53"/>
                  <a:gd name="T11" fmla="*/ 0 h 53"/>
                  <a:gd name="T12" fmla="*/ 9 w 53"/>
                  <a:gd name="T13" fmla="*/ 0 h 53"/>
                  <a:gd name="T14" fmla="*/ 0 w 53"/>
                  <a:gd name="T15" fmla="*/ 9 h 53"/>
                  <a:gd name="T16" fmla="*/ 0 w 53"/>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0" y="44"/>
                    </a:moveTo>
                    <a:cubicBezTo>
                      <a:pt x="0" y="49"/>
                      <a:pt x="4" y="53"/>
                      <a:pt x="9" y="53"/>
                    </a:cubicBezTo>
                    <a:lnTo>
                      <a:pt x="44" y="53"/>
                    </a:lnTo>
                    <a:cubicBezTo>
                      <a:pt x="49" y="53"/>
                      <a:pt x="53" y="49"/>
                      <a:pt x="53" y="44"/>
                    </a:cubicBezTo>
                    <a:lnTo>
                      <a:pt x="53" y="9"/>
                    </a:lnTo>
                    <a:cubicBezTo>
                      <a:pt x="53" y="4"/>
                      <a:pt x="49" y="0"/>
                      <a:pt x="44" y="0"/>
                    </a:cubicBezTo>
                    <a:lnTo>
                      <a:pt x="9"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6" name="Freeform 1542"/>
              <p:cNvSpPr>
                <a:spLocks/>
              </p:cNvSpPr>
              <p:nvPr/>
            </p:nvSpPr>
            <p:spPr bwMode="auto">
              <a:xfrm>
                <a:off x="2919" y="2631"/>
                <a:ext cx="12" cy="11"/>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7" name="Freeform 1543"/>
              <p:cNvSpPr>
                <a:spLocks/>
              </p:cNvSpPr>
              <p:nvPr/>
            </p:nvSpPr>
            <p:spPr bwMode="auto">
              <a:xfrm>
                <a:off x="2919" y="2680"/>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8" name="Freeform 1544"/>
              <p:cNvSpPr>
                <a:spLocks/>
              </p:cNvSpPr>
              <p:nvPr/>
            </p:nvSpPr>
            <p:spPr bwMode="auto">
              <a:xfrm>
                <a:off x="2925" y="2655"/>
                <a:ext cx="11" cy="12"/>
              </a:xfrm>
              <a:custGeom>
                <a:avLst/>
                <a:gdLst>
                  <a:gd name="T0" fmla="*/ 0 w 52"/>
                  <a:gd name="T1" fmla="*/ 44 h 52"/>
                  <a:gd name="T2" fmla="*/ 8 w 52"/>
                  <a:gd name="T3" fmla="*/ 52 h 52"/>
                  <a:gd name="T4" fmla="*/ 44 w 52"/>
                  <a:gd name="T5" fmla="*/ 52 h 52"/>
                  <a:gd name="T6" fmla="*/ 52 w 52"/>
                  <a:gd name="T7" fmla="*/ 44 h 52"/>
                  <a:gd name="T8" fmla="*/ 52 w 52"/>
                  <a:gd name="T9" fmla="*/ 8 h 52"/>
                  <a:gd name="T10" fmla="*/ 44 w 52"/>
                  <a:gd name="T11" fmla="*/ 0 h 52"/>
                  <a:gd name="T12" fmla="*/ 8 w 52"/>
                  <a:gd name="T13" fmla="*/ 0 h 52"/>
                  <a:gd name="T14" fmla="*/ 0 w 52"/>
                  <a:gd name="T15" fmla="*/ 8 h 52"/>
                  <a:gd name="T16" fmla="*/ 0 w 52"/>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2">
                    <a:moveTo>
                      <a:pt x="0" y="44"/>
                    </a:moveTo>
                    <a:cubicBezTo>
                      <a:pt x="0" y="48"/>
                      <a:pt x="4" y="52"/>
                      <a:pt x="8" y="52"/>
                    </a:cubicBezTo>
                    <a:lnTo>
                      <a:pt x="44" y="52"/>
                    </a:lnTo>
                    <a:cubicBezTo>
                      <a:pt x="48" y="52"/>
                      <a:pt x="52" y="48"/>
                      <a:pt x="52" y="44"/>
                    </a:cubicBezTo>
                    <a:lnTo>
                      <a:pt x="52" y="8"/>
                    </a:lnTo>
                    <a:cubicBezTo>
                      <a:pt x="52" y="3"/>
                      <a:pt x="48" y="0"/>
                      <a:pt x="44" y="0"/>
                    </a:cubicBezTo>
                    <a:lnTo>
                      <a:pt x="8"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9" name="Freeform 1545"/>
              <p:cNvSpPr>
                <a:spLocks/>
              </p:cNvSpPr>
              <p:nvPr/>
            </p:nvSpPr>
            <p:spPr bwMode="auto">
              <a:xfrm>
                <a:off x="2914" y="2608"/>
                <a:ext cx="16" cy="12"/>
              </a:xfrm>
              <a:custGeom>
                <a:avLst/>
                <a:gdLst>
                  <a:gd name="T0" fmla="*/ 0 w 69"/>
                  <a:gd name="T1" fmla="*/ 44 h 53"/>
                  <a:gd name="T2" fmla="*/ 8 w 69"/>
                  <a:gd name="T3" fmla="*/ 53 h 53"/>
                  <a:gd name="T4" fmla="*/ 61 w 69"/>
                  <a:gd name="T5" fmla="*/ 53 h 53"/>
                  <a:gd name="T6" fmla="*/ 69 w 69"/>
                  <a:gd name="T7" fmla="*/ 44 h 53"/>
                  <a:gd name="T8" fmla="*/ 69 w 69"/>
                  <a:gd name="T9" fmla="*/ 9 h 53"/>
                  <a:gd name="T10" fmla="*/ 61 w 69"/>
                  <a:gd name="T11" fmla="*/ 0 h 53"/>
                  <a:gd name="T12" fmla="*/ 8 w 69"/>
                  <a:gd name="T13" fmla="*/ 0 h 53"/>
                  <a:gd name="T14" fmla="*/ 0 w 69"/>
                  <a:gd name="T15" fmla="*/ 9 h 53"/>
                  <a:gd name="T16" fmla="*/ 0 w 69"/>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4"/>
                    </a:moveTo>
                    <a:cubicBezTo>
                      <a:pt x="0" y="49"/>
                      <a:pt x="4" y="53"/>
                      <a:pt x="8" y="53"/>
                    </a:cubicBezTo>
                    <a:lnTo>
                      <a:pt x="61" y="53"/>
                    </a:lnTo>
                    <a:cubicBezTo>
                      <a:pt x="65" y="53"/>
                      <a:pt x="69" y="49"/>
                      <a:pt x="69" y="44"/>
                    </a:cubicBezTo>
                    <a:lnTo>
                      <a:pt x="69" y="9"/>
                    </a:lnTo>
                    <a:cubicBezTo>
                      <a:pt x="69" y="4"/>
                      <a:pt x="65" y="0"/>
                      <a:pt x="61" y="0"/>
                    </a:cubicBezTo>
                    <a:lnTo>
                      <a:pt x="8"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0" name="Freeform 1546"/>
              <p:cNvSpPr>
                <a:spLocks noEditPoints="1"/>
              </p:cNvSpPr>
              <p:nvPr/>
            </p:nvSpPr>
            <p:spPr bwMode="auto">
              <a:xfrm>
                <a:off x="2751" y="2484"/>
                <a:ext cx="255" cy="260"/>
              </a:xfrm>
              <a:custGeom>
                <a:avLst/>
                <a:gdLst>
                  <a:gd name="T0" fmla="*/ 20 w 1124"/>
                  <a:gd name="T1" fmla="*/ 0 h 1147"/>
                  <a:gd name="T2" fmla="*/ 0 w 1124"/>
                  <a:gd name="T3" fmla="*/ 86 h 1147"/>
                  <a:gd name="T4" fmla="*/ 121 w 1124"/>
                  <a:gd name="T5" fmla="*/ 106 h 1147"/>
                  <a:gd name="T6" fmla="*/ 141 w 1124"/>
                  <a:gd name="T7" fmla="*/ 924 h 1147"/>
                  <a:gd name="T8" fmla="*/ 20 w 1124"/>
                  <a:gd name="T9" fmla="*/ 944 h 1147"/>
                  <a:gd name="T10" fmla="*/ 0 w 1124"/>
                  <a:gd name="T11" fmla="*/ 1127 h 1147"/>
                  <a:gd name="T12" fmla="*/ 1104 w 1124"/>
                  <a:gd name="T13" fmla="*/ 1147 h 1147"/>
                  <a:gd name="T14" fmla="*/ 1124 w 1124"/>
                  <a:gd name="T15" fmla="*/ 20 h 1147"/>
                  <a:gd name="T16" fmla="*/ 726 w 1124"/>
                  <a:gd name="T17" fmla="*/ 106 h 1147"/>
                  <a:gd name="T18" fmla="*/ 781 w 1124"/>
                  <a:gd name="T19" fmla="*/ 86 h 1147"/>
                  <a:gd name="T20" fmla="*/ 801 w 1124"/>
                  <a:gd name="T21" fmla="*/ 140 h 1147"/>
                  <a:gd name="T22" fmla="*/ 746 w 1124"/>
                  <a:gd name="T23" fmla="*/ 160 h 1147"/>
                  <a:gd name="T24" fmla="*/ 726 w 1124"/>
                  <a:gd name="T25" fmla="*/ 106 h 1147"/>
                  <a:gd name="T26" fmla="*/ 746 w 1124"/>
                  <a:gd name="T27" fmla="*/ 197 h 1147"/>
                  <a:gd name="T28" fmla="*/ 801 w 1124"/>
                  <a:gd name="T29" fmla="*/ 217 h 1147"/>
                  <a:gd name="T30" fmla="*/ 781 w 1124"/>
                  <a:gd name="T31" fmla="*/ 271 h 1147"/>
                  <a:gd name="T32" fmla="*/ 726 w 1124"/>
                  <a:gd name="T33" fmla="*/ 251 h 1147"/>
                  <a:gd name="T34" fmla="*/ 702 w 1124"/>
                  <a:gd name="T35" fmla="*/ 328 h 1147"/>
                  <a:gd name="T36" fmla="*/ 781 w 1124"/>
                  <a:gd name="T37" fmla="*/ 308 h 1147"/>
                  <a:gd name="T38" fmla="*/ 801 w 1124"/>
                  <a:gd name="T39" fmla="*/ 363 h 1147"/>
                  <a:gd name="T40" fmla="*/ 722 w 1124"/>
                  <a:gd name="T41" fmla="*/ 383 h 1147"/>
                  <a:gd name="T42" fmla="*/ 702 w 1124"/>
                  <a:gd name="T43" fmla="*/ 328 h 1147"/>
                  <a:gd name="T44" fmla="*/ 801 w 1124"/>
                  <a:gd name="T45" fmla="*/ 478 h 1147"/>
                  <a:gd name="T46" fmla="*/ 746 w 1124"/>
                  <a:gd name="T47" fmla="*/ 498 h 1147"/>
                  <a:gd name="T48" fmla="*/ 726 w 1124"/>
                  <a:gd name="T49" fmla="*/ 443 h 1147"/>
                  <a:gd name="T50" fmla="*/ 781 w 1124"/>
                  <a:gd name="T51" fmla="*/ 423 h 1147"/>
                  <a:gd name="T52" fmla="*/ 359 w 1124"/>
                  <a:gd name="T53" fmla="*/ 1096 h 1147"/>
                  <a:gd name="T54" fmla="*/ 286 w 1124"/>
                  <a:gd name="T55" fmla="*/ 1116 h 1147"/>
                  <a:gd name="T56" fmla="*/ 266 w 1124"/>
                  <a:gd name="T57" fmla="*/ 1079 h 1147"/>
                  <a:gd name="T58" fmla="*/ 339 w 1124"/>
                  <a:gd name="T59" fmla="*/ 1059 h 1147"/>
                  <a:gd name="T60" fmla="*/ 359 w 1124"/>
                  <a:gd name="T61" fmla="*/ 1096 h 1147"/>
                  <a:gd name="T62" fmla="*/ 682 w 1124"/>
                  <a:gd name="T63" fmla="*/ 1087 h 1147"/>
                  <a:gd name="T64" fmla="*/ 600 w 1124"/>
                  <a:gd name="T65" fmla="*/ 1067 h 1147"/>
                  <a:gd name="T66" fmla="*/ 620 w 1124"/>
                  <a:gd name="T67" fmla="*/ 1030 h 1147"/>
                  <a:gd name="T68" fmla="*/ 702 w 1124"/>
                  <a:gd name="T69" fmla="*/ 1050 h 1147"/>
                  <a:gd name="T70" fmla="*/ 702 w 1124"/>
                  <a:gd name="T71" fmla="*/ 591 h 1147"/>
                  <a:gd name="T72" fmla="*/ 722 w 1124"/>
                  <a:gd name="T73" fmla="*/ 536 h 1147"/>
                  <a:gd name="T74" fmla="*/ 801 w 1124"/>
                  <a:gd name="T75" fmla="*/ 556 h 1147"/>
                  <a:gd name="T76" fmla="*/ 781 w 1124"/>
                  <a:gd name="T77" fmla="*/ 611 h 1147"/>
                  <a:gd name="T78" fmla="*/ 702 w 1124"/>
                  <a:gd name="T79" fmla="*/ 591 h 1147"/>
                  <a:gd name="T80" fmla="*/ 801 w 1124"/>
                  <a:gd name="T81" fmla="*/ 690 h 1147"/>
                  <a:gd name="T82" fmla="*/ 746 w 1124"/>
                  <a:gd name="T83" fmla="*/ 709 h 1147"/>
                  <a:gd name="T84" fmla="*/ 726 w 1124"/>
                  <a:gd name="T85" fmla="*/ 655 h 1147"/>
                  <a:gd name="T86" fmla="*/ 781 w 1124"/>
                  <a:gd name="T87" fmla="*/ 635 h 1147"/>
                  <a:gd name="T88" fmla="*/ 801 w 1124"/>
                  <a:gd name="T89" fmla="*/ 907 h 1147"/>
                  <a:gd name="T90" fmla="*/ 746 w 1124"/>
                  <a:gd name="T91" fmla="*/ 927 h 1147"/>
                  <a:gd name="T92" fmla="*/ 726 w 1124"/>
                  <a:gd name="T93" fmla="*/ 872 h 1147"/>
                  <a:gd name="T94" fmla="*/ 781 w 1124"/>
                  <a:gd name="T95" fmla="*/ 852 h 1147"/>
                  <a:gd name="T96" fmla="*/ 801 w 1124"/>
                  <a:gd name="T97" fmla="*/ 907 h 1147"/>
                  <a:gd name="T98" fmla="*/ 807 w 1124"/>
                  <a:gd name="T99" fmla="*/ 818 h 1147"/>
                  <a:gd name="T100" fmla="*/ 752 w 1124"/>
                  <a:gd name="T101" fmla="*/ 798 h 1147"/>
                  <a:gd name="T102" fmla="*/ 772 w 1124"/>
                  <a:gd name="T103" fmla="*/ 743 h 1147"/>
                  <a:gd name="T104" fmla="*/ 827 w 1124"/>
                  <a:gd name="T105" fmla="*/ 763 h 1147"/>
                  <a:gd name="T106" fmla="*/ 1060 w 1124"/>
                  <a:gd name="T107" fmla="*/ 1067 h 1147"/>
                  <a:gd name="T108" fmla="*/ 868 w 1124"/>
                  <a:gd name="T109" fmla="*/ 1087 h 1147"/>
                  <a:gd name="T110" fmla="*/ 848 w 1124"/>
                  <a:gd name="T111" fmla="*/ 919 h 1147"/>
                  <a:gd name="T112" fmla="*/ 1040 w 1124"/>
                  <a:gd name="T113" fmla="*/ 899 h 1147"/>
                  <a:gd name="T114" fmla="*/ 1060 w 1124"/>
                  <a:gd name="T115" fmla="*/ 106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4" h="1147">
                    <a:moveTo>
                      <a:pt x="1104" y="0"/>
                    </a:moveTo>
                    <a:lnTo>
                      <a:pt x="20" y="0"/>
                    </a:ln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close/>
                    <a:moveTo>
                      <a:pt x="726" y="106"/>
                    </a:moveTo>
                    <a:cubicBezTo>
                      <a:pt x="726" y="95"/>
                      <a:pt x="735" y="86"/>
                      <a:pt x="746" y="86"/>
                    </a:cubicBezTo>
                    <a:lnTo>
                      <a:pt x="781" y="86"/>
                    </a:lnTo>
                    <a:cubicBezTo>
                      <a:pt x="792" y="86"/>
                      <a:pt x="801" y="95"/>
                      <a:pt x="801" y="106"/>
                    </a:cubicBezTo>
                    <a:lnTo>
                      <a:pt x="801" y="140"/>
                    </a:lnTo>
                    <a:cubicBezTo>
                      <a:pt x="801" y="152"/>
                      <a:pt x="792" y="160"/>
                      <a:pt x="781" y="160"/>
                    </a:cubicBezTo>
                    <a:lnTo>
                      <a:pt x="746" y="160"/>
                    </a:lnTo>
                    <a:cubicBezTo>
                      <a:pt x="735" y="160"/>
                      <a:pt x="726" y="152"/>
                      <a:pt x="726" y="140"/>
                    </a:cubicBezTo>
                    <a:lnTo>
                      <a:pt x="726" y="106"/>
                    </a:lnTo>
                    <a:close/>
                    <a:moveTo>
                      <a:pt x="726" y="217"/>
                    </a:moveTo>
                    <a:cubicBezTo>
                      <a:pt x="726" y="206"/>
                      <a:pt x="735" y="197"/>
                      <a:pt x="746" y="197"/>
                    </a:cubicBezTo>
                    <a:lnTo>
                      <a:pt x="781" y="197"/>
                    </a:lnTo>
                    <a:cubicBezTo>
                      <a:pt x="792" y="197"/>
                      <a:pt x="801" y="206"/>
                      <a:pt x="801" y="217"/>
                    </a:cubicBezTo>
                    <a:lnTo>
                      <a:pt x="801" y="251"/>
                    </a:lnTo>
                    <a:cubicBezTo>
                      <a:pt x="801" y="263"/>
                      <a:pt x="792" y="271"/>
                      <a:pt x="781" y="271"/>
                    </a:cubicBezTo>
                    <a:lnTo>
                      <a:pt x="746" y="271"/>
                    </a:lnTo>
                    <a:cubicBezTo>
                      <a:pt x="735" y="271"/>
                      <a:pt x="726" y="262"/>
                      <a:pt x="726" y="251"/>
                    </a:cubicBezTo>
                    <a:lnTo>
                      <a:pt x="726" y="217"/>
                    </a:lnTo>
                    <a:close/>
                    <a:moveTo>
                      <a:pt x="702" y="328"/>
                    </a:moveTo>
                    <a:cubicBezTo>
                      <a:pt x="702" y="317"/>
                      <a:pt x="711" y="308"/>
                      <a:pt x="722" y="308"/>
                    </a:cubicBezTo>
                    <a:lnTo>
                      <a:pt x="781" y="308"/>
                    </a:lnTo>
                    <a:cubicBezTo>
                      <a:pt x="792" y="308"/>
                      <a:pt x="801" y="317"/>
                      <a:pt x="801" y="328"/>
                    </a:cubicBezTo>
                    <a:lnTo>
                      <a:pt x="801" y="363"/>
                    </a:lnTo>
                    <a:cubicBezTo>
                      <a:pt x="801" y="374"/>
                      <a:pt x="792" y="383"/>
                      <a:pt x="781" y="383"/>
                    </a:cubicBezTo>
                    <a:lnTo>
                      <a:pt x="722" y="383"/>
                    </a:lnTo>
                    <a:cubicBezTo>
                      <a:pt x="711" y="383"/>
                      <a:pt x="702" y="374"/>
                      <a:pt x="702" y="363"/>
                    </a:cubicBezTo>
                    <a:lnTo>
                      <a:pt x="702" y="328"/>
                    </a:lnTo>
                    <a:close/>
                    <a:moveTo>
                      <a:pt x="801" y="443"/>
                    </a:moveTo>
                    <a:lnTo>
                      <a:pt x="801" y="478"/>
                    </a:lnTo>
                    <a:cubicBezTo>
                      <a:pt x="801" y="489"/>
                      <a:pt x="792" y="498"/>
                      <a:pt x="781" y="498"/>
                    </a:cubicBezTo>
                    <a:lnTo>
                      <a:pt x="746" y="498"/>
                    </a:lnTo>
                    <a:cubicBezTo>
                      <a:pt x="735" y="498"/>
                      <a:pt x="726" y="489"/>
                      <a:pt x="726" y="478"/>
                    </a:cubicBezTo>
                    <a:lnTo>
                      <a:pt x="726" y="443"/>
                    </a:lnTo>
                    <a:cubicBezTo>
                      <a:pt x="726" y="432"/>
                      <a:pt x="735" y="423"/>
                      <a:pt x="746" y="423"/>
                    </a:cubicBezTo>
                    <a:lnTo>
                      <a:pt x="781" y="423"/>
                    </a:lnTo>
                    <a:cubicBezTo>
                      <a:pt x="792" y="423"/>
                      <a:pt x="801" y="432"/>
                      <a:pt x="801" y="443"/>
                    </a:cubicBezTo>
                    <a:close/>
                    <a:moveTo>
                      <a:pt x="359" y="1096"/>
                    </a:moveTo>
                    <a:cubicBezTo>
                      <a:pt x="359" y="1107"/>
                      <a:pt x="350" y="1116"/>
                      <a:pt x="339" y="1116"/>
                    </a:cubicBezTo>
                    <a:lnTo>
                      <a:pt x="286" y="1116"/>
                    </a:lnTo>
                    <a:cubicBezTo>
                      <a:pt x="275" y="1116"/>
                      <a:pt x="266" y="1107"/>
                      <a:pt x="266" y="1096"/>
                    </a:cubicBezTo>
                    <a:lnTo>
                      <a:pt x="266" y="1079"/>
                    </a:lnTo>
                    <a:cubicBezTo>
                      <a:pt x="266" y="1068"/>
                      <a:pt x="275" y="1059"/>
                      <a:pt x="286" y="1059"/>
                    </a:cubicBezTo>
                    <a:lnTo>
                      <a:pt x="339" y="1059"/>
                    </a:lnTo>
                    <a:cubicBezTo>
                      <a:pt x="350" y="1059"/>
                      <a:pt x="359" y="1068"/>
                      <a:pt x="359" y="1079"/>
                    </a:cubicBezTo>
                    <a:lnTo>
                      <a:pt x="359" y="1096"/>
                    </a:lnTo>
                    <a:close/>
                    <a:moveTo>
                      <a:pt x="702" y="1067"/>
                    </a:moveTo>
                    <a:cubicBezTo>
                      <a:pt x="702" y="1078"/>
                      <a:pt x="693" y="1087"/>
                      <a:pt x="682" y="1087"/>
                    </a:cubicBezTo>
                    <a:lnTo>
                      <a:pt x="620" y="1087"/>
                    </a:lnTo>
                    <a:cubicBezTo>
                      <a:pt x="609" y="1087"/>
                      <a:pt x="600" y="1078"/>
                      <a:pt x="600" y="1067"/>
                    </a:cubicBezTo>
                    <a:lnTo>
                      <a:pt x="600" y="1050"/>
                    </a:lnTo>
                    <a:cubicBezTo>
                      <a:pt x="600" y="1039"/>
                      <a:pt x="609" y="1030"/>
                      <a:pt x="620" y="1030"/>
                    </a:cubicBezTo>
                    <a:lnTo>
                      <a:pt x="682" y="1030"/>
                    </a:lnTo>
                    <a:cubicBezTo>
                      <a:pt x="693" y="1030"/>
                      <a:pt x="702" y="1039"/>
                      <a:pt x="702" y="1050"/>
                    </a:cubicBezTo>
                    <a:lnTo>
                      <a:pt x="702" y="1067"/>
                    </a:lnTo>
                    <a:close/>
                    <a:moveTo>
                      <a:pt x="702" y="591"/>
                    </a:moveTo>
                    <a:lnTo>
                      <a:pt x="702" y="556"/>
                    </a:lnTo>
                    <a:cubicBezTo>
                      <a:pt x="702" y="545"/>
                      <a:pt x="711" y="536"/>
                      <a:pt x="722" y="536"/>
                    </a:cubicBezTo>
                    <a:lnTo>
                      <a:pt x="781" y="536"/>
                    </a:lnTo>
                    <a:cubicBezTo>
                      <a:pt x="792" y="536"/>
                      <a:pt x="801" y="545"/>
                      <a:pt x="801" y="556"/>
                    </a:cubicBezTo>
                    <a:lnTo>
                      <a:pt x="801" y="591"/>
                    </a:lnTo>
                    <a:cubicBezTo>
                      <a:pt x="801" y="602"/>
                      <a:pt x="792" y="611"/>
                      <a:pt x="781" y="611"/>
                    </a:cubicBezTo>
                    <a:lnTo>
                      <a:pt x="722" y="611"/>
                    </a:lnTo>
                    <a:cubicBezTo>
                      <a:pt x="711" y="611"/>
                      <a:pt x="702" y="602"/>
                      <a:pt x="702" y="591"/>
                    </a:cubicBezTo>
                    <a:close/>
                    <a:moveTo>
                      <a:pt x="801" y="655"/>
                    </a:moveTo>
                    <a:lnTo>
                      <a:pt x="801" y="690"/>
                    </a:lnTo>
                    <a:cubicBezTo>
                      <a:pt x="801" y="701"/>
                      <a:pt x="792" y="709"/>
                      <a:pt x="781" y="709"/>
                    </a:cubicBezTo>
                    <a:lnTo>
                      <a:pt x="746" y="709"/>
                    </a:lnTo>
                    <a:cubicBezTo>
                      <a:pt x="735" y="709"/>
                      <a:pt x="726" y="700"/>
                      <a:pt x="726" y="690"/>
                    </a:cubicBezTo>
                    <a:lnTo>
                      <a:pt x="726" y="655"/>
                    </a:lnTo>
                    <a:cubicBezTo>
                      <a:pt x="726" y="644"/>
                      <a:pt x="735" y="635"/>
                      <a:pt x="746" y="635"/>
                    </a:cubicBezTo>
                    <a:lnTo>
                      <a:pt x="781" y="635"/>
                    </a:lnTo>
                    <a:cubicBezTo>
                      <a:pt x="792" y="635"/>
                      <a:pt x="801" y="644"/>
                      <a:pt x="801" y="655"/>
                    </a:cubicBezTo>
                    <a:close/>
                    <a:moveTo>
                      <a:pt x="801" y="907"/>
                    </a:moveTo>
                    <a:cubicBezTo>
                      <a:pt x="801" y="918"/>
                      <a:pt x="792" y="927"/>
                      <a:pt x="781" y="927"/>
                    </a:cubicBezTo>
                    <a:lnTo>
                      <a:pt x="746" y="927"/>
                    </a:lnTo>
                    <a:cubicBezTo>
                      <a:pt x="735" y="927"/>
                      <a:pt x="726" y="918"/>
                      <a:pt x="726" y="907"/>
                    </a:cubicBezTo>
                    <a:lnTo>
                      <a:pt x="726" y="872"/>
                    </a:lnTo>
                    <a:cubicBezTo>
                      <a:pt x="726" y="861"/>
                      <a:pt x="735" y="852"/>
                      <a:pt x="746" y="852"/>
                    </a:cubicBezTo>
                    <a:lnTo>
                      <a:pt x="781" y="852"/>
                    </a:lnTo>
                    <a:cubicBezTo>
                      <a:pt x="792" y="852"/>
                      <a:pt x="801" y="861"/>
                      <a:pt x="801" y="872"/>
                    </a:cubicBezTo>
                    <a:lnTo>
                      <a:pt x="801" y="907"/>
                    </a:lnTo>
                    <a:close/>
                    <a:moveTo>
                      <a:pt x="827" y="798"/>
                    </a:moveTo>
                    <a:cubicBezTo>
                      <a:pt x="827" y="809"/>
                      <a:pt x="818" y="818"/>
                      <a:pt x="807" y="818"/>
                    </a:cubicBezTo>
                    <a:lnTo>
                      <a:pt x="772" y="818"/>
                    </a:lnTo>
                    <a:cubicBezTo>
                      <a:pt x="761" y="818"/>
                      <a:pt x="752" y="809"/>
                      <a:pt x="752" y="798"/>
                    </a:cubicBezTo>
                    <a:lnTo>
                      <a:pt x="752" y="763"/>
                    </a:lnTo>
                    <a:cubicBezTo>
                      <a:pt x="752" y="752"/>
                      <a:pt x="761" y="743"/>
                      <a:pt x="772" y="743"/>
                    </a:cubicBezTo>
                    <a:lnTo>
                      <a:pt x="807" y="743"/>
                    </a:lnTo>
                    <a:cubicBezTo>
                      <a:pt x="818" y="743"/>
                      <a:pt x="827" y="752"/>
                      <a:pt x="827" y="763"/>
                    </a:cubicBezTo>
                    <a:lnTo>
                      <a:pt x="827" y="798"/>
                    </a:lnTo>
                    <a:close/>
                    <a:moveTo>
                      <a:pt x="1060" y="1067"/>
                    </a:moveTo>
                    <a:cubicBezTo>
                      <a:pt x="1060" y="1078"/>
                      <a:pt x="1051" y="1087"/>
                      <a:pt x="1040" y="1087"/>
                    </a:cubicBezTo>
                    <a:lnTo>
                      <a:pt x="868" y="1087"/>
                    </a:lnTo>
                    <a:cubicBezTo>
                      <a:pt x="857" y="1087"/>
                      <a:pt x="848" y="1078"/>
                      <a:pt x="848" y="1067"/>
                    </a:cubicBezTo>
                    <a:lnTo>
                      <a:pt x="848" y="919"/>
                    </a:lnTo>
                    <a:cubicBezTo>
                      <a:pt x="848" y="908"/>
                      <a:pt x="857" y="899"/>
                      <a:pt x="868" y="899"/>
                    </a:cubicBezTo>
                    <a:lnTo>
                      <a:pt x="1040" y="899"/>
                    </a:lnTo>
                    <a:cubicBezTo>
                      <a:pt x="1051" y="899"/>
                      <a:pt x="1060" y="908"/>
                      <a:pt x="1060" y="919"/>
                    </a:cubicBezTo>
                    <a:lnTo>
                      <a:pt x="1060" y="106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1" name="Rectangle 1547"/>
              <p:cNvSpPr>
                <a:spLocks noChangeArrowheads="1"/>
              </p:cNvSpPr>
              <p:nvPr/>
            </p:nvSpPr>
            <p:spPr bwMode="auto">
              <a:xfrm>
                <a:off x="3006" y="2508"/>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2" name="Rectangle 1548"/>
              <p:cNvSpPr>
                <a:spLocks noChangeArrowheads="1"/>
              </p:cNvSpPr>
              <p:nvPr/>
            </p:nvSpPr>
            <p:spPr bwMode="auto">
              <a:xfrm>
                <a:off x="3006" y="2640"/>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3" name="Freeform 1549"/>
              <p:cNvSpPr>
                <a:spLocks/>
              </p:cNvSpPr>
              <p:nvPr/>
            </p:nvSpPr>
            <p:spPr bwMode="auto">
              <a:xfrm>
                <a:off x="2751" y="2484"/>
                <a:ext cx="255" cy="6"/>
              </a:xfrm>
              <a:custGeom>
                <a:avLst/>
                <a:gdLst>
                  <a:gd name="T0" fmla="*/ 0 w 1124"/>
                  <a:gd name="T1" fmla="*/ 25 h 25"/>
                  <a:gd name="T2" fmla="*/ 20 w 1124"/>
                  <a:gd name="T3" fmla="*/ 5 h 25"/>
                  <a:gd name="T4" fmla="*/ 1104 w 1124"/>
                  <a:gd name="T5" fmla="*/ 5 h 25"/>
                  <a:gd name="T6" fmla="*/ 1124 w 1124"/>
                  <a:gd name="T7" fmla="*/ 25 h 25"/>
                  <a:gd name="T8" fmla="*/ 1124 w 1124"/>
                  <a:gd name="T9" fmla="*/ 20 h 25"/>
                  <a:gd name="T10" fmla="*/ 1104 w 1124"/>
                  <a:gd name="T11" fmla="*/ 0 h 25"/>
                  <a:gd name="T12" fmla="*/ 20 w 1124"/>
                  <a:gd name="T13" fmla="*/ 0 h 25"/>
                  <a:gd name="T14" fmla="*/ 0 w 1124"/>
                  <a:gd name="T15" fmla="*/ 20 h 25"/>
                  <a:gd name="T16" fmla="*/ 0 w 11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25">
                    <a:moveTo>
                      <a:pt x="0" y="25"/>
                    </a:moveTo>
                    <a:cubicBezTo>
                      <a:pt x="0" y="14"/>
                      <a:pt x="9" y="5"/>
                      <a:pt x="20" y="5"/>
                    </a:cubicBezTo>
                    <a:lnTo>
                      <a:pt x="1104" y="5"/>
                    </a:lnTo>
                    <a:cubicBezTo>
                      <a:pt x="1115" y="5"/>
                      <a:pt x="1124" y="14"/>
                      <a:pt x="1124" y="25"/>
                    </a:cubicBezTo>
                    <a:lnTo>
                      <a:pt x="1124" y="20"/>
                    </a:lnTo>
                    <a:cubicBezTo>
                      <a:pt x="1124" y="9"/>
                      <a:pt x="1115" y="0"/>
                      <a:pt x="1104" y="0"/>
                    </a:cubicBezTo>
                    <a:lnTo>
                      <a:pt x="20" y="0"/>
                    </a:lnTo>
                    <a:cubicBezTo>
                      <a:pt x="9" y="0"/>
                      <a:pt x="0" y="9"/>
                      <a:pt x="0" y="20"/>
                    </a:cubicBezTo>
                    <a:lnTo>
                      <a:pt x="0" y="2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4" name="Freeform 1550"/>
              <p:cNvSpPr>
                <a:spLocks/>
              </p:cNvSpPr>
              <p:nvPr/>
            </p:nvSpPr>
            <p:spPr bwMode="auto">
              <a:xfrm>
                <a:off x="2751" y="2694"/>
                <a:ext cx="32" cy="10"/>
              </a:xfrm>
              <a:custGeom>
                <a:avLst/>
                <a:gdLst>
                  <a:gd name="T0" fmla="*/ 0 w 141"/>
                  <a:gd name="T1" fmla="*/ 45 h 45"/>
                  <a:gd name="T2" fmla="*/ 20 w 141"/>
                  <a:gd name="T3" fmla="*/ 25 h 45"/>
                  <a:gd name="T4" fmla="*/ 121 w 141"/>
                  <a:gd name="T5" fmla="*/ 25 h 45"/>
                  <a:gd name="T6" fmla="*/ 141 w 141"/>
                  <a:gd name="T7" fmla="*/ 5 h 45"/>
                  <a:gd name="T8" fmla="*/ 141 w 141"/>
                  <a:gd name="T9" fmla="*/ 0 h 45"/>
                  <a:gd name="T10" fmla="*/ 121 w 141"/>
                  <a:gd name="T11" fmla="*/ 20 h 45"/>
                  <a:gd name="T12" fmla="*/ 20 w 141"/>
                  <a:gd name="T13" fmla="*/ 20 h 45"/>
                  <a:gd name="T14" fmla="*/ 0 w 141"/>
                  <a:gd name="T15" fmla="*/ 40 h 45"/>
                  <a:gd name="T16" fmla="*/ 0 w 141"/>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45">
                    <a:moveTo>
                      <a:pt x="0" y="45"/>
                    </a:moveTo>
                    <a:cubicBezTo>
                      <a:pt x="0" y="34"/>
                      <a:pt x="9" y="25"/>
                      <a:pt x="20" y="25"/>
                    </a:cubicBezTo>
                    <a:lnTo>
                      <a:pt x="121" y="25"/>
                    </a:lnTo>
                    <a:cubicBezTo>
                      <a:pt x="132" y="25"/>
                      <a:pt x="141" y="16"/>
                      <a:pt x="141" y="5"/>
                    </a:cubicBezTo>
                    <a:lnTo>
                      <a:pt x="141" y="0"/>
                    </a:lnTo>
                    <a:cubicBezTo>
                      <a:pt x="141" y="11"/>
                      <a:pt x="132" y="20"/>
                      <a:pt x="121" y="20"/>
                    </a:cubicBezTo>
                    <a:lnTo>
                      <a:pt x="20" y="20"/>
                    </a:lnTo>
                    <a:cubicBezTo>
                      <a:pt x="9" y="20"/>
                      <a:pt x="0" y="29"/>
                      <a:pt x="0" y="40"/>
                    </a:cubicBezTo>
                    <a:lnTo>
                      <a:pt x="0" y="4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5" name="Rectangle 1551"/>
              <p:cNvSpPr>
                <a:spLocks noChangeArrowheads="1"/>
              </p:cNvSpPr>
              <p:nvPr/>
            </p:nvSpPr>
            <p:spPr bwMode="auto">
              <a:xfrm>
                <a:off x="3006" y="2508"/>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6" name="Rectangle 1552"/>
              <p:cNvSpPr>
                <a:spLocks noChangeArrowheads="1"/>
              </p:cNvSpPr>
              <p:nvPr/>
            </p:nvSpPr>
            <p:spPr bwMode="auto">
              <a:xfrm>
                <a:off x="3006" y="2640"/>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7" name="Freeform 1553"/>
              <p:cNvSpPr>
                <a:spLocks/>
              </p:cNvSpPr>
              <p:nvPr/>
            </p:nvSpPr>
            <p:spPr bwMode="auto">
              <a:xfrm>
                <a:off x="3118" y="2983"/>
                <a:ext cx="21" cy="18"/>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1"/>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8" name="Rectangle 1554"/>
              <p:cNvSpPr>
                <a:spLocks noChangeArrowheads="1"/>
              </p:cNvSpPr>
              <p:nvPr/>
            </p:nvSpPr>
            <p:spPr bwMode="auto">
              <a:xfrm>
                <a:off x="3044" y="2898"/>
                <a:ext cx="286" cy="93"/>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9" name="Freeform 1555"/>
              <p:cNvSpPr>
                <a:spLocks/>
              </p:cNvSpPr>
              <p:nvPr/>
            </p:nvSpPr>
            <p:spPr bwMode="auto">
              <a:xfrm>
                <a:off x="3044" y="2984"/>
                <a:ext cx="115" cy="7"/>
              </a:xfrm>
              <a:custGeom>
                <a:avLst/>
                <a:gdLst>
                  <a:gd name="T0" fmla="*/ 498 w 503"/>
                  <a:gd name="T1" fmla="*/ 0 h 34"/>
                  <a:gd name="T2" fmla="*/ 447 w 503"/>
                  <a:gd name="T3" fmla="*/ 0 h 34"/>
                  <a:gd name="T4" fmla="*/ 0 w 503"/>
                  <a:gd name="T5" fmla="*/ 0 h 34"/>
                  <a:gd name="T6" fmla="*/ 0 w 503"/>
                  <a:gd name="T7" fmla="*/ 34 h 34"/>
                  <a:gd name="T8" fmla="*/ 447 w 503"/>
                  <a:gd name="T9" fmla="*/ 34 h 34"/>
                  <a:gd name="T10" fmla="*/ 498 w 503"/>
                  <a:gd name="T11" fmla="*/ 34 h 34"/>
                  <a:gd name="T12" fmla="*/ 503 w 503"/>
                  <a:gd name="T13" fmla="*/ 34 h 34"/>
                  <a:gd name="T14" fmla="*/ 503 w 503"/>
                  <a:gd name="T15" fmla="*/ 0 h 34"/>
                  <a:gd name="T16" fmla="*/ 498 w 503"/>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34">
                    <a:moveTo>
                      <a:pt x="498" y="0"/>
                    </a:moveTo>
                    <a:lnTo>
                      <a:pt x="447" y="0"/>
                    </a:lnTo>
                    <a:lnTo>
                      <a:pt x="0" y="0"/>
                    </a:lnTo>
                    <a:lnTo>
                      <a:pt x="0" y="34"/>
                    </a:lnTo>
                    <a:lnTo>
                      <a:pt x="447" y="34"/>
                    </a:lnTo>
                    <a:lnTo>
                      <a:pt x="498" y="34"/>
                    </a:lnTo>
                    <a:lnTo>
                      <a:pt x="503" y="34"/>
                    </a:lnTo>
                    <a:lnTo>
                      <a:pt x="503" y="0"/>
                    </a:lnTo>
                    <a:lnTo>
                      <a:pt x="498" y="0"/>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0" name="Rectangle 1556"/>
              <p:cNvSpPr>
                <a:spLocks noChangeArrowheads="1"/>
              </p:cNvSpPr>
              <p:nvPr/>
            </p:nvSpPr>
            <p:spPr bwMode="auto">
              <a:xfrm>
                <a:off x="3216" y="2984"/>
                <a:ext cx="114" cy="7"/>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1" name="Rectangle 1557"/>
              <p:cNvSpPr>
                <a:spLocks noChangeArrowheads="1"/>
              </p:cNvSpPr>
              <p:nvPr/>
            </p:nvSpPr>
            <p:spPr bwMode="auto">
              <a:xfrm>
                <a:off x="3216" y="2988"/>
                <a:ext cx="114" cy="4"/>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2" name="Freeform 1558"/>
              <p:cNvSpPr>
                <a:spLocks/>
              </p:cNvSpPr>
              <p:nvPr/>
            </p:nvSpPr>
            <p:spPr bwMode="auto">
              <a:xfrm>
                <a:off x="3044" y="2988"/>
                <a:ext cx="115" cy="4"/>
              </a:xfrm>
              <a:custGeom>
                <a:avLst/>
                <a:gdLst>
                  <a:gd name="T0" fmla="*/ 498 w 503"/>
                  <a:gd name="T1" fmla="*/ 0 h 15"/>
                  <a:gd name="T2" fmla="*/ 447 w 503"/>
                  <a:gd name="T3" fmla="*/ 0 h 15"/>
                  <a:gd name="T4" fmla="*/ 0 w 503"/>
                  <a:gd name="T5" fmla="*/ 0 h 15"/>
                  <a:gd name="T6" fmla="*/ 0 w 503"/>
                  <a:gd name="T7" fmla="*/ 15 h 15"/>
                  <a:gd name="T8" fmla="*/ 447 w 503"/>
                  <a:gd name="T9" fmla="*/ 15 h 15"/>
                  <a:gd name="T10" fmla="*/ 498 w 503"/>
                  <a:gd name="T11" fmla="*/ 15 h 15"/>
                  <a:gd name="T12" fmla="*/ 503 w 503"/>
                  <a:gd name="T13" fmla="*/ 15 h 15"/>
                  <a:gd name="T14" fmla="*/ 503 w 503"/>
                  <a:gd name="T15" fmla="*/ 0 h 15"/>
                  <a:gd name="T16" fmla="*/ 498 w 50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15">
                    <a:moveTo>
                      <a:pt x="498" y="0"/>
                    </a:moveTo>
                    <a:lnTo>
                      <a:pt x="447" y="0"/>
                    </a:lnTo>
                    <a:lnTo>
                      <a:pt x="0" y="0"/>
                    </a:lnTo>
                    <a:lnTo>
                      <a:pt x="0" y="15"/>
                    </a:lnTo>
                    <a:lnTo>
                      <a:pt x="447" y="15"/>
                    </a:lnTo>
                    <a:lnTo>
                      <a:pt x="498" y="15"/>
                    </a:lnTo>
                    <a:lnTo>
                      <a:pt x="503" y="15"/>
                    </a:lnTo>
                    <a:lnTo>
                      <a:pt x="503" y="0"/>
                    </a:lnTo>
                    <a:lnTo>
                      <a:pt x="49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3" name="Rectangle 1559"/>
              <p:cNvSpPr>
                <a:spLocks noChangeArrowheads="1"/>
              </p:cNvSpPr>
              <p:nvPr/>
            </p:nvSpPr>
            <p:spPr bwMode="auto">
              <a:xfrm>
                <a:off x="3044" y="2890"/>
                <a:ext cx="286" cy="8"/>
              </a:xfrm>
              <a:prstGeom prst="rect">
                <a:avLst/>
              </a:prstGeom>
              <a:solidFill>
                <a:srgbClr val="2A2A2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4" name="Freeform 1560"/>
              <p:cNvSpPr>
                <a:spLocks/>
              </p:cNvSpPr>
              <p:nvPr/>
            </p:nvSpPr>
            <p:spPr bwMode="auto">
              <a:xfrm>
                <a:off x="3044" y="2887"/>
                <a:ext cx="12" cy="104"/>
              </a:xfrm>
              <a:custGeom>
                <a:avLst/>
                <a:gdLst>
                  <a:gd name="T0" fmla="*/ 0 w 12"/>
                  <a:gd name="T1" fmla="*/ 0 h 104"/>
                  <a:gd name="T2" fmla="*/ 0 w 12"/>
                  <a:gd name="T3" fmla="*/ 104 h 104"/>
                  <a:gd name="T4" fmla="*/ 6 w 12"/>
                  <a:gd name="T5" fmla="*/ 102 h 104"/>
                  <a:gd name="T6" fmla="*/ 12 w 12"/>
                  <a:gd name="T7" fmla="*/ 97 h 104"/>
                  <a:gd name="T8" fmla="*/ 12 w 12"/>
                  <a:gd name="T9" fmla="*/ 11 h 104"/>
                  <a:gd name="T10" fmla="*/ 0 w 12"/>
                  <a:gd name="T11" fmla="*/ 0 h 104"/>
                </a:gdLst>
                <a:ahLst/>
                <a:cxnLst>
                  <a:cxn ang="0">
                    <a:pos x="T0" y="T1"/>
                  </a:cxn>
                  <a:cxn ang="0">
                    <a:pos x="T2" y="T3"/>
                  </a:cxn>
                  <a:cxn ang="0">
                    <a:pos x="T4" y="T5"/>
                  </a:cxn>
                  <a:cxn ang="0">
                    <a:pos x="T6" y="T7"/>
                  </a:cxn>
                  <a:cxn ang="0">
                    <a:pos x="T8" y="T9"/>
                  </a:cxn>
                  <a:cxn ang="0">
                    <a:pos x="T10" y="T11"/>
                  </a:cxn>
                </a:cxnLst>
                <a:rect l="0" t="0" r="r" b="b"/>
                <a:pathLst>
                  <a:path w="12" h="104">
                    <a:moveTo>
                      <a:pt x="0" y="0"/>
                    </a:moveTo>
                    <a:lnTo>
                      <a:pt x="0" y="104"/>
                    </a:lnTo>
                    <a:lnTo>
                      <a:pt x="6" y="102"/>
                    </a:lnTo>
                    <a:lnTo>
                      <a:pt x="12" y="97"/>
                    </a:lnTo>
                    <a:lnTo>
                      <a:pt x="12" y="11"/>
                    </a:lnTo>
                    <a:lnTo>
                      <a:pt x="0" y="0"/>
                    </a:lnTo>
                    <a:close/>
                  </a:path>
                </a:pathLst>
              </a:custGeom>
              <a:solidFill>
                <a:srgbClr val="37373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5" name="Freeform 1561"/>
              <p:cNvSpPr>
                <a:spLocks/>
              </p:cNvSpPr>
              <p:nvPr/>
            </p:nvSpPr>
            <p:spPr bwMode="auto">
              <a:xfrm>
                <a:off x="3319" y="2887"/>
                <a:ext cx="11" cy="102"/>
              </a:xfrm>
              <a:custGeom>
                <a:avLst/>
                <a:gdLst>
                  <a:gd name="T0" fmla="*/ 11 w 11"/>
                  <a:gd name="T1" fmla="*/ 0 h 102"/>
                  <a:gd name="T2" fmla="*/ 11 w 11"/>
                  <a:gd name="T3" fmla="*/ 99 h 102"/>
                  <a:gd name="T4" fmla="*/ 6 w 11"/>
                  <a:gd name="T5" fmla="*/ 102 h 102"/>
                  <a:gd name="T6" fmla="*/ 0 w 11"/>
                  <a:gd name="T7" fmla="*/ 97 h 102"/>
                  <a:gd name="T8" fmla="*/ 0 w 11"/>
                  <a:gd name="T9" fmla="*/ 11 h 102"/>
                  <a:gd name="T10" fmla="*/ 11 w 11"/>
                  <a:gd name="T11" fmla="*/ 0 h 102"/>
                </a:gdLst>
                <a:ahLst/>
                <a:cxnLst>
                  <a:cxn ang="0">
                    <a:pos x="T0" y="T1"/>
                  </a:cxn>
                  <a:cxn ang="0">
                    <a:pos x="T2" y="T3"/>
                  </a:cxn>
                  <a:cxn ang="0">
                    <a:pos x="T4" y="T5"/>
                  </a:cxn>
                  <a:cxn ang="0">
                    <a:pos x="T6" y="T7"/>
                  </a:cxn>
                  <a:cxn ang="0">
                    <a:pos x="T8" y="T9"/>
                  </a:cxn>
                  <a:cxn ang="0">
                    <a:pos x="T10" y="T11"/>
                  </a:cxn>
                </a:cxnLst>
                <a:rect l="0" t="0" r="r" b="b"/>
                <a:pathLst>
                  <a:path w="11" h="102">
                    <a:moveTo>
                      <a:pt x="11" y="0"/>
                    </a:moveTo>
                    <a:lnTo>
                      <a:pt x="11" y="99"/>
                    </a:lnTo>
                    <a:lnTo>
                      <a:pt x="6" y="102"/>
                    </a:lnTo>
                    <a:lnTo>
                      <a:pt x="0" y="97"/>
                    </a:lnTo>
                    <a:lnTo>
                      <a:pt x="0" y="11"/>
                    </a:lnTo>
                    <a:lnTo>
                      <a:pt x="11" y="0"/>
                    </a:lnTo>
                    <a:close/>
                  </a:path>
                </a:pathLst>
              </a:custGeom>
              <a:solidFill>
                <a:srgbClr val="47474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6" name="Rectangle 1562"/>
              <p:cNvSpPr>
                <a:spLocks noChangeArrowheads="1"/>
              </p:cNvSpPr>
              <p:nvPr/>
            </p:nvSpPr>
            <p:spPr bwMode="auto">
              <a:xfrm>
                <a:off x="3044" y="2892"/>
                <a:ext cx="8" cy="100"/>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7" name="Rectangle 1563"/>
              <p:cNvSpPr>
                <a:spLocks noChangeArrowheads="1"/>
              </p:cNvSpPr>
              <p:nvPr/>
            </p:nvSpPr>
            <p:spPr bwMode="auto">
              <a:xfrm>
                <a:off x="3323" y="2892"/>
                <a:ext cx="7" cy="99"/>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8" name="Rectangle 1564"/>
              <p:cNvSpPr>
                <a:spLocks noChangeArrowheads="1"/>
              </p:cNvSpPr>
              <p:nvPr/>
            </p:nvSpPr>
            <p:spPr bwMode="auto">
              <a:xfrm>
                <a:off x="3124"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9" name="Rectangle 1565"/>
              <p:cNvSpPr>
                <a:spLocks noChangeArrowheads="1"/>
              </p:cNvSpPr>
              <p:nvPr/>
            </p:nvSpPr>
            <p:spPr bwMode="auto">
              <a:xfrm>
                <a:off x="3124"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0" name="Rectangle 1566"/>
              <p:cNvSpPr>
                <a:spLocks noChangeArrowheads="1"/>
              </p:cNvSpPr>
              <p:nvPr/>
            </p:nvSpPr>
            <p:spPr bwMode="auto">
              <a:xfrm>
                <a:off x="3124"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1" name="Freeform 1567"/>
              <p:cNvSpPr>
                <a:spLocks/>
              </p:cNvSpPr>
              <p:nvPr/>
            </p:nvSpPr>
            <p:spPr bwMode="auto">
              <a:xfrm>
                <a:off x="3124"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2" name="Freeform 1568"/>
              <p:cNvSpPr>
                <a:spLocks/>
              </p:cNvSpPr>
              <p:nvPr/>
            </p:nvSpPr>
            <p:spPr bwMode="auto">
              <a:xfrm>
                <a:off x="3131"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3" name="Rectangle 1569"/>
              <p:cNvSpPr>
                <a:spLocks noChangeArrowheads="1"/>
              </p:cNvSpPr>
              <p:nvPr/>
            </p:nvSpPr>
            <p:spPr bwMode="auto">
              <a:xfrm>
                <a:off x="3153"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4" name="Rectangle 1570"/>
              <p:cNvSpPr>
                <a:spLocks noChangeArrowheads="1"/>
              </p:cNvSpPr>
              <p:nvPr/>
            </p:nvSpPr>
            <p:spPr bwMode="auto">
              <a:xfrm>
                <a:off x="3153"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5" name="Rectangle 1571"/>
              <p:cNvSpPr>
                <a:spLocks noChangeArrowheads="1"/>
              </p:cNvSpPr>
              <p:nvPr/>
            </p:nvSpPr>
            <p:spPr bwMode="auto">
              <a:xfrm>
                <a:off x="3153"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6" name="Freeform 1572"/>
              <p:cNvSpPr>
                <a:spLocks/>
              </p:cNvSpPr>
              <p:nvPr/>
            </p:nvSpPr>
            <p:spPr bwMode="auto">
              <a:xfrm>
                <a:off x="315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7" name="Freeform 1573"/>
              <p:cNvSpPr>
                <a:spLocks/>
              </p:cNvSpPr>
              <p:nvPr/>
            </p:nvSpPr>
            <p:spPr bwMode="auto">
              <a:xfrm>
                <a:off x="3160"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8" name="Rectangle 1574"/>
              <p:cNvSpPr>
                <a:spLocks noChangeArrowheads="1"/>
              </p:cNvSpPr>
              <p:nvPr/>
            </p:nvSpPr>
            <p:spPr bwMode="auto">
              <a:xfrm>
                <a:off x="3183"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9" name="Rectangle 1575"/>
              <p:cNvSpPr>
                <a:spLocks noChangeArrowheads="1"/>
              </p:cNvSpPr>
              <p:nvPr/>
            </p:nvSpPr>
            <p:spPr bwMode="auto">
              <a:xfrm>
                <a:off x="3183"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0" name="Rectangle 1576"/>
              <p:cNvSpPr>
                <a:spLocks noChangeArrowheads="1"/>
              </p:cNvSpPr>
              <p:nvPr/>
            </p:nvSpPr>
            <p:spPr bwMode="auto">
              <a:xfrm>
                <a:off x="3183"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1" name="Freeform 1577"/>
              <p:cNvSpPr>
                <a:spLocks/>
              </p:cNvSpPr>
              <p:nvPr/>
            </p:nvSpPr>
            <p:spPr bwMode="auto">
              <a:xfrm>
                <a:off x="318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2" name="Freeform 1578"/>
              <p:cNvSpPr>
                <a:spLocks/>
              </p:cNvSpPr>
              <p:nvPr/>
            </p:nvSpPr>
            <p:spPr bwMode="auto">
              <a:xfrm>
                <a:off x="3190"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3" name="Rectangle 1579"/>
              <p:cNvSpPr>
                <a:spLocks noChangeArrowheads="1"/>
              </p:cNvSpPr>
              <p:nvPr/>
            </p:nvSpPr>
            <p:spPr bwMode="auto">
              <a:xfrm>
                <a:off x="3212"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4" name="Rectangle 1580"/>
              <p:cNvSpPr>
                <a:spLocks noChangeArrowheads="1"/>
              </p:cNvSpPr>
              <p:nvPr/>
            </p:nvSpPr>
            <p:spPr bwMode="auto">
              <a:xfrm>
                <a:off x="3212"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5" name="Rectangle 1581"/>
              <p:cNvSpPr>
                <a:spLocks noChangeArrowheads="1"/>
              </p:cNvSpPr>
              <p:nvPr/>
            </p:nvSpPr>
            <p:spPr bwMode="auto">
              <a:xfrm>
                <a:off x="3212"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6" name="Freeform 1582"/>
              <p:cNvSpPr>
                <a:spLocks/>
              </p:cNvSpPr>
              <p:nvPr/>
            </p:nvSpPr>
            <p:spPr bwMode="auto">
              <a:xfrm>
                <a:off x="321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7" name="Freeform 1583"/>
              <p:cNvSpPr>
                <a:spLocks/>
              </p:cNvSpPr>
              <p:nvPr/>
            </p:nvSpPr>
            <p:spPr bwMode="auto">
              <a:xfrm>
                <a:off x="3219"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8" name="Rectangle 1584"/>
              <p:cNvSpPr>
                <a:spLocks noChangeArrowheads="1"/>
              </p:cNvSpPr>
              <p:nvPr/>
            </p:nvSpPr>
            <p:spPr bwMode="auto">
              <a:xfrm>
                <a:off x="3242"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9" name="Rectangle 1585"/>
              <p:cNvSpPr>
                <a:spLocks noChangeArrowheads="1"/>
              </p:cNvSpPr>
              <p:nvPr/>
            </p:nvSpPr>
            <p:spPr bwMode="auto">
              <a:xfrm>
                <a:off x="3242"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0" name="Rectangle 1586"/>
              <p:cNvSpPr>
                <a:spLocks noChangeArrowheads="1"/>
              </p:cNvSpPr>
              <p:nvPr/>
            </p:nvSpPr>
            <p:spPr bwMode="auto">
              <a:xfrm>
                <a:off x="3242"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1" name="Freeform 1587"/>
              <p:cNvSpPr>
                <a:spLocks/>
              </p:cNvSpPr>
              <p:nvPr/>
            </p:nvSpPr>
            <p:spPr bwMode="auto">
              <a:xfrm>
                <a:off x="324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2" name="Freeform 1588"/>
              <p:cNvSpPr>
                <a:spLocks/>
              </p:cNvSpPr>
              <p:nvPr/>
            </p:nvSpPr>
            <p:spPr bwMode="auto">
              <a:xfrm>
                <a:off x="3249"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3" name="Rectangle 1589"/>
              <p:cNvSpPr>
                <a:spLocks noChangeArrowheads="1"/>
              </p:cNvSpPr>
              <p:nvPr/>
            </p:nvSpPr>
            <p:spPr bwMode="auto">
              <a:xfrm>
                <a:off x="3124"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4" name="Rectangle 1590"/>
              <p:cNvSpPr>
                <a:spLocks noChangeArrowheads="1"/>
              </p:cNvSpPr>
              <p:nvPr/>
            </p:nvSpPr>
            <p:spPr bwMode="auto">
              <a:xfrm>
                <a:off x="3124"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5" name="Rectangle 1591"/>
              <p:cNvSpPr>
                <a:spLocks noChangeArrowheads="1"/>
              </p:cNvSpPr>
              <p:nvPr/>
            </p:nvSpPr>
            <p:spPr bwMode="auto">
              <a:xfrm>
                <a:off x="3124"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6" name="Freeform 1592"/>
              <p:cNvSpPr>
                <a:spLocks/>
              </p:cNvSpPr>
              <p:nvPr/>
            </p:nvSpPr>
            <p:spPr bwMode="auto">
              <a:xfrm>
                <a:off x="3124"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7" name="Freeform 1593"/>
              <p:cNvSpPr>
                <a:spLocks/>
              </p:cNvSpPr>
              <p:nvPr/>
            </p:nvSpPr>
            <p:spPr bwMode="auto">
              <a:xfrm>
                <a:off x="3131"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7" name="Group 1795"/>
            <p:cNvGrpSpPr>
              <a:grpSpLocks/>
            </p:cNvGrpSpPr>
            <p:nvPr/>
          </p:nvGrpSpPr>
          <p:grpSpPr bwMode="auto">
            <a:xfrm>
              <a:off x="2895" y="1694"/>
              <a:ext cx="2138" cy="1290"/>
              <a:chOff x="2895" y="1694"/>
              <a:chExt cx="2138" cy="1290"/>
            </a:xfrm>
          </p:grpSpPr>
          <p:sp>
            <p:nvSpPr>
              <p:cNvPr id="1178" name="Rectangle 1595"/>
              <p:cNvSpPr>
                <a:spLocks noChangeArrowheads="1"/>
              </p:cNvSpPr>
              <p:nvPr/>
            </p:nvSpPr>
            <p:spPr bwMode="auto">
              <a:xfrm>
                <a:off x="3153"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9" name="Rectangle 1596"/>
              <p:cNvSpPr>
                <a:spLocks noChangeArrowheads="1"/>
              </p:cNvSpPr>
              <p:nvPr/>
            </p:nvSpPr>
            <p:spPr bwMode="auto">
              <a:xfrm>
                <a:off x="3153"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0" name="Rectangle 1597"/>
              <p:cNvSpPr>
                <a:spLocks noChangeArrowheads="1"/>
              </p:cNvSpPr>
              <p:nvPr/>
            </p:nvSpPr>
            <p:spPr bwMode="auto">
              <a:xfrm>
                <a:off x="3153"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98"/>
              <p:cNvSpPr>
                <a:spLocks/>
              </p:cNvSpPr>
              <p:nvPr/>
            </p:nvSpPr>
            <p:spPr bwMode="auto">
              <a:xfrm>
                <a:off x="315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599"/>
              <p:cNvSpPr>
                <a:spLocks/>
              </p:cNvSpPr>
              <p:nvPr/>
            </p:nvSpPr>
            <p:spPr bwMode="auto">
              <a:xfrm>
                <a:off x="3160"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Rectangle 1600"/>
              <p:cNvSpPr>
                <a:spLocks noChangeArrowheads="1"/>
              </p:cNvSpPr>
              <p:nvPr/>
            </p:nvSpPr>
            <p:spPr bwMode="auto">
              <a:xfrm>
                <a:off x="3183"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4" name="Rectangle 1601"/>
              <p:cNvSpPr>
                <a:spLocks noChangeArrowheads="1"/>
              </p:cNvSpPr>
              <p:nvPr/>
            </p:nvSpPr>
            <p:spPr bwMode="auto">
              <a:xfrm>
                <a:off x="3183"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5" name="Rectangle 1602"/>
              <p:cNvSpPr>
                <a:spLocks noChangeArrowheads="1"/>
              </p:cNvSpPr>
              <p:nvPr/>
            </p:nvSpPr>
            <p:spPr bwMode="auto">
              <a:xfrm>
                <a:off x="3183"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6" name="Freeform 1603"/>
              <p:cNvSpPr>
                <a:spLocks/>
              </p:cNvSpPr>
              <p:nvPr/>
            </p:nvSpPr>
            <p:spPr bwMode="auto">
              <a:xfrm>
                <a:off x="318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1604"/>
              <p:cNvSpPr>
                <a:spLocks/>
              </p:cNvSpPr>
              <p:nvPr/>
            </p:nvSpPr>
            <p:spPr bwMode="auto">
              <a:xfrm>
                <a:off x="3190"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605"/>
              <p:cNvSpPr>
                <a:spLocks noChangeArrowheads="1"/>
              </p:cNvSpPr>
              <p:nvPr/>
            </p:nvSpPr>
            <p:spPr bwMode="auto">
              <a:xfrm>
                <a:off x="3212"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606"/>
              <p:cNvSpPr>
                <a:spLocks noChangeArrowheads="1"/>
              </p:cNvSpPr>
              <p:nvPr/>
            </p:nvSpPr>
            <p:spPr bwMode="auto">
              <a:xfrm>
                <a:off x="3212"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607"/>
              <p:cNvSpPr>
                <a:spLocks noChangeArrowheads="1"/>
              </p:cNvSpPr>
              <p:nvPr/>
            </p:nvSpPr>
            <p:spPr bwMode="auto">
              <a:xfrm>
                <a:off x="3212"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1608"/>
              <p:cNvSpPr>
                <a:spLocks/>
              </p:cNvSpPr>
              <p:nvPr/>
            </p:nvSpPr>
            <p:spPr bwMode="auto">
              <a:xfrm>
                <a:off x="321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2" name="Freeform 1609"/>
              <p:cNvSpPr>
                <a:spLocks/>
              </p:cNvSpPr>
              <p:nvPr/>
            </p:nvSpPr>
            <p:spPr bwMode="auto">
              <a:xfrm>
                <a:off x="3219"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Rectangle 1610"/>
              <p:cNvSpPr>
                <a:spLocks noChangeArrowheads="1"/>
              </p:cNvSpPr>
              <p:nvPr/>
            </p:nvSpPr>
            <p:spPr bwMode="auto">
              <a:xfrm>
                <a:off x="3242"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4" name="Rectangle 1611"/>
              <p:cNvSpPr>
                <a:spLocks noChangeArrowheads="1"/>
              </p:cNvSpPr>
              <p:nvPr/>
            </p:nvSpPr>
            <p:spPr bwMode="auto">
              <a:xfrm>
                <a:off x="3242"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Rectangle 1612"/>
              <p:cNvSpPr>
                <a:spLocks noChangeArrowheads="1"/>
              </p:cNvSpPr>
              <p:nvPr/>
            </p:nvSpPr>
            <p:spPr bwMode="auto">
              <a:xfrm>
                <a:off x="3242"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613"/>
              <p:cNvSpPr>
                <a:spLocks/>
              </p:cNvSpPr>
              <p:nvPr/>
            </p:nvSpPr>
            <p:spPr bwMode="auto">
              <a:xfrm>
                <a:off x="324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614"/>
              <p:cNvSpPr>
                <a:spLocks/>
              </p:cNvSpPr>
              <p:nvPr/>
            </p:nvSpPr>
            <p:spPr bwMode="auto">
              <a:xfrm>
                <a:off x="3249"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615"/>
              <p:cNvSpPr>
                <a:spLocks/>
              </p:cNvSpPr>
              <p:nvPr/>
            </p:nvSpPr>
            <p:spPr bwMode="auto">
              <a:xfrm>
                <a:off x="3044" y="2887"/>
                <a:ext cx="286" cy="7"/>
              </a:xfrm>
              <a:custGeom>
                <a:avLst/>
                <a:gdLst>
                  <a:gd name="T0" fmla="*/ 1192 w 1260"/>
                  <a:gd name="T1" fmla="*/ 0 h 32"/>
                  <a:gd name="T2" fmla="*/ 1192 w 1260"/>
                  <a:gd name="T3" fmla="*/ 15 h 32"/>
                  <a:gd name="T4" fmla="*/ 757 w 1260"/>
                  <a:gd name="T5" fmla="*/ 15 h 32"/>
                  <a:gd name="T6" fmla="*/ 757 w 1260"/>
                  <a:gd name="T7" fmla="*/ 0 h 32"/>
                  <a:gd name="T8" fmla="*/ 503 w 1260"/>
                  <a:gd name="T9" fmla="*/ 0 h 32"/>
                  <a:gd name="T10" fmla="*/ 503 w 1260"/>
                  <a:gd name="T11" fmla="*/ 16 h 32"/>
                  <a:gd name="T12" fmla="*/ 68 w 1260"/>
                  <a:gd name="T13" fmla="*/ 16 h 32"/>
                  <a:gd name="T14" fmla="*/ 68 w 1260"/>
                  <a:gd name="T15" fmla="*/ 0 h 32"/>
                  <a:gd name="T16" fmla="*/ 0 w 1260"/>
                  <a:gd name="T17" fmla="*/ 0 h 32"/>
                  <a:gd name="T18" fmla="*/ 0 w 1260"/>
                  <a:gd name="T19" fmla="*/ 32 h 32"/>
                  <a:gd name="T20" fmla="*/ 1260 w 1260"/>
                  <a:gd name="T21" fmla="*/ 32 h 32"/>
                  <a:gd name="T22" fmla="*/ 1260 w 1260"/>
                  <a:gd name="T23" fmla="*/ 0 h 32"/>
                  <a:gd name="T24" fmla="*/ 1192 w 1260"/>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0" h="32">
                    <a:moveTo>
                      <a:pt x="1192" y="0"/>
                    </a:moveTo>
                    <a:lnTo>
                      <a:pt x="1192" y="15"/>
                    </a:lnTo>
                    <a:lnTo>
                      <a:pt x="757" y="15"/>
                    </a:lnTo>
                    <a:lnTo>
                      <a:pt x="757" y="0"/>
                    </a:lnTo>
                    <a:lnTo>
                      <a:pt x="503" y="0"/>
                    </a:lnTo>
                    <a:lnTo>
                      <a:pt x="503" y="16"/>
                    </a:lnTo>
                    <a:lnTo>
                      <a:pt x="68" y="16"/>
                    </a:lnTo>
                    <a:lnTo>
                      <a:pt x="68" y="0"/>
                    </a:lnTo>
                    <a:lnTo>
                      <a:pt x="0" y="0"/>
                    </a:lnTo>
                    <a:lnTo>
                      <a:pt x="0" y="32"/>
                    </a:lnTo>
                    <a:lnTo>
                      <a:pt x="1260" y="32"/>
                    </a:lnTo>
                    <a:lnTo>
                      <a:pt x="1260" y="0"/>
                    </a:lnTo>
                    <a:lnTo>
                      <a:pt x="1192"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Rectangle 1616"/>
              <p:cNvSpPr>
                <a:spLocks noChangeArrowheads="1"/>
              </p:cNvSpPr>
              <p:nvPr/>
            </p:nvSpPr>
            <p:spPr bwMode="auto">
              <a:xfrm>
                <a:off x="2916" y="28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617"/>
              <p:cNvSpPr>
                <a:spLocks/>
              </p:cNvSpPr>
              <p:nvPr/>
            </p:nvSpPr>
            <p:spPr bwMode="auto">
              <a:xfrm>
                <a:off x="2924" y="2840"/>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Rectangle 1618"/>
              <p:cNvSpPr>
                <a:spLocks noChangeArrowheads="1"/>
              </p:cNvSpPr>
              <p:nvPr/>
            </p:nvSpPr>
            <p:spPr bwMode="auto">
              <a:xfrm>
                <a:off x="2940" y="2848"/>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619"/>
              <p:cNvSpPr>
                <a:spLocks noChangeArrowheads="1"/>
              </p:cNvSpPr>
              <p:nvPr/>
            </p:nvSpPr>
            <p:spPr bwMode="auto">
              <a:xfrm>
                <a:off x="2940" y="2848"/>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620"/>
              <p:cNvSpPr>
                <a:spLocks/>
              </p:cNvSpPr>
              <p:nvPr/>
            </p:nvSpPr>
            <p:spPr bwMode="auto">
              <a:xfrm>
                <a:off x="2924" y="2842"/>
                <a:ext cx="7" cy="4"/>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621"/>
              <p:cNvSpPr>
                <a:spLocks/>
              </p:cNvSpPr>
              <p:nvPr/>
            </p:nvSpPr>
            <p:spPr bwMode="auto">
              <a:xfrm>
                <a:off x="2930" y="2843"/>
                <a:ext cx="12" cy="6"/>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622"/>
              <p:cNvSpPr>
                <a:spLocks/>
              </p:cNvSpPr>
              <p:nvPr/>
            </p:nvSpPr>
            <p:spPr bwMode="auto">
              <a:xfrm>
                <a:off x="2956" y="2854"/>
                <a:ext cx="7" cy="3"/>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623"/>
              <p:cNvSpPr>
                <a:spLocks/>
              </p:cNvSpPr>
              <p:nvPr/>
            </p:nvSpPr>
            <p:spPr bwMode="auto">
              <a:xfrm>
                <a:off x="2944" y="2849"/>
                <a:ext cx="15" cy="7"/>
              </a:xfrm>
              <a:custGeom>
                <a:avLst/>
                <a:gdLst>
                  <a:gd name="T0" fmla="*/ 1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1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1"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lnTo>
                      <a:pt x="1"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624"/>
              <p:cNvSpPr>
                <a:spLocks/>
              </p:cNvSpPr>
              <p:nvPr/>
            </p:nvSpPr>
            <p:spPr bwMode="auto">
              <a:xfrm>
                <a:off x="2940" y="2848"/>
                <a:ext cx="3" cy="1"/>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625"/>
              <p:cNvSpPr>
                <a:spLocks/>
              </p:cNvSpPr>
              <p:nvPr/>
            </p:nvSpPr>
            <p:spPr bwMode="auto">
              <a:xfrm>
                <a:off x="2942" y="2849"/>
                <a:ext cx="3" cy="2"/>
              </a:xfrm>
              <a:custGeom>
                <a:avLst/>
                <a:gdLst>
                  <a:gd name="T0" fmla="*/ 5 w 13"/>
                  <a:gd name="T1" fmla="*/ 8 h 8"/>
                  <a:gd name="T2" fmla="*/ 4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4"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626"/>
              <p:cNvSpPr>
                <a:spLocks/>
              </p:cNvSpPr>
              <p:nvPr/>
            </p:nvSpPr>
            <p:spPr bwMode="auto">
              <a:xfrm>
                <a:off x="2931" y="2843"/>
                <a:ext cx="10"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5"/>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627"/>
              <p:cNvSpPr>
                <a:spLocks/>
              </p:cNvSpPr>
              <p:nvPr/>
            </p:nvSpPr>
            <p:spPr bwMode="auto">
              <a:xfrm>
                <a:off x="2956" y="2853"/>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628"/>
              <p:cNvSpPr>
                <a:spLocks/>
              </p:cNvSpPr>
              <p:nvPr/>
            </p:nvSpPr>
            <p:spPr bwMode="auto">
              <a:xfrm>
                <a:off x="2944" y="2849"/>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629"/>
              <p:cNvSpPr>
                <a:spLocks noChangeArrowheads="1"/>
              </p:cNvSpPr>
              <p:nvPr/>
            </p:nvSpPr>
            <p:spPr bwMode="auto">
              <a:xfrm>
                <a:off x="2940" y="2848"/>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630"/>
              <p:cNvSpPr>
                <a:spLocks/>
              </p:cNvSpPr>
              <p:nvPr/>
            </p:nvSpPr>
            <p:spPr bwMode="auto">
              <a:xfrm>
                <a:off x="2943" y="2849"/>
                <a:ext cx="2" cy="0"/>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5"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631"/>
              <p:cNvSpPr>
                <a:spLocks/>
              </p:cNvSpPr>
              <p:nvPr/>
            </p:nvSpPr>
            <p:spPr bwMode="auto">
              <a:xfrm>
                <a:off x="2963" y="2840"/>
                <a:ext cx="7" cy="20"/>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632"/>
              <p:cNvSpPr>
                <a:spLocks/>
              </p:cNvSpPr>
              <p:nvPr/>
            </p:nvSpPr>
            <p:spPr bwMode="auto">
              <a:xfrm>
                <a:off x="2916" y="2840"/>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Rectangle 1633"/>
              <p:cNvSpPr>
                <a:spLocks noChangeArrowheads="1"/>
              </p:cNvSpPr>
              <p:nvPr/>
            </p:nvSpPr>
            <p:spPr bwMode="auto">
              <a:xfrm>
                <a:off x="2905" y="2884"/>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634"/>
              <p:cNvSpPr>
                <a:spLocks/>
              </p:cNvSpPr>
              <p:nvPr/>
            </p:nvSpPr>
            <p:spPr bwMode="auto">
              <a:xfrm>
                <a:off x="2913" y="2884"/>
                <a:ext cx="12" cy="3"/>
              </a:xfrm>
              <a:custGeom>
                <a:avLst/>
                <a:gdLst>
                  <a:gd name="T0" fmla="*/ 50 w 50"/>
                  <a:gd name="T1" fmla="*/ 0 h 12"/>
                  <a:gd name="T2" fmla="*/ 22 w 50"/>
                  <a:gd name="T3" fmla="*/ 9 h 12"/>
                  <a:gd name="T4" fmla="*/ 0 w 50"/>
                  <a:gd name="T5" fmla="*/ 9 h 12"/>
                  <a:gd name="T6" fmla="*/ 1 w 50"/>
                  <a:gd name="T7" fmla="*/ 0 h 12"/>
                  <a:gd name="T8" fmla="*/ 50 w 50"/>
                  <a:gd name="T9" fmla="*/ 0 h 12"/>
                </a:gdLst>
                <a:ahLst/>
                <a:cxnLst>
                  <a:cxn ang="0">
                    <a:pos x="T0" y="T1"/>
                  </a:cxn>
                  <a:cxn ang="0">
                    <a:pos x="T2" y="T3"/>
                  </a:cxn>
                  <a:cxn ang="0">
                    <a:pos x="T4" y="T5"/>
                  </a:cxn>
                  <a:cxn ang="0">
                    <a:pos x="T6" y="T7"/>
                  </a:cxn>
                  <a:cxn ang="0">
                    <a:pos x="T8" y="T9"/>
                  </a:cxn>
                </a:cxnLst>
                <a:rect l="0" t="0" r="r" b="b"/>
                <a:pathLst>
                  <a:path w="50" h="12">
                    <a:moveTo>
                      <a:pt x="50" y="0"/>
                    </a:moveTo>
                    <a:cubicBezTo>
                      <a:pt x="50" y="0"/>
                      <a:pt x="29" y="10"/>
                      <a:pt x="22" y="9"/>
                    </a:cubicBezTo>
                    <a:cubicBezTo>
                      <a:pt x="15" y="8"/>
                      <a:pt x="5" y="12"/>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8" name="Rectangle 1635"/>
              <p:cNvSpPr>
                <a:spLocks noChangeArrowheads="1"/>
              </p:cNvSpPr>
              <p:nvPr/>
            </p:nvSpPr>
            <p:spPr bwMode="auto">
              <a:xfrm>
                <a:off x="2930" y="2891"/>
                <a:ext cx="6"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Rectangle 1636"/>
              <p:cNvSpPr>
                <a:spLocks noChangeArrowheads="1"/>
              </p:cNvSpPr>
              <p:nvPr/>
            </p:nvSpPr>
            <p:spPr bwMode="auto">
              <a:xfrm>
                <a:off x="2930" y="2891"/>
                <a:ext cx="6"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637"/>
              <p:cNvSpPr>
                <a:spLocks/>
              </p:cNvSpPr>
              <p:nvPr/>
            </p:nvSpPr>
            <p:spPr bwMode="auto">
              <a:xfrm>
                <a:off x="2913" y="2886"/>
                <a:ext cx="7" cy="3"/>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638"/>
              <p:cNvSpPr>
                <a:spLocks/>
              </p:cNvSpPr>
              <p:nvPr/>
            </p:nvSpPr>
            <p:spPr bwMode="auto">
              <a:xfrm>
                <a:off x="2919" y="2887"/>
                <a:ext cx="12" cy="5"/>
              </a:xfrm>
              <a:custGeom>
                <a:avLst/>
                <a:gdLst>
                  <a:gd name="T0" fmla="*/ 2 w 51"/>
                  <a:gd name="T1" fmla="*/ 0 h 24"/>
                  <a:gd name="T2" fmla="*/ 2 w 51"/>
                  <a:gd name="T3" fmla="*/ 0 h 24"/>
                  <a:gd name="T4" fmla="*/ 22 w 51"/>
                  <a:gd name="T5" fmla="*/ 4 h 24"/>
                  <a:gd name="T6" fmla="*/ 48 w 51"/>
                  <a:gd name="T7" fmla="*/ 19 h 24"/>
                  <a:gd name="T8" fmla="*/ 50 w 51"/>
                  <a:gd name="T9" fmla="*/ 20 h 24"/>
                  <a:gd name="T10" fmla="*/ 49 w 51"/>
                  <a:gd name="T11" fmla="*/ 22 h 24"/>
                  <a:gd name="T12" fmla="*/ 20 w 51"/>
                  <a:gd name="T13" fmla="*/ 6 h 24"/>
                  <a:gd name="T14" fmla="*/ 2 w 51"/>
                  <a:gd name="T15" fmla="*/ 3 h 24"/>
                  <a:gd name="T16" fmla="*/ 1 w 51"/>
                  <a:gd name="T17" fmla="*/ 1 h 24"/>
                  <a:gd name="T18" fmla="*/ 2 w 5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4">
                    <a:moveTo>
                      <a:pt x="2" y="0"/>
                    </a:moveTo>
                    <a:lnTo>
                      <a:pt x="2" y="0"/>
                    </a:lnTo>
                    <a:cubicBezTo>
                      <a:pt x="11" y="1"/>
                      <a:pt x="17" y="2"/>
                      <a:pt x="22" y="4"/>
                    </a:cubicBezTo>
                    <a:cubicBezTo>
                      <a:pt x="28" y="6"/>
                      <a:pt x="40" y="21"/>
                      <a:pt x="48" y="19"/>
                    </a:cubicBezTo>
                    <a:cubicBezTo>
                      <a:pt x="49" y="19"/>
                      <a:pt x="50" y="19"/>
                      <a:pt x="50" y="20"/>
                    </a:cubicBezTo>
                    <a:cubicBezTo>
                      <a:pt x="51" y="21"/>
                      <a:pt x="50" y="21"/>
                      <a:pt x="49" y="22"/>
                    </a:cubicBezTo>
                    <a:cubicBezTo>
                      <a:pt x="39" y="24"/>
                      <a:pt x="27" y="8"/>
                      <a:pt x="20" y="6"/>
                    </a:cubicBezTo>
                    <a:cubicBezTo>
                      <a:pt x="16" y="5"/>
                      <a:pt x="10" y="4"/>
                      <a:pt x="2" y="3"/>
                    </a:cubicBezTo>
                    <a:cubicBezTo>
                      <a:pt x="1" y="3"/>
                      <a:pt x="0" y="2"/>
                      <a:pt x="1" y="1"/>
                    </a:cubicBezTo>
                    <a:cubicBezTo>
                      <a:pt x="1"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639"/>
              <p:cNvSpPr>
                <a:spLocks/>
              </p:cNvSpPr>
              <p:nvPr/>
            </p:nvSpPr>
            <p:spPr bwMode="auto">
              <a:xfrm>
                <a:off x="2945" y="2897"/>
                <a:ext cx="7" cy="4"/>
              </a:xfrm>
              <a:custGeom>
                <a:avLst/>
                <a:gdLst>
                  <a:gd name="T0" fmla="*/ 0 w 31"/>
                  <a:gd name="T1" fmla="*/ 14 h 16"/>
                  <a:gd name="T2" fmla="*/ 31 w 31"/>
                  <a:gd name="T3" fmla="*/ 16 h 16"/>
                  <a:gd name="T4" fmla="*/ 31 w 31"/>
                  <a:gd name="T5" fmla="*/ 0 h 16"/>
                  <a:gd name="T6" fmla="*/ 0 w 31"/>
                  <a:gd name="T7" fmla="*/ 2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2"/>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640"/>
              <p:cNvSpPr>
                <a:spLocks/>
              </p:cNvSpPr>
              <p:nvPr/>
            </p:nvSpPr>
            <p:spPr bwMode="auto">
              <a:xfrm>
                <a:off x="2933" y="2893"/>
                <a:ext cx="15" cy="6"/>
              </a:xfrm>
              <a:custGeom>
                <a:avLst/>
                <a:gdLst>
                  <a:gd name="T0" fmla="*/ 2 w 66"/>
                  <a:gd name="T1" fmla="*/ 0 h 28"/>
                  <a:gd name="T2" fmla="*/ 4 w 66"/>
                  <a:gd name="T3" fmla="*/ 1 h 28"/>
                  <a:gd name="T4" fmla="*/ 64 w 66"/>
                  <a:gd name="T5" fmla="*/ 26 h 28"/>
                  <a:gd name="T6" fmla="*/ 66 w 66"/>
                  <a:gd name="T7" fmla="*/ 27 h 28"/>
                  <a:gd name="T8" fmla="*/ 64 w 66"/>
                  <a:gd name="T9" fmla="*/ 28 h 28"/>
                  <a:gd name="T10" fmla="*/ 64 w 66"/>
                  <a:gd name="T11" fmla="*/ 28 h 28"/>
                  <a:gd name="T12" fmla="*/ 0 w 66"/>
                  <a:gd name="T13" fmla="*/ 1 h 28"/>
                  <a:gd name="T14" fmla="*/ 2 w 66"/>
                  <a:gd name="T15" fmla="*/ 0 h 28"/>
                  <a:gd name="T16" fmla="*/ 2 w 6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8">
                    <a:moveTo>
                      <a:pt x="2" y="0"/>
                    </a:moveTo>
                    <a:cubicBezTo>
                      <a:pt x="3" y="0"/>
                      <a:pt x="4" y="0"/>
                      <a:pt x="4" y="1"/>
                    </a:cubicBezTo>
                    <a:cubicBezTo>
                      <a:pt x="6" y="7"/>
                      <a:pt x="39" y="26"/>
                      <a:pt x="64" y="26"/>
                    </a:cubicBezTo>
                    <a:cubicBezTo>
                      <a:pt x="66" y="26"/>
                      <a:pt x="66" y="26"/>
                      <a:pt x="66" y="27"/>
                    </a:cubicBezTo>
                    <a:cubicBezTo>
                      <a:pt x="66" y="28"/>
                      <a:pt x="66" y="28"/>
                      <a:pt x="64" y="28"/>
                    </a:cubicBezTo>
                    <a:lnTo>
                      <a:pt x="64" y="28"/>
                    </a:lnTo>
                    <a:cubicBezTo>
                      <a:pt x="40" y="28"/>
                      <a:pt x="4" y="12"/>
                      <a:pt x="0" y="1"/>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641"/>
              <p:cNvSpPr>
                <a:spLocks/>
              </p:cNvSpPr>
              <p:nvPr/>
            </p:nvSpPr>
            <p:spPr bwMode="auto">
              <a:xfrm>
                <a:off x="2930" y="2891"/>
                <a:ext cx="2" cy="2"/>
              </a:xfrm>
              <a:custGeom>
                <a:avLst/>
                <a:gdLst>
                  <a:gd name="T0" fmla="*/ 0 w 12"/>
                  <a:gd name="T1" fmla="*/ 6 h 6"/>
                  <a:gd name="T2" fmla="*/ 12 w 12"/>
                  <a:gd name="T3" fmla="*/ 0 h 6"/>
                  <a:gd name="T4" fmla="*/ 0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cubicBezTo>
                      <a:pt x="0" y="6"/>
                      <a:pt x="11" y="6"/>
                      <a:pt x="12" y="0"/>
                    </a:cubicBezTo>
                    <a:lnTo>
                      <a:pt x="0" y="0"/>
                    </a:lnTo>
                    <a:lnTo>
                      <a:pt x="0" y="6"/>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642"/>
              <p:cNvSpPr>
                <a:spLocks/>
              </p:cNvSpPr>
              <p:nvPr/>
            </p:nvSpPr>
            <p:spPr bwMode="auto">
              <a:xfrm>
                <a:off x="2932" y="2892"/>
                <a:ext cx="3" cy="2"/>
              </a:xfrm>
              <a:custGeom>
                <a:avLst/>
                <a:gdLst>
                  <a:gd name="T0" fmla="*/ 5 w 13"/>
                  <a:gd name="T1" fmla="*/ 8 h 8"/>
                  <a:gd name="T2" fmla="*/ 3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3"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643"/>
              <p:cNvSpPr>
                <a:spLocks/>
              </p:cNvSpPr>
              <p:nvPr/>
            </p:nvSpPr>
            <p:spPr bwMode="auto">
              <a:xfrm>
                <a:off x="2920" y="2887"/>
                <a:ext cx="10" cy="5"/>
              </a:xfrm>
              <a:custGeom>
                <a:avLst/>
                <a:gdLst>
                  <a:gd name="T0" fmla="*/ 45 w 45"/>
                  <a:gd name="T1" fmla="*/ 19 h 22"/>
                  <a:gd name="T2" fmla="*/ 19 w 45"/>
                  <a:gd name="T3" fmla="*/ 4 h 22"/>
                  <a:gd name="T4" fmla="*/ 0 w 45"/>
                  <a:gd name="T5" fmla="*/ 0 h 22"/>
                  <a:gd name="T6" fmla="*/ 0 w 45"/>
                  <a:gd name="T7" fmla="*/ 1 h 22"/>
                  <a:gd name="T8" fmla="*/ 19 w 45"/>
                  <a:gd name="T9" fmla="*/ 5 h 22"/>
                  <a:gd name="T10" fmla="*/ 45 w 45"/>
                  <a:gd name="T11" fmla="*/ 20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5" y="5"/>
                      <a:pt x="19" y="4"/>
                    </a:cubicBezTo>
                    <a:cubicBezTo>
                      <a:pt x="14" y="2"/>
                      <a:pt x="8" y="1"/>
                      <a:pt x="0" y="0"/>
                    </a:cubicBezTo>
                    <a:lnTo>
                      <a:pt x="0" y="1"/>
                    </a:lnTo>
                    <a:cubicBezTo>
                      <a:pt x="8" y="2"/>
                      <a:pt x="14" y="3"/>
                      <a:pt x="19" y="5"/>
                    </a:cubicBezTo>
                    <a:cubicBezTo>
                      <a:pt x="25" y="7"/>
                      <a:pt x="37" y="22"/>
                      <a:pt x="45" y="20"/>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644"/>
              <p:cNvSpPr>
                <a:spLocks/>
              </p:cNvSpPr>
              <p:nvPr/>
            </p:nvSpPr>
            <p:spPr bwMode="auto">
              <a:xfrm>
                <a:off x="2945" y="2897"/>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Freeform 1645"/>
              <p:cNvSpPr>
                <a:spLocks/>
              </p:cNvSpPr>
              <p:nvPr/>
            </p:nvSpPr>
            <p:spPr bwMode="auto">
              <a:xfrm>
                <a:off x="2934" y="2893"/>
                <a:ext cx="13" cy="6"/>
              </a:xfrm>
              <a:custGeom>
                <a:avLst/>
                <a:gdLst>
                  <a:gd name="T0" fmla="*/ 0 w 61"/>
                  <a:gd name="T1" fmla="*/ 0 h 28"/>
                  <a:gd name="T2" fmla="*/ 61 w 61"/>
                  <a:gd name="T3" fmla="*/ 26 h 28"/>
                  <a:gd name="T4" fmla="*/ 61 w 61"/>
                  <a:gd name="T5" fmla="*/ 27 h 28"/>
                  <a:gd name="T6" fmla="*/ 0 w 61"/>
                  <a:gd name="T7" fmla="*/ 2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7"/>
                      <a:pt x="34" y="27"/>
                      <a:pt x="61" y="26"/>
                    </a:cubicBezTo>
                    <a:lnTo>
                      <a:pt x="61" y="27"/>
                    </a:lnTo>
                    <a:cubicBezTo>
                      <a:pt x="32" y="28"/>
                      <a:pt x="2" y="8"/>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646"/>
              <p:cNvSpPr>
                <a:spLocks noChangeArrowheads="1"/>
              </p:cNvSpPr>
              <p:nvPr/>
            </p:nvSpPr>
            <p:spPr bwMode="auto">
              <a:xfrm>
                <a:off x="2930" y="2891"/>
                <a:ext cx="2"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Freeform 1647"/>
              <p:cNvSpPr>
                <a:spLocks/>
              </p:cNvSpPr>
              <p:nvPr/>
            </p:nvSpPr>
            <p:spPr bwMode="auto">
              <a:xfrm>
                <a:off x="2932" y="2892"/>
                <a:ext cx="2" cy="1"/>
              </a:xfrm>
              <a:custGeom>
                <a:avLst/>
                <a:gdLst>
                  <a:gd name="T0" fmla="*/ 8 w 8"/>
                  <a:gd name="T1" fmla="*/ 2 h 3"/>
                  <a:gd name="T2" fmla="*/ 0 w 8"/>
                  <a:gd name="T3" fmla="*/ 1 h 3"/>
                  <a:gd name="T4" fmla="*/ 0 w 8"/>
                  <a:gd name="T5" fmla="*/ 3 h 3"/>
                  <a:gd name="T6" fmla="*/ 8 w 8"/>
                  <a:gd name="T7" fmla="*/ 3 h 3"/>
                  <a:gd name="T8" fmla="*/ 8 w 8"/>
                  <a:gd name="T9" fmla="*/ 2 h 3"/>
                </a:gdLst>
                <a:ahLst/>
                <a:cxnLst>
                  <a:cxn ang="0">
                    <a:pos x="T0" y="T1"/>
                  </a:cxn>
                  <a:cxn ang="0">
                    <a:pos x="T2" y="T3"/>
                  </a:cxn>
                  <a:cxn ang="0">
                    <a:pos x="T4" y="T5"/>
                  </a:cxn>
                  <a:cxn ang="0">
                    <a:pos x="T6" y="T7"/>
                  </a:cxn>
                  <a:cxn ang="0">
                    <a:pos x="T8" y="T9"/>
                  </a:cxn>
                </a:cxnLst>
                <a:rect l="0" t="0" r="r" b="b"/>
                <a:pathLst>
                  <a:path w="8" h="3">
                    <a:moveTo>
                      <a:pt x="8" y="2"/>
                    </a:moveTo>
                    <a:cubicBezTo>
                      <a:pt x="6" y="0"/>
                      <a:pt x="4" y="0"/>
                      <a:pt x="0" y="1"/>
                    </a:cubicBezTo>
                    <a:lnTo>
                      <a:pt x="0" y="3"/>
                    </a:lnTo>
                    <a:cubicBezTo>
                      <a:pt x="4" y="2"/>
                      <a:pt x="6" y="2"/>
                      <a:pt x="8" y="3"/>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648"/>
              <p:cNvSpPr>
                <a:spLocks/>
              </p:cNvSpPr>
              <p:nvPr/>
            </p:nvSpPr>
            <p:spPr bwMode="auto">
              <a:xfrm>
                <a:off x="2952" y="2884"/>
                <a:ext cx="7" cy="19"/>
              </a:xfrm>
              <a:custGeom>
                <a:avLst/>
                <a:gdLst>
                  <a:gd name="T0" fmla="*/ 31 w 32"/>
                  <a:gd name="T1" fmla="*/ 0 h 83"/>
                  <a:gd name="T2" fmla="*/ 6 w 32"/>
                  <a:gd name="T3" fmla="*/ 0 h 83"/>
                  <a:gd name="T4" fmla="*/ 6 w 32"/>
                  <a:gd name="T5" fmla="*/ 11 h 83"/>
                  <a:gd name="T6" fmla="*/ 0 w 32"/>
                  <a:gd name="T7" fmla="*/ 17 h 83"/>
                  <a:gd name="T8" fmla="*/ 0 w 32"/>
                  <a:gd name="T9" fmla="*/ 83 h 83"/>
                  <a:gd name="T10" fmla="*/ 32 w 32"/>
                  <a:gd name="T11" fmla="*/ 83 h 83"/>
                  <a:gd name="T12" fmla="*/ 32 w 32"/>
                  <a:gd name="T13" fmla="*/ 1 h 83"/>
                  <a:gd name="T14" fmla="*/ 32 w 32"/>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3">
                    <a:moveTo>
                      <a:pt x="31" y="0"/>
                    </a:moveTo>
                    <a:lnTo>
                      <a:pt x="6" y="0"/>
                    </a:lnTo>
                    <a:lnTo>
                      <a:pt x="6" y="11"/>
                    </a:lnTo>
                    <a:cubicBezTo>
                      <a:pt x="6" y="14"/>
                      <a:pt x="3" y="16"/>
                      <a:pt x="0" y="17"/>
                    </a:cubicBezTo>
                    <a:lnTo>
                      <a:pt x="0" y="83"/>
                    </a:lnTo>
                    <a:lnTo>
                      <a:pt x="32" y="83"/>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2" name="Freeform 1649"/>
              <p:cNvSpPr>
                <a:spLocks/>
              </p:cNvSpPr>
              <p:nvPr/>
            </p:nvSpPr>
            <p:spPr bwMode="auto">
              <a:xfrm>
                <a:off x="2905" y="2884"/>
                <a:ext cx="8" cy="19"/>
              </a:xfrm>
              <a:custGeom>
                <a:avLst/>
                <a:gdLst>
                  <a:gd name="T0" fmla="*/ 0 w 35"/>
                  <a:gd name="T1" fmla="*/ 1 h 84"/>
                  <a:gd name="T2" fmla="*/ 0 w 35"/>
                  <a:gd name="T3" fmla="*/ 2 h 84"/>
                  <a:gd name="T4" fmla="*/ 0 w 35"/>
                  <a:gd name="T5" fmla="*/ 84 h 84"/>
                  <a:gd name="T6" fmla="*/ 35 w 35"/>
                  <a:gd name="T7" fmla="*/ 84 h 84"/>
                  <a:gd name="T8" fmla="*/ 35 w 35"/>
                  <a:gd name="T9" fmla="*/ 9 h 84"/>
                  <a:gd name="T10" fmla="*/ 29 w 35"/>
                  <a:gd name="T11" fmla="*/ 3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1"/>
                    </a:moveTo>
                    <a:lnTo>
                      <a:pt x="0" y="2"/>
                    </a:lnTo>
                    <a:lnTo>
                      <a:pt x="0" y="84"/>
                    </a:lnTo>
                    <a:lnTo>
                      <a:pt x="35" y="84"/>
                    </a:lnTo>
                    <a:lnTo>
                      <a:pt x="35" y="9"/>
                    </a:lnTo>
                    <a:cubicBezTo>
                      <a:pt x="31" y="7"/>
                      <a:pt x="29" y="5"/>
                      <a:pt x="29" y="3"/>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650"/>
              <p:cNvSpPr>
                <a:spLocks noChangeArrowheads="1"/>
              </p:cNvSpPr>
              <p:nvPr/>
            </p:nvSpPr>
            <p:spPr bwMode="auto">
              <a:xfrm>
                <a:off x="3366" y="2553"/>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Freeform 1651"/>
              <p:cNvSpPr>
                <a:spLocks/>
              </p:cNvSpPr>
              <p:nvPr/>
            </p:nvSpPr>
            <p:spPr bwMode="auto">
              <a:xfrm>
                <a:off x="3374" y="2553"/>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5" name="Rectangle 1652"/>
              <p:cNvSpPr>
                <a:spLocks noChangeArrowheads="1"/>
              </p:cNvSpPr>
              <p:nvPr/>
            </p:nvSpPr>
            <p:spPr bwMode="auto">
              <a:xfrm>
                <a:off x="3390" y="2560"/>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6" name="Rectangle 1653"/>
              <p:cNvSpPr>
                <a:spLocks noChangeArrowheads="1"/>
              </p:cNvSpPr>
              <p:nvPr/>
            </p:nvSpPr>
            <p:spPr bwMode="auto">
              <a:xfrm>
                <a:off x="3390" y="256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654"/>
              <p:cNvSpPr>
                <a:spLocks/>
              </p:cNvSpPr>
              <p:nvPr/>
            </p:nvSpPr>
            <p:spPr bwMode="auto">
              <a:xfrm>
                <a:off x="3374" y="2555"/>
                <a:ext cx="7" cy="3"/>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655"/>
              <p:cNvSpPr>
                <a:spLocks/>
              </p:cNvSpPr>
              <p:nvPr/>
            </p:nvSpPr>
            <p:spPr bwMode="auto">
              <a:xfrm>
                <a:off x="3380" y="2556"/>
                <a:ext cx="11" cy="5"/>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656"/>
              <p:cNvSpPr>
                <a:spLocks/>
              </p:cNvSpPr>
              <p:nvPr/>
            </p:nvSpPr>
            <p:spPr bwMode="auto">
              <a:xfrm>
                <a:off x="3406" y="2566"/>
                <a:ext cx="7" cy="4"/>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657"/>
              <p:cNvSpPr>
                <a:spLocks/>
              </p:cNvSpPr>
              <p:nvPr/>
            </p:nvSpPr>
            <p:spPr bwMode="auto">
              <a:xfrm>
                <a:off x="3393" y="2562"/>
                <a:ext cx="15" cy="6"/>
              </a:xfrm>
              <a:custGeom>
                <a:avLst/>
                <a:gdLst>
                  <a:gd name="T0" fmla="*/ 2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658"/>
              <p:cNvSpPr>
                <a:spLocks/>
              </p:cNvSpPr>
              <p:nvPr/>
            </p:nvSpPr>
            <p:spPr bwMode="auto">
              <a:xfrm>
                <a:off x="3390" y="2560"/>
                <a:ext cx="3" cy="2"/>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659"/>
              <p:cNvSpPr>
                <a:spLocks/>
              </p:cNvSpPr>
              <p:nvPr/>
            </p:nvSpPr>
            <p:spPr bwMode="auto">
              <a:xfrm>
                <a:off x="3392" y="2561"/>
                <a:ext cx="3" cy="2"/>
              </a:xfrm>
              <a:custGeom>
                <a:avLst/>
                <a:gdLst>
                  <a:gd name="T0" fmla="*/ 5 w 13"/>
                  <a:gd name="T1" fmla="*/ 9 h 9"/>
                  <a:gd name="T2" fmla="*/ 4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4" y="1"/>
                    </a:cubicBezTo>
                    <a:cubicBezTo>
                      <a:pt x="7" y="0"/>
                      <a:pt x="9" y="0"/>
                      <a:pt x="11" y="2"/>
                    </a:cubicBezTo>
                    <a:cubicBezTo>
                      <a:pt x="13" y="3"/>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660"/>
              <p:cNvSpPr>
                <a:spLocks/>
              </p:cNvSpPr>
              <p:nvPr/>
            </p:nvSpPr>
            <p:spPr bwMode="auto">
              <a:xfrm>
                <a:off x="3380" y="2556"/>
                <a:ext cx="11"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6"/>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Freeform 1661"/>
              <p:cNvSpPr>
                <a:spLocks/>
              </p:cNvSpPr>
              <p:nvPr/>
            </p:nvSpPr>
            <p:spPr bwMode="auto">
              <a:xfrm>
                <a:off x="3406" y="2566"/>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662"/>
              <p:cNvSpPr>
                <a:spLocks/>
              </p:cNvSpPr>
              <p:nvPr/>
            </p:nvSpPr>
            <p:spPr bwMode="auto">
              <a:xfrm>
                <a:off x="3394" y="2562"/>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Rectangle 1663"/>
              <p:cNvSpPr>
                <a:spLocks noChangeArrowheads="1"/>
              </p:cNvSpPr>
              <p:nvPr/>
            </p:nvSpPr>
            <p:spPr bwMode="auto">
              <a:xfrm>
                <a:off x="3390" y="2560"/>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664"/>
              <p:cNvSpPr>
                <a:spLocks/>
              </p:cNvSpPr>
              <p:nvPr/>
            </p:nvSpPr>
            <p:spPr bwMode="auto">
              <a:xfrm>
                <a:off x="3393" y="2561"/>
                <a:ext cx="2" cy="1"/>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6"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665"/>
              <p:cNvSpPr>
                <a:spLocks/>
              </p:cNvSpPr>
              <p:nvPr/>
            </p:nvSpPr>
            <p:spPr bwMode="auto">
              <a:xfrm>
                <a:off x="3413" y="2553"/>
                <a:ext cx="7" cy="19"/>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666"/>
              <p:cNvSpPr>
                <a:spLocks/>
              </p:cNvSpPr>
              <p:nvPr/>
            </p:nvSpPr>
            <p:spPr bwMode="auto">
              <a:xfrm>
                <a:off x="3366" y="2553"/>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0" name="Rectangle 1667"/>
              <p:cNvSpPr>
                <a:spLocks noChangeArrowheads="1"/>
              </p:cNvSpPr>
              <p:nvPr/>
            </p:nvSpPr>
            <p:spPr bwMode="auto">
              <a:xfrm>
                <a:off x="3700" y="17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668"/>
              <p:cNvSpPr>
                <a:spLocks/>
              </p:cNvSpPr>
              <p:nvPr/>
            </p:nvSpPr>
            <p:spPr bwMode="auto">
              <a:xfrm>
                <a:off x="3708" y="1740"/>
                <a:ext cx="11" cy="3"/>
              </a:xfrm>
              <a:custGeom>
                <a:avLst/>
                <a:gdLst>
                  <a:gd name="T0" fmla="*/ 50 w 50"/>
                  <a:gd name="T1" fmla="*/ 0 h 13"/>
                  <a:gd name="T2" fmla="*/ 22 w 50"/>
                  <a:gd name="T3" fmla="*/ 9 h 13"/>
                  <a:gd name="T4" fmla="*/ 0 w 50"/>
                  <a:gd name="T5" fmla="*/ 9 h 13"/>
                  <a:gd name="T6" fmla="*/ 1 w 50"/>
                  <a:gd name="T7" fmla="*/ 0 h 13"/>
                  <a:gd name="T8" fmla="*/ 50 w 50"/>
                  <a:gd name="T9" fmla="*/ 0 h 13"/>
                </a:gdLst>
                <a:ahLst/>
                <a:cxnLst>
                  <a:cxn ang="0">
                    <a:pos x="T0" y="T1"/>
                  </a:cxn>
                  <a:cxn ang="0">
                    <a:pos x="T2" y="T3"/>
                  </a:cxn>
                  <a:cxn ang="0">
                    <a:pos x="T4" y="T5"/>
                  </a:cxn>
                  <a:cxn ang="0">
                    <a:pos x="T6" y="T7"/>
                  </a:cxn>
                  <a:cxn ang="0">
                    <a:pos x="T8" y="T9"/>
                  </a:cxn>
                </a:cxnLst>
                <a:rect l="0" t="0" r="r" b="b"/>
                <a:pathLst>
                  <a:path w="50" h="13">
                    <a:moveTo>
                      <a:pt x="50" y="0"/>
                    </a:moveTo>
                    <a:cubicBezTo>
                      <a:pt x="50" y="0"/>
                      <a:pt x="29" y="10"/>
                      <a:pt x="22" y="9"/>
                    </a:cubicBezTo>
                    <a:cubicBezTo>
                      <a:pt x="15" y="9"/>
                      <a:pt x="5" y="13"/>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Rectangle 1669"/>
              <p:cNvSpPr>
                <a:spLocks noChangeArrowheads="1"/>
              </p:cNvSpPr>
              <p:nvPr/>
            </p:nvSpPr>
            <p:spPr bwMode="auto">
              <a:xfrm>
                <a:off x="3724" y="1747"/>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Rectangle 1670"/>
              <p:cNvSpPr>
                <a:spLocks noChangeArrowheads="1"/>
              </p:cNvSpPr>
              <p:nvPr/>
            </p:nvSpPr>
            <p:spPr bwMode="auto">
              <a:xfrm>
                <a:off x="3724" y="1747"/>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4" name="Freeform 1671"/>
              <p:cNvSpPr>
                <a:spLocks/>
              </p:cNvSpPr>
              <p:nvPr/>
            </p:nvSpPr>
            <p:spPr bwMode="auto">
              <a:xfrm>
                <a:off x="3708" y="1741"/>
                <a:ext cx="7" cy="4"/>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672"/>
              <p:cNvSpPr>
                <a:spLocks/>
              </p:cNvSpPr>
              <p:nvPr/>
            </p:nvSpPr>
            <p:spPr bwMode="auto">
              <a:xfrm>
                <a:off x="3714" y="1743"/>
                <a:ext cx="12" cy="5"/>
              </a:xfrm>
              <a:custGeom>
                <a:avLst/>
                <a:gdLst>
                  <a:gd name="T0" fmla="*/ 2 w 51"/>
                  <a:gd name="T1" fmla="*/ 0 h 23"/>
                  <a:gd name="T2" fmla="*/ 3 w 51"/>
                  <a:gd name="T3" fmla="*/ 0 h 23"/>
                  <a:gd name="T4" fmla="*/ 22 w 51"/>
                  <a:gd name="T5" fmla="*/ 3 h 23"/>
                  <a:gd name="T6" fmla="*/ 48 w 51"/>
                  <a:gd name="T7" fmla="*/ 19 h 23"/>
                  <a:gd name="T8" fmla="*/ 51 w 51"/>
                  <a:gd name="T9" fmla="*/ 19 h 23"/>
                  <a:gd name="T10" fmla="*/ 49 w 51"/>
                  <a:gd name="T11" fmla="*/ 21 h 23"/>
                  <a:gd name="T12" fmla="*/ 21 w 51"/>
                  <a:gd name="T13" fmla="*/ 6 h 23"/>
                  <a:gd name="T14" fmla="*/ 2 w 51"/>
                  <a:gd name="T15" fmla="*/ 2 h 23"/>
                  <a:gd name="T16" fmla="*/ 1 w 51"/>
                  <a:gd name="T17" fmla="*/ 1 h 23"/>
                  <a:gd name="T18" fmla="*/ 2 w 51"/>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2" y="0"/>
                    </a:moveTo>
                    <a:lnTo>
                      <a:pt x="3" y="0"/>
                    </a:lnTo>
                    <a:cubicBezTo>
                      <a:pt x="11" y="0"/>
                      <a:pt x="17" y="2"/>
                      <a:pt x="22" y="3"/>
                    </a:cubicBezTo>
                    <a:cubicBezTo>
                      <a:pt x="29" y="5"/>
                      <a:pt x="40" y="20"/>
                      <a:pt x="48" y="19"/>
                    </a:cubicBezTo>
                    <a:cubicBezTo>
                      <a:pt x="49" y="18"/>
                      <a:pt x="50" y="19"/>
                      <a:pt x="51" y="19"/>
                    </a:cubicBezTo>
                    <a:cubicBezTo>
                      <a:pt x="51" y="20"/>
                      <a:pt x="50" y="21"/>
                      <a:pt x="49" y="21"/>
                    </a:cubicBezTo>
                    <a:cubicBezTo>
                      <a:pt x="39" y="23"/>
                      <a:pt x="28" y="8"/>
                      <a:pt x="21" y="6"/>
                    </a:cubicBezTo>
                    <a:cubicBezTo>
                      <a:pt x="16" y="5"/>
                      <a:pt x="10" y="3"/>
                      <a:pt x="2" y="2"/>
                    </a:cubicBezTo>
                    <a:cubicBezTo>
                      <a:pt x="1" y="2"/>
                      <a:pt x="0" y="2"/>
                      <a:pt x="1" y="1"/>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673"/>
              <p:cNvSpPr>
                <a:spLocks/>
              </p:cNvSpPr>
              <p:nvPr/>
            </p:nvSpPr>
            <p:spPr bwMode="auto">
              <a:xfrm>
                <a:off x="3740" y="1753"/>
                <a:ext cx="7" cy="4"/>
              </a:xfrm>
              <a:custGeom>
                <a:avLst/>
                <a:gdLst>
                  <a:gd name="T0" fmla="*/ 0 w 31"/>
                  <a:gd name="T1" fmla="*/ 13 h 16"/>
                  <a:gd name="T2" fmla="*/ 31 w 31"/>
                  <a:gd name="T3" fmla="*/ 16 h 16"/>
                  <a:gd name="T4" fmla="*/ 31 w 31"/>
                  <a:gd name="T5" fmla="*/ 0 h 16"/>
                  <a:gd name="T6" fmla="*/ 0 w 31"/>
                  <a:gd name="T7" fmla="*/ 2 h 16"/>
                  <a:gd name="T8" fmla="*/ 0 w 31"/>
                  <a:gd name="T9" fmla="*/ 13 h 16"/>
                </a:gdLst>
                <a:ahLst/>
                <a:cxnLst>
                  <a:cxn ang="0">
                    <a:pos x="T0" y="T1"/>
                  </a:cxn>
                  <a:cxn ang="0">
                    <a:pos x="T2" y="T3"/>
                  </a:cxn>
                  <a:cxn ang="0">
                    <a:pos x="T4" y="T5"/>
                  </a:cxn>
                  <a:cxn ang="0">
                    <a:pos x="T6" y="T7"/>
                  </a:cxn>
                  <a:cxn ang="0">
                    <a:pos x="T8" y="T9"/>
                  </a:cxn>
                </a:cxnLst>
                <a:rect l="0" t="0" r="r" b="b"/>
                <a:pathLst>
                  <a:path w="31" h="16">
                    <a:moveTo>
                      <a:pt x="0" y="13"/>
                    </a:moveTo>
                    <a:lnTo>
                      <a:pt x="31" y="16"/>
                    </a:lnTo>
                    <a:lnTo>
                      <a:pt x="31" y="0"/>
                    </a:lnTo>
                    <a:lnTo>
                      <a:pt x="0" y="2"/>
                    </a:lnTo>
                    <a:lnTo>
                      <a:pt x="0" y="1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674"/>
              <p:cNvSpPr>
                <a:spLocks/>
              </p:cNvSpPr>
              <p:nvPr/>
            </p:nvSpPr>
            <p:spPr bwMode="auto">
              <a:xfrm>
                <a:off x="3727" y="1749"/>
                <a:ext cx="15" cy="6"/>
              </a:xfrm>
              <a:custGeom>
                <a:avLst/>
                <a:gdLst>
                  <a:gd name="T0" fmla="*/ 2 w 66"/>
                  <a:gd name="T1" fmla="*/ 0 h 29"/>
                  <a:gd name="T2" fmla="*/ 4 w 66"/>
                  <a:gd name="T3" fmla="*/ 1 h 29"/>
                  <a:gd name="T4" fmla="*/ 65 w 66"/>
                  <a:gd name="T5" fmla="*/ 26 h 29"/>
                  <a:gd name="T6" fmla="*/ 66 w 66"/>
                  <a:gd name="T7" fmla="*/ 28 h 29"/>
                  <a:gd name="T8" fmla="*/ 65 w 66"/>
                  <a:gd name="T9" fmla="*/ 29 h 29"/>
                  <a:gd name="T10" fmla="*/ 65 w 66"/>
                  <a:gd name="T11" fmla="*/ 29 h 29"/>
                  <a:gd name="T12" fmla="*/ 0 w 66"/>
                  <a:gd name="T13" fmla="*/ 2 h 29"/>
                  <a:gd name="T14" fmla="*/ 2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3" y="0"/>
                      <a:pt x="4" y="1"/>
                      <a:pt x="4" y="1"/>
                    </a:cubicBezTo>
                    <a:cubicBezTo>
                      <a:pt x="6" y="8"/>
                      <a:pt x="39" y="26"/>
                      <a:pt x="65" y="26"/>
                    </a:cubicBezTo>
                    <a:cubicBezTo>
                      <a:pt x="66" y="26"/>
                      <a:pt x="66" y="27"/>
                      <a:pt x="66" y="28"/>
                    </a:cubicBezTo>
                    <a:cubicBezTo>
                      <a:pt x="66" y="28"/>
                      <a:pt x="66" y="29"/>
                      <a:pt x="65" y="29"/>
                    </a:cubicBezTo>
                    <a:lnTo>
                      <a:pt x="65" y="29"/>
                    </a:lnTo>
                    <a:cubicBezTo>
                      <a:pt x="40" y="29"/>
                      <a:pt x="4" y="12"/>
                      <a:pt x="0" y="2"/>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675"/>
              <p:cNvSpPr>
                <a:spLocks/>
              </p:cNvSpPr>
              <p:nvPr/>
            </p:nvSpPr>
            <p:spPr bwMode="auto">
              <a:xfrm>
                <a:off x="3724" y="1747"/>
                <a:ext cx="3" cy="2"/>
              </a:xfrm>
              <a:custGeom>
                <a:avLst/>
                <a:gdLst>
                  <a:gd name="T0" fmla="*/ 0 w 12"/>
                  <a:gd name="T1" fmla="*/ 7 h 7"/>
                  <a:gd name="T2" fmla="*/ 12 w 12"/>
                  <a:gd name="T3" fmla="*/ 0 h 7"/>
                  <a:gd name="T4" fmla="*/ 0 w 12"/>
                  <a:gd name="T5" fmla="*/ 0 h 7"/>
                  <a:gd name="T6" fmla="*/ 0 w 12"/>
                  <a:gd name="T7" fmla="*/ 7 h 7"/>
                </a:gdLst>
                <a:ahLst/>
                <a:cxnLst>
                  <a:cxn ang="0">
                    <a:pos x="T0" y="T1"/>
                  </a:cxn>
                  <a:cxn ang="0">
                    <a:pos x="T2" y="T3"/>
                  </a:cxn>
                  <a:cxn ang="0">
                    <a:pos x="T4" y="T5"/>
                  </a:cxn>
                  <a:cxn ang="0">
                    <a:pos x="T6" y="T7"/>
                  </a:cxn>
                </a:cxnLst>
                <a:rect l="0" t="0" r="r" b="b"/>
                <a:pathLst>
                  <a:path w="12" h="7">
                    <a:moveTo>
                      <a:pt x="0" y="7"/>
                    </a:moveTo>
                    <a:cubicBezTo>
                      <a:pt x="0" y="7"/>
                      <a:pt x="12" y="7"/>
                      <a:pt x="12"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676"/>
              <p:cNvSpPr>
                <a:spLocks/>
              </p:cNvSpPr>
              <p:nvPr/>
            </p:nvSpPr>
            <p:spPr bwMode="auto">
              <a:xfrm>
                <a:off x="3726" y="1748"/>
                <a:ext cx="3" cy="2"/>
              </a:xfrm>
              <a:custGeom>
                <a:avLst/>
                <a:gdLst>
                  <a:gd name="T0" fmla="*/ 5 w 13"/>
                  <a:gd name="T1" fmla="*/ 9 h 9"/>
                  <a:gd name="T2" fmla="*/ 3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3" y="1"/>
                    </a:cubicBezTo>
                    <a:cubicBezTo>
                      <a:pt x="7" y="0"/>
                      <a:pt x="9" y="0"/>
                      <a:pt x="11" y="2"/>
                    </a:cubicBezTo>
                    <a:cubicBezTo>
                      <a:pt x="13" y="4"/>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677"/>
              <p:cNvSpPr>
                <a:spLocks/>
              </p:cNvSpPr>
              <p:nvPr/>
            </p:nvSpPr>
            <p:spPr bwMode="auto">
              <a:xfrm>
                <a:off x="3715" y="1742"/>
                <a:ext cx="10" cy="5"/>
              </a:xfrm>
              <a:custGeom>
                <a:avLst/>
                <a:gdLst>
                  <a:gd name="T0" fmla="*/ 45 w 45"/>
                  <a:gd name="T1" fmla="*/ 19 h 22"/>
                  <a:gd name="T2" fmla="*/ 19 w 45"/>
                  <a:gd name="T3" fmla="*/ 4 h 22"/>
                  <a:gd name="T4" fmla="*/ 0 w 45"/>
                  <a:gd name="T5" fmla="*/ 0 h 22"/>
                  <a:gd name="T6" fmla="*/ 0 w 45"/>
                  <a:gd name="T7" fmla="*/ 2 h 22"/>
                  <a:gd name="T8" fmla="*/ 19 w 45"/>
                  <a:gd name="T9" fmla="*/ 5 h 22"/>
                  <a:gd name="T10" fmla="*/ 45 w 45"/>
                  <a:gd name="T11" fmla="*/ 21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6" y="6"/>
                      <a:pt x="19" y="4"/>
                    </a:cubicBezTo>
                    <a:cubicBezTo>
                      <a:pt x="14" y="3"/>
                      <a:pt x="8" y="1"/>
                      <a:pt x="0" y="0"/>
                    </a:cubicBezTo>
                    <a:lnTo>
                      <a:pt x="0" y="2"/>
                    </a:lnTo>
                    <a:cubicBezTo>
                      <a:pt x="8" y="2"/>
                      <a:pt x="14" y="4"/>
                      <a:pt x="19" y="5"/>
                    </a:cubicBezTo>
                    <a:cubicBezTo>
                      <a:pt x="26" y="7"/>
                      <a:pt x="37" y="22"/>
                      <a:pt x="45" y="21"/>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678"/>
              <p:cNvSpPr>
                <a:spLocks/>
              </p:cNvSpPr>
              <p:nvPr/>
            </p:nvSpPr>
            <p:spPr bwMode="auto">
              <a:xfrm>
                <a:off x="3740" y="1753"/>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679"/>
              <p:cNvSpPr>
                <a:spLocks/>
              </p:cNvSpPr>
              <p:nvPr/>
            </p:nvSpPr>
            <p:spPr bwMode="auto">
              <a:xfrm>
                <a:off x="3728" y="1749"/>
                <a:ext cx="14" cy="6"/>
              </a:xfrm>
              <a:custGeom>
                <a:avLst/>
                <a:gdLst>
                  <a:gd name="T0" fmla="*/ 0 w 61"/>
                  <a:gd name="T1" fmla="*/ 0 h 28"/>
                  <a:gd name="T2" fmla="*/ 61 w 61"/>
                  <a:gd name="T3" fmla="*/ 25 h 28"/>
                  <a:gd name="T4" fmla="*/ 61 w 61"/>
                  <a:gd name="T5" fmla="*/ 26 h 28"/>
                  <a:gd name="T6" fmla="*/ 0 w 61"/>
                  <a:gd name="T7" fmla="*/ 1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6"/>
                      <a:pt x="34" y="26"/>
                      <a:pt x="61" y="25"/>
                    </a:cubicBezTo>
                    <a:lnTo>
                      <a:pt x="61" y="26"/>
                    </a:lnTo>
                    <a:cubicBezTo>
                      <a:pt x="32" y="28"/>
                      <a:pt x="2" y="8"/>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Rectangle 1680"/>
              <p:cNvSpPr>
                <a:spLocks noChangeArrowheads="1"/>
              </p:cNvSpPr>
              <p:nvPr/>
            </p:nvSpPr>
            <p:spPr bwMode="auto">
              <a:xfrm>
                <a:off x="3724" y="1747"/>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4" name="Freeform 1681"/>
              <p:cNvSpPr>
                <a:spLocks/>
              </p:cNvSpPr>
              <p:nvPr/>
            </p:nvSpPr>
            <p:spPr bwMode="auto">
              <a:xfrm>
                <a:off x="3727" y="1748"/>
                <a:ext cx="2" cy="1"/>
              </a:xfrm>
              <a:custGeom>
                <a:avLst/>
                <a:gdLst>
                  <a:gd name="T0" fmla="*/ 8 w 8"/>
                  <a:gd name="T1" fmla="*/ 2 h 3"/>
                  <a:gd name="T2" fmla="*/ 0 w 8"/>
                  <a:gd name="T3" fmla="*/ 1 h 3"/>
                  <a:gd name="T4" fmla="*/ 0 w 8"/>
                  <a:gd name="T5" fmla="*/ 2 h 3"/>
                  <a:gd name="T6" fmla="*/ 8 w 8"/>
                  <a:gd name="T7" fmla="*/ 3 h 3"/>
                  <a:gd name="T8" fmla="*/ 8 w 8"/>
                  <a:gd name="T9" fmla="*/ 2 h 3"/>
                  <a:gd name="T10" fmla="*/ 8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8" y="2"/>
                    </a:moveTo>
                    <a:cubicBezTo>
                      <a:pt x="6" y="0"/>
                      <a:pt x="4" y="0"/>
                      <a:pt x="0" y="1"/>
                    </a:cubicBezTo>
                    <a:lnTo>
                      <a:pt x="0" y="2"/>
                    </a:lnTo>
                    <a:cubicBezTo>
                      <a:pt x="4" y="1"/>
                      <a:pt x="6" y="1"/>
                      <a:pt x="8" y="3"/>
                    </a:cubicBezTo>
                    <a:lnTo>
                      <a:pt x="8" y="2"/>
                    </a:ln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5" name="Freeform 1682"/>
              <p:cNvSpPr>
                <a:spLocks/>
              </p:cNvSpPr>
              <p:nvPr/>
            </p:nvSpPr>
            <p:spPr bwMode="auto">
              <a:xfrm>
                <a:off x="3747" y="1740"/>
                <a:ext cx="7" cy="19"/>
              </a:xfrm>
              <a:custGeom>
                <a:avLst/>
                <a:gdLst>
                  <a:gd name="T0" fmla="*/ 31 w 32"/>
                  <a:gd name="T1" fmla="*/ 0 h 84"/>
                  <a:gd name="T2" fmla="*/ 6 w 32"/>
                  <a:gd name="T3" fmla="*/ 0 h 84"/>
                  <a:gd name="T4" fmla="*/ 6 w 32"/>
                  <a:gd name="T5" fmla="*/ 11 h 84"/>
                  <a:gd name="T6" fmla="*/ 0 w 32"/>
                  <a:gd name="T7" fmla="*/ 17 h 84"/>
                  <a:gd name="T8" fmla="*/ 0 w 32"/>
                  <a:gd name="T9" fmla="*/ 84 h 84"/>
                  <a:gd name="T10" fmla="*/ 32 w 32"/>
                  <a:gd name="T11" fmla="*/ 84 h 84"/>
                  <a:gd name="T12" fmla="*/ 32 w 32"/>
                  <a:gd name="T13" fmla="*/ 1 h 84"/>
                  <a:gd name="T14" fmla="*/ 32 w 32"/>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4">
                    <a:moveTo>
                      <a:pt x="31" y="0"/>
                    </a:moveTo>
                    <a:lnTo>
                      <a:pt x="6" y="0"/>
                    </a:lnTo>
                    <a:lnTo>
                      <a:pt x="6" y="11"/>
                    </a:lnTo>
                    <a:cubicBezTo>
                      <a:pt x="6" y="14"/>
                      <a:pt x="3" y="16"/>
                      <a:pt x="0" y="17"/>
                    </a:cubicBezTo>
                    <a:lnTo>
                      <a:pt x="0" y="84"/>
                    </a:lnTo>
                    <a:lnTo>
                      <a:pt x="32" y="84"/>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6" name="Freeform 1683"/>
              <p:cNvSpPr>
                <a:spLocks/>
              </p:cNvSpPr>
              <p:nvPr/>
            </p:nvSpPr>
            <p:spPr bwMode="auto">
              <a:xfrm>
                <a:off x="3700" y="1740"/>
                <a:ext cx="8" cy="19"/>
              </a:xfrm>
              <a:custGeom>
                <a:avLst/>
                <a:gdLst>
                  <a:gd name="T0" fmla="*/ 0 w 35"/>
                  <a:gd name="T1" fmla="*/ 0 h 84"/>
                  <a:gd name="T2" fmla="*/ 0 w 35"/>
                  <a:gd name="T3" fmla="*/ 1 h 84"/>
                  <a:gd name="T4" fmla="*/ 0 w 35"/>
                  <a:gd name="T5" fmla="*/ 84 h 84"/>
                  <a:gd name="T6" fmla="*/ 35 w 35"/>
                  <a:gd name="T7" fmla="*/ 84 h 84"/>
                  <a:gd name="T8" fmla="*/ 35 w 35"/>
                  <a:gd name="T9" fmla="*/ 8 h 84"/>
                  <a:gd name="T10" fmla="*/ 29 w 35"/>
                  <a:gd name="T11" fmla="*/ 2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0"/>
                    </a:moveTo>
                    <a:lnTo>
                      <a:pt x="0" y="1"/>
                    </a:lnTo>
                    <a:lnTo>
                      <a:pt x="0" y="84"/>
                    </a:lnTo>
                    <a:lnTo>
                      <a:pt x="35" y="84"/>
                    </a:lnTo>
                    <a:lnTo>
                      <a:pt x="35" y="8"/>
                    </a:lnTo>
                    <a:cubicBezTo>
                      <a:pt x="31" y="7"/>
                      <a:pt x="29" y="5"/>
                      <a:pt x="29" y="2"/>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Freeform 1684"/>
              <p:cNvSpPr>
                <a:spLocks/>
              </p:cNvSpPr>
              <p:nvPr/>
            </p:nvSpPr>
            <p:spPr bwMode="auto">
              <a:xfrm>
                <a:off x="3532" y="2272"/>
                <a:ext cx="145" cy="146"/>
              </a:xfrm>
              <a:custGeom>
                <a:avLst/>
                <a:gdLst>
                  <a:gd name="T0" fmla="*/ 0 w 640"/>
                  <a:gd name="T1" fmla="*/ 50 h 640"/>
                  <a:gd name="T2" fmla="*/ 50 w 640"/>
                  <a:gd name="T3" fmla="*/ 0 h 640"/>
                  <a:gd name="T4" fmla="*/ 590 w 640"/>
                  <a:gd name="T5" fmla="*/ 0 h 640"/>
                  <a:gd name="T6" fmla="*/ 640 w 640"/>
                  <a:gd name="T7" fmla="*/ 50 h 640"/>
                  <a:gd name="T8" fmla="*/ 640 w 640"/>
                  <a:gd name="T9" fmla="*/ 590 h 640"/>
                  <a:gd name="T10" fmla="*/ 590 w 640"/>
                  <a:gd name="T11" fmla="*/ 640 h 640"/>
                  <a:gd name="T12" fmla="*/ 50 w 640"/>
                  <a:gd name="T13" fmla="*/ 640 h 640"/>
                  <a:gd name="T14" fmla="*/ 0 w 640"/>
                  <a:gd name="T15" fmla="*/ 590 h 640"/>
                  <a:gd name="T16" fmla="*/ 0 w 640"/>
                  <a:gd name="T17" fmla="*/ 5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640">
                    <a:moveTo>
                      <a:pt x="0" y="50"/>
                    </a:moveTo>
                    <a:cubicBezTo>
                      <a:pt x="0" y="23"/>
                      <a:pt x="23" y="0"/>
                      <a:pt x="50" y="0"/>
                    </a:cubicBezTo>
                    <a:lnTo>
                      <a:pt x="590" y="0"/>
                    </a:lnTo>
                    <a:cubicBezTo>
                      <a:pt x="617" y="0"/>
                      <a:pt x="640" y="23"/>
                      <a:pt x="640" y="50"/>
                    </a:cubicBezTo>
                    <a:lnTo>
                      <a:pt x="640" y="590"/>
                    </a:lnTo>
                    <a:cubicBezTo>
                      <a:pt x="640" y="617"/>
                      <a:pt x="617" y="640"/>
                      <a:pt x="590" y="640"/>
                    </a:cubicBezTo>
                    <a:lnTo>
                      <a:pt x="50" y="640"/>
                    </a:lnTo>
                    <a:cubicBezTo>
                      <a:pt x="23" y="640"/>
                      <a:pt x="0" y="617"/>
                      <a:pt x="0" y="590"/>
                    </a:cubicBezTo>
                    <a:lnTo>
                      <a:pt x="0" y="5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8" name="Rectangle 1685"/>
              <p:cNvSpPr>
                <a:spLocks noChangeArrowheads="1"/>
              </p:cNvSpPr>
              <p:nvPr/>
            </p:nvSpPr>
            <p:spPr bwMode="auto">
              <a:xfrm>
                <a:off x="3505" y="2313"/>
                <a:ext cx="27"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9" name="Rectangle 1686"/>
              <p:cNvSpPr>
                <a:spLocks noChangeArrowheads="1"/>
              </p:cNvSpPr>
              <p:nvPr/>
            </p:nvSpPr>
            <p:spPr bwMode="auto">
              <a:xfrm>
                <a:off x="3677" y="2313"/>
                <a:ext cx="28"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1687"/>
              <p:cNvSpPr>
                <a:spLocks/>
              </p:cNvSpPr>
              <p:nvPr/>
            </p:nvSpPr>
            <p:spPr bwMode="auto">
              <a:xfrm>
                <a:off x="3094" y="2013"/>
                <a:ext cx="145" cy="145"/>
              </a:xfrm>
              <a:custGeom>
                <a:avLst/>
                <a:gdLst>
                  <a:gd name="T0" fmla="*/ 589 w 639"/>
                  <a:gd name="T1" fmla="*/ 0 h 640"/>
                  <a:gd name="T2" fmla="*/ 639 w 639"/>
                  <a:gd name="T3" fmla="*/ 50 h 640"/>
                  <a:gd name="T4" fmla="*/ 639 w 639"/>
                  <a:gd name="T5" fmla="*/ 590 h 640"/>
                  <a:gd name="T6" fmla="*/ 589 w 639"/>
                  <a:gd name="T7" fmla="*/ 640 h 640"/>
                  <a:gd name="T8" fmla="*/ 50 w 639"/>
                  <a:gd name="T9" fmla="*/ 640 h 640"/>
                  <a:gd name="T10" fmla="*/ 0 w 639"/>
                  <a:gd name="T11" fmla="*/ 590 h 640"/>
                  <a:gd name="T12" fmla="*/ 0 w 639"/>
                  <a:gd name="T13" fmla="*/ 50 h 640"/>
                  <a:gd name="T14" fmla="*/ 50 w 639"/>
                  <a:gd name="T15" fmla="*/ 0 h 640"/>
                  <a:gd name="T16" fmla="*/ 589 w 639"/>
                  <a:gd name="T17"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40">
                    <a:moveTo>
                      <a:pt x="589" y="0"/>
                    </a:moveTo>
                    <a:cubicBezTo>
                      <a:pt x="617" y="0"/>
                      <a:pt x="639" y="23"/>
                      <a:pt x="639" y="50"/>
                    </a:cubicBezTo>
                    <a:lnTo>
                      <a:pt x="639" y="590"/>
                    </a:lnTo>
                    <a:cubicBezTo>
                      <a:pt x="639" y="617"/>
                      <a:pt x="617" y="640"/>
                      <a:pt x="589" y="640"/>
                    </a:cubicBezTo>
                    <a:lnTo>
                      <a:pt x="50" y="640"/>
                    </a:lnTo>
                    <a:cubicBezTo>
                      <a:pt x="22" y="640"/>
                      <a:pt x="0" y="617"/>
                      <a:pt x="0" y="590"/>
                    </a:cubicBezTo>
                    <a:lnTo>
                      <a:pt x="0" y="50"/>
                    </a:lnTo>
                    <a:cubicBezTo>
                      <a:pt x="0" y="23"/>
                      <a:pt x="23" y="0"/>
                      <a:pt x="50" y="0"/>
                    </a:cubicBezTo>
                    <a:lnTo>
                      <a:pt x="589"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Rectangle 1688"/>
              <p:cNvSpPr>
                <a:spLocks noChangeArrowheads="1"/>
              </p:cNvSpPr>
              <p:nvPr/>
            </p:nvSpPr>
            <p:spPr bwMode="auto">
              <a:xfrm>
                <a:off x="3135" y="1986"/>
                <a:ext cx="64" cy="27"/>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2" name="Rectangle 1689"/>
              <p:cNvSpPr>
                <a:spLocks noChangeArrowheads="1"/>
              </p:cNvSpPr>
              <p:nvPr/>
            </p:nvSpPr>
            <p:spPr bwMode="auto">
              <a:xfrm>
                <a:off x="3135" y="2158"/>
                <a:ext cx="64" cy="2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3" name="Rectangle 1690"/>
              <p:cNvSpPr>
                <a:spLocks noChangeArrowheads="1"/>
              </p:cNvSpPr>
              <p:nvPr/>
            </p:nvSpPr>
            <p:spPr bwMode="auto">
              <a:xfrm>
                <a:off x="2913"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4" name="Rectangle 1691"/>
              <p:cNvSpPr>
                <a:spLocks noChangeArrowheads="1"/>
              </p:cNvSpPr>
              <p:nvPr/>
            </p:nvSpPr>
            <p:spPr bwMode="auto">
              <a:xfrm>
                <a:off x="2895"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5" name="Rectangle 1692"/>
              <p:cNvSpPr>
                <a:spLocks noChangeArrowheads="1"/>
              </p:cNvSpPr>
              <p:nvPr/>
            </p:nvSpPr>
            <p:spPr bwMode="auto">
              <a:xfrm>
                <a:off x="3000"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6" name="Rectangle 1693"/>
              <p:cNvSpPr>
                <a:spLocks noChangeArrowheads="1"/>
              </p:cNvSpPr>
              <p:nvPr/>
            </p:nvSpPr>
            <p:spPr bwMode="auto">
              <a:xfrm>
                <a:off x="2913"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7" name="Rectangle 1694"/>
              <p:cNvSpPr>
                <a:spLocks noChangeArrowheads="1"/>
              </p:cNvSpPr>
              <p:nvPr/>
            </p:nvSpPr>
            <p:spPr bwMode="auto">
              <a:xfrm>
                <a:off x="2895"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8" name="Rectangle 1695"/>
              <p:cNvSpPr>
                <a:spLocks noChangeArrowheads="1"/>
              </p:cNvSpPr>
              <p:nvPr/>
            </p:nvSpPr>
            <p:spPr bwMode="auto">
              <a:xfrm>
                <a:off x="3000"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9" name="Oval 1696"/>
              <p:cNvSpPr>
                <a:spLocks noChangeArrowheads="1"/>
              </p:cNvSpPr>
              <p:nvPr/>
            </p:nvSpPr>
            <p:spPr bwMode="auto">
              <a:xfrm>
                <a:off x="2937" y="2942"/>
                <a:ext cx="39"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Rectangle 1697"/>
              <p:cNvSpPr>
                <a:spLocks noChangeArrowheads="1"/>
              </p:cNvSpPr>
              <p:nvPr/>
            </p:nvSpPr>
            <p:spPr bwMode="auto">
              <a:xfrm>
                <a:off x="2913"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1" name="Rectangle 1698"/>
              <p:cNvSpPr>
                <a:spLocks noChangeArrowheads="1"/>
              </p:cNvSpPr>
              <p:nvPr/>
            </p:nvSpPr>
            <p:spPr bwMode="auto">
              <a:xfrm>
                <a:off x="2895"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2" name="Rectangle 1699"/>
              <p:cNvSpPr>
                <a:spLocks noChangeArrowheads="1"/>
              </p:cNvSpPr>
              <p:nvPr/>
            </p:nvSpPr>
            <p:spPr bwMode="auto">
              <a:xfrm>
                <a:off x="3000"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1700"/>
              <p:cNvSpPr>
                <a:spLocks/>
              </p:cNvSpPr>
              <p:nvPr/>
            </p:nvSpPr>
            <p:spPr bwMode="auto">
              <a:xfrm>
                <a:off x="2937" y="2961"/>
                <a:ext cx="39"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1701"/>
              <p:cNvSpPr>
                <a:spLocks/>
              </p:cNvSpPr>
              <p:nvPr/>
            </p:nvSpPr>
            <p:spPr bwMode="auto">
              <a:xfrm>
                <a:off x="2937" y="2942"/>
                <a:ext cx="39"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0"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Rectangle 1702"/>
              <p:cNvSpPr>
                <a:spLocks noChangeArrowheads="1"/>
              </p:cNvSpPr>
              <p:nvPr/>
            </p:nvSpPr>
            <p:spPr bwMode="auto">
              <a:xfrm>
                <a:off x="4174"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6" name="Rectangle 1703"/>
              <p:cNvSpPr>
                <a:spLocks noChangeArrowheads="1"/>
              </p:cNvSpPr>
              <p:nvPr/>
            </p:nvSpPr>
            <p:spPr bwMode="auto">
              <a:xfrm>
                <a:off x="4156"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7" name="Rectangle 1704"/>
              <p:cNvSpPr>
                <a:spLocks noChangeArrowheads="1"/>
              </p:cNvSpPr>
              <p:nvPr/>
            </p:nvSpPr>
            <p:spPr bwMode="auto">
              <a:xfrm>
                <a:off x="4261" y="2949"/>
                <a:ext cx="17"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8" name="Rectangle 1705"/>
              <p:cNvSpPr>
                <a:spLocks noChangeArrowheads="1"/>
              </p:cNvSpPr>
              <p:nvPr/>
            </p:nvSpPr>
            <p:spPr bwMode="auto">
              <a:xfrm>
                <a:off x="4174"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9" name="Rectangle 1706"/>
              <p:cNvSpPr>
                <a:spLocks noChangeArrowheads="1"/>
              </p:cNvSpPr>
              <p:nvPr/>
            </p:nvSpPr>
            <p:spPr bwMode="auto">
              <a:xfrm>
                <a:off x="4156"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0" name="Rectangle 1707"/>
              <p:cNvSpPr>
                <a:spLocks noChangeArrowheads="1"/>
              </p:cNvSpPr>
              <p:nvPr/>
            </p:nvSpPr>
            <p:spPr bwMode="auto">
              <a:xfrm>
                <a:off x="4261" y="2949"/>
                <a:ext cx="17"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1" name="Oval 1708"/>
              <p:cNvSpPr>
                <a:spLocks noChangeArrowheads="1"/>
              </p:cNvSpPr>
              <p:nvPr/>
            </p:nvSpPr>
            <p:spPr bwMode="auto">
              <a:xfrm>
                <a:off x="4198" y="2942"/>
                <a:ext cx="38"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Rectangle 1709"/>
              <p:cNvSpPr>
                <a:spLocks noChangeArrowheads="1"/>
              </p:cNvSpPr>
              <p:nvPr/>
            </p:nvSpPr>
            <p:spPr bwMode="auto">
              <a:xfrm>
                <a:off x="4174"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3" name="Rectangle 1710"/>
              <p:cNvSpPr>
                <a:spLocks noChangeArrowheads="1"/>
              </p:cNvSpPr>
              <p:nvPr/>
            </p:nvSpPr>
            <p:spPr bwMode="auto">
              <a:xfrm>
                <a:off x="4156"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4" name="Rectangle 1711"/>
              <p:cNvSpPr>
                <a:spLocks noChangeArrowheads="1"/>
              </p:cNvSpPr>
              <p:nvPr/>
            </p:nvSpPr>
            <p:spPr bwMode="auto">
              <a:xfrm>
                <a:off x="4261" y="2973"/>
                <a:ext cx="17"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5" name="Freeform 1712"/>
              <p:cNvSpPr>
                <a:spLocks/>
              </p:cNvSpPr>
              <p:nvPr/>
            </p:nvSpPr>
            <p:spPr bwMode="auto">
              <a:xfrm>
                <a:off x="4198" y="2961"/>
                <a:ext cx="38"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1713"/>
              <p:cNvSpPr>
                <a:spLocks/>
              </p:cNvSpPr>
              <p:nvPr/>
            </p:nvSpPr>
            <p:spPr bwMode="auto">
              <a:xfrm>
                <a:off x="4198" y="2942"/>
                <a:ext cx="38"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1"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1714"/>
              <p:cNvSpPr>
                <a:spLocks/>
              </p:cNvSpPr>
              <p:nvPr/>
            </p:nvSpPr>
            <p:spPr bwMode="auto">
              <a:xfrm>
                <a:off x="4174"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1715"/>
              <p:cNvSpPr>
                <a:spLocks/>
              </p:cNvSpPr>
              <p:nvPr/>
            </p:nvSpPr>
            <p:spPr bwMode="auto">
              <a:xfrm>
                <a:off x="4174" y="1704"/>
                <a:ext cx="22" cy="15"/>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1 w 97"/>
                  <a:gd name="T17" fmla="*/ 40 h 62"/>
                  <a:gd name="T18" fmla="*/ 40 w 97"/>
                  <a:gd name="T19" fmla="*/ 38 h 62"/>
                  <a:gd name="T20" fmla="*/ 40 w 97"/>
                  <a:gd name="T21" fmla="*/ 36 h 62"/>
                  <a:gd name="T22" fmla="*/ 37 w 97"/>
                  <a:gd name="T23" fmla="*/ 23 h 62"/>
                  <a:gd name="T24" fmla="*/ 25 w 97"/>
                  <a:gd name="T25" fmla="*/ 17 h 62"/>
                  <a:gd name="T26" fmla="*/ 14 w 97"/>
                  <a:gd name="T27" fmla="*/ 21 h 62"/>
                  <a:gd name="T28" fmla="*/ 10 w 97"/>
                  <a:gd name="T29" fmla="*/ 33 h 62"/>
                  <a:gd name="T30" fmla="*/ 14 w 97"/>
                  <a:gd name="T31" fmla="*/ 44 h 62"/>
                  <a:gd name="T32" fmla="*/ 27 w 97"/>
                  <a:gd name="T33" fmla="*/ 50 h 62"/>
                  <a:gd name="T34" fmla="*/ 25 w 97"/>
                  <a:gd name="T35" fmla="*/ 61 h 62"/>
                  <a:gd name="T36" fmla="*/ 7 w 97"/>
                  <a:gd name="T37" fmla="*/ 52 h 62"/>
                  <a:gd name="T38" fmla="*/ 0 w 97"/>
                  <a:gd name="T39" fmla="*/ 33 h 62"/>
                  <a:gd name="T40" fmla="*/ 4 w 97"/>
                  <a:gd name="T41" fmla="*/ 19 h 62"/>
                  <a:gd name="T42" fmla="*/ 13 w 97"/>
                  <a:gd name="T43" fmla="*/ 9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10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50"/>
                      <a:pt x="80" y="47"/>
                      <a:pt x="83" y="44"/>
                    </a:cubicBezTo>
                    <a:cubicBezTo>
                      <a:pt x="86" y="41"/>
                      <a:pt x="87" y="37"/>
                      <a:pt x="87" y="32"/>
                    </a:cubicBezTo>
                    <a:cubicBezTo>
                      <a:pt x="87" y="27"/>
                      <a:pt x="85" y="22"/>
                      <a:pt x="82" y="18"/>
                    </a:cubicBezTo>
                    <a:cubicBezTo>
                      <a:pt x="78" y="15"/>
                      <a:pt x="73" y="13"/>
                      <a:pt x="68" y="13"/>
                    </a:cubicBezTo>
                    <a:cubicBezTo>
                      <a:pt x="62" y="13"/>
                      <a:pt x="58" y="15"/>
                      <a:pt x="54" y="18"/>
                    </a:cubicBezTo>
                    <a:cubicBezTo>
                      <a:pt x="51" y="22"/>
                      <a:pt x="49" y="26"/>
                      <a:pt x="49" y="31"/>
                    </a:cubicBezTo>
                    <a:cubicBezTo>
                      <a:pt x="49" y="34"/>
                      <a:pt x="50" y="36"/>
                      <a:pt x="51" y="40"/>
                    </a:cubicBezTo>
                    <a:lnTo>
                      <a:pt x="40" y="38"/>
                    </a:lnTo>
                    <a:cubicBezTo>
                      <a:pt x="40" y="37"/>
                      <a:pt x="40" y="37"/>
                      <a:pt x="40" y="36"/>
                    </a:cubicBezTo>
                    <a:cubicBezTo>
                      <a:pt x="40" y="31"/>
                      <a:pt x="39" y="27"/>
                      <a:pt x="37" y="23"/>
                    </a:cubicBezTo>
                    <a:cubicBezTo>
                      <a:pt x="34" y="19"/>
                      <a:pt x="30" y="17"/>
                      <a:pt x="25" y="17"/>
                    </a:cubicBezTo>
                    <a:cubicBezTo>
                      <a:pt x="20" y="17"/>
                      <a:pt x="17" y="19"/>
                      <a:pt x="14" y="21"/>
                    </a:cubicBezTo>
                    <a:cubicBezTo>
                      <a:pt x="11" y="24"/>
                      <a:pt x="10" y="28"/>
                      <a:pt x="10" y="33"/>
                    </a:cubicBezTo>
                    <a:cubicBezTo>
                      <a:pt x="10" y="37"/>
                      <a:pt x="11" y="41"/>
                      <a:pt x="14" y="44"/>
                    </a:cubicBezTo>
                    <a:cubicBezTo>
                      <a:pt x="17" y="47"/>
                      <a:pt x="21" y="49"/>
                      <a:pt x="27" y="50"/>
                    </a:cubicBezTo>
                    <a:lnTo>
                      <a:pt x="25" y="61"/>
                    </a:lnTo>
                    <a:cubicBezTo>
                      <a:pt x="17" y="60"/>
                      <a:pt x="11" y="57"/>
                      <a:pt x="7" y="52"/>
                    </a:cubicBezTo>
                    <a:cubicBezTo>
                      <a:pt x="2" y="47"/>
                      <a:pt x="0" y="40"/>
                      <a:pt x="0" y="33"/>
                    </a:cubicBezTo>
                    <a:cubicBezTo>
                      <a:pt x="0" y="28"/>
                      <a:pt x="1" y="23"/>
                      <a:pt x="4" y="19"/>
                    </a:cubicBezTo>
                    <a:cubicBezTo>
                      <a:pt x="6" y="14"/>
                      <a:pt x="9" y="11"/>
                      <a:pt x="13" y="9"/>
                    </a:cubicBezTo>
                    <a:cubicBezTo>
                      <a:pt x="16" y="6"/>
                      <a:pt x="21" y="5"/>
                      <a:pt x="25" y="5"/>
                    </a:cubicBezTo>
                    <a:cubicBezTo>
                      <a:pt x="29" y="5"/>
                      <a:pt x="33" y="6"/>
                      <a:pt x="36" y="8"/>
                    </a:cubicBezTo>
                    <a:cubicBezTo>
                      <a:pt x="39" y="11"/>
                      <a:pt x="42" y="14"/>
                      <a:pt x="44" y="18"/>
                    </a:cubicBezTo>
                    <a:cubicBezTo>
                      <a:pt x="45" y="13"/>
                      <a:pt x="48" y="8"/>
                      <a:pt x="52" y="5"/>
                    </a:cubicBezTo>
                    <a:cubicBezTo>
                      <a:pt x="56" y="2"/>
                      <a:pt x="61" y="0"/>
                      <a:pt x="67" y="0"/>
                    </a:cubicBezTo>
                    <a:cubicBezTo>
                      <a:pt x="76" y="0"/>
                      <a:pt x="83" y="3"/>
                      <a:pt x="88" y="10"/>
                    </a:cubicBezTo>
                    <a:cubicBezTo>
                      <a:pt x="94" y="16"/>
                      <a:pt x="97" y="23"/>
                      <a:pt x="97" y="32"/>
                    </a:cubicBezTo>
                    <a:cubicBezTo>
                      <a:pt x="97" y="41"/>
                      <a:pt x="95" y="48"/>
                      <a:pt x="90" y="53"/>
                    </a:cubicBezTo>
                    <a:cubicBezTo>
                      <a:pt x="85" y="59"/>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1716"/>
              <p:cNvSpPr>
                <a:spLocks/>
              </p:cNvSpPr>
              <p:nvPr/>
            </p:nvSpPr>
            <p:spPr bwMode="auto">
              <a:xfrm>
                <a:off x="4231"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1717"/>
              <p:cNvSpPr>
                <a:spLocks/>
              </p:cNvSpPr>
              <p:nvPr/>
            </p:nvSpPr>
            <p:spPr bwMode="auto">
              <a:xfrm>
                <a:off x="4231" y="1705"/>
                <a:ext cx="22" cy="14"/>
              </a:xfrm>
              <a:custGeom>
                <a:avLst/>
                <a:gdLst>
                  <a:gd name="T0" fmla="*/ 84 w 95"/>
                  <a:gd name="T1" fmla="*/ 0 h 63"/>
                  <a:gd name="T2" fmla="*/ 95 w 95"/>
                  <a:gd name="T3" fmla="*/ 0 h 63"/>
                  <a:gd name="T4" fmla="*/ 95 w 95"/>
                  <a:gd name="T5" fmla="*/ 63 h 63"/>
                  <a:gd name="T6" fmla="*/ 87 w 95"/>
                  <a:gd name="T7" fmla="*/ 62 h 63"/>
                  <a:gd name="T8" fmla="*/ 75 w 95"/>
                  <a:gd name="T9" fmla="*/ 54 h 63"/>
                  <a:gd name="T10" fmla="*/ 60 w 95"/>
                  <a:gd name="T11" fmla="*/ 39 h 63"/>
                  <a:gd name="T12" fmla="*/ 40 w 95"/>
                  <a:gd name="T13" fmla="*/ 18 h 63"/>
                  <a:gd name="T14" fmla="*/ 26 w 95"/>
                  <a:gd name="T15" fmla="*/ 13 h 63"/>
                  <a:gd name="T16" fmla="*/ 15 w 95"/>
                  <a:gd name="T17" fmla="*/ 17 h 63"/>
                  <a:gd name="T18" fmla="*/ 10 w 95"/>
                  <a:gd name="T19" fmla="*/ 30 h 63"/>
                  <a:gd name="T20" fmla="*/ 15 w 95"/>
                  <a:gd name="T21" fmla="*/ 44 h 63"/>
                  <a:gd name="T22" fmla="*/ 29 w 95"/>
                  <a:gd name="T23" fmla="*/ 49 h 63"/>
                  <a:gd name="T24" fmla="*/ 28 w 95"/>
                  <a:gd name="T25" fmla="*/ 61 h 63"/>
                  <a:gd name="T26" fmla="*/ 7 w 95"/>
                  <a:gd name="T27" fmla="*/ 52 h 63"/>
                  <a:gd name="T28" fmla="*/ 0 w 95"/>
                  <a:gd name="T29" fmla="*/ 30 h 63"/>
                  <a:gd name="T30" fmla="*/ 8 w 95"/>
                  <a:gd name="T31" fmla="*/ 9 h 63"/>
                  <a:gd name="T32" fmla="*/ 27 w 95"/>
                  <a:gd name="T33" fmla="*/ 1 h 63"/>
                  <a:gd name="T34" fmla="*/ 38 w 95"/>
                  <a:gd name="T35" fmla="*/ 3 h 63"/>
                  <a:gd name="T36" fmla="*/ 49 w 95"/>
                  <a:gd name="T37" fmla="*/ 11 h 63"/>
                  <a:gd name="T38" fmla="*/ 66 w 95"/>
                  <a:gd name="T39" fmla="*/ 29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3"/>
                      <a:pt x="87" y="62"/>
                    </a:cubicBezTo>
                    <a:cubicBezTo>
                      <a:pt x="83" y="60"/>
                      <a:pt x="79" y="58"/>
                      <a:pt x="75" y="54"/>
                    </a:cubicBezTo>
                    <a:cubicBezTo>
                      <a:pt x="71" y="51"/>
                      <a:pt x="66" y="45"/>
                      <a:pt x="60" y="39"/>
                    </a:cubicBezTo>
                    <a:cubicBezTo>
                      <a:pt x="52" y="29"/>
                      <a:pt x="45" y="22"/>
                      <a:pt x="40" y="18"/>
                    </a:cubicBezTo>
                    <a:cubicBezTo>
                      <a:pt x="35" y="14"/>
                      <a:pt x="31" y="13"/>
                      <a:pt x="26" y="13"/>
                    </a:cubicBezTo>
                    <a:cubicBezTo>
                      <a:pt x="22" y="13"/>
                      <a:pt x="18" y="14"/>
                      <a:pt x="15" y="17"/>
                    </a:cubicBezTo>
                    <a:cubicBezTo>
                      <a:pt x="11" y="21"/>
                      <a:pt x="10" y="25"/>
                      <a:pt x="10" y="30"/>
                    </a:cubicBezTo>
                    <a:cubicBezTo>
                      <a:pt x="10" y="36"/>
                      <a:pt x="12" y="40"/>
                      <a:pt x="15" y="44"/>
                    </a:cubicBezTo>
                    <a:cubicBezTo>
                      <a:pt x="18" y="47"/>
                      <a:pt x="23" y="49"/>
                      <a:pt x="29" y="49"/>
                    </a:cubicBezTo>
                    <a:lnTo>
                      <a:pt x="28" y="61"/>
                    </a:lnTo>
                    <a:cubicBezTo>
                      <a:pt x="19" y="60"/>
                      <a:pt x="12" y="57"/>
                      <a:pt x="7" y="52"/>
                    </a:cubicBezTo>
                    <a:cubicBezTo>
                      <a:pt x="3" y="46"/>
                      <a:pt x="0" y="39"/>
                      <a:pt x="0" y="30"/>
                    </a:cubicBezTo>
                    <a:cubicBezTo>
                      <a:pt x="0" y="21"/>
                      <a:pt x="3" y="14"/>
                      <a:pt x="8" y="9"/>
                    </a:cubicBezTo>
                    <a:cubicBezTo>
                      <a:pt x="13" y="3"/>
                      <a:pt x="19" y="1"/>
                      <a:pt x="27" y="1"/>
                    </a:cubicBezTo>
                    <a:cubicBezTo>
                      <a:pt x="30" y="1"/>
                      <a:pt x="34" y="1"/>
                      <a:pt x="38" y="3"/>
                    </a:cubicBezTo>
                    <a:cubicBezTo>
                      <a:pt x="41" y="4"/>
                      <a:pt x="45" y="7"/>
                      <a:pt x="49" y="11"/>
                    </a:cubicBezTo>
                    <a:cubicBezTo>
                      <a:pt x="53" y="14"/>
                      <a:pt x="59" y="20"/>
                      <a:pt x="66" y="29"/>
                    </a:cubicBezTo>
                    <a:cubicBezTo>
                      <a:pt x="72" y="36"/>
                      <a:pt x="76" y="40"/>
                      <a:pt x="78" y="42"/>
                    </a:cubicBezTo>
                    <a:cubicBezTo>
                      <a:pt x="80" y="44"/>
                      <a:pt x="82" y="46"/>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1718"/>
              <p:cNvSpPr>
                <a:spLocks/>
              </p:cNvSpPr>
              <p:nvPr/>
            </p:nvSpPr>
            <p:spPr bwMode="auto">
              <a:xfrm>
                <a:off x="4289"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1719"/>
              <p:cNvSpPr>
                <a:spLocks/>
              </p:cNvSpPr>
              <p:nvPr/>
            </p:nvSpPr>
            <p:spPr bwMode="auto">
              <a:xfrm>
                <a:off x="4289" y="1709"/>
                <a:ext cx="22" cy="8"/>
              </a:xfrm>
              <a:custGeom>
                <a:avLst/>
                <a:gdLst>
                  <a:gd name="T0" fmla="*/ 95 w 95"/>
                  <a:gd name="T1" fmla="*/ 0 h 35"/>
                  <a:gd name="T2" fmla="*/ 95 w 95"/>
                  <a:gd name="T3" fmla="*/ 11 h 35"/>
                  <a:gd name="T4" fmla="*/ 21 w 95"/>
                  <a:gd name="T5" fmla="*/ 11 h 35"/>
                  <a:gd name="T6" fmla="*/ 29 w 95"/>
                  <a:gd name="T7" fmla="*/ 22 h 35"/>
                  <a:gd name="T8" fmla="*/ 35 w 95"/>
                  <a:gd name="T9" fmla="*/ 35 h 35"/>
                  <a:gd name="T10" fmla="*/ 24 w 95"/>
                  <a:gd name="T11" fmla="*/ 35 h 35"/>
                  <a:gd name="T12" fmla="*/ 13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1"/>
                    </a:lnTo>
                    <a:lnTo>
                      <a:pt x="21" y="11"/>
                    </a:lnTo>
                    <a:cubicBezTo>
                      <a:pt x="24" y="14"/>
                      <a:pt x="27" y="18"/>
                      <a:pt x="29" y="22"/>
                    </a:cubicBezTo>
                    <a:cubicBezTo>
                      <a:pt x="32" y="27"/>
                      <a:pt x="34" y="31"/>
                      <a:pt x="35" y="35"/>
                    </a:cubicBezTo>
                    <a:lnTo>
                      <a:pt x="24" y="35"/>
                    </a:lnTo>
                    <a:cubicBezTo>
                      <a:pt x="21" y="28"/>
                      <a:pt x="17" y="22"/>
                      <a:pt x="13" y="18"/>
                    </a:cubicBezTo>
                    <a:cubicBezTo>
                      <a:pt x="9"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1720"/>
              <p:cNvSpPr>
                <a:spLocks/>
              </p:cNvSpPr>
              <p:nvPr/>
            </p:nvSpPr>
            <p:spPr bwMode="auto">
              <a:xfrm>
                <a:off x="4347"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1721"/>
              <p:cNvSpPr>
                <a:spLocks noEditPoints="1"/>
              </p:cNvSpPr>
              <p:nvPr/>
            </p:nvSpPr>
            <p:spPr bwMode="auto">
              <a:xfrm>
                <a:off x="4347" y="1705"/>
                <a:ext cx="22" cy="14"/>
              </a:xfrm>
              <a:custGeom>
                <a:avLst/>
                <a:gdLst>
                  <a:gd name="T0" fmla="*/ 48 w 97"/>
                  <a:gd name="T1" fmla="*/ 62 h 62"/>
                  <a:gd name="T2" fmla="*/ 21 w 97"/>
                  <a:gd name="T3" fmla="*/ 58 h 62"/>
                  <a:gd name="T4" fmla="*/ 6 w 97"/>
                  <a:gd name="T5" fmla="*/ 48 h 62"/>
                  <a:gd name="T6" fmla="*/ 0 w 97"/>
                  <a:gd name="T7" fmla="*/ 31 h 62"/>
                  <a:gd name="T8" fmla="*/ 3 w 97"/>
                  <a:gd name="T9" fmla="*/ 17 h 62"/>
                  <a:gd name="T10" fmla="*/ 12 w 97"/>
                  <a:gd name="T11" fmla="*/ 8 h 62"/>
                  <a:gd name="T12" fmla="*/ 26 w 97"/>
                  <a:gd name="T13" fmla="*/ 2 h 62"/>
                  <a:gd name="T14" fmla="*/ 48 w 97"/>
                  <a:gd name="T15" fmla="*/ 0 h 62"/>
                  <a:gd name="T16" fmla="*/ 75 w 97"/>
                  <a:gd name="T17" fmla="*/ 3 h 62"/>
                  <a:gd name="T18" fmla="*/ 91 w 97"/>
                  <a:gd name="T19" fmla="*/ 13 h 62"/>
                  <a:gd name="T20" fmla="*/ 97 w 97"/>
                  <a:gd name="T21" fmla="*/ 31 h 62"/>
                  <a:gd name="T22" fmla="*/ 87 w 97"/>
                  <a:gd name="T23" fmla="*/ 52 h 62"/>
                  <a:gd name="T24" fmla="*/ 48 w 97"/>
                  <a:gd name="T25" fmla="*/ 62 h 62"/>
                  <a:gd name="T26" fmla="*/ 48 w 97"/>
                  <a:gd name="T27" fmla="*/ 50 h 62"/>
                  <a:gd name="T28" fmla="*/ 80 w 97"/>
                  <a:gd name="T29" fmla="*/ 44 h 62"/>
                  <a:gd name="T30" fmla="*/ 87 w 97"/>
                  <a:gd name="T31" fmla="*/ 31 h 62"/>
                  <a:gd name="T32" fmla="*/ 79 w 97"/>
                  <a:gd name="T33" fmla="*/ 17 h 62"/>
                  <a:gd name="T34" fmla="*/ 48 w 97"/>
                  <a:gd name="T35" fmla="*/ 12 h 62"/>
                  <a:gd name="T36" fmla="*/ 17 w 97"/>
                  <a:gd name="T37" fmla="*/ 17 h 62"/>
                  <a:gd name="T38" fmla="*/ 10 w 97"/>
                  <a:gd name="T39" fmla="*/ 31 h 62"/>
                  <a:gd name="T40" fmla="*/ 17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0"/>
                      <a:pt x="21" y="58"/>
                    </a:cubicBezTo>
                    <a:cubicBezTo>
                      <a:pt x="15" y="56"/>
                      <a:pt x="9" y="52"/>
                      <a:pt x="6" y="48"/>
                    </a:cubicBezTo>
                    <a:cubicBezTo>
                      <a:pt x="2" y="43"/>
                      <a:pt x="0" y="38"/>
                      <a:pt x="0" y="31"/>
                    </a:cubicBezTo>
                    <a:cubicBezTo>
                      <a:pt x="0" y="26"/>
                      <a:pt x="1" y="21"/>
                      <a:pt x="3" y="17"/>
                    </a:cubicBezTo>
                    <a:cubicBezTo>
                      <a:pt x="5" y="13"/>
                      <a:pt x="8" y="10"/>
                      <a:pt x="12" y="8"/>
                    </a:cubicBezTo>
                    <a:cubicBezTo>
                      <a:pt x="16" y="5"/>
                      <a:pt x="21" y="3"/>
                      <a:pt x="26" y="2"/>
                    </a:cubicBezTo>
                    <a:cubicBezTo>
                      <a:pt x="32" y="1"/>
                      <a:pt x="39" y="0"/>
                      <a:pt x="48" y="0"/>
                    </a:cubicBezTo>
                    <a:cubicBezTo>
                      <a:pt x="60" y="0"/>
                      <a:pt x="69" y="1"/>
                      <a:pt x="75" y="3"/>
                    </a:cubicBezTo>
                    <a:cubicBezTo>
                      <a:pt x="82" y="6"/>
                      <a:pt x="87" y="9"/>
                      <a:pt x="91" y="13"/>
                    </a:cubicBezTo>
                    <a:cubicBezTo>
                      <a:pt x="95" y="18"/>
                      <a:pt x="97" y="24"/>
                      <a:pt x="97" y="31"/>
                    </a:cubicBezTo>
                    <a:cubicBezTo>
                      <a:pt x="97" y="40"/>
                      <a:pt x="94" y="47"/>
                      <a:pt x="87" y="52"/>
                    </a:cubicBezTo>
                    <a:cubicBezTo>
                      <a:pt x="79" y="58"/>
                      <a:pt x="66" y="62"/>
                      <a:pt x="48" y="62"/>
                    </a:cubicBezTo>
                    <a:close/>
                    <a:moveTo>
                      <a:pt x="48" y="50"/>
                    </a:moveTo>
                    <a:cubicBezTo>
                      <a:pt x="64" y="50"/>
                      <a:pt x="74" y="48"/>
                      <a:pt x="80" y="44"/>
                    </a:cubicBezTo>
                    <a:cubicBezTo>
                      <a:pt x="85" y="41"/>
                      <a:pt x="87" y="36"/>
                      <a:pt x="87" y="31"/>
                    </a:cubicBezTo>
                    <a:cubicBezTo>
                      <a:pt x="87" y="25"/>
                      <a:pt x="85" y="21"/>
                      <a:pt x="79" y="17"/>
                    </a:cubicBezTo>
                    <a:cubicBezTo>
                      <a:pt x="74" y="14"/>
                      <a:pt x="64" y="12"/>
                      <a:pt x="48" y="12"/>
                    </a:cubicBezTo>
                    <a:cubicBezTo>
                      <a:pt x="33" y="12"/>
                      <a:pt x="23" y="14"/>
                      <a:pt x="17" y="17"/>
                    </a:cubicBezTo>
                    <a:cubicBezTo>
                      <a:pt x="12" y="21"/>
                      <a:pt x="10" y="25"/>
                      <a:pt x="10" y="31"/>
                    </a:cubicBezTo>
                    <a:cubicBezTo>
                      <a:pt x="10" y="36"/>
                      <a:pt x="12" y="40"/>
                      <a:pt x="17"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1722"/>
              <p:cNvSpPr>
                <a:spLocks noEditPoints="1"/>
              </p:cNvSpPr>
              <p:nvPr/>
            </p:nvSpPr>
            <p:spPr bwMode="auto">
              <a:xfrm>
                <a:off x="4404" y="1699"/>
                <a:ext cx="22" cy="15"/>
              </a:xfrm>
              <a:custGeom>
                <a:avLst/>
                <a:gdLst>
                  <a:gd name="T0" fmla="*/ 73 w 97"/>
                  <a:gd name="T1" fmla="*/ 61 h 63"/>
                  <a:gd name="T2" fmla="*/ 72 w 97"/>
                  <a:gd name="T3" fmla="*/ 50 h 63"/>
                  <a:gd name="T4" fmla="*/ 84 w 97"/>
                  <a:gd name="T5" fmla="*/ 44 h 63"/>
                  <a:gd name="T6" fmla="*/ 87 w 97"/>
                  <a:gd name="T7" fmla="*/ 34 h 63"/>
                  <a:gd name="T8" fmla="*/ 85 w 97"/>
                  <a:gd name="T9" fmla="*/ 25 h 63"/>
                  <a:gd name="T10" fmla="*/ 78 w 97"/>
                  <a:gd name="T11" fmla="*/ 18 h 63"/>
                  <a:gd name="T12" fmla="*/ 67 w 97"/>
                  <a:gd name="T13" fmla="*/ 14 h 63"/>
                  <a:gd name="T14" fmla="*/ 53 w 97"/>
                  <a:gd name="T15" fmla="*/ 12 h 63"/>
                  <a:gd name="T16" fmla="*/ 51 w 97"/>
                  <a:gd name="T17" fmla="*/ 12 h 63"/>
                  <a:gd name="T18" fmla="*/ 60 w 97"/>
                  <a:gd name="T19" fmla="*/ 22 h 63"/>
                  <a:gd name="T20" fmla="*/ 63 w 97"/>
                  <a:gd name="T21" fmla="*/ 35 h 63"/>
                  <a:gd name="T22" fmla="*/ 55 w 97"/>
                  <a:gd name="T23" fmla="*/ 55 h 63"/>
                  <a:gd name="T24" fmla="*/ 32 w 97"/>
                  <a:gd name="T25" fmla="*/ 63 h 63"/>
                  <a:gd name="T26" fmla="*/ 9 w 97"/>
                  <a:gd name="T27" fmla="*/ 54 h 63"/>
                  <a:gd name="T28" fmla="*/ 0 w 97"/>
                  <a:gd name="T29" fmla="*/ 33 h 63"/>
                  <a:gd name="T30" fmla="*/ 5 w 97"/>
                  <a:gd name="T31" fmla="*/ 16 h 63"/>
                  <a:gd name="T32" fmla="*/ 19 w 97"/>
                  <a:gd name="T33" fmla="*/ 4 h 63"/>
                  <a:gd name="T34" fmla="*/ 46 w 97"/>
                  <a:gd name="T35" fmla="*/ 0 h 63"/>
                  <a:gd name="T36" fmla="*/ 75 w 97"/>
                  <a:gd name="T37" fmla="*/ 4 h 63"/>
                  <a:gd name="T38" fmla="*/ 91 w 97"/>
                  <a:gd name="T39" fmla="*/ 16 h 63"/>
                  <a:gd name="T40" fmla="*/ 97 w 97"/>
                  <a:gd name="T41" fmla="*/ 34 h 63"/>
                  <a:gd name="T42" fmla="*/ 91 w 97"/>
                  <a:gd name="T43" fmla="*/ 52 h 63"/>
                  <a:gd name="T44" fmla="*/ 73 w 97"/>
                  <a:gd name="T45" fmla="*/ 61 h 63"/>
                  <a:gd name="T46" fmla="*/ 32 w 97"/>
                  <a:gd name="T47" fmla="*/ 13 h 63"/>
                  <a:gd name="T48" fmla="*/ 16 w 97"/>
                  <a:gd name="T49" fmla="*/ 19 h 63"/>
                  <a:gd name="T50" fmla="*/ 10 w 97"/>
                  <a:gd name="T51" fmla="*/ 32 h 63"/>
                  <a:gd name="T52" fmla="*/ 16 w 97"/>
                  <a:gd name="T53" fmla="*/ 45 h 63"/>
                  <a:gd name="T54" fmla="*/ 33 w 97"/>
                  <a:gd name="T55" fmla="*/ 51 h 63"/>
                  <a:gd name="T56" fmla="*/ 47 w 97"/>
                  <a:gd name="T57" fmla="*/ 45 h 63"/>
                  <a:gd name="T58" fmla="*/ 53 w 97"/>
                  <a:gd name="T59" fmla="*/ 32 h 63"/>
                  <a:gd name="T60" fmla="*/ 47 w 97"/>
                  <a:gd name="T61" fmla="*/ 19 h 63"/>
                  <a:gd name="T62" fmla="*/ 32 w 97"/>
                  <a:gd name="T63"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3">
                    <a:moveTo>
                      <a:pt x="73" y="61"/>
                    </a:moveTo>
                    <a:lnTo>
                      <a:pt x="72" y="50"/>
                    </a:lnTo>
                    <a:cubicBezTo>
                      <a:pt x="78" y="49"/>
                      <a:pt x="81" y="47"/>
                      <a:pt x="84" y="44"/>
                    </a:cubicBezTo>
                    <a:cubicBezTo>
                      <a:pt x="86" y="42"/>
                      <a:pt x="87" y="38"/>
                      <a:pt x="87" y="34"/>
                    </a:cubicBezTo>
                    <a:cubicBezTo>
                      <a:pt x="87" y="31"/>
                      <a:pt x="87" y="27"/>
                      <a:pt x="85" y="25"/>
                    </a:cubicBezTo>
                    <a:cubicBezTo>
                      <a:pt x="83" y="22"/>
                      <a:pt x="81" y="20"/>
                      <a:pt x="78" y="18"/>
                    </a:cubicBezTo>
                    <a:cubicBezTo>
                      <a:pt x="76" y="16"/>
                      <a:pt x="72" y="15"/>
                      <a:pt x="67" y="14"/>
                    </a:cubicBezTo>
                    <a:cubicBezTo>
                      <a:pt x="63" y="13"/>
                      <a:pt x="58" y="12"/>
                      <a:pt x="53" y="12"/>
                    </a:cubicBezTo>
                    <a:cubicBezTo>
                      <a:pt x="53" y="12"/>
                      <a:pt x="52" y="12"/>
                      <a:pt x="51" y="12"/>
                    </a:cubicBezTo>
                    <a:cubicBezTo>
                      <a:pt x="54" y="14"/>
                      <a:pt x="57" y="18"/>
                      <a:pt x="60" y="22"/>
                    </a:cubicBezTo>
                    <a:cubicBezTo>
                      <a:pt x="62" y="26"/>
                      <a:pt x="63" y="30"/>
                      <a:pt x="63" y="35"/>
                    </a:cubicBezTo>
                    <a:cubicBezTo>
                      <a:pt x="63" y="43"/>
                      <a:pt x="60" y="49"/>
                      <a:pt x="55" y="55"/>
                    </a:cubicBezTo>
                    <a:cubicBezTo>
                      <a:pt x="49" y="60"/>
                      <a:pt x="42" y="63"/>
                      <a:pt x="32" y="63"/>
                    </a:cubicBezTo>
                    <a:cubicBezTo>
                      <a:pt x="23" y="63"/>
                      <a:pt x="15" y="60"/>
                      <a:pt x="9" y="54"/>
                    </a:cubicBezTo>
                    <a:cubicBezTo>
                      <a:pt x="3" y="49"/>
                      <a:pt x="0" y="41"/>
                      <a:pt x="0" y="33"/>
                    </a:cubicBezTo>
                    <a:cubicBezTo>
                      <a:pt x="0" y="27"/>
                      <a:pt x="2" y="21"/>
                      <a:pt x="5" y="16"/>
                    </a:cubicBezTo>
                    <a:cubicBezTo>
                      <a:pt x="9" y="11"/>
                      <a:pt x="13" y="7"/>
                      <a:pt x="19" y="4"/>
                    </a:cubicBezTo>
                    <a:cubicBezTo>
                      <a:pt x="26" y="2"/>
                      <a:pt x="34" y="0"/>
                      <a:pt x="46" y="0"/>
                    </a:cubicBezTo>
                    <a:cubicBezTo>
                      <a:pt x="58" y="0"/>
                      <a:pt x="68" y="2"/>
                      <a:pt x="75" y="4"/>
                    </a:cubicBezTo>
                    <a:cubicBezTo>
                      <a:pt x="82" y="7"/>
                      <a:pt x="88" y="11"/>
                      <a:pt x="91" y="16"/>
                    </a:cubicBezTo>
                    <a:cubicBezTo>
                      <a:pt x="95" y="21"/>
                      <a:pt x="97" y="27"/>
                      <a:pt x="97" y="34"/>
                    </a:cubicBezTo>
                    <a:cubicBezTo>
                      <a:pt x="97" y="42"/>
                      <a:pt x="95" y="48"/>
                      <a:pt x="91" y="52"/>
                    </a:cubicBezTo>
                    <a:cubicBezTo>
                      <a:pt x="87" y="57"/>
                      <a:pt x="81" y="60"/>
                      <a:pt x="73" y="61"/>
                    </a:cubicBezTo>
                    <a:close/>
                    <a:moveTo>
                      <a:pt x="32" y="13"/>
                    </a:moveTo>
                    <a:cubicBezTo>
                      <a:pt x="25" y="13"/>
                      <a:pt x="20" y="15"/>
                      <a:pt x="16" y="19"/>
                    </a:cubicBezTo>
                    <a:cubicBezTo>
                      <a:pt x="12" y="22"/>
                      <a:pt x="10" y="27"/>
                      <a:pt x="10" y="32"/>
                    </a:cubicBezTo>
                    <a:cubicBezTo>
                      <a:pt x="10" y="37"/>
                      <a:pt x="12" y="41"/>
                      <a:pt x="16" y="45"/>
                    </a:cubicBezTo>
                    <a:cubicBezTo>
                      <a:pt x="20" y="49"/>
                      <a:pt x="26" y="51"/>
                      <a:pt x="33" y="51"/>
                    </a:cubicBezTo>
                    <a:cubicBezTo>
                      <a:pt x="39" y="51"/>
                      <a:pt x="44" y="49"/>
                      <a:pt x="47" y="45"/>
                    </a:cubicBezTo>
                    <a:cubicBezTo>
                      <a:pt x="51" y="42"/>
                      <a:pt x="53" y="37"/>
                      <a:pt x="53" y="32"/>
                    </a:cubicBezTo>
                    <a:cubicBezTo>
                      <a:pt x="53" y="26"/>
                      <a:pt x="51" y="22"/>
                      <a:pt x="47" y="19"/>
                    </a:cubicBezTo>
                    <a:cubicBezTo>
                      <a:pt x="44"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1723"/>
              <p:cNvSpPr>
                <a:spLocks noEditPoints="1"/>
              </p:cNvSpPr>
              <p:nvPr/>
            </p:nvSpPr>
            <p:spPr bwMode="auto">
              <a:xfrm>
                <a:off x="4462" y="1699"/>
                <a:ext cx="22" cy="15"/>
              </a:xfrm>
              <a:custGeom>
                <a:avLst/>
                <a:gdLst>
                  <a:gd name="T0" fmla="*/ 44 w 97"/>
                  <a:gd name="T1" fmla="*/ 45 h 63"/>
                  <a:gd name="T2" fmla="*/ 36 w 97"/>
                  <a:gd name="T3" fmla="*/ 56 h 63"/>
                  <a:gd name="T4" fmla="*/ 25 w 97"/>
                  <a:gd name="T5" fmla="*/ 59 h 63"/>
                  <a:gd name="T6" fmla="*/ 7 w 97"/>
                  <a:gd name="T7" fmla="*/ 52 h 63"/>
                  <a:gd name="T8" fmla="*/ 0 w 97"/>
                  <a:gd name="T9" fmla="*/ 32 h 63"/>
                  <a:gd name="T10" fmla="*/ 7 w 97"/>
                  <a:gd name="T11" fmla="*/ 12 h 63"/>
                  <a:gd name="T12" fmla="*/ 25 w 97"/>
                  <a:gd name="T13" fmla="*/ 4 h 63"/>
                  <a:gd name="T14" fmla="*/ 36 w 97"/>
                  <a:gd name="T15" fmla="*/ 8 h 63"/>
                  <a:gd name="T16" fmla="*/ 44 w 97"/>
                  <a:gd name="T17" fmla="*/ 18 h 63"/>
                  <a:gd name="T18" fmla="*/ 53 w 97"/>
                  <a:gd name="T19" fmla="*/ 5 h 63"/>
                  <a:gd name="T20" fmla="*/ 68 w 97"/>
                  <a:gd name="T21" fmla="*/ 0 h 63"/>
                  <a:gd name="T22" fmla="*/ 89 w 97"/>
                  <a:gd name="T23" fmla="*/ 9 h 63"/>
                  <a:gd name="T24" fmla="*/ 97 w 97"/>
                  <a:gd name="T25" fmla="*/ 32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3 h 63"/>
                  <a:gd name="T38" fmla="*/ 39 w 97"/>
                  <a:gd name="T39" fmla="*/ 32 h 63"/>
                  <a:gd name="T40" fmla="*/ 35 w 97"/>
                  <a:gd name="T41" fmla="*/ 21 h 63"/>
                  <a:gd name="T42" fmla="*/ 25 w 97"/>
                  <a:gd name="T43" fmla="*/ 16 h 63"/>
                  <a:gd name="T44" fmla="*/ 14 w 97"/>
                  <a:gd name="T45" fmla="*/ 21 h 63"/>
                  <a:gd name="T46" fmla="*/ 10 w 97"/>
                  <a:gd name="T47" fmla="*/ 32 h 63"/>
                  <a:gd name="T48" fmla="*/ 14 w 97"/>
                  <a:gd name="T49" fmla="*/ 43 h 63"/>
                  <a:gd name="T50" fmla="*/ 24 w 97"/>
                  <a:gd name="T51" fmla="*/ 47 h 63"/>
                  <a:gd name="T52" fmla="*/ 68 w 97"/>
                  <a:gd name="T53" fmla="*/ 51 h 63"/>
                  <a:gd name="T54" fmla="*/ 78 w 97"/>
                  <a:gd name="T55" fmla="*/ 49 h 63"/>
                  <a:gd name="T56" fmla="*/ 85 w 97"/>
                  <a:gd name="T57" fmla="*/ 42 h 63"/>
                  <a:gd name="T58" fmla="*/ 87 w 97"/>
                  <a:gd name="T59" fmla="*/ 32 h 63"/>
                  <a:gd name="T60" fmla="*/ 82 w 97"/>
                  <a:gd name="T61" fmla="*/ 18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50"/>
                      <a:pt x="40" y="53"/>
                      <a:pt x="36" y="56"/>
                    </a:cubicBezTo>
                    <a:cubicBezTo>
                      <a:pt x="33" y="58"/>
                      <a:pt x="29" y="59"/>
                      <a:pt x="25" y="59"/>
                    </a:cubicBezTo>
                    <a:cubicBezTo>
                      <a:pt x="18" y="59"/>
                      <a:pt x="12" y="57"/>
                      <a:pt x="7" y="52"/>
                    </a:cubicBezTo>
                    <a:cubicBezTo>
                      <a:pt x="2" y="47"/>
                      <a:pt x="0" y="40"/>
                      <a:pt x="0" y="32"/>
                    </a:cubicBezTo>
                    <a:cubicBezTo>
                      <a:pt x="0" y="24"/>
                      <a:pt x="3" y="17"/>
                      <a:pt x="7" y="12"/>
                    </a:cubicBezTo>
                    <a:cubicBezTo>
                      <a:pt x="12" y="7"/>
                      <a:pt x="18" y="4"/>
                      <a:pt x="25" y="4"/>
                    </a:cubicBezTo>
                    <a:cubicBezTo>
                      <a:pt x="29" y="4"/>
                      <a:pt x="33" y="5"/>
                      <a:pt x="36" y="8"/>
                    </a:cubicBezTo>
                    <a:cubicBezTo>
                      <a:pt x="40" y="10"/>
                      <a:pt x="42" y="14"/>
                      <a:pt x="44" y="18"/>
                    </a:cubicBezTo>
                    <a:cubicBezTo>
                      <a:pt x="46" y="12"/>
                      <a:pt x="49" y="8"/>
                      <a:pt x="53" y="5"/>
                    </a:cubicBezTo>
                    <a:cubicBezTo>
                      <a:pt x="57" y="2"/>
                      <a:pt x="62" y="0"/>
                      <a:pt x="68" y="0"/>
                    </a:cubicBezTo>
                    <a:cubicBezTo>
                      <a:pt x="76" y="0"/>
                      <a:pt x="83" y="3"/>
                      <a:pt x="89" y="9"/>
                    </a:cubicBezTo>
                    <a:cubicBezTo>
                      <a:pt x="94" y="15"/>
                      <a:pt x="97" y="22"/>
                      <a:pt x="97" y="32"/>
                    </a:cubicBezTo>
                    <a:cubicBezTo>
                      <a:pt x="97" y="41"/>
                      <a:pt x="94" y="49"/>
                      <a:pt x="89" y="54"/>
                    </a:cubicBezTo>
                    <a:cubicBezTo>
                      <a:pt x="83" y="60"/>
                      <a:pt x="76" y="63"/>
                      <a:pt x="68" y="63"/>
                    </a:cubicBezTo>
                    <a:cubicBezTo>
                      <a:pt x="62" y="63"/>
                      <a:pt x="57" y="61"/>
                      <a:pt x="52" y="58"/>
                    </a:cubicBezTo>
                    <a:cubicBezTo>
                      <a:pt x="48" y="55"/>
                      <a:pt x="45" y="51"/>
                      <a:pt x="44" y="45"/>
                    </a:cubicBezTo>
                    <a:close/>
                    <a:moveTo>
                      <a:pt x="24" y="47"/>
                    </a:moveTo>
                    <a:cubicBezTo>
                      <a:pt x="29" y="47"/>
                      <a:pt x="32" y="46"/>
                      <a:pt x="35" y="43"/>
                    </a:cubicBezTo>
                    <a:cubicBezTo>
                      <a:pt x="38" y="40"/>
                      <a:pt x="39" y="36"/>
                      <a:pt x="39" y="32"/>
                    </a:cubicBezTo>
                    <a:cubicBezTo>
                      <a:pt x="39" y="27"/>
                      <a:pt x="38" y="23"/>
                      <a:pt x="35" y="21"/>
                    </a:cubicBezTo>
                    <a:cubicBezTo>
                      <a:pt x="32" y="18"/>
                      <a:pt x="29" y="16"/>
                      <a:pt x="25" y="16"/>
                    </a:cubicBezTo>
                    <a:cubicBezTo>
                      <a:pt x="21" y="16"/>
                      <a:pt x="17" y="18"/>
                      <a:pt x="14" y="21"/>
                    </a:cubicBezTo>
                    <a:cubicBezTo>
                      <a:pt x="11" y="24"/>
                      <a:pt x="10" y="27"/>
                      <a:pt x="10" y="32"/>
                    </a:cubicBezTo>
                    <a:cubicBezTo>
                      <a:pt x="10" y="36"/>
                      <a:pt x="11" y="40"/>
                      <a:pt x="14" y="43"/>
                    </a:cubicBezTo>
                    <a:cubicBezTo>
                      <a:pt x="17" y="46"/>
                      <a:pt x="20" y="47"/>
                      <a:pt x="24" y="47"/>
                    </a:cubicBezTo>
                    <a:close/>
                    <a:moveTo>
                      <a:pt x="68" y="51"/>
                    </a:moveTo>
                    <a:cubicBezTo>
                      <a:pt x="71" y="51"/>
                      <a:pt x="74" y="50"/>
                      <a:pt x="78" y="49"/>
                    </a:cubicBezTo>
                    <a:cubicBezTo>
                      <a:pt x="81" y="47"/>
                      <a:pt x="83" y="45"/>
                      <a:pt x="85" y="42"/>
                    </a:cubicBezTo>
                    <a:cubicBezTo>
                      <a:pt x="86" y="38"/>
                      <a:pt x="87" y="35"/>
                      <a:pt x="87" y="32"/>
                    </a:cubicBezTo>
                    <a:cubicBezTo>
                      <a:pt x="87" y="26"/>
                      <a:pt x="85" y="21"/>
                      <a:pt x="82" y="18"/>
                    </a:cubicBezTo>
                    <a:cubicBezTo>
                      <a:pt x="78" y="14"/>
                      <a:pt x="74" y="12"/>
                      <a:pt x="68" y="12"/>
                    </a:cubicBezTo>
                    <a:cubicBezTo>
                      <a:pt x="63" y="12"/>
                      <a:pt x="58" y="14"/>
                      <a:pt x="54" y="18"/>
                    </a:cubicBezTo>
                    <a:cubicBezTo>
                      <a:pt x="51" y="22"/>
                      <a:pt x="49" y="26"/>
                      <a:pt x="49" y="32"/>
                    </a:cubicBezTo>
                    <a:cubicBezTo>
                      <a:pt x="49" y="37"/>
                      <a:pt x="51" y="42"/>
                      <a:pt x="54" y="45"/>
                    </a:cubicBezTo>
                    <a:cubicBezTo>
                      <a:pt x="58" y="49"/>
                      <a:pt x="62"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1724"/>
              <p:cNvSpPr>
                <a:spLocks/>
              </p:cNvSpPr>
              <p:nvPr/>
            </p:nvSpPr>
            <p:spPr bwMode="auto">
              <a:xfrm>
                <a:off x="4555" y="1700"/>
                <a:ext cx="21" cy="14"/>
              </a:xfrm>
              <a:custGeom>
                <a:avLst/>
                <a:gdLst>
                  <a:gd name="T0" fmla="*/ 11 w 94"/>
                  <a:gd name="T1" fmla="*/ 61 h 61"/>
                  <a:gd name="T2" fmla="*/ 0 w 94"/>
                  <a:gd name="T3" fmla="*/ 61 h 61"/>
                  <a:gd name="T4" fmla="*/ 0 w 94"/>
                  <a:gd name="T5" fmla="*/ 0 h 61"/>
                  <a:gd name="T6" fmla="*/ 9 w 94"/>
                  <a:gd name="T7" fmla="*/ 0 h 61"/>
                  <a:gd name="T8" fmla="*/ 35 w 94"/>
                  <a:gd name="T9" fmla="*/ 18 h 61"/>
                  <a:gd name="T10" fmla="*/ 68 w 94"/>
                  <a:gd name="T11" fmla="*/ 31 h 61"/>
                  <a:gd name="T12" fmla="*/ 94 w 94"/>
                  <a:gd name="T13" fmla="*/ 36 h 61"/>
                  <a:gd name="T14" fmla="*/ 94 w 94"/>
                  <a:gd name="T15" fmla="*/ 48 h 61"/>
                  <a:gd name="T16" fmla="*/ 67 w 94"/>
                  <a:gd name="T17" fmla="*/ 43 h 61"/>
                  <a:gd name="T18" fmla="*/ 36 w 94"/>
                  <a:gd name="T19" fmla="*/ 31 h 61"/>
                  <a:gd name="T20" fmla="*/ 11 w 94"/>
                  <a:gd name="T21" fmla="*/ 15 h 61"/>
                  <a:gd name="T22" fmla="*/ 11 w 9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1">
                    <a:moveTo>
                      <a:pt x="11" y="61"/>
                    </a:moveTo>
                    <a:lnTo>
                      <a:pt x="0" y="61"/>
                    </a:lnTo>
                    <a:lnTo>
                      <a:pt x="0" y="0"/>
                    </a:lnTo>
                    <a:lnTo>
                      <a:pt x="9" y="0"/>
                    </a:lnTo>
                    <a:cubicBezTo>
                      <a:pt x="16" y="6"/>
                      <a:pt x="24" y="12"/>
                      <a:pt x="35" y="18"/>
                    </a:cubicBezTo>
                    <a:cubicBezTo>
                      <a:pt x="45" y="23"/>
                      <a:pt x="56" y="28"/>
                      <a:pt x="68" y="31"/>
                    </a:cubicBezTo>
                    <a:cubicBezTo>
                      <a:pt x="75" y="34"/>
                      <a:pt x="84" y="35"/>
                      <a:pt x="94" y="36"/>
                    </a:cubicBezTo>
                    <a:lnTo>
                      <a:pt x="94" y="48"/>
                    </a:lnTo>
                    <a:cubicBezTo>
                      <a:pt x="86" y="48"/>
                      <a:pt x="77" y="46"/>
                      <a:pt x="67" y="43"/>
                    </a:cubicBezTo>
                    <a:cubicBezTo>
                      <a:pt x="56" y="40"/>
                      <a:pt x="46" y="36"/>
                      <a:pt x="36" y="31"/>
                    </a:cubicBezTo>
                    <a:cubicBezTo>
                      <a:pt x="26" y="26"/>
                      <a:pt x="18" y="20"/>
                      <a:pt x="11" y="15"/>
                    </a:cubicBezTo>
                    <a:lnTo>
                      <a:pt x="11"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1725"/>
              <p:cNvSpPr>
                <a:spLocks noEditPoints="1"/>
              </p:cNvSpPr>
              <p:nvPr/>
            </p:nvSpPr>
            <p:spPr bwMode="auto">
              <a:xfrm>
                <a:off x="4612" y="1700"/>
                <a:ext cx="22" cy="14"/>
              </a:xfrm>
              <a:custGeom>
                <a:avLst/>
                <a:gdLst>
                  <a:gd name="T0" fmla="*/ 23 w 96"/>
                  <a:gd name="T1" fmla="*/ 1 h 62"/>
                  <a:gd name="T2" fmla="*/ 24 w 96"/>
                  <a:gd name="T3" fmla="*/ 13 h 62"/>
                  <a:gd name="T4" fmla="*/ 14 w 96"/>
                  <a:gd name="T5" fmla="*/ 17 h 62"/>
                  <a:gd name="T6" fmla="*/ 9 w 96"/>
                  <a:gd name="T7" fmla="*/ 29 h 62"/>
                  <a:gd name="T8" fmla="*/ 12 w 96"/>
                  <a:gd name="T9" fmla="*/ 39 h 62"/>
                  <a:gd name="T10" fmla="*/ 24 w 96"/>
                  <a:gd name="T11" fmla="*/ 47 h 62"/>
                  <a:gd name="T12" fmla="*/ 46 w 96"/>
                  <a:gd name="T13" fmla="*/ 51 h 62"/>
                  <a:gd name="T14" fmla="*/ 36 w 96"/>
                  <a:gd name="T15" fmla="*/ 40 h 62"/>
                  <a:gd name="T16" fmla="*/ 33 w 96"/>
                  <a:gd name="T17" fmla="*/ 28 h 62"/>
                  <a:gd name="T18" fmla="*/ 42 w 96"/>
                  <a:gd name="T19" fmla="*/ 8 h 62"/>
                  <a:gd name="T20" fmla="*/ 64 w 96"/>
                  <a:gd name="T21" fmla="*/ 0 h 62"/>
                  <a:gd name="T22" fmla="*/ 80 w 96"/>
                  <a:gd name="T23" fmla="*/ 4 h 62"/>
                  <a:gd name="T24" fmla="*/ 92 w 96"/>
                  <a:gd name="T25" fmla="*/ 14 h 62"/>
                  <a:gd name="T26" fmla="*/ 96 w 96"/>
                  <a:gd name="T27" fmla="*/ 29 h 62"/>
                  <a:gd name="T28" fmla="*/ 86 w 96"/>
                  <a:gd name="T29" fmla="*/ 53 h 62"/>
                  <a:gd name="T30" fmla="*/ 50 w 96"/>
                  <a:gd name="T31" fmla="*/ 62 h 62"/>
                  <a:gd name="T32" fmla="*/ 10 w 96"/>
                  <a:gd name="T33" fmla="*/ 52 h 62"/>
                  <a:gd name="T34" fmla="*/ 0 w 96"/>
                  <a:gd name="T35" fmla="*/ 28 h 62"/>
                  <a:gd name="T36" fmla="*/ 6 w 96"/>
                  <a:gd name="T37" fmla="*/ 10 h 62"/>
                  <a:gd name="T38" fmla="*/ 23 w 96"/>
                  <a:gd name="T39" fmla="*/ 1 h 62"/>
                  <a:gd name="T40" fmla="*/ 64 w 96"/>
                  <a:gd name="T41" fmla="*/ 49 h 62"/>
                  <a:gd name="T42" fmla="*/ 75 w 96"/>
                  <a:gd name="T43" fmla="*/ 46 h 62"/>
                  <a:gd name="T44" fmla="*/ 84 w 96"/>
                  <a:gd name="T45" fmla="*/ 39 h 62"/>
                  <a:gd name="T46" fmla="*/ 87 w 96"/>
                  <a:gd name="T47" fmla="*/ 30 h 62"/>
                  <a:gd name="T48" fmla="*/ 81 w 96"/>
                  <a:gd name="T49" fmla="*/ 17 h 62"/>
                  <a:gd name="T50" fmla="*/ 65 w 96"/>
                  <a:gd name="T51" fmla="*/ 12 h 62"/>
                  <a:gd name="T52" fmla="*/ 49 w 96"/>
                  <a:gd name="T53" fmla="*/ 17 h 62"/>
                  <a:gd name="T54" fmla="*/ 43 w 96"/>
                  <a:gd name="T55" fmla="*/ 30 h 62"/>
                  <a:gd name="T56" fmla="*/ 49 w 96"/>
                  <a:gd name="T57" fmla="*/ 43 h 62"/>
                  <a:gd name="T58" fmla="*/ 64 w 96"/>
                  <a:gd name="T59"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2">
                    <a:moveTo>
                      <a:pt x="23" y="1"/>
                    </a:moveTo>
                    <a:lnTo>
                      <a:pt x="24" y="13"/>
                    </a:lnTo>
                    <a:cubicBezTo>
                      <a:pt x="19" y="14"/>
                      <a:pt x="16" y="15"/>
                      <a:pt x="14" y="17"/>
                    </a:cubicBezTo>
                    <a:cubicBezTo>
                      <a:pt x="11" y="20"/>
                      <a:pt x="9" y="24"/>
                      <a:pt x="9" y="29"/>
                    </a:cubicBezTo>
                    <a:cubicBezTo>
                      <a:pt x="9" y="33"/>
                      <a:pt x="10" y="36"/>
                      <a:pt x="12" y="39"/>
                    </a:cubicBezTo>
                    <a:cubicBezTo>
                      <a:pt x="15" y="42"/>
                      <a:pt x="19" y="45"/>
                      <a:pt x="24" y="47"/>
                    </a:cubicBezTo>
                    <a:cubicBezTo>
                      <a:pt x="29" y="49"/>
                      <a:pt x="36" y="51"/>
                      <a:pt x="46" y="51"/>
                    </a:cubicBezTo>
                    <a:cubicBezTo>
                      <a:pt x="42" y="48"/>
                      <a:pt x="38" y="44"/>
                      <a:pt x="36" y="40"/>
                    </a:cubicBezTo>
                    <a:cubicBezTo>
                      <a:pt x="34" y="36"/>
                      <a:pt x="33" y="32"/>
                      <a:pt x="33" y="28"/>
                    </a:cubicBezTo>
                    <a:cubicBezTo>
                      <a:pt x="33" y="20"/>
                      <a:pt x="36" y="13"/>
                      <a:pt x="42" y="8"/>
                    </a:cubicBezTo>
                    <a:cubicBezTo>
                      <a:pt x="47" y="2"/>
                      <a:pt x="55" y="0"/>
                      <a:pt x="64" y="0"/>
                    </a:cubicBezTo>
                    <a:cubicBezTo>
                      <a:pt x="70" y="0"/>
                      <a:pt x="75" y="1"/>
                      <a:pt x="80" y="4"/>
                    </a:cubicBezTo>
                    <a:cubicBezTo>
                      <a:pt x="86" y="6"/>
                      <a:pt x="89" y="10"/>
                      <a:pt x="92" y="14"/>
                    </a:cubicBezTo>
                    <a:cubicBezTo>
                      <a:pt x="95" y="19"/>
                      <a:pt x="96" y="24"/>
                      <a:pt x="96" y="29"/>
                    </a:cubicBezTo>
                    <a:cubicBezTo>
                      <a:pt x="96" y="39"/>
                      <a:pt x="93" y="47"/>
                      <a:pt x="86" y="53"/>
                    </a:cubicBezTo>
                    <a:cubicBezTo>
                      <a:pt x="78" y="59"/>
                      <a:pt x="67" y="62"/>
                      <a:pt x="50" y="62"/>
                    </a:cubicBezTo>
                    <a:cubicBezTo>
                      <a:pt x="32" y="62"/>
                      <a:pt x="19" y="59"/>
                      <a:pt x="10" y="52"/>
                    </a:cubicBezTo>
                    <a:cubicBezTo>
                      <a:pt x="3" y="46"/>
                      <a:pt x="0" y="38"/>
                      <a:pt x="0" y="28"/>
                    </a:cubicBezTo>
                    <a:cubicBezTo>
                      <a:pt x="0" y="21"/>
                      <a:pt x="2" y="15"/>
                      <a:pt x="6" y="10"/>
                    </a:cubicBezTo>
                    <a:cubicBezTo>
                      <a:pt x="10" y="5"/>
                      <a:pt x="16" y="2"/>
                      <a:pt x="23" y="1"/>
                    </a:cubicBezTo>
                    <a:close/>
                    <a:moveTo>
                      <a:pt x="64" y="49"/>
                    </a:moveTo>
                    <a:cubicBezTo>
                      <a:pt x="68" y="49"/>
                      <a:pt x="72" y="48"/>
                      <a:pt x="75" y="46"/>
                    </a:cubicBezTo>
                    <a:cubicBezTo>
                      <a:pt x="79" y="45"/>
                      <a:pt x="82" y="42"/>
                      <a:pt x="84" y="39"/>
                    </a:cubicBezTo>
                    <a:cubicBezTo>
                      <a:pt x="86" y="36"/>
                      <a:pt x="87" y="33"/>
                      <a:pt x="87" y="30"/>
                    </a:cubicBezTo>
                    <a:cubicBezTo>
                      <a:pt x="87" y="25"/>
                      <a:pt x="85" y="20"/>
                      <a:pt x="81" y="17"/>
                    </a:cubicBezTo>
                    <a:cubicBezTo>
                      <a:pt x="77" y="13"/>
                      <a:pt x="71" y="12"/>
                      <a:pt x="65" y="12"/>
                    </a:cubicBezTo>
                    <a:cubicBezTo>
                      <a:pt x="58" y="12"/>
                      <a:pt x="53" y="13"/>
                      <a:pt x="49" y="17"/>
                    </a:cubicBezTo>
                    <a:cubicBezTo>
                      <a:pt x="45" y="20"/>
                      <a:pt x="43" y="25"/>
                      <a:pt x="43" y="30"/>
                    </a:cubicBezTo>
                    <a:cubicBezTo>
                      <a:pt x="43" y="35"/>
                      <a:pt x="45" y="40"/>
                      <a:pt x="49" y="43"/>
                    </a:cubicBezTo>
                    <a:cubicBezTo>
                      <a:pt x="53" y="47"/>
                      <a:pt x="58" y="49"/>
                      <a:pt x="64"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1726"/>
              <p:cNvSpPr>
                <a:spLocks/>
              </p:cNvSpPr>
              <p:nvPr/>
            </p:nvSpPr>
            <p:spPr bwMode="auto">
              <a:xfrm>
                <a:off x="4670" y="1699"/>
                <a:ext cx="22" cy="15"/>
              </a:xfrm>
              <a:custGeom>
                <a:avLst/>
                <a:gdLst>
                  <a:gd name="T0" fmla="*/ 69 w 95"/>
                  <a:gd name="T1" fmla="*/ 63 h 63"/>
                  <a:gd name="T2" fmla="*/ 68 w 95"/>
                  <a:gd name="T3" fmla="*/ 50 h 63"/>
                  <a:gd name="T4" fmla="*/ 81 w 95"/>
                  <a:gd name="T5" fmla="*/ 44 h 63"/>
                  <a:gd name="T6" fmla="*/ 86 w 95"/>
                  <a:gd name="T7" fmla="*/ 32 h 63"/>
                  <a:gd name="T8" fmla="*/ 79 w 95"/>
                  <a:gd name="T9" fmla="*/ 18 h 63"/>
                  <a:gd name="T10" fmla="*/ 63 w 95"/>
                  <a:gd name="T11" fmla="*/ 12 h 63"/>
                  <a:gd name="T12" fmla="*/ 47 w 95"/>
                  <a:gd name="T13" fmla="*/ 18 h 63"/>
                  <a:gd name="T14" fmla="*/ 41 w 95"/>
                  <a:gd name="T15" fmla="*/ 32 h 63"/>
                  <a:gd name="T16" fmla="*/ 44 w 95"/>
                  <a:gd name="T17" fmla="*/ 43 h 63"/>
                  <a:gd name="T18" fmla="*/ 50 w 95"/>
                  <a:gd name="T19" fmla="*/ 50 h 63"/>
                  <a:gd name="T20" fmla="*/ 49 w 95"/>
                  <a:gd name="T21" fmla="*/ 61 h 63"/>
                  <a:gd name="T22" fmla="*/ 0 w 95"/>
                  <a:gd name="T23" fmla="*/ 51 h 63"/>
                  <a:gd name="T24" fmla="*/ 0 w 95"/>
                  <a:gd name="T25" fmla="*/ 4 h 63"/>
                  <a:gd name="T26" fmla="*/ 11 w 95"/>
                  <a:gd name="T27" fmla="*/ 4 h 63"/>
                  <a:gd name="T28" fmla="*/ 11 w 95"/>
                  <a:gd name="T29" fmla="*/ 42 h 63"/>
                  <a:gd name="T30" fmla="*/ 37 w 95"/>
                  <a:gd name="T31" fmla="*/ 47 h 63"/>
                  <a:gd name="T32" fmla="*/ 31 w 95"/>
                  <a:gd name="T33" fmla="*/ 29 h 63"/>
                  <a:gd name="T34" fmla="*/ 39 w 95"/>
                  <a:gd name="T35" fmla="*/ 8 h 63"/>
                  <a:gd name="T36" fmla="*/ 62 w 95"/>
                  <a:gd name="T37" fmla="*/ 0 h 63"/>
                  <a:gd name="T38" fmla="*/ 84 w 95"/>
                  <a:gd name="T39" fmla="*/ 7 h 63"/>
                  <a:gd name="T40" fmla="*/ 95 w 95"/>
                  <a:gd name="T41" fmla="*/ 32 h 63"/>
                  <a:gd name="T42" fmla="*/ 88 w 95"/>
                  <a:gd name="T43" fmla="*/ 53 h 63"/>
                  <a:gd name="T44" fmla="*/ 69 w 95"/>
                  <a:gd name="T4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69" y="63"/>
                    </a:moveTo>
                    <a:lnTo>
                      <a:pt x="68" y="50"/>
                    </a:lnTo>
                    <a:cubicBezTo>
                      <a:pt x="74" y="50"/>
                      <a:pt x="78" y="47"/>
                      <a:pt x="81" y="44"/>
                    </a:cubicBezTo>
                    <a:cubicBezTo>
                      <a:pt x="84" y="41"/>
                      <a:pt x="86" y="37"/>
                      <a:pt x="86" y="32"/>
                    </a:cubicBezTo>
                    <a:cubicBezTo>
                      <a:pt x="86" y="27"/>
                      <a:pt x="84" y="22"/>
                      <a:pt x="79" y="18"/>
                    </a:cubicBezTo>
                    <a:cubicBezTo>
                      <a:pt x="75" y="14"/>
                      <a:pt x="70" y="12"/>
                      <a:pt x="63" y="12"/>
                    </a:cubicBezTo>
                    <a:cubicBezTo>
                      <a:pt x="56" y="12"/>
                      <a:pt x="51" y="14"/>
                      <a:pt x="47" y="18"/>
                    </a:cubicBezTo>
                    <a:cubicBezTo>
                      <a:pt x="43" y="22"/>
                      <a:pt x="41" y="26"/>
                      <a:pt x="41" y="32"/>
                    </a:cubicBezTo>
                    <a:cubicBezTo>
                      <a:pt x="41" y="36"/>
                      <a:pt x="42" y="40"/>
                      <a:pt x="44" y="43"/>
                    </a:cubicBezTo>
                    <a:cubicBezTo>
                      <a:pt x="45" y="46"/>
                      <a:pt x="48" y="48"/>
                      <a:pt x="50" y="50"/>
                    </a:cubicBezTo>
                    <a:lnTo>
                      <a:pt x="49" y="61"/>
                    </a:lnTo>
                    <a:lnTo>
                      <a:pt x="0" y="51"/>
                    </a:lnTo>
                    <a:lnTo>
                      <a:pt x="0" y="4"/>
                    </a:lnTo>
                    <a:lnTo>
                      <a:pt x="11" y="4"/>
                    </a:lnTo>
                    <a:lnTo>
                      <a:pt x="11" y="42"/>
                    </a:lnTo>
                    <a:lnTo>
                      <a:pt x="37" y="47"/>
                    </a:lnTo>
                    <a:cubicBezTo>
                      <a:pt x="33" y="42"/>
                      <a:pt x="31" y="36"/>
                      <a:pt x="31" y="29"/>
                    </a:cubicBezTo>
                    <a:cubicBezTo>
                      <a:pt x="31" y="21"/>
                      <a:pt x="34" y="14"/>
                      <a:pt x="39" y="8"/>
                    </a:cubicBezTo>
                    <a:cubicBezTo>
                      <a:pt x="45" y="3"/>
                      <a:pt x="53" y="0"/>
                      <a:pt x="62" y="0"/>
                    </a:cubicBezTo>
                    <a:cubicBezTo>
                      <a:pt x="70" y="0"/>
                      <a:pt x="78" y="2"/>
                      <a:pt x="84" y="7"/>
                    </a:cubicBezTo>
                    <a:cubicBezTo>
                      <a:pt x="91" y="13"/>
                      <a:pt x="95" y="22"/>
                      <a:pt x="95" y="32"/>
                    </a:cubicBezTo>
                    <a:cubicBezTo>
                      <a:pt x="95" y="41"/>
                      <a:pt x="93" y="48"/>
                      <a:pt x="88" y="53"/>
                    </a:cubicBezTo>
                    <a:cubicBezTo>
                      <a:pt x="83" y="59"/>
                      <a:pt x="77" y="62"/>
                      <a:pt x="69"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1727"/>
              <p:cNvSpPr>
                <a:spLocks noEditPoints="1"/>
              </p:cNvSpPr>
              <p:nvPr/>
            </p:nvSpPr>
            <p:spPr bwMode="auto">
              <a:xfrm>
                <a:off x="4727" y="1700"/>
                <a:ext cx="22" cy="15"/>
              </a:xfrm>
              <a:custGeom>
                <a:avLst/>
                <a:gdLst>
                  <a:gd name="T0" fmla="*/ 95 w 95"/>
                  <a:gd name="T1" fmla="*/ 24 h 66"/>
                  <a:gd name="T2" fmla="*/ 72 w 95"/>
                  <a:gd name="T3" fmla="*/ 24 h 66"/>
                  <a:gd name="T4" fmla="*/ 72 w 95"/>
                  <a:gd name="T5" fmla="*/ 66 h 66"/>
                  <a:gd name="T6" fmla="*/ 61 w 95"/>
                  <a:gd name="T7" fmla="*/ 66 h 66"/>
                  <a:gd name="T8" fmla="*/ 0 w 95"/>
                  <a:gd name="T9" fmla="*/ 22 h 66"/>
                  <a:gd name="T10" fmla="*/ 0 w 95"/>
                  <a:gd name="T11" fmla="*/ 13 h 66"/>
                  <a:gd name="T12" fmla="*/ 61 w 95"/>
                  <a:gd name="T13" fmla="*/ 13 h 66"/>
                  <a:gd name="T14" fmla="*/ 61 w 95"/>
                  <a:gd name="T15" fmla="*/ 0 h 66"/>
                  <a:gd name="T16" fmla="*/ 72 w 95"/>
                  <a:gd name="T17" fmla="*/ 0 h 66"/>
                  <a:gd name="T18" fmla="*/ 72 w 95"/>
                  <a:gd name="T19" fmla="*/ 13 h 66"/>
                  <a:gd name="T20" fmla="*/ 95 w 95"/>
                  <a:gd name="T21" fmla="*/ 13 h 66"/>
                  <a:gd name="T22" fmla="*/ 95 w 95"/>
                  <a:gd name="T23" fmla="*/ 24 h 66"/>
                  <a:gd name="T24" fmla="*/ 61 w 95"/>
                  <a:gd name="T25" fmla="*/ 24 h 66"/>
                  <a:gd name="T26" fmla="*/ 19 w 95"/>
                  <a:gd name="T27" fmla="*/ 24 h 66"/>
                  <a:gd name="T28" fmla="*/ 61 w 95"/>
                  <a:gd name="T29" fmla="*/ 54 h 66"/>
                  <a:gd name="T30" fmla="*/ 61 w 95"/>
                  <a:gd name="T31"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6">
                    <a:moveTo>
                      <a:pt x="95" y="24"/>
                    </a:moveTo>
                    <a:lnTo>
                      <a:pt x="72" y="24"/>
                    </a:lnTo>
                    <a:lnTo>
                      <a:pt x="72" y="66"/>
                    </a:lnTo>
                    <a:lnTo>
                      <a:pt x="61" y="66"/>
                    </a:lnTo>
                    <a:lnTo>
                      <a:pt x="0" y="22"/>
                    </a:lnTo>
                    <a:lnTo>
                      <a:pt x="0" y="13"/>
                    </a:lnTo>
                    <a:lnTo>
                      <a:pt x="61" y="13"/>
                    </a:lnTo>
                    <a:lnTo>
                      <a:pt x="61" y="0"/>
                    </a:lnTo>
                    <a:lnTo>
                      <a:pt x="72" y="0"/>
                    </a:lnTo>
                    <a:lnTo>
                      <a:pt x="72" y="13"/>
                    </a:lnTo>
                    <a:lnTo>
                      <a:pt x="95" y="13"/>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1728"/>
              <p:cNvSpPr>
                <a:spLocks/>
              </p:cNvSpPr>
              <p:nvPr/>
            </p:nvSpPr>
            <p:spPr bwMode="auto">
              <a:xfrm>
                <a:off x="4785" y="1700"/>
                <a:ext cx="22" cy="14"/>
              </a:xfrm>
              <a:custGeom>
                <a:avLst/>
                <a:gdLst>
                  <a:gd name="T0" fmla="*/ 70 w 96"/>
                  <a:gd name="T1" fmla="*/ 62 h 62"/>
                  <a:gd name="T2" fmla="*/ 68 w 96"/>
                  <a:gd name="T3" fmla="*/ 50 h 62"/>
                  <a:gd name="T4" fmla="*/ 82 w 96"/>
                  <a:gd name="T5" fmla="*/ 43 h 62"/>
                  <a:gd name="T6" fmla="*/ 87 w 96"/>
                  <a:gd name="T7" fmla="*/ 31 h 62"/>
                  <a:gd name="T8" fmla="*/ 81 w 96"/>
                  <a:gd name="T9" fmla="*/ 18 h 62"/>
                  <a:gd name="T10" fmla="*/ 67 w 96"/>
                  <a:gd name="T11" fmla="*/ 12 h 62"/>
                  <a:gd name="T12" fmla="*/ 54 w 96"/>
                  <a:gd name="T13" fmla="*/ 17 h 62"/>
                  <a:gd name="T14" fmla="*/ 49 w 96"/>
                  <a:gd name="T15" fmla="*/ 31 h 62"/>
                  <a:gd name="T16" fmla="*/ 50 w 96"/>
                  <a:gd name="T17" fmla="*/ 39 h 62"/>
                  <a:gd name="T18" fmla="*/ 40 w 96"/>
                  <a:gd name="T19" fmla="*/ 37 h 62"/>
                  <a:gd name="T20" fmla="*/ 40 w 96"/>
                  <a:gd name="T21" fmla="*/ 36 h 62"/>
                  <a:gd name="T22" fmla="*/ 36 w 96"/>
                  <a:gd name="T23" fmla="*/ 22 h 62"/>
                  <a:gd name="T24" fmla="*/ 24 w 96"/>
                  <a:gd name="T25" fmla="*/ 16 h 62"/>
                  <a:gd name="T26" fmla="*/ 13 w 96"/>
                  <a:gd name="T27" fmla="*/ 21 h 62"/>
                  <a:gd name="T28" fmla="*/ 9 w 96"/>
                  <a:gd name="T29" fmla="*/ 32 h 62"/>
                  <a:gd name="T30" fmla="*/ 13 w 96"/>
                  <a:gd name="T31" fmla="*/ 43 h 62"/>
                  <a:gd name="T32" fmla="*/ 26 w 96"/>
                  <a:gd name="T33" fmla="*/ 49 h 62"/>
                  <a:gd name="T34" fmla="*/ 24 w 96"/>
                  <a:gd name="T35" fmla="*/ 60 h 62"/>
                  <a:gd name="T36" fmla="*/ 6 w 96"/>
                  <a:gd name="T37" fmla="*/ 51 h 62"/>
                  <a:gd name="T38" fmla="*/ 0 w 96"/>
                  <a:gd name="T39" fmla="*/ 32 h 62"/>
                  <a:gd name="T40" fmla="*/ 3 w 96"/>
                  <a:gd name="T41" fmla="*/ 18 h 62"/>
                  <a:gd name="T42" fmla="*/ 12 w 96"/>
                  <a:gd name="T43" fmla="*/ 8 h 62"/>
                  <a:gd name="T44" fmla="*/ 24 w 96"/>
                  <a:gd name="T45" fmla="*/ 4 h 62"/>
                  <a:gd name="T46" fmla="*/ 35 w 96"/>
                  <a:gd name="T47" fmla="*/ 8 h 62"/>
                  <a:gd name="T48" fmla="*/ 43 w 96"/>
                  <a:gd name="T49" fmla="*/ 17 h 62"/>
                  <a:gd name="T50" fmla="*/ 51 w 96"/>
                  <a:gd name="T51" fmla="*/ 4 h 62"/>
                  <a:gd name="T52" fmla="*/ 67 w 96"/>
                  <a:gd name="T53" fmla="*/ 0 h 62"/>
                  <a:gd name="T54" fmla="*/ 88 w 96"/>
                  <a:gd name="T55" fmla="*/ 9 h 62"/>
                  <a:gd name="T56" fmla="*/ 96 w 96"/>
                  <a:gd name="T57" fmla="*/ 32 h 62"/>
                  <a:gd name="T58" fmla="*/ 89 w 96"/>
                  <a:gd name="T59" fmla="*/ 52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0"/>
                    </a:lnTo>
                    <a:cubicBezTo>
                      <a:pt x="75" y="49"/>
                      <a:pt x="79" y="46"/>
                      <a:pt x="82" y="43"/>
                    </a:cubicBezTo>
                    <a:cubicBezTo>
                      <a:pt x="85" y="40"/>
                      <a:pt x="87" y="36"/>
                      <a:pt x="87" y="31"/>
                    </a:cubicBezTo>
                    <a:cubicBezTo>
                      <a:pt x="87" y="26"/>
                      <a:pt x="85" y="21"/>
                      <a:pt x="81" y="18"/>
                    </a:cubicBezTo>
                    <a:cubicBezTo>
                      <a:pt x="77" y="14"/>
                      <a:pt x="73" y="12"/>
                      <a:pt x="67" y="12"/>
                    </a:cubicBezTo>
                    <a:cubicBezTo>
                      <a:pt x="62" y="12"/>
                      <a:pt x="57" y="14"/>
                      <a:pt x="54" y="17"/>
                    </a:cubicBezTo>
                    <a:cubicBezTo>
                      <a:pt x="50" y="21"/>
                      <a:pt x="49" y="25"/>
                      <a:pt x="49" y="31"/>
                    </a:cubicBezTo>
                    <a:cubicBezTo>
                      <a:pt x="49" y="33"/>
                      <a:pt x="49" y="35"/>
                      <a:pt x="50" y="39"/>
                    </a:cubicBezTo>
                    <a:lnTo>
                      <a:pt x="40" y="37"/>
                    </a:lnTo>
                    <a:cubicBezTo>
                      <a:pt x="40" y="37"/>
                      <a:pt x="40" y="36"/>
                      <a:pt x="40" y="36"/>
                    </a:cubicBezTo>
                    <a:cubicBezTo>
                      <a:pt x="40" y="31"/>
                      <a:pt x="38" y="26"/>
                      <a:pt x="36" y="22"/>
                    </a:cubicBezTo>
                    <a:cubicBezTo>
                      <a:pt x="33" y="18"/>
                      <a:pt x="29" y="16"/>
                      <a:pt x="24" y="16"/>
                    </a:cubicBezTo>
                    <a:cubicBezTo>
                      <a:pt x="20" y="16"/>
                      <a:pt x="16" y="18"/>
                      <a:pt x="13" y="21"/>
                    </a:cubicBezTo>
                    <a:cubicBezTo>
                      <a:pt x="11" y="23"/>
                      <a:pt x="9" y="27"/>
                      <a:pt x="9" y="32"/>
                    </a:cubicBezTo>
                    <a:cubicBezTo>
                      <a:pt x="9" y="36"/>
                      <a:pt x="11" y="40"/>
                      <a:pt x="13" y="43"/>
                    </a:cubicBezTo>
                    <a:cubicBezTo>
                      <a:pt x="16" y="46"/>
                      <a:pt x="20" y="48"/>
                      <a:pt x="26" y="49"/>
                    </a:cubicBezTo>
                    <a:lnTo>
                      <a:pt x="24" y="60"/>
                    </a:lnTo>
                    <a:cubicBezTo>
                      <a:pt x="16" y="59"/>
                      <a:pt x="10" y="56"/>
                      <a:pt x="6" y="51"/>
                    </a:cubicBezTo>
                    <a:cubicBezTo>
                      <a:pt x="2" y="46"/>
                      <a:pt x="0" y="39"/>
                      <a:pt x="0" y="32"/>
                    </a:cubicBezTo>
                    <a:cubicBezTo>
                      <a:pt x="0" y="27"/>
                      <a:pt x="1" y="22"/>
                      <a:pt x="3" y="18"/>
                    </a:cubicBezTo>
                    <a:cubicBezTo>
                      <a:pt x="5" y="13"/>
                      <a:pt x="8" y="10"/>
                      <a:pt x="12" y="8"/>
                    </a:cubicBezTo>
                    <a:cubicBezTo>
                      <a:pt x="16" y="5"/>
                      <a:pt x="20" y="4"/>
                      <a:pt x="24" y="4"/>
                    </a:cubicBezTo>
                    <a:cubicBezTo>
                      <a:pt x="28" y="4"/>
                      <a:pt x="32" y="5"/>
                      <a:pt x="35" y="8"/>
                    </a:cubicBezTo>
                    <a:cubicBezTo>
                      <a:pt x="39" y="10"/>
                      <a:pt x="41" y="13"/>
                      <a:pt x="43" y="17"/>
                    </a:cubicBezTo>
                    <a:cubicBezTo>
                      <a:pt x="45" y="12"/>
                      <a:pt x="47" y="7"/>
                      <a:pt x="51" y="4"/>
                    </a:cubicBezTo>
                    <a:cubicBezTo>
                      <a:pt x="55" y="1"/>
                      <a:pt x="61" y="0"/>
                      <a:pt x="67" y="0"/>
                    </a:cubicBezTo>
                    <a:cubicBezTo>
                      <a:pt x="75" y="0"/>
                      <a:pt x="82" y="3"/>
                      <a:pt x="88" y="9"/>
                    </a:cubicBezTo>
                    <a:cubicBezTo>
                      <a:pt x="93" y="15"/>
                      <a:pt x="96" y="22"/>
                      <a:pt x="96" y="32"/>
                    </a:cubicBezTo>
                    <a:cubicBezTo>
                      <a:pt x="96" y="40"/>
                      <a:pt x="94" y="47"/>
                      <a:pt x="89" y="52"/>
                    </a:cubicBezTo>
                    <a:cubicBezTo>
                      <a:pt x="84"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1729"/>
              <p:cNvSpPr>
                <a:spLocks/>
              </p:cNvSpPr>
              <p:nvPr/>
            </p:nvSpPr>
            <p:spPr bwMode="auto">
              <a:xfrm>
                <a:off x="4843" y="1700"/>
                <a:ext cx="21" cy="14"/>
              </a:xfrm>
              <a:custGeom>
                <a:avLst/>
                <a:gdLst>
                  <a:gd name="T0" fmla="*/ 83 w 95"/>
                  <a:gd name="T1" fmla="*/ 0 h 62"/>
                  <a:gd name="T2" fmla="*/ 95 w 95"/>
                  <a:gd name="T3" fmla="*/ 0 h 62"/>
                  <a:gd name="T4" fmla="*/ 95 w 95"/>
                  <a:gd name="T5" fmla="*/ 62 h 62"/>
                  <a:gd name="T6" fmla="*/ 87 w 95"/>
                  <a:gd name="T7" fmla="*/ 61 h 62"/>
                  <a:gd name="T8" fmla="*/ 74 w 95"/>
                  <a:gd name="T9" fmla="*/ 53 h 62"/>
                  <a:gd name="T10" fmla="*/ 60 w 95"/>
                  <a:gd name="T11" fmla="*/ 38 h 62"/>
                  <a:gd name="T12" fmla="*/ 40 w 95"/>
                  <a:gd name="T13" fmla="*/ 17 h 62"/>
                  <a:gd name="T14" fmla="*/ 26 w 95"/>
                  <a:gd name="T15" fmla="*/ 12 h 62"/>
                  <a:gd name="T16" fmla="*/ 14 w 95"/>
                  <a:gd name="T17" fmla="*/ 17 h 62"/>
                  <a:gd name="T18" fmla="*/ 9 w 95"/>
                  <a:gd name="T19" fmla="*/ 30 h 62"/>
                  <a:gd name="T20" fmla="*/ 14 w 95"/>
                  <a:gd name="T21" fmla="*/ 43 h 62"/>
                  <a:gd name="T22" fmla="*/ 28 w 95"/>
                  <a:gd name="T23" fmla="*/ 48 h 62"/>
                  <a:gd name="T24" fmla="*/ 27 w 95"/>
                  <a:gd name="T25" fmla="*/ 60 h 62"/>
                  <a:gd name="T26" fmla="*/ 7 w 95"/>
                  <a:gd name="T27" fmla="*/ 51 h 62"/>
                  <a:gd name="T28" fmla="*/ 0 w 95"/>
                  <a:gd name="T29" fmla="*/ 29 h 62"/>
                  <a:gd name="T30" fmla="*/ 7 w 95"/>
                  <a:gd name="T31" fmla="*/ 8 h 62"/>
                  <a:gd name="T32" fmla="*/ 26 w 95"/>
                  <a:gd name="T33" fmla="*/ 0 h 62"/>
                  <a:gd name="T34" fmla="*/ 37 w 95"/>
                  <a:gd name="T35" fmla="*/ 2 h 62"/>
                  <a:gd name="T36" fmla="*/ 49 w 95"/>
                  <a:gd name="T37" fmla="*/ 10 h 62"/>
                  <a:gd name="T38" fmla="*/ 65 w 95"/>
                  <a:gd name="T39" fmla="*/ 28 h 62"/>
                  <a:gd name="T40" fmla="*/ 77 w 95"/>
                  <a:gd name="T41" fmla="*/ 41 h 62"/>
                  <a:gd name="T42" fmla="*/ 83 w 95"/>
                  <a:gd name="T43" fmla="*/ 46 h 62"/>
                  <a:gd name="T44" fmla="*/ 83 w 95"/>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83" y="0"/>
                    </a:moveTo>
                    <a:lnTo>
                      <a:pt x="95" y="0"/>
                    </a:lnTo>
                    <a:lnTo>
                      <a:pt x="95" y="62"/>
                    </a:lnTo>
                    <a:cubicBezTo>
                      <a:pt x="92" y="62"/>
                      <a:pt x="89" y="62"/>
                      <a:pt x="87" y="61"/>
                    </a:cubicBezTo>
                    <a:cubicBezTo>
                      <a:pt x="82" y="59"/>
                      <a:pt x="78" y="57"/>
                      <a:pt x="74" y="53"/>
                    </a:cubicBezTo>
                    <a:cubicBezTo>
                      <a:pt x="70" y="50"/>
                      <a:pt x="65" y="45"/>
                      <a:pt x="60" y="38"/>
                    </a:cubicBezTo>
                    <a:cubicBezTo>
                      <a:pt x="51" y="28"/>
                      <a:pt x="44" y="21"/>
                      <a:pt x="40" y="17"/>
                    </a:cubicBezTo>
                    <a:cubicBezTo>
                      <a:pt x="35" y="13"/>
                      <a:pt x="30" y="12"/>
                      <a:pt x="26" y="12"/>
                    </a:cubicBezTo>
                    <a:cubicBezTo>
                      <a:pt x="21" y="12"/>
                      <a:pt x="17" y="13"/>
                      <a:pt x="14" y="17"/>
                    </a:cubicBezTo>
                    <a:cubicBezTo>
                      <a:pt x="11" y="20"/>
                      <a:pt x="9" y="24"/>
                      <a:pt x="9" y="30"/>
                    </a:cubicBezTo>
                    <a:cubicBezTo>
                      <a:pt x="9" y="35"/>
                      <a:pt x="11" y="40"/>
                      <a:pt x="14" y="43"/>
                    </a:cubicBezTo>
                    <a:cubicBezTo>
                      <a:pt x="18" y="46"/>
                      <a:pt x="22" y="48"/>
                      <a:pt x="28" y="48"/>
                    </a:cubicBezTo>
                    <a:lnTo>
                      <a:pt x="27" y="60"/>
                    </a:lnTo>
                    <a:cubicBezTo>
                      <a:pt x="18" y="59"/>
                      <a:pt x="11" y="56"/>
                      <a:pt x="7" y="51"/>
                    </a:cubicBezTo>
                    <a:cubicBezTo>
                      <a:pt x="2" y="45"/>
                      <a:pt x="0" y="38"/>
                      <a:pt x="0" y="29"/>
                    </a:cubicBezTo>
                    <a:cubicBezTo>
                      <a:pt x="0" y="20"/>
                      <a:pt x="2" y="13"/>
                      <a:pt x="7" y="8"/>
                    </a:cubicBezTo>
                    <a:cubicBezTo>
                      <a:pt x="12" y="2"/>
                      <a:pt x="18" y="0"/>
                      <a:pt x="26" y="0"/>
                    </a:cubicBezTo>
                    <a:cubicBezTo>
                      <a:pt x="30" y="0"/>
                      <a:pt x="33" y="0"/>
                      <a:pt x="37" y="2"/>
                    </a:cubicBezTo>
                    <a:cubicBezTo>
                      <a:pt x="41" y="4"/>
                      <a:pt x="44" y="6"/>
                      <a:pt x="49" y="10"/>
                    </a:cubicBezTo>
                    <a:cubicBezTo>
                      <a:pt x="53" y="13"/>
                      <a:pt x="58" y="19"/>
                      <a:pt x="65" y="28"/>
                    </a:cubicBezTo>
                    <a:cubicBezTo>
                      <a:pt x="71" y="35"/>
                      <a:pt x="75" y="39"/>
                      <a:pt x="77" y="41"/>
                    </a:cubicBezTo>
                    <a:cubicBezTo>
                      <a:pt x="79" y="43"/>
                      <a:pt x="81" y="45"/>
                      <a:pt x="83" y="46"/>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1730"/>
              <p:cNvSpPr>
                <a:spLocks/>
              </p:cNvSpPr>
              <p:nvPr/>
            </p:nvSpPr>
            <p:spPr bwMode="auto">
              <a:xfrm>
                <a:off x="4369" y="2692"/>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9 h 84"/>
                  <a:gd name="T28" fmla="*/ 18 w 56"/>
                  <a:gd name="T29" fmla="*/ 9 h 84"/>
                  <a:gd name="T30" fmla="*/ 14 w 56"/>
                  <a:gd name="T31" fmla="*/ 32 h 84"/>
                  <a:gd name="T32" fmla="*/ 30 w 56"/>
                  <a:gd name="T33" fmla="*/ 27 h 84"/>
                  <a:gd name="T34" fmla="*/ 48 w 56"/>
                  <a:gd name="T35" fmla="*/ 35 h 84"/>
                  <a:gd name="T36" fmla="*/ 56 w 56"/>
                  <a:gd name="T37" fmla="*/ 54 h 84"/>
                  <a:gd name="T38" fmla="*/ 49 w 56"/>
                  <a:gd name="T39" fmla="*/ 74 h 84"/>
                  <a:gd name="T40" fmla="*/ 27 w 56"/>
                  <a:gd name="T41" fmla="*/ 84 h 84"/>
                  <a:gd name="T42" fmla="*/ 8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6" y="74"/>
                      <a:pt x="40" y="70"/>
                    </a:cubicBezTo>
                    <a:cubicBezTo>
                      <a:pt x="43" y="66"/>
                      <a:pt x="45" y="61"/>
                      <a:pt x="45" y="55"/>
                    </a:cubicBezTo>
                    <a:cubicBezTo>
                      <a:pt x="45" y="49"/>
                      <a:pt x="43" y="45"/>
                      <a:pt x="40" y="41"/>
                    </a:cubicBezTo>
                    <a:cubicBezTo>
                      <a:pt x="37" y="38"/>
                      <a:pt x="32" y="36"/>
                      <a:pt x="27" y="36"/>
                    </a:cubicBezTo>
                    <a:cubicBezTo>
                      <a:pt x="24" y="36"/>
                      <a:pt x="21" y="37"/>
                      <a:pt x="18" y="38"/>
                    </a:cubicBezTo>
                    <a:cubicBezTo>
                      <a:pt x="15" y="40"/>
                      <a:pt x="13" y="42"/>
                      <a:pt x="12" y="44"/>
                    </a:cubicBezTo>
                    <a:lnTo>
                      <a:pt x="2" y="43"/>
                    </a:lnTo>
                    <a:lnTo>
                      <a:pt x="10" y="0"/>
                    </a:lnTo>
                    <a:lnTo>
                      <a:pt x="52" y="0"/>
                    </a:lnTo>
                    <a:lnTo>
                      <a:pt x="52" y="9"/>
                    </a:lnTo>
                    <a:lnTo>
                      <a:pt x="18" y="9"/>
                    </a:lnTo>
                    <a:lnTo>
                      <a:pt x="14" y="32"/>
                    </a:lnTo>
                    <a:cubicBezTo>
                      <a:pt x="19" y="29"/>
                      <a:pt x="24" y="27"/>
                      <a:pt x="30" y="27"/>
                    </a:cubicBezTo>
                    <a:cubicBezTo>
                      <a:pt x="37" y="27"/>
                      <a:pt x="43" y="29"/>
                      <a:pt x="48" y="35"/>
                    </a:cubicBezTo>
                    <a:cubicBezTo>
                      <a:pt x="54" y="40"/>
                      <a:pt x="56" y="46"/>
                      <a:pt x="56" y="54"/>
                    </a:cubicBezTo>
                    <a:cubicBezTo>
                      <a:pt x="56" y="62"/>
                      <a:pt x="54" y="68"/>
                      <a:pt x="49" y="74"/>
                    </a:cubicBezTo>
                    <a:cubicBezTo>
                      <a:pt x="44" y="81"/>
                      <a:pt x="37" y="84"/>
                      <a:pt x="27" y="84"/>
                    </a:cubicBezTo>
                    <a:cubicBezTo>
                      <a:pt x="20" y="84"/>
                      <a:pt x="13" y="82"/>
                      <a:pt x="8" y="78"/>
                    </a:cubicBezTo>
                    <a:cubicBezTo>
                      <a:pt x="4" y="73"/>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1731"/>
              <p:cNvSpPr>
                <a:spLocks/>
              </p:cNvSpPr>
              <p:nvPr/>
            </p:nvSpPr>
            <p:spPr bwMode="auto">
              <a:xfrm>
                <a:off x="4383"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6 h 85"/>
                  <a:gd name="T10" fmla="*/ 43 w 78"/>
                  <a:gd name="T11" fmla="*/ 62 h 85"/>
                  <a:gd name="T12" fmla="*/ 66 w 78"/>
                  <a:gd name="T13" fmla="*/ 0 h 85"/>
                  <a:gd name="T14" fmla="*/ 78 w 78"/>
                  <a:gd name="T15" fmla="*/ 0 h 85"/>
                  <a:gd name="T16" fmla="*/ 44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6"/>
                    </a:cubicBezTo>
                    <a:cubicBezTo>
                      <a:pt x="40" y="71"/>
                      <a:pt x="42" y="66"/>
                      <a:pt x="43" y="62"/>
                    </a:cubicBezTo>
                    <a:lnTo>
                      <a:pt x="66" y="0"/>
                    </a:lnTo>
                    <a:lnTo>
                      <a:pt x="78"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1732"/>
              <p:cNvSpPr>
                <a:spLocks noEditPoints="1"/>
              </p:cNvSpPr>
              <p:nvPr/>
            </p:nvSpPr>
            <p:spPr bwMode="auto">
              <a:xfrm>
                <a:off x="4661"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1733"/>
              <p:cNvSpPr>
                <a:spLocks noEditPoints="1"/>
              </p:cNvSpPr>
              <p:nvPr/>
            </p:nvSpPr>
            <p:spPr bwMode="auto">
              <a:xfrm>
                <a:off x="4680" y="2785"/>
                <a:ext cx="13" cy="20"/>
              </a:xfrm>
              <a:custGeom>
                <a:avLst/>
                <a:gdLst>
                  <a:gd name="T0" fmla="*/ 0 w 55"/>
                  <a:gd name="T1" fmla="*/ 43 h 86"/>
                  <a:gd name="T2" fmla="*/ 3 w 55"/>
                  <a:gd name="T3" fmla="*/ 19 h 86"/>
                  <a:gd name="T4" fmla="*/ 12 w 55"/>
                  <a:gd name="T5" fmla="*/ 5 h 86"/>
                  <a:gd name="T6" fmla="*/ 27 w 55"/>
                  <a:gd name="T7" fmla="*/ 0 h 86"/>
                  <a:gd name="T8" fmla="*/ 39 w 55"/>
                  <a:gd name="T9" fmla="*/ 2 h 86"/>
                  <a:gd name="T10" fmla="*/ 48 w 55"/>
                  <a:gd name="T11" fmla="*/ 10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7 h 86"/>
                  <a:gd name="T24" fmla="*/ 0 w 55"/>
                  <a:gd name="T25" fmla="*/ 43 h 86"/>
                  <a:gd name="T26" fmla="*/ 10 w 55"/>
                  <a:gd name="T27" fmla="*/ 43 h 86"/>
                  <a:gd name="T28" fmla="*/ 15 w 55"/>
                  <a:gd name="T29" fmla="*/ 70 h 86"/>
                  <a:gd name="T30" fmla="*/ 27 w 55"/>
                  <a:gd name="T31" fmla="*/ 77 h 86"/>
                  <a:gd name="T32" fmla="*/ 39 w 55"/>
                  <a:gd name="T33" fmla="*/ 70 h 86"/>
                  <a:gd name="T34" fmla="*/ 44 w 55"/>
                  <a:gd name="T35" fmla="*/ 43 h 86"/>
                  <a:gd name="T36" fmla="*/ 39 w 55"/>
                  <a:gd name="T37" fmla="*/ 15 h 86"/>
                  <a:gd name="T38" fmla="*/ 27 w 55"/>
                  <a:gd name="T39" fmla="*/ 8 h 86"/>
                  <a:gd name="T40" fmla="*/ 16 w 55"/>
                  <a:gd name="T41" fmla="*/ 14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1"/>
                      <a:pt x="21" y="0"/>
                      <a:pt x="27" y="0"/>
                    </a:cubicBezTo>
                    <a:cubicBezTo>
                      <a:pt x="32" y="0"/>
                      <a:pt x="36" y="1"/>
                      <a:pt x="39" y="2"/>
                    </a:cubicBezTo>
                    <a:cubicBezTo>
                      <a:pt x="43" y="4"/>
                      <a:pt x="45" y="7"/>
                      <a:pt x="48" y="10"/>
                    </a:cubicBezTo>
                    <a:cubicBezTo>
                      <a:pt x="50" y="14"/>
                      <a:pt x="52" y="18"/>
                      <a:pt x="53" y="23"/>
                    </a:cubicBezTo>
                    <a:cubicBezTo>
                      <a:pt x="54" y="28"/>
                      <a:pt x="55" y="34"/>
                      <a:pt x="55" y="43"/>
                    </a:cubicBezTo>
                    <a:cubicBezTo>
                      <a:pt x="55" y="53"/>
                      <a:pt x="54" y="61"/>
                      <a:pt x="52" y="67"/>
                    </a:cubicBezTo>
                    <a:cubicBezTo>
                      <a:pt x="50" y="73"/>
                      <a:pt x="47" y="77"/>
                      <a:pt x="43" y="81"/>
                    </a:cubicBezTo>
                    <a:cubicBezTo>
                      <a:pt x="39" y="84"/>
                      <a:pt x="33" y="86"/>
                      <a:pt x="27" y="86"/>
                    </a:cubicBezTo>
                    <a:cubicBezTo>
                      <a:pt x="19" y="86"/>
                      <a:pt x="13" y="83"/>
                      <a:pt x="8" y="77"/>
                    </a:cubicBezTo>
                    <a:cubicBezTo>
                      <a:pt x="3" y="70"/>
                      <a:pt x="0" y="59"/>
                      <a:pt x="0" y="43"/>
                    </a:cubicBezTo>
                    <a:close/>
                    <a:moveTo>
                      <a:pt x="10" y="43"/>
                    </a:moveTo>
                    <a:cubicBezTo>
                      <a:pt x="10" y="57"/>
                      <a:pt x="12" y="66"/>
                      <a:pt x="15" y="70"/>
                    </a:cubicBezTo>
                    <a:cubicBezTo>
                      <a:pt x="18" y="75"/>
                      <a:pt x="22" y="77"/>
                      <a:pt x="27" y="77"/>
                    </a:cubicBezTo>
                    <a:cubicBezTo>
                      <a:pt x="32" y="77"/>
                      <a:pt x="36" y="75"/>
                      <a:pt x="39" y="70"/>
                    </a:cubicBezTo>
                    <a:cubicBezTo>
                      <a:pt x="42" y="66"/>
                      <a:pt x="44" y="57"/>
                      <a:pt x="44" y="43"/>
                    </a:cubicBezTo>
                    <a:cubicBezTo>
                      <a:pt x="44" y="29"/>
                      <a:pt x="42" y="20"/>
                      <a:pt x="39" y="15"/>
                    </a:cubicBezTo>
                    <a:cubicBezTo>
                      <a:pt x="36" y="10"/>
                      <a:pt x="32" y="8"/>
                      <a:pt x="27" y="8"/>
                    </a:cubicBezTo>
                    <a:cubicBezTo>
                      <a:pt x="22" y="8"/>
                      <a:pt x="19" y="10"/>
                      <a:pt x="16" y="14"/>
                    </a:cubicBezTo>
                    <a:cubicBezTo>
                      <a:pt x="12" y="19"/>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1734"/>
              <p:cNvSpPr>
                <a:spLocks noEditPoints="1"/>
              </p:cNvSpPr>
              <p:nvPr/>
            </p:nvSpPr>
            <p:spPr bwMode="auto">
              <a:xfrm>
                <a:off x="5013" y="2672"/>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4 h 79"/>
                  <a:gd name="T20" fmla="*/ 50 w 85"/>
                  <a:gd name="T21" fmla="*/ 26 h 79"/>
                  <a:gd name="T22" fmla="*/ 27 w 85"/>
                  <a:gd name="T23" fmla="*/ 35 h 79"/>
                  <a:gd name="T24" fmla="*/ 9 w 85"/>
                  <a:gd name="T25" fmla="*/ 41 h 79"/>
                  <a:gd name="T26" fmla="*/ 25 w 85"/>
                  <a:gd name="T27" fmla="*/ 45 h 79"/>
                  <a:gd name="T28" fmla="*/ 50 w 85"/>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4"/>
                    </a:moveTo>
                    <a:lnTo>
                      <a:pt x="50" y="26"/>
                    </a:lnTo>
                    <a:lnTo>
                      <a:pt x="27" y="35"/>
                    </a:lnTo>
                    <a:cubicBezTo>
                      <a:pt x="20" y="37"/>
                      <a:pt x="14" y="39"/>
                      <a:pt x="9" y="41"/>
                    </a:cubicBezTo>
                    <a:cubicBezTo>
                      <a:pt x="15" y="42"/>
                      <a:pt x="20" y="43"/>
                      <a:pt x="25" y="45"/>
                    </a:cubicBezTo>
                    <a:lnTo>
                      <a:pt x="50"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1735"/>
              <p:cNvSpPr>
                <a:spLocks/>
              </p:cNvSpPr>
              <p:nvPr/>
            </p:nvSpPr>
            <p:spPr bwMode="auto">
              <a:xfrm>
                <a:off x="5013" y="2654"/>
                <a:ext cx="20" cy="16"/>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1736"/>
              <p:cNvSpPr>
                <a:spLocks noEditPoints="1"/>
              </p:cNvSpPr>
              <p:nvPr/>
            </p:nvSpPr>
            <p:spPr bwMode="auto">
              <a:xfrm>
                <a:off x="5013" y="2634"/>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5 h 79"/>
                  <a:gd name="T20" fmla="*/ 50 w 85"/>
                  <a:gd name="T21" fmla="*/ 26 h 79"/>
                  <a:gd name="T22" fmla="*/ 27 w 85"/>
                  <a:gd name="T23" fmla="*/ 35 h 79"/>
                  <a:gd name="T24" fmla="*/ 9 w 85"/>
                  <a:gd name="T25" fmla="*/ 41 h 79"/>
                  <a:gd name="T26" fmla="*/ 25 w 85"/>
                  <a:gd name="T27" fmla="*/ 45 h 79"/>
                  <a:gd name="T28" fmla="*/ 50 w 85"/>
                  <a:gd name="T29" fmla="*/ 5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5"/>
                    </a:moveTo>
                    <a:lnTo>
                      <a:pt x="50" y="26"/>
                    </a:lnTo>
                    <a:lnTo>
                      <a:pt x="27" y="35"/>
                    </a:lnTo>
                    <a:cubicBezTo>
                      <a:pt x="20" y="37"/>
                      <a:pt x="14" y="39"/>
                      <a:pt x="9" y="41"/>
                    </a:cubicBezTo>
                    <a:cubicBezTo>
                      <a:pt x="15" y="42"/>
                      <a:pt x="20" y="43"/>
                      <a:pt x="25" y="45"/>
                    </a:cubicBezTo>
                    <a:lnTo>
                      <a:pt x="5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1737"/>
              <p:cNvSpPr>
                <a:spLocks/>
              </p:cNvSpPr>
              <p:nvPr/>
            </p:nvSpPr>
            <p:spPr bwMode="auto">
              <a:xfrm>
                <a:off x="5013" y="2621"/>
                <a:ext cx="20" cy="11"/>
              </a:xfrm>
              <a:custGeom>
                <a:avLst/>
                <a:gdLst>
                  <a:gd name="T0" fmla="*/ 85 w 85"/>
                  <a:gd name="T1" fmla="*/ 52 h 52"/>
                  <a:gd name="T2" fmla="*/ 0 w 85"/>
                  <a:gd name="T3" fmla="*/ 52 h 52"/>
                  <a:gd name="T4" fmla="*/ 0 w 85"/>
                  <a:gd name="T5" fmla="*/ 41 h 52"/>
                  <a:gd name="T6" fmla="*/ 75 w 85"/>
                  <a:gd name="T7" fmla="*/ 41 h 52"/>
                  <a:gd name="T8" fmla="*/ 75 w 85"/>
                  <a:gd name="T9" fmla="*/ 0 h 52"/>
                  <a:gd name="T10" fmla="*/ 85 w 85"/>
                  <a:gd name="T11" fmla="*/ 0 h 52"/>
                  <a:gd name="T12" fmla="*/ 85 w 8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5" h="52">
                    <a:moveTo>
                      <a:pt x="85" y="52"/>
                    </a:moveTo>
                    <a:lnTo>
                      <a:pt x="0" y="52"/>
                    </a:lnTo>
                    <a:lnTo>
                      <a:pt x="0" y="41"/>
                    </a:lnTo>
                    <a:lnTo>
                      <a:pt x="75" y="41"/>
                    </a:lnTo>
                    <a:lnTo>
                      <a:pt x="75" y="0"/>
                    </a:lnTo>
                    <a:lnTo>
                      <a:pt x="85" y="0"/>
                    </a:lnTo>
                    <a:lnTo>
                      <a:pt x="85"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1738"/>
              <p:cNvSpPr>
                <a:spLocks noEditPoints="1"/>
              </p:cNvSpPr>
              <p:nvPr/>
            </p:nvSpPr>
            <p:spPr bwMode="auto">
              <a:xfrm>
                <a:off x="5013" y="2600"/>
                <a:ext cx="20" cy="18"/>
              </a:xfrm>
              <a:custGeom>
                <a:avLst/>
                <a:gdLst>
                  <a:gd name="T0" fmla="*/ 45 w 87"/>
                  <a:gd name="T1" fmla="*/ 81 h 81"/>
                  <a:gd name="T2" fmla="*/ 12 w 87"/>
                  <a:gd name="T3" fmla="*/ 69 h 81"/>
                  <a:gd name="T4" fmla="*/ 0 w 87"/>
                  <a:gd name="T5" fmla="*/ 40 h 81"/>
                  <a:gd name="T6" fmla="*/ 6 w 87"/>
                  <a:gd name="T7" fmla="*/ 19 h 81"/>
                  <a:gd name="T8" fmla="*/ 21 w 87"/>
                  <a:gd name="T9" fmla="*/ 5 h 81"/>
                  <a:gd name="T10" fmla="*/ 44 w 87"/>
                  <a:gd name="T11" fmla="*/ 0 h 81"/>
                  <a:gd name="T12" fmla="*/ 67 w 87"/>
                  <a:gd name="T13" fmla="*/ 5 h 81"/>
                  <a:gd name="T14" fmla="*/ 82 w 87"/>
                  <a:gd name="T15" fmla="*/ 20 h 81"/>
                  <a:gd name="T16" fmla="*/ 87 w 87"/>
                  <a:gd name="T17" fmla="*/ 40 h 81"/>
                  <a:gd name="T18" fmla="*/ 82 w 87"/>
                  <a:gd name="T19" fmla="*/ 62 h 81"/>
                  <a:gd name="T20" fmla="*/ 66 w 87"/>
                  <a:gd name="T21" fmla="*/ 76 h 81"/>
                  <a:gd name="T22" fmla="*/ 45 w 87"/>
                  <a:gd name="T23" fmla="*/ 81 h 81"/>
                  <a:gd name="T24" fmla="*/ 45 w 87"/>
                  <a:gd name="T25" fmla="*/ 69 h 81"/>
                  <a:gd name="T26" fmla="*/ 69 w 87"/>
                  <a:gd name="T27" fmla="*/ 61 h 81"/>
                  <a:gd name="T28" fmla="*/ 78 w 87"/>
                  <a:gd name="T29" fmla="*/ 40 h 81"/>
                  <a:gd name="T30" fmla="*/ 69 w 87"/>
                  <a:gd name="T31" fmla="*/ 20 h 81"/>
                  <a:gd name="T32" fmla="*/ 44 w 87"/>
                  <a:gd name="T33" fmla="*/ 12 h 81"/>
                  <a:gd name="T34" fmla="*/ 26 w 87"/>
                  <a:gd name="T35" fmla="*/ 15 h 81"/>
                  <a:gd name="T36" fmla="*/ 14 w 87"/>
                  <a:gd name="T37" fmla="*/ 25 h 81"/>
                  <a:gd name="T38" fmla="*/ 10 w 87"/>
                  <a:gd name="T39" fmla="*/ 40 h 81"/>
                  <a:gd name="T40" fmla="*/ 18 w 87"/>
                  <a:gd name="T41" fmla="*/ 61 h 81"/>
                  <a:gd name="T42" fmla="*/ 45 w 87"/>
                  <a:gd name="T43"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5" y="81"/>
                    </a:moveTo>
                    <a:cubicBezTo>
                      <a:pt x="31" y="81"/>
                      <a:pt x="20" y="77"/>
                      <a:pt x="12" y="69"/>
                    </a:cubicBezTo>
                    <a:cubicBezTo>
                      <a:pt x="4" y="62"/>
                      <a:pt x="0" y="52"/>
                      <a:pt x="0" y="40"/>
                    </a:cubicBezTo>
                    <a:cubicBezTo>
                      <a:pt x="0" y="32"/>
                      <a:pt x="2" y="25"/>
                      <a:pt x="6" y="19"/>
                    </a:cubicBezTo>
                    <a:cubicBezTo>
                      <a:pt x="9" y="13"/>
                      <a:pt x="14" y="8"/>
                      <a:pt x="21" y="5"/>
                    </a:cubicBezTo>
                    <a:cubicBezTo>
                      <a:pt x="28" y="2"/>
                      <a:pt x="35" y="0"/>
                      <a:pt x="44" y="0"/>
                    </a:cubicBezTo>
                    <a:cubicBezTo>
                      <a:pt x="52" y="0"/>
                      <a:pt x="60" y="2"/>
                      <a:pt x="67" y="5"/>
                    </a:cubicBezTo>
                    <a:cubicBezTo>
                      <a:pt x="74" y="9"/>
                      <a:pt x="79" y="14"/>
                      <a:pt x="82" y="20"/>
                    </a:cubicBezTo>
                    <a:cubicBezTo>
                      <a:pt x="86" y="26"/>
                      <a:pt x="87" y="33"/>
                      <a:pt x="87" y="40"/>
                    </a:cubicBezTo>
                    <a:cubicBezTo>
                      <a:pt x="87" y="48"/>
                      <a:pt x="85" y="55"/>
                      <a:pt x="82" y="62"/>
                    </a:cubicBezTo>
                    <a:cubicBezTo>
                      <a:pt x="78" y="68"/>
                      <a:pt x="72" y="73"/>
                      <a:pt x="66" y="76"/>
                    </a:cubicBezTo>
                    <a:cubicBezTo>
                      <a:pt x="59" y="79"/>
                      <a:pt x="52" y="81"/>
                      <a:pt x="45" y="81"/>
                    </a:cubicBezTo>
                    <a:close/>
                    <a:moveTo>
                      <a:pt x="45" y="69"/>
                    </a:moveTo>
                    <a:cubicBezTo>
                      <a:pt x="55" y="69"/>
                      <a:pt x="63" y="66"/>
                      <a:pt x="69" y="61"/>
                    </a:cubicBezTo>
                    <a:cubicBezTo>
                      <a:pt x="75" y="56"/>
                      <a:pt x="78" y="49"/>
                      <a:pt x="78" y="40"/>
                    </a:cubicBezTo>
                    <a:cubicBezTo>
                      <a:pt x="78" y="32"/>
                      <a:pt x="75" y="25"/>
                      <a:pt x="69" y="20"/>
                    </a:cubicBezTo>
                    <a:cubicBezTo>
                      <a:pt x="63" y="14"/>
                      <a:pt x="55" y="12"/>
                      <a:pt x="44" y="12"/>
                    </a:cubicBezTo>
                    <a:cubicBezTo>
                      <a:pt x="37" y="12"/>
                      <a:pt x="31" y="13"/>
                      <a:pt x="26" y="15"/>
                    </a:cubicBezTo>
                    <a:cubicBezTo>
                      <a:pt x="21" y="17"/>
                      <a:pt x="17" y="21"/>
                      <a:pt x="14" y="25"/>
                    </a:cubicBezTo>
                    <a:cubicBezTo>
                      <a:pt x="11" y="30"/>
                      <a:pt x="10" y="35"/>
                      <a:pt x="10" y="40"/>
                    </a:cubicBezTo>
                    <a:cubicBezTo>
                      <a:pt x="10" y="48"/>
                      <a:pt x="12" y="55"/>
                      <a:pt x="18" y="61"/>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1739"/>
              <p:cNvSpPr>
                <a:spLocks/>
              </p:cNvSpPr>
              <p:nvPr/>
            </p:nvSpPr>
            <p:spPr bwMode="auto">
              <a:xfrm>
                <a:off x="5013" y="2580"/>
                <a:ext cx="20" cy="17"/>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9 h 78"/>
                  <a:gd name="T22" fmla="*/ 0 w 87"/>
                  <a:gd name="T23" fmla="*/ 36 h 78"/>
                  <a:gd name="T24" fmla="*/ 3 w 87"/>
                  <a:gd name="T25" fmla="*/ 20 h 78"/>
                  <a:gd name="T26" fmla="*/ 11 w 87"/>
                  <a:gd name="T27" fmla="*/ 8 h 78"/>
                  <a:gd name="T28" fmla="*/ 25 w 87"/>
                  <a:gd name="T29" fmla="*/ 2 h 78"/>
                  <a:gd name="T30" fmla="*/ 28 w 87"/>
                  <a:gd name="T31" fmla="*/ 12 h 78"/>
                  <a:gd name="T32" fmla="*/ 18 w 87"/>
                  <a:gd name="T33" fmla="*/ 17 h 78"/>
                  <a:gd name="T34" fmla="*/ 12 w 87"/>
                  <a:gd name="T35" fmla="*/ 25 h 78"/>
                  <a:gd name="T36" fmla="*/ 10 w 87"/>
                  <a:gd name="T37" fmla="*/ 36 h 78"/>
                  <a:gd name="T38" fmla="*/ 12 w 87"/>
                  <a:gd name="T39" fmla="*/ 49 h 78"/>
                  <a:gd name="T40" fmla="*/ 18 w 87"/>
                  <a:gd name="T41" fmla="*/ 58 h 78"/>
                  <a:gd name="T42" fmla="*/ 26 w 87"/>
                  <a:gd name="T43" fmla="*/ 64 h 78"/>
                  <a:gd name="T44" fmla="*/ 43 w 87"/>
                  <a:gd name="T45" fmla="*/ 67 h 78"/>
                  <a:gd name="T46" fmla="*/ 62 w 87"/>
                  <a:gd name="T47" fmla="*/ 63 h 78"/>
                  <a:gd name="T48" fmla="*/ 74 w 87"/>
                  <a:gd name="T49" fmla="*/ 52 h 78"/>
                  <a:gd name="T50" fmla="*/ 77 w 87"/>
                  <a:gd name="T51" fmla="*/ 36 h 78"/>
                  <a:gd name="T52" fmla="*/ 74 w 87"/>
                  <a:gd name="T53" fmla="*/ 22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6"/>
                      <a:pt x="82" y="12"/>
                      <a:pt x="84" y="17"/>
                    </a:cubicBezTo>
                    <a:cubicBezTo>
                      <a:pt x="86" y="23"/>
                      <a:pt x="87" y="29"/>
                      <a:pt x="87" y="35"/>
                    </a:cubicBezTo>
                    <a:cubicBezTo>
                      <a:pt x="87" y="44"/>
                      <a:pt x="86" y="51"/>
                      <a:pt x="82" y="58"/>
                    </a:cubicBezTo>
                    <a:cubicBezTo>
                      <a:pt x="78" y="65"/>
                      <a:pt x="73" y="70"/>
                      <a:pt x="67" y="73"/>
                    </a:cubicBezTo>
                    <a:cubicBezTo>
                      <a:pt x="60" y="77"/>
                      <a:pt x="52" y="78"/>
                      <a:pt x="44" y="78"/>
                    </a:cubicBezTo>
                    <a:cubicBezTo>
                      <a:pt x="36" y="78"/>
                      <a:pt x="28" y="77"/>
                      <a:pt x="21" y="73"/>
                    </a:cubicBezTo>
                    <a:cubicBezTo>
                      <a:pt x="14" y="70"/>
                      <a:pt x="9" y="65"/>
                      <a:pt x="5" y="59"/>
                    </a:cubicBezTo>
                    <a:cubicBezTo>
                      <a:pt x="2" y="52"/>
                      <a:pt x="0" y="45"/>
                      <a:pt x="0" y="36"/>
                    </a:cubicBezTo>
                    <a:cubicBezTo>
                      <a:pt x="0" y="30"/>
                      <a:pt x="1" y="25"/>
                      <a:pt x="3" y="20"/>
                    </a:cubicBezTo>
                    <a:cubicBezTo>
                      <a:pt x="5" y="15"/>
                      <a:pt x="8" y="11"/>
                      <a:pt x="11" y="8"/>
                    </a:cubicBezTo>
                    <a:cubicBezTo>
                      <a:pt x="15" y="5"/>
                      <a:pt x="19" y="3"/>
                      <a:pt x="25" y="2"/>
                    </a:cubicBezTo>
                    <a:lnTo>
                      <a:pt x="28" y="12"/>
                    </a:lnTo>
                    <a:cubicBezTo>
                      <a:pt x="24" y="13"/>
                      <a:pt x="20" y="15"/>
                      <a:pt x="18" y="17"/>
                    </a:cubicBezTo>
                    <a:cubicBezTo>
                      <a:pt x="15" y="18"/>
                      <a:pt x="13" y="21"/>
                      <a:pt x="12" y="25"/>
                    </a:cubicBezTo>
                    <a:cubicBezTo>
                      <a:pt x="10" y="28"/>
                      <a:pt x="10" y="32"/>
                      <a:pt x="10" y="36"/>
                    </a:cubicBezTo>
                    <a:cubicBezTo>
                      <a:pt x="10" y="41"/>
                      <a:pt x="10" y="46"/>
                      <a:pt x="12" y="49"/>
                    </a:cubicBezTo>
                    <a:cubicBezTo>
                      <a:pt x="13" y="53"/>
                      <a:pt x="16" y="56"/>
                      <a:pt x="18" y="58"/>
                    </a:cubicBezTo>
                    <a:cubicBezTo>
                      <a:pt x="21" y="61"/>
                      <a:pt x="23" y="62"/>
                      <a:pt x="26" y="64"/>
                    </a:cubicBezTo>
                    <a:cubicBezTo>
                      <a:pt x="32" y="66"/>
                      <a:pt x="37" y="67"/>
                      <a:pt x="43" y="67"/>
                    </a:cubicBezTo>
                    <a:cubicBezTo>
                      <a:pt x="51" y="67"/>
                      <a:pt x="57" y="66"/>
                      <a:pt x="62" y="63"/>
                    </a:cubicBezTo>
                    <a:cubicBezTo>
                      <a:pt x="67" y="61"/>
                      <a:pt x="71" y="57"/>
                      <a:pt x="74" y="52"/>
                    </a:cubicBezTo>
                    <a:cubicBezTo>
                      <a:pt x="76" y="47"/>
                      <a:pt x="77" y="42"/>
                      <a:pt x="77" y="36"/>
                    </a:cubicBezTo>
                    <a:cubicBezTo>
                      <a:pt x="77" y="31"/>
                      <a:pt x="76" y="26"/>
                      <a:pt x="74" y="22"/>
                    </a:cubicBezTo>
                    <a:cubicBezTo>
                      <a:pt x="73" y="17"/>
                      <a:pt x="71" y="14"/>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Rectangle 1740"/>
              <p:cNvSpPr>
                <a:spLocks noChangeArrowheads="1"/>
              </p:cNvSpPr>
              <p:nvPr/>
            </p:nvSpPr>
            <p:spPr bwMode="auto">
              <a:xfrm>
                <a:off x="5013" y="2565"/>
                <a:ext cx="20"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1741"/>
              <p:cNvSpPr>
                <a:spLocks/>
              </p:cNvSpPr>
              <p:nvPr/>
            </p:nvSpPr>
            <p:spPr bwMode="auto">
              <a:xfrm>
                <a:off x="5013" y="2546"/>
                <a:ext cx="20"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1742"/>
              <p:cNvSpPr>
                <a:spLocks noEditPoints="1"/>
              </p:cNvSpPr>
              <p:nvPr/>
            </p:nvSpPr>
            <p:spPr bwMode="auto">
              <a:xfrm>
                <a:off x="4056" y="1760"/>
                <a:ext cx="22" cy="21"/>
              </a:xfrm>
              <a:custGeom>
                <a:avLst/>
                <a:gdLst>
                  <a:gd name="T0" fmla="*/ 94 w 94"/>
                  <a:gd name="T1" fmla="*/ 89 h 89"/>
                  <a:gd name="T2" fmla="*/ 0 w 94"/>
                  <a:gd name="T3" fmla="*/ 52 h 89"/>
                  <a:gd name="T4" fmla="*/ 0 w 94"/>
                  <a:gd name="T5" fmla="*/ 39 h 89"/>
                  <a:gd name="T6" fmla="*/ 94 w 94"/>
                  <a:gd name="T7" fmla="*/ 0 h 89"/>
                  <a:gd name="T8" fmla="*/ 94 w 94"/>
                  <a:gd name="T9" fmla="*/ 14 h 89"/>
                  <a:gd name="T10" fmla="*/ 66 w 94"/>
                  <a:gd name="T11" fmla="*/ 25 h 89"/>
                  <a:gd name="T12" fmla="*/ 66 w 94"/>
                  <a:gd name="T13" fmla="*/ 65 h 89"/>
                  <a:gd name="T14" fmla="*/ 94 w 94"/>
                  <a:gd name="T15" fmla="*/ 75 h 89"/>
                  <a:gd name="T16" fmla="*/ 94 w 94"/>
                  <a:gd name="T17" fmla="*/ 89 h 89"/>
                  <a:gd name="T18" fmla="*/ 56 w 94"/>
                  <a:gd name="T19" fmla="*/ 61 h 89"/>
                  <a:gd name="T20" fmla="*/ 56 w 94"/>
                  <a:gd name="T21" fmla="*/ 29 h 89"/>
                  <a:gd name="T22" fmla="*/ 29 w 94"/>
                  <a:gd name="T23" fmla="*/ 39 h 89"/>
                  <a:gd name="T24" fmla="*/ 10 w 94"/>
                  <a:gd name="T25" fmla="*/ 46 h 89"/>
                  <a:gd name="T26" fmla="*/ 28 w 94"/>
                  <a:gd name="T27" fmla="*/ 51 h 89"/>
                  <a:gd name="T28" fmla="*/ 56 w 94"/>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89">
                    <a:moveTo>
                      <a:pt x="94" y="89"/>
                    </a:moveTo>
                    <a:lnTo>
                      <a:pt x="0" y="52"/>
                    </a:lnTo>
                    <a:lnTo>
                      <a:pt x="0" y="39"/>
                    </a:lnTo>
                    <a:lnTo>
                      <a:pt x="94" y="0"/>
                    </a:lnTo>
                    <a:lnTo>
                      <a:pt x="94" y="14"/>
                    </a:lnTo>
                    <a:lnTo>
                      <a:pt x="66" y="25"/>
                    </a:lnTo>
                    <a:lnTo>
                      <a:pt x="66" y="65"/>
                    </a:lnTo>
                    <a:lnTo>
                      <a:pt x="94" y="75"/>
                    </a:lnTo>
                    <a:lnTo>
                      <a:pt x="94" y="89"/>
                    </a:lnTo>
                    <a:close/>
                    <a:moveTo>
                      <a:pt x="56" y="61"/>
                    </a:moveTo>
                    <a:lnTo>
                      <a:pt x="56" y="29"/>
                    </a:lnTo>
                    <a:lnTo>
                      <a:pt x="29" y="39"/>
                    </a:lnTo>
                    <a:cubicBezTo>
                      <a:pt x="21"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1743"/>
              <p:cNvSpPr>
                <a:spLocks noEditPoints="1"/>
              </p:cNvSpPr>
              <p:nvPr/>
            </p:nvSpPr>
            <p:spPr bwMode="auto">
              <a:xfrm>
                <a:off x="4056" y="1739"/>
                <a:ext cx="22" cy="19"/>
              </a:xfrm>
              <a:custGeom>
                <a:avLst/>
                <a:gdLst>
                  <a:gd name="T0" fmla="*/ 94 w 94"/>
                  <a:gd name="T1" fmla="*/ 84 h 84"/>
                  <a:gd name="T2" fmla="*/ 0 w 94"/>
                  <a:gd name="T3" fmla="*/ 84 h 84"/>
                  <a:gd name="T4" fmla="*/ 0 w 94"/>
                  <a:gd name="T5" fmla="*/ 42 h 84"/>
                  <a:gd name="T6" fmla="*/ 2 w 94"/>
                  <a:gd name="T7" fmla="*/ 22 h 84"/>
                  <a:gd name="T8" fmla="*/ 11 w 94"/>
                  <a:gd name="T9" fmla="*/ 12 h 84"/>
                  <a:gd name="T10" fmla="*/ 26 w 94"/>
                  <a:gd name="T11" fmla="*/ 8 h 84"/>
                  <a:gd name="T12" fmla="*/ 43 w 94"/>
                  <a:gd name="T13" fmla="*/ 14 h 84"/>
                  <a:gd name="T14" fmla="*/ 51 w 94"/>
                  <a:gd name="T15" fmla="*/ 35 h 84"/>
                  <a:gd name="T16" fmla="*/ 56 w 94"/>
                  <a:gd name="T17" fmla="*/ 27 h 84"/>
                  <a:gd name="T18" fmla="*/ 69 w 94"/>
                  <a:gd name="T19" fmla="*/ 17 h 84"/>
                  <a:gd name="T20" fmla="*/ 94 w 94"/>
                  <a:gd name="T21" fmla="*/ 0 h 84"/>
                  <a:gd name="T22" fmla="*/ 94 w 94"/>
                  <a:gd name="T23" fmla="*/ 16 h 84"/>
                  <a:gd name="T24" fmla="*/ 75 w 94"/>
                  <a:gd name="T25" fmla="*/ 28 h 84"/>
                  <a:gd name="T26" fmla="*/ 62 w 94"/>
                  <a:gd name="T27" fmla="*/ 37 h 84"/>
                  <a:gd name="T28" fmla="*/ 55 w 94"/>
                  <a:gd name="T29" fmla="*/ 44 h 84"/>
                  <a:gd name="T30" fmla="*/ 53 w 94"/>
                  <a:gd name="T31" fmla="*/ 50 h 84"/>
                  <a:gd name="T32" fmla="*/ 52 w 94"/>
                  <a:gd name="T33" fmla="*/ 57 h 84"/>
                  <a:gd name="T34" fmla="*/ 52 w 94"/>
                  <a:gd name="T35" fmla="*/ 71 h 84"/>
                  <a:gd name="T36" fmla="*/ 94 w 94"/>
                  <a:gd name="T37" fmla="*/ 71 h 84"/>
                  <a:gd name="T38" fmla="*/ 94 w 94"/>
                  <a:gd name="T39" fmla="*/ 84 h 84"/>
                  <a:gd name="T40" fmla="*/ 42 w 94"/>
                  <a:gd name="T41" fmla="*/ 71 h 84"/>
                  <a:gd name="T42" fmla="*/ 42 w 94"/>
                  <a:gd name="T43" fmla="*/ 44 h 84"/>
                  <a:gd name="T44" fmla="*/ 40 w 94"/>
                  <a:gd name="T45" fmla="*/ 31 h 84"/>
                  <a:gd name="T46" fmla="*/ 34 w 94"/>
                  <a:gd name="T47" fmla="*/ 23 h 84"/>
                  <a:gd name="T48" fmla="*/ 26 w 94"/>
                  <a:gd name="T49" fmla="*/ 21 h 84"/>
                  <a:gd name="T50" fmla="*/ 15 w 94"/>
                  <a:gd name="T51" fmla="*/ 26 h 84"/>
                  <a:gd name="T52" fmla="*/ 10 w 94"/>
                  <a:gd name="T53" fmla="*/ 41 h 84"/>
                  <a:gd name="T54" fmla="*/ 10 w 94"/>
                  <a:gd name="T55" fmla="*/ 71 h 84"/>
                  <a:gd name="T56" fmla="*/ 42 w 94"/>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84">
                    <a:moveTo>
                      <a:pt x="94" y="84"/>
                    </a:moveTo>
                    <a:lnTo>
                      <a:pt x="0" y="84"/>
                    </a:lnTo>
                    <a:lnTo>
                      <a:pt x="0" y="42"/>
                    </a:lnTo>
                    <a:cubicBezTo>
                      <a:pt x="0" y="33"/>
                      <a:pt x="1" y="27"/>
                      <a:pt x="2" y="22"/>
                    </a:cubicBezTo>
                    <a:cubicBezTo>
                      <a:pt x="4" y="18"/>
                      <a:pt x="7" y="14"/>
                      <a:pt x="11" y="12"/>
                    </a:cubicBezTo>
                    <a:cubicBezTo>
                      <a:pt x="16" y="9"/>
                      <a:pt x="20" y="8"/>
                      <a:pt x="26" y="8"/>
                    </a:cubicBezTo>
                    <a:cubicBezTo>
                      <a:pt x="32" y="8"/>
                      <a:pt x="38" y="10"/>
                      <a:pt x="43" y="14"/>
                    </a:cubicBezTo>
                    <a:cubicBezTo>
                      <a:pt x="47" y="19"/>
                      <a:pt x="50" y="25"/>
                      <a:pt x="51" y="35"/>
                    </a:cubicBezTo>
                    <a:cubicBezTo>
                      <a:pt x="53" y="31"/>
                      <a:pt x="55" y="29"/>
                      <a:pt x="56" y="27"/>
                    </a:cubicBezTo>
                    <a:cubicBezTo>
                      <a:pt x="59" y="23"/>
                      <a:pt x="64" y="20"/>
                      <a:pt x="69" y="17"/>
                    </a:cubicBezTo>
                    <a:lnTo>
                      <a:pt x="94" y="0"/>
                    </a:lnTo>
                    <a:lnTo>
                      <a:pt x="94" y="16"/>
                    </a:lnTo>
                    <a:lnTo>
                      <a:pt x="75" y="28"/>
                    </a:lnTo>
                    <a:cubicBezTo>
                      <a:pt x="69" y="32"/>
                      <a:pt x="65" y="35"/>
                      <a:pt x="62" y="37"/>
                    </a:cubicBezTo>
                    <a:cubicBezTo>
                      <a:pt x="59" y="40"/>
                      <a:pt x="57" y="42"/>
                      <a:pt x="55" y="44"/>
                    </a:cubicBezTo>
                    <a:cubicBezTo>
                      <a:pt x="54" y="46"/>
                      <a:pt x="53" y="48"/>
                      <a:pt x="53" y="50"/>
                    </a:cubicBezTo>
                    <a:cubicBezTo>
                      <a:pt x="53" y="51"/>
                      <a:pt x="52" y="53"/>
                      <a:pt x="52" y="57"/>
                    </a:cubicBezTo>
                    <a:lnTo>
                      <a:pt x="52" y="71"/>
                    </a:lnTo>
                    <a:lnTo>
                      <a:pt x="94" y="71"/>
                    </a:lnTo>
                    <a:lnTo>
                      <a:pt x="94" y="84"/>
                    </a:lnTo>
                    <a:close/>
                    <a:moveTo>
                      <a:pt x="42" y="71"/>
                    </a:moveTo>
                    <a:lnTo>
                      <a:pt x="42" y="44"/>
                    </a:lnTo>
                    <a:cubicBezTo>
                      <a:pt x="42" y="38"/>
                      <a:pt x="41" y="34"/>
                      <a:pt x="40" y="31"/>
                    </a:cubicBezTo>
                    <a:cubicBezTo>
                      <a:pt x="39" y="27"/>
                      <a:pt x="37" y="25"/>
                      <a:pt x="34" y="23"/>
                    </a:cubicBezTo>
                    <a:cubicBezTo>
                      <a:pt x="32" y="22"/>
                      <a:pt x="29" y="21"/>
                      <a:pt x="26" y="21"/>
                    </a:cubicBezTo>
                    <a:cubicBezTo>
                      <a:pt x="21" y="21"/>
                      <a:pt x="17" y="22"/>
                      <a:pt x="15" y="26"/>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1744"/>
              <p:cNvSpPr>
                <a:spLocks/>
              </p:cNvSpPr>
              <p:nvPr/>
            </p:nvSpPr>
            <p:spPr bwMode="auto">
              <a:xfrm>
                <a:off x="4056" y="1720"/>
                <a:ext cx="22" cy="16"/>
              </a:xfrm>
              <a:custGeom>
                <a:avLst/>
                <a:gdLst>
                  <a:gd name="T0" fmla="*/ 94 w 94"/>
                  <a:gd name="T1" fmla="*/ 71 h 71"/>
                  <a:gd name="T2" fmla="*/ 0 w 94"/>
                  <a:gd name="T3" fmla="*/ 71 h 71"/>
                  <a:gd name="T4" fmla="*/ 0 w 94"/>
                  <a:gd name="T5" fmla="*/ 2 h 71"/>
                  <a:gd name="T6" fmla="*/ 11 w 94"/>
                  <a:gd name="T7" fmla="*/ 2 h 71"/>
                  <a:gd name="T8" fmla="*/ 11 w 94"/>
                  <a:gd name="T9" fmla="*/ 58 h 71"/>
                  <a:gd name="T10" fmla="*/ 40 w 94"/>
                  <a:gd name="T11" fmla="*/ 58 h 71"/>
                  <a:gd name="T12" fmla="*/ 40 w 94"/>
                  <a:gd name="T13" fmla="*/ 6 h 71"/>
                  <a:gd name="T14" fmla="*/ 51 w 94"/>
                  <a:gd name="T15" fmla="*/ 6 h 71"/>
                  <a:gd name="T16" fmla="*/ 51 w 94"/>
                  <a:gd name="T17" fmla="*/ 58 h 71"/>
                  <a:gd name="T18" fmla="*/ 83 w 94"/>
                  <a:gd name="T19" fmla="*/ 58 h 71"/>
                  <a:gd name="T20" fmla="*/ 83 w 94"/>
                  <a:gd name="T21" fmla="*/ 0 h 71"/>
                  <a:gd name="T22" fmla="*/ 94 w 94"/>
                  <a:gd name="T23" fmla="*/ 0 h 71"/>
                  <a:gd name="T24" fmla="*/ 94 w 94"/>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1">
                    <a:moveTo>
                      <a:pt x="94" y="71"/>
                    </a:moveTo>
                    <a:lnTo>
                      <a:pt x="0" y="71"/>
                    </a:lnTo>
                    <a:lnTo>
                      <a:pt x="0" y="2"/>
                    </a:lnTo>
                    <a:lnTo>
                      <a:pt x="11" y="2"/>
                    </a:lnTo>
                    <a:lnTo>
                      <a:pt x="11" y="58"/>
                    </a:lnTo>
                    <a:lnTo>
                      <a:pt x="40" y="58"/>
                    </a:lnTo>
                    <a:lnTo>
                      <a:pt x="40" y="6"/>
                    </a:lnTo>
                    <a:lnTo>
                      <a:pt x="51" y="6"/>
                    </a:lnTo>
                    <a:lnTo>
                      <a:pt x="51" y="58"/>
                    </a:lnTo>
                    <a:lnTo>
                      <a:pt x="83" y="58"/>
                    </a:lnTo>
                    <a:lnTo>
                      <a:pt x="83" y="0"/>
                    </a:lnTo>
                    <a:lnTo>
                      <a:pt x="94" y="0"/>
                    </a:lnTo>
                    <a:lnTo>
                      <a:pt x="94"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Freeform 1745"/>
              <p:cNvSpPr>
                <a:spLocks/>
              </p:cNvSpPr>
              <p:nvPr/>
            </p:nvSpPr>
            <p:spPr bwMode="auto">
              <a:xfrm>
                <a:off x="4056" y="1702"/>
                <a:ext cx="22" cy="14"/>
              </a:xfrm>
              <a:custGeom>
                <a:avLst/>
                <a:gdLst>
                  <a:gd name="T0" fmla="*/ 94 w 94"/>
                  <a:gd name="T1" fmla="*/ 64 h 64"/>
                  <a:gd name="T2" fmla="*/ 0 w 94"/>
                  <a:gd name="T3" fmla="*/ 64 h 64"/>
                  <a:gd name="T4" fmla="*/ 0 w 94"/>
                  <a:gd name="T5" fmla="*/ 0 h 64"/>
                  <a:gd name="T6" fmla="*/ 11 w 94"/>
                  <a:gd name="T7" fmla="*/ 0 h 64"/>
                  <a:gd name="T8" fmla="*/ 11 w 94"/>
                  <a:gd name="T9" fmla="*/ 52 h 64"/>
                  <a:gd name="T10" fmla="*/ 40 w 94"/>
                  <a:gd name="T11" fmla="*/ 52 h 64"/>
                  <a:gd name="T12" fmla="*/ 40 w 94"/>
                  <a:gd name="T13" fmla="*/ 7 h 64"/>
                  <a:gd name="T14" fmla="*/ 51 w 94"/>
                  <a:gd name="T15" fmla="*/ 7 h 64"/>
                  <a:gd name="T16" fmla="*/ 51 w 94"/>
                  <a:gd name="T17" fmla="*/ 52 h 64"/>
                  <a:gd name="T18" fmla="*/ 94 w 94"/>
                  <a:gd name="T19" fmla="*/ 52 h 64"/>
                  <a:gd name="T20" fmla="*/ 94 w 9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64">
                    <a:moveTo>
                      <a:pt x="94" y="64"/>
                    </a:moveTo>
                    <a:lnTo>
                      <a:pt x="0" y="64"/>
                    </a:lnTo>
                    <a:lnTo>
                      <a:pt x="0" y="0"/>
                    </a:lnTo>
                    <a:lnTo>
                      <a:pt x="11" y="0"/>
                    </a:lnTo>
                    <a:lnTo>
                      <a:pt x="11" y="52"/>
                    </a:lnTo>
                    <a:lnTo>
                      <a:pt x="40" y="52"/>
                    </a:lnTo>
                    <a:lnTo>
                      <a:pt x="40" y="7"/>
                    </a:lnTo>
                    <a:lnTo>
                      <a:pt x="51" y="7"/>
                    </a:lnTo>
                    <a:lnTo>
                      <a:pt x="51" y="52"/>
                    </a:lnTo>
                    <a:lnTo>
                      <a:pt x="94" y="52"/>
                    </a:lnTo>
                    <a:lnTo>
                      <a:pt x="94"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1746"/>
              <p:cNvSpPr>
                <a:spLocks/>
              </p:cNvSpPr>
              <p:nvPr/>
            </p:nvSpPr>
            <p:spPr bwMode="auto">
              <a:xfrm>
                <a:off x="3941" y="1740"/>
                <a:ext cx="22"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7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3 w 98"/>
                  <a:gd name="T31" fmla="*/ 56 h 76"/>
                  <a:gd name="T32" fmla="*/ 0 w 98"/>
                  <a:gd name="T33" fmla="*/ 39 h 76"/>
                  <a:gd name="T34" fmla="*/ 4 w 98"/>
                  <a:gd name="T35" fmla="*/ 20 h 76"/>
                  <a:gd name="T36" fmla="*/ 14 w 98"/>
                  <a:gd name="T37" fmla="*/ 8 h 76"/>
                  <a:gd name="T38" fmla="*/ 28 w 98"/>
                  <a:gd name="T39" fmla="*/ 3 h 76"/>
                  <a:gd name="T40" fmla="*/ 29 w 98"/>
                  <a:gd name="T41" fmla="*/ 15 h 76"/>
                  <a:gd name="T42" fmla="*/ 16 w 98"/>
                  <a:gd name="T43" fmla="*/ 22 h 76"/>
                  <a:gd name="T44" fmla="*/ 11 w 98"/>
                  <a:gd name="T45" fmla="*/ 38 h 76"/>
                  <a:gd name="T46" fmla="*/ 15 w 98"/>
                  <a:gd name="T47" fmla="*/ 55 h 76"/>
                  <a:gd name="T48" fmla="*/ 25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6" y="13"/>
                      <a:pt x="74" y="12"/>
                      <a:pt x="71" y="12"/>
                    </a:cubicBezTo>
                    <a:cubicBezTo>
                      <a:pt x="68" y="12"/>
                      <a:pt x="65" y="13"/>
                      <a:pt x="63" y="15"/>
                    </a:cubicBezTo>
                    <a:cubicBezTo>
                      <a:pt x="61" y="17"/>
                      <a:pt x="59" y="19"/>
                      <a:pt x="57" y="23"/>
                    </a:cubicBezTo>
                    <a:cubicBezTo>
                      <a:pt x="56"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3" y="56"/>
                    </a:cubicBezTo>
                    <a:cubicBezTo>
                      <a:pt x="1" y="51"/>
                      <a:pt x="0" y="45"/>
                      <a:pt x="0" y="39"/>
                    </a:cubicBezTo>
                    <a:cubicBezTo>
                      <a:pt x="0" y="32"/>
                      <a:pt x="1" y="25"/>
                      <a:pt x="4" y="20"/>
                    </a:cubicBezTo>
                    <a:cubicBezTo>
                      <a:pt x="6" y="15"/>
                      <a:pt x="9" y="11"/>
                      <a:pt x="14" y="8"/>
                    </a:cubicBezTo>
                    <a:cubicBezTo>
                      <a:pt x="18" y="5"/>
                      <a:pt x="23" y="3"/>
                      <a:pt x="28" y="3"/>
                    </a:cubicBezTo>
                    <a:lnTo>
                      <a:pt x="29" y="15"/>
                    </a:lnTo>
                    <a:cubicBezTo>
                      <a:pt x="23" y="16"/>
                      <a:pt x="19" y="18"/>
                      <a:pt x="16" y="22"/>
                    </a:cubicBezTo>
                    <a:cubicBezTo>
                      <a:pt x="13" y="25"/>
                      <a:pt x="11" y="31"/>
                      <a:pt x="11" y="38"/>
                    </a:cubicBezTo>
                    <a:cubicBezTo>
                      <a:pt x="11" y="46"/>
                      <a:pt x="13" y="51"/>
                      <a:pt x="15" y="55"/>
                    </a:cubicBezTo>
                    <a:cubicBezTo>
                      <a:pt x="18" y="58"/>
                      <a:pt x="22" y="60"/>
                      <a:pt x="25"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8"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1747"/>
              <p:cNvSpPr>
                <a:spLocks/>
              </p:cNvSpPr>
              <p:nvPr/>
            </p:nvSpPr>
            <p:spPr bwMode="auto">
              <a:xfrm>
                <a:off x="3941" y="1718"/>
                <a:ext cx="22" cy="19"/>
              </a:xfrm>
              <a:custGeom>
                <a:avLst/>
                <a:gdLst>
                  <a:gd name="T0" fmla="*/ 63 w 98"/>
                  <a:gd name="T1" fmla="*/ 12 h 84"/>
                  <a:gd name="T2" fmla="*/ 66 w 98"/>
                  <a:gd name="T3" fmla="*/ 0 h 84"/>
                  <a:gd name="T4" fmla="*/ 90 w 98"/>
                  <a:gd name="T5" fmla="*/ 14 h 84"/>
                  <a:gd name="T6" fmla="*/ 98 w 98"/>
                  <a:gd name="T7" fmla="*/ 39 h 84"/>
                  <a:gd name="T8" fmla="*/ 92 w 98"/>
                  <a:gd name="T9" fmla="*/ 64 h 84"/>
                  <a:gd name="T10" fmla="*/ 74 w 98"/>
                  <a:gd name="T11" fmla="*/ 79 h 84"/>
                  <a:gd name="T12" fmla="*/ 48 w 98"/>
                  <a:gd name="T13" fmla="*/ 84 h 84"/>
                  <a:gd name="T14" fmla="*/ 23 w 98"/>
                  <a:gd name="T15" fmla="*/ 78 h 84"/>
                  <a:gd name="T16" fmla="*/ 6 w 98"/>
                  <a:gd name="T17" fmla="*/ 62 h 84"/>
                  <a:gd name="T18" fmla="*/ 0 w 98"/>
                  <a:gd name="T19" fmla="*/ 39 h 84"/>
                  <a:gd name="T20" fmla="*/ 7 w 98"/>
                  <a:gd name="T21" fmla="*/ 15 h 84"/>
                  <a:gd name="T22" fmla="*/ 28 w 98"/>
                  <a:gd name="T23" fmla="*/ 1 h 84"/>
                  <a:gd name="T24" fmla="*/ 31 w 98"/>
                  <a:gd name="T25" fmla="*/ 14 h 84"/>
                  <a:gd name="T26" fmla="*/ 16 w 98"/>
                  <a:gd name="T27" fmla="*/ 23 h 84"/>
                  <a:gd name="T28" fmla="*/ 11 w 98"/>
                  <a:gd name="T29" fmla="*/ 39 h 84"/>
                  <a:gd name="T30" fmla="*/ 16 w 98"/>
                  <a:gd name="T31" fmla="*/ 57 h 84"/>
                  <a:gd name="T32" fmla="*/ 30 w 98"/>
                  <a:gd name="T33" fmla="*/ 68 h 84"/>
                  <a:gd name="T34" fmla="*/ 48 w 98"/>
                  <a:gd name="T35" fmla="*/ 71 h 84"/>
                  <a:gd name="T36" fmla="*/ 69 w 98"/>
                  <a:gd name="T37" fmla="*/ 67 h 84"/>
                  <a:gd name="T38" fmla="*/ 83 w 98"/>
                  <a:gd name="T39" fmla="*/ 56 h 84"/>
                  <a:gd name="T40" fmla="*/ 87 w 98"/>
                  <a:gd name="T41" fmla="*/ 40 h 84"/>
                  <a:gd name="T42" fmla="*/ 81 w 98"/>
                  <a:gd name="T43" fmla="*/ 22 h 84"/>
                  <a:gd name="T44" fmla="*/ 63 w 98"/>
                  <a:gd name="T4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63" y="12"/>
                    </a:moveTo>
                    <a:lnTo>
                      <a:pt x="66" y="0"/>
                    </a:lnTo>
                    <a:cubicBezTo>
                      <a:pt x="77" y="2"/>
                      <a:pt x="85" y="7"/>
                      <a:pt x="90" y="14"/>
                    </a:cubicBezTo>
                    <a:cubicBezTo>
                      <a:pt x="95" y="21"/>
                      <a:pt x="98" y="29"/>
                      <a:pt x="98" y="39"/>
                    </a:cubicBezTo>
                    <a:cubicBezTo>
                      <a:pt x="98" y="49"/>
                      <a:pt x="96" y="58"/>
                      <a:pt x="92" y="64"/>
                    </a:cubicBezTo>
                    <a:cubicBezTo>
                      <a:pt x="88" y="70"/>
                      <a:pt x="82" y="75"/>
                      <a:pt x="74" y="79"/>
                    </a:cubicBezTo>
                    <a:cubicBezTo>
                      <a:pt x="66" y="82"/>
                      <a:pt x="57" y="84"/>
                      <a:pt x="48" y="84"/>
                    </a:cubicBezTo>
                    <a:cubicBezTo>
                      <a:pt x="39" y="84"/>
                      <a:pt x="30" y="82"/>
                      <a:pt x="23" y="78"/>
                    </a:cubicBezTo>
                    <a:cubicBezTo>
                      <a:pt x="15" y="74"/>
                      <a:pt x="10" y="69"/>
                      <a:pt x="6" y="62"/>
                    </a:cubicBezTo>
                    <a:cubicBezTo>
                      <a:pt x="2" y="55"/>
                      <a:pt x="0" y="47"/>
                      <a:pt x="0" y="39"/>
                    </a:cubicBezTo>
                    <a:cubicBezTo>
                      <a:pt x="0" y="29"/>
                      <a:pt x="3" y="21"/>
                      <a:pt x="7" y="15"/>
                    </a:cubicBezTo>
                    <a:cubicBezTo>
                      <a:pt x="12" y="9"/>
                      <a:pt x="19" y="4"/>
                      <a:pt x="28" y="1"/>
                    </a:cubicBezTo>
                    <a:lnTo>
                      <a:pt x="31" y="14"/>
                    </a:lnTo>
                    <a:cubicBezTo>
                      <a:pt x="24" y="16"/>
                      <a:pt x="19" y="19"/>
                      <a:pt x="16" y="23"/>
                    </a:cubicBezTo>
                    <a:cubicBezTo>
                      <a:pt x="12" y="28"/>
                      <a:pt x="11" y="33"/>
                      <a:pt x="11" y="39"/>
                    </a:cubicBezTo>
                    <a:cubicBezTo>
                      <a:pt x="11" y="46"/>
                      <a:pt x="13" y="52"/>
                      <a:pt x="16" y="57"/>
                    </a:cubicBezTo>
                    <a:cubicBezTo>
                      <a:pt x="20" y="62"/>
                      <a:pt x="24" y="66"/>
                      <a:pt x="30" y="68"/>
                    </a:cubicBezTo>
                    <a:cubicBezTo>
                      <a:pt x="36" y="70"/>
                      <a:pt x="42" y="71"/>
                      <a:pt x="48" y="71"/>
                    </a:cubicBezTo>
                    <a:cubicBezTo>
                      <a:pt x="56" y="71"/>
                      <a:pt x="63" y="69"/>
                      <a:pt x="69" y="67"/>
                    </a:cubicBezTo>
                    <a:cubicBezTo>
                      <a:pt x="75" y="65"/>
                      <a:pt x="80" y="61"/>
                      <a:pt x="83" y="56"/>
                    </a:cubicBezTo>
                    <a:cubicBezTo>
                      <a:pt x="86" y="51"/>
                      <a:pt x="87" y="46"/>
                      <a:pt x="87" y="40"/>
                    </a:cubicBezTo>
                    <a:cubicBezTo>
                      <a:pt x="87" y="33"/>
                      <a:pt x="85" y="27"/>
                      <a:pt x="81" y="22"/>
                    </a:cubicBezTo>
                    <a:cubicBezTo>
                      <a:pt x="77" y="17"/>
                      <a:pt x="71" y="14"/>
                      <a:pt x="63"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1748"/>
              <p:cNvSpPr>
                <a:spLocks/>
              </p:cNvSpPr>
              <p:nvPr/>
            </p:nvSpPr>
            <p:spPr bwMode="auto">
              <a:xfrm>
                <a:off x="3941" y="1702"/>
                <a:ext cx="22" cy="13"/>
              </a:xfrm>
              <a:custGeom>
                <a:avLst/>
                <a:gdLst>
                  <a:gd name="T0" fmla="*/ 95 w 95"/>
                  <a:gd name="T1" fmla="*/ 59 h 59"/>
                  <a:gd name="T2" fmla="*/ 0 w 95"/>
                  <a:gd name="T3" fmla="*/ 59 h 59"/>
                  <a:gd name="T4" fmla="*/ 0 w 95"/>
                  <a:gd name="T5" fmla="*/ 46 h 59"/>
                  <a:gd name="T6" fmla="*/ 83 w 95"/>
                  <a:gd name="T7" fmla="*/ 46 h 59"/>
                  <a:gd name="T8" fmla="*/ 83 w 95"/>
                  <a:gd name="T9" fmla="*/ 0 h 59"/>
                  <a:gd name="T10" fmla="*/ 95 w 95"/>
                  <a:gd name="T11" fmla="*/ 0 h 59"/>
                  <a:gd name="T12" fmla="*/ 95 w 95"/>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5" h="59">
                    <a:moveTo>
                      <a:pt x="95" y="59"/>
                    </a:moveTo>
                    <a:lnTo>
                      <a:pt x="0" y="59"/>
                    </a:lnTo>
                    <a:lnTo>
                      <a:pt x="0" y="46"/>
                    </a:lnTo>
                    <a:lnTo>
                      <a:pt x="83" y="46"/>
                    </a:lnTo>
                    <a:lnTo>
                      <a:pt x="83" y="0"/>
                    </a:lnTo>
                    <a:lnTo>
                      <a:pt x="95" y="0"/>
                    </a:lnTo>
                    <a:lnTo>
                      <a:pt x="95" y="5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1749"/>
              <p:cNvSpPr>
                <a:spLocks/>
              </p:cNvSpPr>
              <p:nvPr/>
            </p:nvSpPr>
            <p:spPr bwMode="auto">
              <a:xfrm>
                <a:off x="3998" y="1740"/>
                <a:ext cx="23"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8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4 w 98"/>
                  <a:gd name="T31" fmla="*/ 56 h 76"/>
                  <a:gd name="T32" fmla="*/ 0 w 98"/>
                  <a:gd name="T33" fmla="*/ 39 h 76"/>
                  <a:gd name="T34" fmla="*/ 4 w 98"/>
                  <a:gd name="T35" fmla="*/ 20 h 76"/>
                  <a:gd name="T36" fmla="*/ 14 w 98"/>
                  <a:gd name="T37" fmla="*/ 8 h 76"/>
                  <a:gd name="T38" fmla="*/ 29 w 98"/>
                  <a:gd name="T39" fmla="*/ 3 h 76"/>
                  <a:gd name="T40" fmla="*/ 29 w 98"/>
                  <a:gd name="T41" fmla="*/ 15 h 76"/>
                  <a:gd name="T42" fmla="*/ 16 w 98"/>
                  <a:gd name="T43" fmla="*/ 22 h 76"/>
                  <a:gd name="T44" fmla="*/ 11 w 98"/>
                  <a:gd name="T45" fmla="*/ 38 h 76"/>
                  <a:gd name="T46" fmla="*/ 15 w 98"/>
                  <a:gd name="T47" fmla="*/ 55 h 76"/>
                  <a:gd name="T48" fmla="*/ 26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7" y="13"/>
                      <a:pt x="74" y="12"/>
                      <a:pt x="71" y="12"/>
                    </a:cubicBezTo>
                    <a:cubicBezTo>
                      <a:pt x="68" y="12"/>
                      <a:pt x="65" y="13"/>
                      <a:pt x="63" y="15"/>
                    </a:cubicBezTo>
                    <a:cubicBezTo>
                      <a:pt x="61" y="17"/>
                      <a:pt x="59" y="19"/>
                      <a:pt x="58" y="23"/>
                    </a:cubicBezTo>
                    <a:cubicBezTo>
                      <a:pt x="57"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4" y="56"/>
                    </a:cubicBezTo>
                    <a:cubicBezTo>
                      <a:pt x="1" y="51"/>
                      <a:pt x="0" y="45"/>
                      <a:pt x="0" y="39"/>
                    </a:cubicBezTo>
                    <a:cubicBezTo>
                      <a:pt x="0" y="32"/>
                      <a:pt x="1" y="25"/>
                      <a:pt x="4" y="20"/>
                    </a:cubicBezTo>
                    <a:cubicBezTo>
                      <a:pt x="6" y="15"/>
                      <a:pt x="9" y="11"/>
                      <a:pt x="14" y="8"/>
                    </a:cubicBezTo>
                    <a:cubicBezTo>
                      <a:pt x="18" y="5"/>
                      <a:pt x="23" y="3"/>
                      <a:pt x="29" y="3"/>
                    </a:cubicBezTo>
                    <a:lnTo>
                      <a:pt x="29" y="15"/>
                    </a:lnTo>
                    <a:cubicBezTo>
                      <a:pt x="23" y="16"/>
                      <a:pt x="19" y="18"/>
                      <a:pt x="16" y="22"/>
                    </a:cubicBezTo>
                    <a:cubicBezTo>
                      <a:pt x="13" y="25"/>
                      <a:pt x="11" y="31"/>
                      <a:pt x="11" y="38"/>
                    </a:cubicBezTo>
                    <a:cubicBezTo>
                      <a:pt x="11" y="46"/>
                      <a:pt x="13" y="51"/>
                      <a:pt x="15" y="55"/>
                    </a:cubicBezTo>
                    <a:cubicBezTo>
                      <a:pt x="18" y="58"/>
                      <a:pt x="22" y="60"/>
                      <a:pt x="26"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9"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1750"/>
              <p:cNvSpPr>
                <a:spLocks noEditPoints="1"/>
              </p:cNvSpPr>
              <p:nvPr/>
            </p:nvSpPr>
            <p:spPr bwMode="auto">
              <a:xfrm>
                <a:off x="3999" y="1719"/>
                <a:ext cx="21" cy="17"/>
              </a:xfrm>
              <a:custGeom>
                <a:avLst/>
                <a:gdLst>
                  <a:gd name="T0" fmla="*/ 95 w 95"/>
                  <a:gd name="T1" fmla="*/ 78 h 78"/>
                  <a:gd name="T2" fmla="*/ 0 w 95"/>
                  <a:gd name="T3" fmla="*/ 78 h 78"/>
                  <a:gd name="T4" fmla="*/ 0 w 95"/>
                  <a:gd name="T5" fmla="*/ 45 h 78"/>
                  <a:gd name="T6" fmla="*/ 1 w 95"/>
                  <a:gd name="T7" fmla="*/ 28 h 78"/>
                  <a:gd name="T8" fmla="*/ 8 w 95"/>
                  <a:gd name="T9" fmla="*/ 15 h 78"/>
                  <a:gd name="T10" fmla="*/ 24 w 95"/>
                  <a:gd name="T11" fmla="*/ 3 h 78"/>
                  <a:gd name="T12" fmla="*/ 47 w 95"/>
                  <a:gd name="T13" fmla="*/ 0 h 78"/>
                  <a:gd name="T14" fmla="*/ 66 w 95"/>
                  <a:gd name="T15" fmla="*/ 2 h 78"/>
                  <a:gd name="T16" fmla="*/ 80 w 95"/>
                  <a:gd name="T17" fmla="*/ 9 h 78"/>
                  <a:gd name="T18" fmla="*/ 88 w 95"/>
                  <a:gd name="T19" fmla="*/ 17 h 78"/>
                  <a:gd name="T20" fmla="*/ 93 w 95"/>
                  <a:gd name="T21" fmla="*/ 29 h 78"/>
                  <a:gd name="T22" fmla="*/ 95 w 95"/>
                  <a:gd name="T23" fmla="*/ 44 h 78"/>
                  <a:gd name="T24" fmla="*/ 95 w 95"/>
                  <a:gd name="T25" fmla="*/ 78 h 78"/>
                  <a:gd name="T26" fmla="*/ 83 w 95"/>
                  <a:gd name="T27" fmla="*/ 65 h 78"/>
                  <a:gd name="T28" fmla="*/ 83 w 95"/>
                  <a:gd name="T29" fmla="*/ 45 h 78"/>
                  <a:gd name="T30" fmla="*/ 82 w 95"/>
                  <a:gd name="T31" fmla="*/ 31 h 78"/>
                  <a:gd name="T32" fmla="*/ 77 w 95"/>
                  <a:gd name="T33" fmla="*/ 22 h 78"/>
                  <a:gd name="T34" fmla="*/ 65 w 95"/>
                  <a:gd name="T35" fmla="*/ 15 h 78"/>
                  <a:gd name="T36" fmla="*/ 47 w 95"/>
                  <a:gd name="T37" fmla="*/ 13 h 78"/>
                  <a:gd name="T38" fmla="*/ 24 w 95"/>
                  <a:gd name="T39" fmla="*/ 17 h 78"/>
                  <a:gd name="T40" fmla="*/ 13 w 95"/>
                  <a:gd name="T41" fmla="*/ 29 h 78"/>
                  <a:gd name="T42" fmla="*/ 11 w 95"/>
                  <a:gd name="T43" fmla="*/ 46 h 78"/>
                  <a:gd name="T44" fmla="*/ 11 w 95"/>
                  <a:gd name="T45" fmla="*/ 65 h 78"/>
                  <a:gd name="T46" fmla="*/ 83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0" y="32"/>
                      <a:pt x="1" y="28"/>
                    </a:cubicBezTo>
                    <a:cubicBezTo>
                      <a:pt x="2" y="23"/>
                      <a:pt x="5" y="18"/>
                      <a:pt x="8" y="15"/>
                    </a:cubicBezTo>
                    <a:cubicBezTo>
                      <a:pt x="12" y="10"/>
                      <a:pt x="18" y="6"/>
                      <a:pt x="24" y="3"/>
                    </a:cubicBezTo>
                    <a:cubicBezTo>
                      <a:pt x="31" y="1"/>
                      <a:pt x="38" y="0"/>
                      <a:pt x="47" y="0"/>
                    </a:cubicBezTo>
                    <a:cubicBezTo>
                      <a:pt x="54" y="0"/>
                      <a:pt x="60" y="1"/>
                      <a:pt x="66" y="2"/>
                    </a:cubicBezTo>
                    <a:cubicBezTo>
                      <a:pt x="71" y="4"/>
                      <a:pt x="76" y="6"/>
                      <a:pt x="80" y="9"/>
                    </a:cubicBezTo>
                    <a:cubicBezTo>
                      <a:pt x="83" y="11"/>
                      <a:pt x="86" y="14"/>
                      <a:pt x="88" y="17"/>
                    </a:cubicBezTo>
                    <a:cubicBezTo>
                      <a:pt x="90" y="20"/>
                      <a:pt x="92" y="24"/>
                      <a:pt x="93" y="29"/>
                    </a:cubicBezTo>
                    <a:cubicBezTo>
                      <a:pt x="94" y="33"/>
                      <a:pt x="95" y="38"/>
                      <a:pt x="95" y="44"/>
                    </a:cubicBezTo>
                    <a:lnTo>
                      <a:pt x="95" y="78"/>
                    </a:lnTo>
                    <a:close/>
                    <a:moveTo>
                      <a:pt x="83" y="65"/>
                    </a:moveTo>
                    <a:lnTo>
                      <a:pt x="83" y="45"/>
                    </a:lnTo>
                    <a:cubicBezTo>
                      <a:pt x="83" y="39"/>
                      <a:pt x="83" y="34"/>
                      <a:pt x="82" y="31"/>
                    </a:cubicBezTo>
                    <a:cubicBezTo>
                      <a:pt x="81" y="27"/>
                      <a:pt x="79" y="24"/>
                      <a:pt x="77" y="22"/>
                    </a:cubicBezTo>
                    <a:cubicBezTo>
                      <a:pt x="74" y="19"/>
                      <a:pt x="70" y="17"/>
                      <a:pt x="65" y="15"/>
                    </a:cubicBezTo>
                    <a:cubicBezTo>
                      <a:pt x="60" y="13"/>
                      <a:pt x="54" y="13"/>
                      <a:pt x="47" y="13"/>
                    </a:cubicBezTo>
                    <a:cubicBezTo>
                      <a:pt x="37" y="13"/>
                      <a:pt x="29" y="14"/>
                      <a:pt x="24" y="17"/>
                    </a:cubicBezTo>
                    <a:cubicBezTo>
                      <a:pt x="18" y="21"/>
                      <a:pt x="15" y="25"/>
                      <a:pt x="13" y="29"/>
                    </a:cubicBezTo>
                    <a:cubicBezTo>
                      <a:pt x="12" y="33"/>
                      <a:pt x="11" y="38"/>
                      <a:pt x="11" y="46"/>
                    </a:cubicBezTo>
                    <a:lnTo>
                      <a:pt x="11" y="65"/>
                    </a:lnTo>
                    <a:lnTo>
                      <a:pt x="83"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1751"/>
              <p:cNvSpPr>
                <a:spLocks noEditPoints="1"/>
              </p:cNvSpPr>
              <p:nvPr/>
            </p:nvSpPr>
            <p:spPr bwMode="auto">
              <a:xfrm>
                <a:off x="3999" y="1697"/>
                <a:ext cx="21" cy="20"/>
              </a:xfrm>
              <a:custGeom>
                <a:avLst/>
                <a:gdLst>
                  <a:gd name="T0" fmla="*/ 95 w 95"/>
                  <a:gd name="T1" fmla="*/ 89 h 89"/>
                  <a:gd name="T2" fmla="*/ 0 w 95"/>
                  <a:gd name="T3" fmla="*/ 52 h 89"/>
                  <a:gd name="T4" fmla="*/ 0 w 95"/>
                  <a:gd name="T5" fmla="*/ 39 h 89"/>
                  <a:gd name="T6" fmla="*/ 95 w 95"/>
                  <a:gd name="T7" fmla="*/ 0 h 89"/>
                  <a:gd name="T8" fmla="*/ 95 w 95"/>
                  <a:gd name="T9" fmla="*/ 14 h 89"/>
                  <a:gd name="T10" fmla="*/ 66 w 95"/>
                  <a:gd name="T11" fmla="*/ 25 h 89"/>
                  <a:gd name="T12" fmla="*/ 66 w 95"/>
                  <a:gd name="T13" fmla="*/ 65 h 89"/>
                  <a:gd name="T14" fmla="*/ 95 w 95"/>
                  <a:gd name="T15" fmla="*/ 75 h 89"/>
                  <a:gd name="T16" fmla="*/ 95 w 95"/>
                  <a:gd name="T17" fmla="*/ 89 h 89"/>
                  <a:gd name="T18" fmla="*/ 56 w 95"/>
                  <a:gd name="T19" fmla="*/ 61 h 89"/>
                  <a:gd name="T20" fmla="*/ 56 w 95"/>
                  <a:gd name="T21" fmla="*/ 29 h 89"/>
                  <a:gd name="T22" fmla="*/ 29 w 95"/>
                  <a:gd name="T23" fmla="*/ 39 h 89"/>
                  <a:gd name="T24" fmla="*/ 10 w 95"/>
                  <a:gd name="T25" fmla="*/ 46 h 89"/>
                  <a:gd name="T26" fmla="*/ 28 w 95"/>
                  <a:gd name="T27" fmla="*/ 51 h 89"/>
                  <a:gd name="T28" fmla="*/ 56 w 95"/>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9">
                    <a:moveTo>
                      <a:pt x="95" y="89"/>
                    </a:moveTo>
                    <a:lnTo>
                      <a:pt x="0" y="52"/>
                    </a:lnTo>
                    <a:lnTo>
                      <a:pt x="0" y="39"/>
                    </a:lnTo>
                    <a:lnTo>
                      <a:pt x="95" y="0"/>
                    </a:lnTo>
                    <a:lnTo>
                      <a:pt x="95" y="14"/>
                    </a:lnTo>
                    <a:lnTo>
                      <a:pt x="66" y="25"/>
                    </a:lnTo>
                    <a:lnTo>
                      <a:pt x="66" y="65"/>
                    </a:lnTo>
                    <a:lnTo>
                      <a:pt x="95" y="75"/>
                    </a:lnTo>
                    <a:lnTo>
                      <a:pt x="95" y="89"/>
                    </a:lnTo>
                    <a:close/>
                    <a:moveTo>
                      <a:pt x="56" y="61"/>
                    </a:moveTo>
                    <a:lnTo>
                      <a:pt x="56" y="29"/>
                    </a:lnTo>
                    <a:lnTo>
                      <a:pt x="29" y="39"/>
                    </a:lnTo>
                    <a:cubicBezTo>
                      <a:pt x="22"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1752"/>
              <p:cNvSpPr>
                <a:spLocks/>
              </p:cNvSpPr>
              <p:nvPr/>
            </p:nvSpPr>
            <p:spPr bwMode="auto">
              <a:xfrm>
                <a:off x="4116" y="1737"/>
                <a:ext cx="23"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2 h 87"/>
                  <a:gd name="T16" fmla="*/ 49 w 98"/>
                  <a:gd name="T17" fmla="*/ 87 h 87"/>
                  <a:gd name="T18" fmla="*/ 23 w 98"/>
                  <a:gd name="T19" fmla="*/ 82 h 87"/>
                  <a:gd name="T20" fmla="*/ 6 w 98"/>
                  <a:gd name="T21" fmla="*/ 65 h 87"/>
                  <a:gd name="T22" fmla="*/ 0 w 98"/>
                  <a:gd name="T23" fmla="*/ 40 h 87"/>
                  <a:gd name="T24" fmla="*/ 3 w 98"/>
                  <a:gd name="T25" fmla="*/ 22 h 87"/>
                  <a:gd name="T26" fmla="*/ 12 w 98"/>
                  <a:gd name="T27" fmla="*/ 8 h 87"/>
                  <a:gd name="T28" fmla="*/ 28 w 98"/>
                  <a:gd name="T29" fmla="*/ 1 h 87"/>
                  <a:gd name="T30" fmla="*/ 31 w 98"/>
                  <a:gd name="T31" fmla="*/ 13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5 h 87"/>
                  <a:gd name="T46" fmla="*/ 70 w 98"/>
                  <a:gd name="T47" fmla="*/ 70 h 87"/>
                  <a:gd name="T48" fmla="*/ 82 w 98"/>
                  <a:gd name="T49" fmla="*/ 58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6" y="25"/>
                      <a:pt x="98" y="32"/>
                      <a:pt x="98" y="39"/>
                    </a:cubicBezTo>
                    <a:cubicBezTo>
                      <a:pt x="98" y="48"/>
                      <a:pt x="96" y="57"/>
                      <a:pt x="92" y="64"/>
                    </a:cubicBezTo>
                    <a:cubicBezTo>
                      <a:pt x="88" y="72"/>
                      <a:pt x="82" y="78"/>
                      <a:pt x="74" y="82"/>
                    </a:cubicBezTo>
                    <a:cubicBezTo>
                      <a:pt x="67" y="86"/>
                      <a:pt x="59" y="87"/>
                      <a:pt x="49" y="87"/>
                    </a:cubicBezTo>
                    <a:cubicBezTo>
                      <a:pt x="40" y="87"/>
                      <a:pt x="31" y="86"/>
                      <a:pt x="23" y="82"/>
                    </a:cubicBezTo>
                    <a:cubicBezTo>
                      <a:pt x="15" y="78"/>
                      <a:pt x="9" y="72"/>
                      <a:pt x="6" y="65"/>
                    </a:cubicBezTo>
                    <a:cubicBezTo>
                      <a:pt x="2" y="58"/>
                      <a:pt x="0" y="50"/>
                      <a:pt x="0" y="40"/>
                    </a:cubicBezTo>
                    <a:cubicBezTo>
                      <a:pt x="0" y="33"/>
                      <a:pt x="1" y="27"/>
                      <a:pt x="3" y="22"/>
                    </a:cubicBezTo>
                    <a:cubicBezTo>
                      <a:pt x="5" y="16"/>
                      <a:pt x="8" y="12"/>
                      <a:pt x="12" y="8"/>
                    </a:cubicBezTo>
                    <a:cubicBezTo>
                      <a:pt x="16" y="5"/>
                      <a:pt x="22" y="3"/>
                      <a:pt x="28" y="1"/>
                    </a:cubicBezTo>
                    <a:lnTo>
                      <a:pt x="31" y="13"/>
                    </a:lnTo>
                    <a:cubicBezTo>
                      <a:pt x="26" y="14"/>
                      <a:pt x="22" y="16"/>
                      <a:pt x="20" y="18"/>
                    </a:cubicBezTo>
                    <a:cubicBezTo>
                      <a:pt x="17" y="20"/>
                      <a:pt x="15" y="23"/>
                      <a:pt x="13" y="27"/>
                    </a:cubicBezTo>
                    <a:cubicBezTo>
                      <a:pt x="11" y="31"/>
                      <a:pt x="11" y="35"/>
                      <a:pt x="11" y="40"/>
                    </a:cubicBezTo>
                    <a:cubicBezTo>
                      <a:pt x="11" y="46"/>
                      <a:pt x="11" y="51"/>
                      <a:pt x="13" y="55"/>
                    </a:cubicBezTo>
                    <a:cubicBezTo>
                      <a:pt x="15" y="59"/>
                      <a:pt x="17" y="62"/>
                      <a:pt x="20" y="65"/>
                    </a:cubicBezTo>
                    <a:cubicBezTo>
                      <a:pt x="23" y="68"/>
                      <a:pt x="26" y="70"/>
                      <a:pt x="29" y="71"/>
                    </a:cubicBezTo>
                    <a:cubicBezTo>
                      <a:pt x="35" y="73"/>
                      <a:pt x="42" y="75"/>
                      <a:pt x="48" y="75"/>
                    </a:cubicBezTo>
                    <a:cubicBezTo>
                      <a:pt x="57" y="75"/>
                      <a:pt x="64" y="73"/>
                      <a:pt x="70" y="70"/>
                    </a:cubicBezTo>
                    <a:cubicBezTo>
                      <a:pt x="75" y="67"/>
                      <a:pt x="80" y="63"/>
                      <a:pt x="82" y="58"/>
                    </a:cubicBezTo>
                    <a:cubicBezTo>
                      <a:pt x="85" y="52"/>
                      <a:pt x="86" y="46"/>
                      <a:pt x="86" y="40"/>
                    </a:cubicBezTo>
                    <a:cubicBezTo>
                      <a:pt x="86" y="34"/>
                      <a:pt x="85" y="29"/>
                      <a:pt x="83" y="24"/>
                    </a:cubicBezTo>
                    <a:cubicBezTo>
                      <a:pt x="81" y="19"/>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1753"/>
              <p:cNvSpPr>
                <a:spLocks/>
              </p:cNvSpPr>
              <p:nvPr/>
            </p:nvSpPr>
            <p:spPr bwMode="auto">
              <a:xfrm>
                <a:off x="4117" y="1716"/>
                <a:ext cx="21" cy="17"/>
              </a:xfrm>
              <a:custGeom>
                <a:avLst/>
                <a:gdLst>
                  <a:gd name="T0" fmla="*/ 95 w 95"/>
                  <a:gd name="T1" fmla="*/ 75 h 75"/>
                  <a:gd name="T2" fmla="*/ 0 w 95"/>
                  <a:gd name="T3" fmla="*/ 75 h 75"/>
                  <a:gd name="T4" fmla="*/ 0 w 95"/>
                  <a:gd name="T5" fmla="*/ 62 h 75"/>
                  <a:gd name="T6" fmla="*/ 75 w 95"/>
                  <a:gd name="T7" fmla="*/ 12 h 75"/>
                  <a:gd name="T8" fmla="*/ 0 w 95"/>
                  <a:gd name="T9" fmla="*/ 12 h 75"/>
                  <a:gd name="T10" fmla="*/ 0 w 95"/>
                  <a:gd name="T11" fmla="*/ 0 h 75"/>
                  <a:gd name="T12" fmla="*/ 95 w 95"/>
                  <a:gd name="T13" fmla="*/ 0 h 75"/>
                  <a:gd name="T14" fmla="*/ 95 w 95"/>
                  <a:gd name="T15" fmla="*/ 13 h 75"/>
                  <a:gd name="T16" fmla="*/ 21 w 95"/>
                  <a:gd name="T17" fmla="*/ 63 h 75"/>
                  <a:gd name="T18" fmla="*/ 95 w 95"/>
                  <a:gd name="T19" fmla="*/ 63 h 75"/>
                  <a:gd name="T20" fmla="*/ 95 w 95"/>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5">
                    <a:moveTo>
                      <a:pt x="95" y="75"/>
                    </a:moveTo>
                    <a:lnTo>
                      <a:pt x="0" y="75"/>
                    </a:lnTo>
                    <a:lnTo>
                      <a:pt x="0" y="62"/>
                    </a:lnTo>
                    <a:lnTo>
                      <a:pt x="75" y="12"/>
                    </a:lnTo>
                    <a:lnTo>
                      <a:pt x="0" y="12"/>
                    </a:lnTo>
                    <a:lnTo>
                      <a:pt x="0" y="0"/>
                    </a:lnTo>
                    <a:lnTo>
                      <a:pt x="95" y="0"/>
                    </a:lnTo>
                    <a:lnTo>
                      <a:pt x="95" y="13"/>
                    </a:lnTo>
                    <a:lnTo>
                      <a:pt x="21" y="63"/>
                    </a:lnTo>
                    <a:lnTo>
                      <a:pt x="95" y="63"/>
                    </a:lnTo>
                    <a:lnTo>
                      <a:pt x="9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Freeform 1754"/>
              <p:cNvSpPr>
                <a:spLocks noEditPoints="1"/>
              </p:cNvSpPr>
              <p:nvPr/>
            </p:nvSpPr>
            <p:spPr bwMode="auto">
              <a:xfrm>
                <a:off x="4117" y="1694"/>
                <a:ext cx="21" cy="18"/>
              </a:xfrm>
              <a:custGeom>
                <a:avLst/>
                <a:gdLst>
                  <a:gd name="T0" fmla="*/ 95 w 95"/>
                  <a:gd name="T1" fmla="*/ 78 h 78"/>
                  <a:gd name="T2" fmla="*/ 0 w 95"/>
                  <a:gd name="T3" fmla="*/ 78 h 78"/>
                  <a:gd name="T4" fmla="*/ 0 w 95"/>
                  <a:gd name="T5" fmla="*/ 45 h 78"/>
                  <a:gd name="T6" fmla="*/ 2 w 95"/>
                  <a:gd name="T7" fmla="*/ 28 h 78"/>
                  <a:gd name="T8" fmla="*/ 9 w 95"/>
                  <a:gd name="T9" fmla="*/ 15 h 78"/>
                  <a:gd name="T10" fmla="*/ 25 w 95"/>
                  <a:gd name="T11" fmla="*/ 3 h 78"/>
                  <a:gd name="T12" fmla="*/ 47 w 95"/>
                  <a:gd name="T13" fmla="*/ 0 h 78"/>
                  <a:gd name="T14" fmla="*/ 66 w 95"/>
                  <a:gd name="T15" fmla="*/ 2 h 78"/>
                  <a:gd name="T16" fmla="*/ 80 w 95"/>
                  <a:gd name="T17" fmla="*/ 9 h 78"/>
                  <a:gd name="T18" fmla="*/ 89 w 95"/>
                  <a:gd name="T19" fmla="*/ 17 h 78"/>
                  <a:gd name="T20" fmla="*/ 93 w 95"/>
                  <a:gd name="T21" fmla="*/ 29 h 78"/>
                  <a:gd name="T22" fmla="*/ 95 w 95"/>
                  <a:gd name="T23" fmla="*/ 44 h 78"/>
                  <a:gd name="T24" fmla="*/ 95 w 95"/>
                  <a:gd name="T25" fmla="*/ 78 h 78"/>
                  <a:gd name="T26" fmla="*/ 84 w 95"/>
                  <a:gd name="T27" fmla="*/ 65 h 78"/>
                  <a:gd name="T28" fmla="*/ 84 w 95"/>
                  <a:gd name="T29" fmla="*/ 45 h 78"/>
                  <a:gd name="T30" fmla="*/ 82 w 95"/>
                  <a:gd name="T31" fmla="*/ 30 h 78"/>
                  <a:gd name="T32" fmla="*/ 77 w 95"/>
                  <a:gd name="T33" fmla="*/ 22 h 78"/>
                  <a:gd name="T34" fmla="*/ 65 w 95"/>
                  <a:gd name="T35" fmla="*/ 15 h 78"/>
                  <a:gd name="T36" fmla="*/ 47 w 95"/>
                  <a:gd name="T37" fmla="*/ 13 h 78"/>
                  <a:gd name="T38" fmla="*/ 24 w 95"/>
                  <a:gd name="T39" fmla="*/ 17 h 78"/>
                  <a:gd name="T40" fmla="*/ 14 w 95"/>
                  <a:gd name="T41" fmla="*/ 29 h 78"/>
                  <a:gd name="T42" fmla="*/ 12 w 95"/>
                  <a:gd name="T43" fmla="*/ 45 h 78"/>
                  <a:gd name="T44" fmla="*/ 12 w 95"/>
                  <a:gd name="T45" fmla="*/ 65 h 78"/>
                  <a:gd name="T46" fmla="*/ 84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1" y="32"/>
                      <a:pt x="2" y="28"/>
                    </a:cubicBezTo>
                    <a:cubicBezTo>
                      <a:pt x="3" y="23"/>
                      <a:pt x="5" y="18"/>
                      <a:pt x="9" y="15"/>
                    </a:cubicBezTo>
                    <a:cubicBezTo>
                      <a:pt x="13" y="10"/>
                      <a:pt x="18" y="6"/>
                      <a:pt x="25" y="3"/>
                    </a:cubicBezTo>
                    <a:cubicBezTo>
                      <a:pt x="31" y="1"/>
                      <a:pt x="39" y="0"/>
                      <a:pt x="47" y="0"/>
                    </a:cubicBezTo>
                    <a:cubicBezTo>
                      <a:pt x="54" y="0"/>
                      <a:pt x="61" y="0"/>
                      <a:pt x="66" y="2"/>
                    </a:cubicBezTo>
                    <a:cubicBezTo>
                      <a:pt x="72" y="4"/>
                      <a:pt x="77" y="6"/>
                      <a:pt x="80" y="9"/>
                    </a:cubicBezTo>
                    <a:cubicBezTo>
                      <a:pt x="84" y="11"/>
                      <a:pt x="87" y="14"/>
                      <a:pt x="89" y="17"/>
                    </a:cubicBezTo>
                    <a:cubicBezTo>
                      <a:pt x="91" y="20"/>
                      <a:pt x="92" y="24"/>
                      <a:pt x="93" y="29"/>
                    </a:cubicBezTo>
                    <a:cubicBezTo>
                      <a:pt x="95" y="33"/>
                      <a:pt x="95" y="38"/>
                      <a:pt x="95" y="44"/>
                    </a:cubicBezTo>
                    <a:lnTo>
                      <a:pt x="95" y="78"/>
                    </a:lnTo>
                    <a:close/>
                    <a:moveTo>
                      <a:pt x="84" y="65"/>
                    </a:moveTo>
                    <a:lnTo>
                      <a:pt x="84" y="45"/>
                    </a:lnTo>
                    <a:cubicBezTo>
                      <a:pt x="84" y="39"/>
                      <a:pt x="83" y="34"/>
                      <a:pt x="82" y="30"/>
                    </a:cubicBezTo>
                    <a:cubicBezTo>
                      <a:pt x="81" y="27"/>
                      <a:pt x="79" y="24"/>
                      <a:pt x="77" y="22"/>
                    </a:cubicBezTo>
                    <a:cubicBezTo>
                      <a:pt x="74" y="19"/>
                      <a:pt x="70" y="17"/>
                      <a:pt x="65" y="15"/>
                    </a:cubicBezTo>
                    <a:cubicBezTo>
                      <a:pt x="60" y="13"/>
                      <a:pt x="54" y="13"/>
                      <a:pt x="47" y="13"/>
                    </a:cubicBezTo>
                    <a:cubicBezTo>
                      <a:pt x="37" y="13"/>
                      <a:pt x="30" y="14"/>
                      <a:pt x="24" y="17"/>
                    </a:cubicBezTo>
                    <a:cubicBezTo>
                      <a:pt x="19" y="21"/>
                      <a:pt x="15" y="25"/>
                      <a:pt x="14" y="29"/>
                    </a:cubicBezTo>
                    <a:cubicBezTo>
                      <a:pt x="12" y="33"/>
                      <a:pt x="12" y="38"/>
                      <a:pt x="12" y="45"/>
                    </a:cubicBezTo>
                    <a:lnTo>
                      <a:pt x="12" y="65"/>
                    </a:lnTo>
                    <a:lnTo>
                      <a:pt x="84"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1755"/>
              <p:cNvSpPr>
                <a:spLocks noEditPoints="1"/>
              </p:cNvSpPr>
              <p:nvPr/>
            </p:nvSpPr>
            <p:spPr bwMode="auto">
              <a:xfrm>
                <a:off x="4265" y="2692"/>
                <a:ext cx="19" cy="17"/>
              </a:xfrm>
              <a:custGeom>
                <a:avLst/>
                <a:gdLst>
                  <a:gd name="T0" fmla="*/ 84 w 84"/>
                  <a:gd name="T1" fmla="*/ 75 h 75"/>
                  <a:gd name="T2" fmla="*/ 0 w 84"/>
                  <a:gd name="T3" fmla="*/ 75 h 75"/>
                  <a:gd name="T4" fmla="*/ 0 w 84"/>
                  <a:gd name="T5" fmla="*/ 37 h 75"/>
                  <a:gd name="T6" fmla="*/ 2 w 84"/>
                  <a:gd name="T7" fmla="*/ 20 h 75"/>
                  <a:gd name="T8" fmla="*/ 10 w 84"/>
                  <a:gd name="T9" fmla="*/ 11 h 75"/>
                  <a:gd name="T10" fmla="*/ 23 w 84"/>
                  <a:gd name="T11" fmla="*/ 7 h 75"/>
                  <a:gd name="T12" fmla="*/ 38 w 84"/>
                  <a:gd name="T13" fmla="*/ 13 h 75"/>
                  <a:gd name="T14" fmla="*/ 45 w 84"/>
                  <a:gd name="T15" fmla="*/ 31 h 75"/>
                  <a:gd name="T16" fmla="*/ 50 w 84"/>
                  <a:gd name="T17" fmla="*/ 24 h 75"/>
                  <a:gd name="T18" fmla="*/ 61 w 84"/>
                  <a:gd name="T19" fmla="*/ 15 h 75"/>
                  <a:gd name="T20" fmla="*/ 84 w 84"/>
                  <a:gd name="T21" fmla="*/ 0 h 75"/>
                  <a:gd name="T22" fmla="*/ 84 w 84"/>
                  <a:gd name="T23" fmla="*/ 14 h 75"/>
                  <a:gd name="T24" fmla="*/ 66 w 84"/>
                  <a:gd name="T25" fmla="*/ 25 h 75"/>
                  <a:gd name="T26" fmla="*/ 55 w 84"/>
                  <a:gd name="T27" fmla="*/ 33 h 75"/>
                  <a:gd name="T28" fmla="*/ 49 w 84"/>
                  <a:gd name="T29" fmla="*/ 39 h 75"/>
                  <a:gd name="T30" fmla="*/ 47 w 84"/>
                  <a:gd name="T31" fmla="*/ 44 h 75"/>
                  <a:gd name="T32" fmla="*/ 46 w 84"/>
                  <a:gd name="T33" fmla="*/ 50 h 75"/>
                  <a:gd name="T34" fmla="*/ 46 w 84"/>
                  <a:gd name="T35" fmla="*/ 63 h 75"/>
                  <a:gd name="T36" fmla="*/ 84 w 84"/>
                  <a:gd name="T37" fmla="*/ 63 h 75"/>
                  <a:gd name="T38" fmla="*/ 84 w 84"/>
                  <a:gd name="T39" fmla="*/ 75 h 75"/>
                  <a:gd name="T40" fmla="*/ 37 w 84"/>
                  <a:gd name="T41" fmla="*/ 63 h 75"/>
                  <a:gd name="T42" fmla="*/ 37 w 84"/>
                  <a:gd name="T43" fmla="*/ 39 h 75"/>
                  <a:gd name="T44" fmla="*/ 35 w 84"/>
                  <a:gd name="T45" fmla="*/ 27 h 75"/>
                  <a:gd name="T46" fmla="*/ 30 w 84"/>
                  <a:gd name="T47" fmla="*/ 21 h 75"/>
                  <a:gd name="T48" fmla="*/ 23 w 84"/>
                  <a:gd name="T49" fmla="*/ 19 h 75"/>
                  <a:gd name="T50" fmla="*/ 13 w 84"/>
                  <a:gd name="T51" fmla="*/ 23 h 75"/>
                  <a:gd name="T52" fmla="*/ 9 w 84"/>
                  <a:gd name="T53" fmla="*/ 37 h 75"/>
                  <a:gd name="T54" fmla="*/ 9 w 84"/>
                  <a:gd name="T55" fmla="*/ 63 h 75"/>
                  <a:gd name="T56" fmla="*/ 37 w 84"/>
                  <a:gd name="T57" fmla="*/ 6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5">
                    <a:moveTo>
                      <a:pt x="84" y="75"/>
                    </a:moveTo>
                    <a:lnTo>
                      <a:pt x="0" y="75"/>
                    </a:lnTo>
                    <a:lnTo>
                      <a:pt x="0" y="37"/>
                    </a:lnTo>
                    <a:cubicBezTo>
                      <a:pt x="0" y="30"/>
                      <a:pt x="0" y="24"/>
                      <a:pt x="2" y="20"/>
                    </a:cubicBezTo>
                    <a:cubicBezTo>
                      <a:pt x="3" y="16"/>
                      <a:pt x="6" y="13"/>
                      <a:pt x="10" y="11"/>
                    </a:cubicBezTo>
                    <a:cubicBezTo>
                      <a:pt x="14" y="8"/>
                      <a:pt x="18" y="7"/>
                      <a:pt x="23" y="7"/>
                    </a:cubicBezTo>
                    <a:cubicBezTo>
                      <a:pt x="29" y="7"/>
                      <a:pt x="34" y="9"/>
                      <a:pt x="38" y="13"/>
                    </a:cubicBezTo>
                    <a:cubicBezTo>
                      <a:pt x="42" y="17"/>
                      <a:pt x="44" y="23"/>
                      <a:pt x="45" y="31"/>
                    </a:cubicBezTo>
                    <a:cubicBezTo>
                      <a:pt x="47" y="28"/>
                      <a:pt x="48" y="26"/>
                      <a:pt x="50" y="24"/>
                    </a:cubicBezTo>
                    <a:cubicBezTo>
                      <a:pt x="53" y="21"/>
                      <a:pt x="56" y="18"/>
                      <a:pt x="61" y="15"/>
                    </a:cubicBezTo>
                    <a:lnTo>
                      <a:pt x="84" y="0"/>
                    </a:lnTo>
                    <a:lnTo>
                      <a:pt x="84" y="14"/>
                    </a:lnTo>
                    <a:lnTo>
                      <a:pt x="66" y="25"/>
                    </a:lnTo>
                    <a:cubicBezTo>
                      <a:pt x="61" y="29"/>
                      <a:pt x="57" y="31"/>
                      <a:pt x="55" y="33"/>
                    </a:cubicBezTo>
                    <a:cubicBezTo>
                      <a:pt x="52" y="36"/>
                      <a:pt x="50" y="37"/>
                      <a:pt x="49" y="39"/>
                    </a:cubicBezTo>
                    <a:cubicBezTo>
                      <a:pt x="48" y="41"/>
                      <a:pt x="47" y="42"/>
                      <a:pt x="47" y="44"/>
                    </a:cubicBezTo>
                    <a:cubicBezTo>
                      <a:pt x="47" y="45"/>
                      <a:pt x="46" y="48"/>
                      <a:pt x="46" y="50"/>
                    </a:cubicBezTo>
                    <a:lnTo>
                      <a:pt x="46" y="63"/>
                    </a:lnTo>
                    <a:lnTo>
                      <a:pt x="84" y="63"/>
                    </a:lnTo>
                    <a:lnTo>
                      <a:pt x="84" y="75"/>
                    </a:lnTo>
                    <a:close/>
                    <a:moveTo>
                      <a:pt x="37" y="63"/>
                    </a:moveTo>
                    <a:lnTo>
                      <a:pt x="37" y="39"/>
                    </a:lnTo>
                    <a:cubicBezTo>
                      <a:pt x="37" y="34"/>
                      <a:pt x="36" y="30"/>
                      <a:pt x="35" y="27"/>
                    </a:cubicBezTo>
                    <a:cubicBezTo>
                      <a:pt x="34" y="25"/>
                      <a:pt x="32" y="22"/>
                      <a:pt x="30" y="21"/>
                    </a:cubicBezTo>
                    <a:cubicBezTo>
                      <a:pt x="28" y="19"/>
                      <a:pt x="25" y="19"/>
                      <a:pt x="23" y="19"/>
                    </a:cubicBezTo>
                    <a:cubicBezTo>
                      <a:pt x="19" y="19"/>
                      <a:pt x="15" y="20"/>
                      <a:pt x="13" y="23"/>
                    </a:cubicBezTo>
                    <a:cubicBezTo>
                      <a:pt x="10" y="26"/>
                      <a:pt x="9" y="30"/>
                      <a:pt x="9" y="37"/>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Freeform 1756"/>
              <p:cNvSpPr>
                <a:spLocks/>
              </p:cNvSpPr>
              <p:nvPr/>
            </p:nvSpPr>
            <p:spPr bwMode="auto">
              <a:xfrm>
                <a:off x="4265" y="2675"/>
                <a:ext cx="19" cy="14"/>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1757"/>
              <p:cNvSpPr>
                <a:spLocks/>
              </p:cNvSpPr>
              <p:nvPr/>
            </p:nvSpPr>
            <p:spPr bwMode="auto">
              <a:xfrm>
                <a:off x="4264" y="2657"/>
                <a:ext cx="20" cy="16"/>
              </a:xfrm>
              <a:custGeom>
                <a:avLst/>
                <a:gdLst>
                  <a:gd name="T0" fmla="*/ 59 w 87"/>
                  <a:gd name="T1" fmla="*/ 68 h 68"/>
                  <a:gd name="T2" fmla="*/ 58 w 87"/>
                  <a:gd name="T3" fmla="*/ 57 h 68"/>
                  <a:gd name="T4" fmla="*/ 68 w 87"/>
                  <a:gd name="T5" fmla="*/ 54 h 68"/>
                  <a:gd name="T6" fmla="*/ 75 w 87"/>
                  <a:gd name="T7" fmla="*/ 45 h 68"/>
                  <a:gd name="T8" fmla="*/ 77 w 87"/>
                  <a:gd name="T9" fmla="*/ 32 h 68"/>
                  <a:gd name="T10" fmla="*/ 75 w 87"/>
                  <a:gd name="T11" fmla="*/ 21 h 68"/>
                  <a:gd name="T12" fmla="*/ 70 w 87"/>
                  <a:gd name="T13" fmla="*/ 14 h 68"/>
                  <a:gd name="T14" fmla="*/ 63 w 87"/>
                  <a:gd name="T15" fmla="*/ 11 h 68"/>
                  <a:gd name="T16" fmla="*/ 56 w 87"/>
                  <a:gd name="T17" fmla="*/ 14 h 68"/>
                  <a:gd name="T18" fmla="*/ 51 w 87"/>
                  <a:gd name="T19" fmla="*/ 21 h 68"/>
                  <a:gd name="T20" fmla="*/ 47 w 87"/>
                  <a:gd name="T21" fmla="*/ 36 h 68"/>
                  <a:gd name="T22" fmla="*/ 42 w 87"/>
                  <a:gd name="T23" fmla="*/ 52 h 68"/>
                  <a:gd name="T24" fmla="*/ 34 w 87"/>
                  <a:gd name="T25" fmla="*/ 61 h 68"/>
                  <a:gd name="T26" fmla="*/ 23 w 87"/>
                  <a:gd name="T27" fmla="*/ 64 h 68"/>
                  <a:gd name="T28" fmla="*/ 11 w 87"/>
                  <a:gd name="T29" fmla="*/ 61 h 68"/>
                  <a:gd name="T30" fmla="*/ 3 w 87"/>
                  <a:gd name="T31" fmla="*/ 50 h 68"/>
                  <a:gd name="T32" fmla="*/ 0 w 87"/>
                  <a:gd name="T33" fmla="*/ 35 h 68"/>
                  <a:gd name="T34" fmla="*/ 3 w 87"/>
                  <a:gd name="T35" fmla="*/ 18 h 68"/>
                  <a:gd name="T36" fmla="*/ 12 w 87"/>
                  <a:gd name="T37" fmla="*/ 7 h 68"/>
                  <a:gd name="T38" fmla="*/ 25 w 87"/>
                  <a:gd name="T39" fmla="*/ 3 h 68"/>
                  <a:gd name="T40" fmla="*/ 26 w 87"/>
                  <a:gd name="T41" fmla="*/ 14 h 68"/>
                  <a:gd name="T42" fmla="*/ 14 w 87"/>
                  <a:gd name="T43" fmla="*/ 20 h 68"/>
                  <a:gd name="T44" fmla="*/ 10 w 87"/>
                  <a:gd name="T45" fmla="*/ 34 h 68"/>
                  <a:gd name="T46" fmla="*/ 14 w 87"/>
                  <a:gd name="T47" fmla="*/ 49 h 68"/>
                  <a:gd name="T48" fmla="*/ 23 w 87"/>
                  <a:gd name="T49" fmla="*/ 54 h 68"/>
                  <a:gd name="T50" fmla="*/ 30 w 87"/>
                  <a:gd name="T51" fmla="*/ 50 h 68"/>
                  <a:gd name="T52" fmla="*/ 36 w 87"/>
                  <a:gd name="T53" fmla="*/ 34 h 68"/>
                  <a:gd name="T54" fmla="*/ 41 w 87"/>
                  <a:gd name="T55" fmla="*/ 15 h 68"/>
                  <a:gd name="T56" fmla="*/ 50 w 87"/>
                  <a:gd name="T57" fmla="*/ 4 h 68"/>
                  <a:gd name="T58" fmla="*/ 62 w 87"/>
                  <a:gd name="T59" fmla="*/ 0 h 68"/>
                  <a:gd name="T60" fmla="*/ 75 w 87"/>
                  <a:gd name="T61" fmla="*/ 4 h 68"/>
                  <a:gd name="T62" fmla="*/ 84 w 87"/>
                  <a:gd name="T63" fmla="*/ 15 h 68"/>
                  <a:gd name="T64" fmla="*/ 87 w 87"/>
                  <a:gd name="T65" fmla="*/ 32 h 68"/>
                  <a:gd name="T66" fmla="*/ 84 w 87"/>
                  <a:gd name="T67" fmla="*/ 51 h 68"/>
                  <a:gd name="T68" fmla="*/ 74 w 87"/>
                  <a:gd name="T69" fmla="*/ 63 h 68"/>
                  <a:gd name="T70" fmla="*/ 59 w 87"/>
                  <a:gd name="T7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8">
                    <a:moveTo>
                      <a:pt x="59" y="68"/>
                    </a:moveTo>
                    <a:lnTo>
                      <a:pt x="58" y="57"/>
                    </a:lnTo>
                    <a:cubicBezTo>
                      <a:pt x="62" y="57"/>
                      <a:pt x="66" y="55"/>
                      <a:pt x="68" y="54"/>
                    </a:cubicBezTo>
                    <a:cubicBezTo>
                      <a:pt x="71" y="52"/>
                      <a:pt x="73" y="49"/>
                      <a:pt x="75" y="45"/>
                    </a:cubicBezTo>
                    <a:cubicBezTo>
                      <a:pt x="76" y="41"/>
                      <a:pt x="77" y="37"/>
                      <a:pt x="77" y="32"/>
                    </a:cubicBezTo>
                    <a:cubicBezTo>
                      <a:pt x="77" y="28"/>
                      <a:pt x="77" y="24"/>
                      <a:pt x="75" y="21"/>
                    </a:cubicBezTo>
                    <a:cubicBezTo>
                      <a:pt x="74" y="18"/>
                      <a:pt x="72" y="15"/>
                      <a:pt x="70" y="14"/>
                    </a:cubicBezTo>
                    <a:cubicBezTo>
                      <a:pt x="68" y="12"/>
                      <a:pt x="66" y="11"/>
                      <a:pt x="63" y="11"/>
                    </a:cubicBezTo>
                    <a:cubicBezTo>
                      <a:pt x="60" y="11"/>
                      <a:pt x="58" y="12"/>
                      <a:pt x="56" y="14"/>
                    </a:cubicBezTo>
                    <a:cubicBezTo>
                      <a:pt x="54" y="15"/>
                      <a:pt x="52" y="18"/>
                      <a:pt x="51" y="21"/>
                    </a:cubicBezTo>
                    <a:cubicBezTo>
                      <a:pt x="50" y="23"/>
                      <a:pt x="49" y="28"/>
                      <a:pt x="47" y="36"/>
                    </a:cubicBezTo>
                    <a:cubicBezTo>
                      <a:pt x="45" y="44"/>
                      <a:pt x="43" y="49"/>
                      <a:pt x="42" y="52"/>
                    </a:cubicBezTo>
                    <a:cubicBezTo>
                      <a:pt x="40" y="56"/>
                      <a:pt x="37" y="59"/>
                      <a:pt x="34" y="61"/>
                    </a:cubicBezTo>
                    <a:cubicBezTo>
                      <a:pt x="31" y="63"/>
                      <a:pt x="27" y="64"/>
                      <a:pt x="23" y="64"/>
                    </a:cubicBezTo>
                    <a:cubicBezTo>
                      <a:pt x="19" y="64"/>
                      <a:pt x="15" y="63"/>
                      <a:pt x="11" y="61"/>
                    </a:cubicBezTo>
                    <a:cubicBezTo>
                      <a:pt x="8" y="58"/>
                      <a:pt x="5" y="55"/>
                      <a:pt x="3" y="50"/>
                    </a:cubicBezTo>
                    <a:cubicBezTo>
                      <a:pt x="1" y="46"/>
                      <a:pt x="0" y="40"/>
                      <a:pt x="0" y="35"/>
                    </a:cubicBezTo>
                    <a:cubicBezTo>
                      <a:pt x="0" y="28"/>
                      <a:pt x="1" y="23"/>
                      <a:pt x="3" y="18"/>
                    </a:cubicBezTo>
                    <a:cubicBezTo>
                      <a:pt x="5" y="13"/>
                      <a:pt x="8" y="10"/>
                      <a:pt x="12" y="7"/>
                    </a:cubicBezTo>
                    <a:cubicBezTo>
                      <a:pt x="16" y="5"/>
                      <a:pt x="20" y="3"/>
                      <a:pt x="25" y="3"/>
                    </a:cubicBezTo>
                    <a:lnTo>
                      <a:pt x="26" y="14"/>
                    </a:lnTo>
                    <a:cubicBezTo>
                      <a:pt x="21" y="14"/>
                      <a:pt x="17" y="16"/>
                      <a:pt x="14" y="20"/>
                    </a:cubicBezTo>
                    <a:cubicBezTo>
                      <a:pt x="11" y="23"/>
                      <a:pt x="10" y="28"/>
                      <a:pt x="10" y="34"/>
                    </a:cubicBezTo>
                    <a:cubicBezTo>
                      <a:pt x="10" y="41"/>
                      <a:pt x="11" y="46"/>
                      <a:pt x="14" y="49"/>
                    </a:cubicBezTo>
                    <a:cubicBezTo>
                      <a:pt x="16" y="52"/>
                      <a:pt x="19" y="54"/>
                      <a:pt x="23" y="54"/>
                    </a:cubicBezTo>
                    <a:cubicBezTo>
                      <a:pt x="26" y="54"/>
                      <a:pt x="28" y="53"/>
                      <a:pt x="30" y="50"/>
                    </a:cubicBezTo>
                    <a:cubicBezTo>
                      <a:pt x="32" y="48"/>
                      <a:pt x="34" y="43"/>
                      <a:pt x="36" y="34"/>
                    </a:cubicBezTo>
                    <a:cubicBezTo>
                      <a:pt x="38" y="24"/>
                      <a:pt x="40" y="18"/>
                      <a:pt x="41" y="15"/>
                    </a:cubicBezTo>
                    <a:cubicBezTo>
                      <a:pt x="44" y="10"/>
                      <a:pt x="47" y="6"/>
                      <a:pt x="50" y="4"/>
                    </a:cubicBezTo>
                    <a:cubicBezTo>
                      <a:pt x="54" y="2"/>
                      <a:pt x="58" y="0"/>
                      <a:pt x="62" y="0"/>
                    </a:cubicBezTo>
                    <a:cubicBezTo>
                      <a:pt x="67" y="0"/>
                      <a:pt x="71" y="2"/>
                      <a:pt x="75" y="4"/>
                    </a:cubicBezTo>
                    <a:cubicBezTo>
                      <a:pt x="79" y="7"/>
                      <a:pt x="82" y="11"/>
                      <a:pt x="84" y="15"/>
                    </a:cubicBezTo>
                    <a:cubicBezTo>
                      <a:pt x="86" y="20"/>
                      <a:pt x="87" y="26"/>
                      <a:pt x="87" y="32"/>
                    </a:cubicBezTo>
                    <a:cubicBezTo>
                      <a:pt x="87" y="39"/>
                      <a:pt x="86" y="46"/>
                      <a:pt x="84" y="51"/>
                    </a:cubicBezTo>
                    <a:cubicBezTo>
                      <a:pt x="82" y="56"/>
                      <a:pt x="78" y="60"/>
                      <a:pt x="74" y="63"/>
                    </a:cubicBezTo>
                    <a:cubicBezTo>
                      <a:pt x="69" y="66"/>
                      <a:pt x="64" y="67"/>
                      <a:pt x="59" y="6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1758"/>
              <p:cNvSpPr>
                <a:spLocks/>
              </p:cNvSpPr>
              <p:nvPr/>
            </p:nvSpPr>
            <p:spPr bwMode="auto">
              <a:xfrm>
                <a:off x="4265" y="2639"/>
                <a:ext cx="19" cy="15"/>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1759"/>
              <p:cNvSpPr>
                <a:spLocks/>
              </p:cNvSpPr>
              <p:nvPr/>
            </p:nvSpPr>
            <p:spPr bwMode="auto">
              <a:xfrm>
                <a:off x="4265" y="2622"/>
                <a:ext cx="19" cy="15"/>
              </a:xfrm>
              <a:custGeom>
                <a:avLst/>
                <a:gdLst>
                  <a:gd name="T0" fmla="*/ 84 w 84"/>
                  <a:gd name="T1" fmla="*/ 39 h 67"/>
                  <a:gd name="T2" fmla="*/ 9 w 84"/>
                  <a:gd name="T3" fmla="*/ 39 h 67"/>
                  <a:gd name="T4" fmla="*/ 9 w 84"/>
                  <a:gd name="T5" fmla="*/ 67 h 67"/>
                  <a:gd name="T6" fmla="*/ 0 w 84"/>
                  <a:gd name="T7" fmla="*/ 67 h 67"/>
                  <a:gd name="T8" fmla="*/ 0 w 84"/>
                  <a:gd name="T9" fmla="*/ 0 h 67"/>
                  <a:gd name="T10" fmla="*/ 9 w 84"/>
                  <a:gd name="T11" fmla="*/ 0 h 67"/>
                  <a:gd name="T12" fmla="*/ 9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9" y="39"/>
                    </a:lnTo>
                    <a:lnTo>
                      <a:pt x="9" y="67"/>
                    </a:lnTo>
                    <a:lnTo>
                      <a:pt x="0" y="67"/>
                    </a:lnTo>
                    <a:lnTo>
                      <a:pt x="0" y="0"/>
                    </a:lnTo>
                    <a:lnTo>
                      <a:pt x="9" y="0"/>
                    </a:lnTo>
                    <a:lnTo>
                      <a:pt x="9"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1760"/>
              <p:cNvSpPr>
                <a:spLocks/>
              </p:cNvSpPr>
              <p:nvPr/>
            </p:nvSpPr>
            <p:spPr bwMode="auto">
              <a:xfrm>
                <a:off x="4304" y="2691"/>
                <a:ext cx="12" cy="20"/>
              </a:xfrm>
              <a:custGeom>
                <a:avLst/>
                <a:gdLst>
                  <a:gd name="T0" fmla="*/ 0 w 55"/>
                  <a:gd name="T1" fmla="*/ 62 h 86"/>
                  <a:gd name="T2" fmla="*/ 10 w 55"/>
                  <a:gd name="T3" fmla="*/ 61 h 86"/>
                  <a:gd name="T4" fmla="*/ 16 w 55"/>
                  <a:gd name="T5" fmla="*/ 74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5 h 86"/>
                  <a:gd name="T18" fmla="*/ 22 w 55"/>
                  <a:gd name="T19" fmla="*/ 35 h 86"/>
                  <a:gd name="T20" fmla="*/ 23 w 55"/>
                  <a:gd name="T21" fmla="*/ 36 h 86"/>
                  <a:gd name="T22" fmla="*/ 35 w 55"/>
                  <a:gd name="T23" fmla="*/ 32 h 86"/>
                  <a:gd name="T24" fmla="*/ 40 w 55"/>
                  <a:gd name="T25" fmla="*/ 21 h 86"/>
                  <a:gd name="T26" fmla="*/ 37 w 55"/>
                  <a:gd name="T27" fmla="*/ 12 h 86"/>
                  <a:gd name="T28" fmla="*/ 27 w 55"/>
                  <a:gd name="T29" fmla="*/ 8 h 86"/>
                  <a:gd name="T30" fmla="*/ 17 w 55"/>
                  <a:gd name="T31" fmla="*/ 12 h 86"/>
                  <a:gd name="T32" fmla="*/ 11 w 55"/>
                  <a:gd name="T33" fmla="*/ 23 h 86"/>
                  <a:gd name="T34" fmla="*/ 1 w 55"/>
                  <a:gd name="T35" fmla="*/ 22 h 86"/>
                  <a:gd name="T36" fmla="*/ 10 w 55"/>
                  <a:gd name="T37" fmla="*/ 6 h 86"/>
                  <a:gd name="T38" fmla="*/ 26 w 55"/>
                  <a:gd name="T39" fmla="*/ 0 h 86"/>
                  <a:gd name="T40" fmla="*/ 39 w 55"/>
                  <a:gd name="T41" fmla="*/ 3 h 86"/>
                  <a:gd name="T42" fmla="*/ 48 w 55"/>
                  <a:gd name="T43" fmla="*/ 11 h 86"/>
                  <a:gd name="T44" fmla="*/ 51 w 55"/>
                  <a:gd name="T45" fmla="*/ 22 h 86"/>
                  <a:gd name="T46" fmla="*/ 48 w 55"/>
                  <a:gd name="T47" fmla="*/ 32 h 86"/>
                  <a:gd name="T48" fmla="*/ 39 w 55"/>
                  <a:gd name="T49" fmla="*/ 39 h 86"/>
                  <a:gd name="T50" fmla="*/ 51 w 55"/>
                  <a:gd name="T51" fmla="*/ 46 h 86"/>
                  <a:gd name="T52" fmla="*/ 55 w 55"/>
                  <a:gd name="T53" fmla="*/ 60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2" y="67"/>
                      <a:pt x="14" y="71"/>
                      <a:pt x="16" y="74"/>
                    </a:cubicBezTo>
                    <a:cubicBezTo>
                      <a:pt x="19" y="76"/>
                      <a:pt x="23" y="77"/>
                      <a:pt x="27" y="77"/>
                    </a:cubicBezTo>
                    <a:cubicBezTo>
                      <a:pt x="32" y="77"/>
                      <a:pt x="36" y="76"/>
                      <a:pt x="39" y="72"/>
                    </a:cubicBezTo>
                    <a:cubicBezTo>
                      <a:pt x="43" y="69"/>
                      <a:pt x="44" y="65"/>
                      <a:pt x="44" y="60"/>
                    </a:cubicBezTo>
                    <a:cubicBezTo>
                      <a:pt x="44" y="55"/>
                      <a:pt x="43" y="51"/>
                      <a:pt x="40" y="48"/>
                    </a:cubicBezTo>
                    <a:cubicBezTo>
                      <a:pt x="36" y="45"/>
                      <a:pt x="33" y="43"/>
                      <a:pt x="28" y="43"/>
                    </a:cubicBezTo>
                    <a:cubicBezTo>
                      <a:pt x="26" y="43"/>
                      <a:pt x="23" y="44"/>
                      <a:pt x="20" y="45"/>
                    </a:cubicBezTo>
                    <a:lnTo>
                      <a:pt x="22" y="35"/>
                    </a:lnTo>
                    <a:cubicBezTo>
                      <a:pt x="22" y="36"/>
                      <a:pt x="23" y="36"/>
                      <a:pt x="23" y="36"/>
                    </a:cubicBezTo>
                    <a:cubicBezTo>
                      <a:pt x="28" y="36"/>
                      <a:pt x="32" y="34"/>
                      <a:pt x="35" y="32"/>
                    </a:cubicBezTo>
                    <a:cubicBezTo>
                      <a:pt x="39" y="30"/>
                      <a:pt x="40" y="26"/>
                      <a:pt x="40" y="21"/>
                    </a:cubicBezTo>
                    <a:cubicBezTo>
                      <a:pt x="40" y="18"/>
                      <a:pt x="39" y="15"/>
                      <a:pt x="37" y="12"/>
                    </a:cubicBezTo>
                    <a:cubicBezTo>
                      <a:pt x="34" y="10"/>
                      <a:pt x="31" y="8"/>
                      <a:pt x="27" y="8"/>
                    </a:cubicBezTo>
                    <a:cubicBezTo>
                      <a:pt x="23" y="8"/>
                      <a:pt x="19" y="10"/>
                      <a:pt x="17" y="12"/>
                    </a:cubicBezTo>
                    <a:cubicBezTo>
                      <a:pt x="14" y="15"/>
                      <a:pt x="12" y="18"/>
                      <a:pt x="11" y="23"/>
                    </a:cubicBezTo>
                    <a:lnTo>
                      <a:pt x="1" y="22"/>
                    </a:lnTo>
                    <a:cubicBezTo>
                      <a:pt x="2" y="15"/>
                      <a:pt x="5" y="9"/>
                      <a:pt x="10" y="6"/>
                    </a:cubicBezTo>
                    <a:cubicBezTo>
                      <a:pt x="14" y="2"/>
                      <a:pt x="20" y="0"/>
                      <a:pt x="26" y="0"/>
                    </a:cubicBezTo>
                    <a:cubicBezTo>
                      <a:pt x="31" y="0"/>
                      <a:pt x="35" y="1"/>
                      <a:pt x="39" y="3"/>
                    </a:cubicBezTo>
                    <a:cubicBezTo>
                      <a:pt x="43" y="5"/>
                      <a:pt x="46" y="7"/>
                      <a:pt x="48" y="11"/>
                    </a:cubicBezTo>
                    <a:cubicBezTo>
                      <a:pt x="50" y="14"/>
                      <a:pt x="51" y="18"/>
                      <a:pt x="51" y="22"/>
                    </a:cubicBezTo>
                    <a:cubicBezTo>
                      <a:pt x="51" y="25"/>
                      <a:pt x="50" y="29"/>
                      <a:pt x="48" y="32"/>
                    </a:cubicBezTo>
                    <a:cubicBezTo>
                      <a:pt x="46" y="35"/>
                      <a:pt x="43" y="37"/>
                      <a:pt x="39" y="39"/>
                    </a:cubicBezTo>
                    <a:cubicBezTo>
                      <a:pt x="44" y="40"/>
                      <a:pt x="48" y="42"/>
                      <a:pt x="51" y="46"/>
                    </a:cubicBezTo>
                    <a:cubicBezTo>
                      <a:pt x="54" y="50"/>
                      <a:pt x="55" y="54"/>
                      <a:pt x="55" y="60"/>
                    </a:cubicBezTo>
                    <a:cubicBezTo>
                      <a:pt x="55" y="67"/>
                      <a:pt x="53"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1761"/>
              <p:cNvSpPr>
                <a:spLocks/>
              </p:cNvSpPr>
              <p:nvPr/>
            </p:nvSpPr>
            <p:spPr bwMode="auto">
              <a:xfrm>
                <a:off x="4317" y="2691"/>
                <a:ext cx="18" cy="20"/>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1"/>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1762"/>
              <p:cNvSpPr>
                <a:spLocks/>
              </p:cNvSpPr>
              <p:nvPr/>
            </p:nvSpPr>
            <p:spPr bwMode="auto">
              <a:xfrm>
                <a:off x="4336" y="2691"/>
                <a:ext cx="13" cy="20"/>
              </a:xfrm>
              <a:custGeom>
                <a:avLst/>
                <a:gdLst>
                  <a:gd name="T0" fmla="*/ 0 w 56"/>
                  <a:gd name="T1" fmla="*/ 62 h 86"/>
                  <a:gd name="T2" fmla="*/ 11 w 56"/>
                  <a:gd name="T3" fmla="*/ 61 h 86"/>
                  <a:gd name="T4" fmla="*/ 17 w 56"/>
                  <a:gd name="T5" fmla="*/ 74 h 86"/>
                  <a:gd name="T6" fmla="*/ 27 w 56"/>
                  <a:gd name="T7" fmla="*/ 77 h 86"/>
                  <a:gd name="T8" fmla="*/ 40 w 56"/>
                  <a:gd name="T9" fmla="*/ 72 h 86"/>
                  <a:gd name="T10" fmla="*/ 45 w 56"/>
                  <a:gd name="T11" fmla="*/ 60 h 86"/>
                  <a:gd name="T12" fmla="*/ 40 w 56"/>
                  <a:gd name="T13" fmla="*/ 48 h 86"/>
                  <a:gd name="T14" fmla="*/ 28 w 56"/>
                  <a:gd name="T15" fmla="*/ 43 h 86"/>
                  <a:gd name="T16" fmla="*/ 21 w 56"/>
                  <a:gd name="T17" fmla="*/ 45 h 86"/>
                  <a:gd name="T18" fmla="*/ 22 w 56"/>
                  <a:gd name="T19" fmla="*/ 35 h 86"/>
                  <a:gd name="T20" fmla="*/ 24 w 56"/>
                  <a:gd name="T21" fmla="*/ 36 h 86"/>
                  <a:gd name="T22" fmla="*/ 35 w 56"/>
                  <a:gd name="T23" fmla="*/ 32 h 86"/>
                  <a:gd name="T24" fmla="*/ 41 w 56"/>
                  <a:gd name="T25" fmla="*/ 21 h 86"/>
                  <a:gd name="T26" fmla="*/ 37 w 56"/>
                  <a:gd name="T27" fmla="*/ 12 h 86"/>
                  <a:gd name="T28" fmla="*/ 27 w 56"/>
                  <a:gd name="T29" fmla="*/ 8 h 86"/>
                  <a:gd name="T30" fmla="*/ 17 w 56"/>
                  <a:gd name="T31" fmla="*/ 12 h 86"/>
                  <a:gd name="T32" fmla="*/ 12 w 56"/>
                  <a:gd name="T33" fmla="*/ 23 h 86"/>
                  <a:gd name="T34" fmla="*/ 1 w 56"/>
                  <a:gd name="T35" fmla="*/ 22 h 86"/>
                  <a:gd name="T36" fmla="*/ 10 w 56"/>
                  <a:gd name="T37" fmla="*/ 6 h 86"/>
                  <a:gd name="T38" fmla="*/ 27 w 56"/>
                  <a:gd name="T39" fmla="*/ 0 h 86"/>
                  <a:gd name="T40" fmla="*/ 39 w 56"/>
                  <a:gd name="T41" fmla="*/ 3 h 86"/>
                  <a:gd name="T42" fmla="*/ 48 w 56"/>
                  <a:gd name="T43" fmla="*/ 11 h 86"/>
                  <a:gd name="T44" fmla="*/ 51 w 56"/>
                  <a:gd name="T45" fmla="*/ 22 h 86"/>
                  <a:gd name="T46" fmla="*/ 48 w 56"/>
                  <a:gd name="T47" fmla="*/ 32 h 86"/>
                  <a:gd name="T48" fmla="*/ 40 w 56"/>
                  <a:gd name="T49" fmla="*/ 39 h 86"/>
                  <a:gd name="T50" fmla="*/ 51 w 56"/>
                  <a:gd name="T51" fmla="*/ 46 h 86"/>
                  <a:gd name="T52" fmla="*/ 56 w 56"/>
                  <a:gd name="T53" fmla="*/ 60 h 86"/>
                  <a:gd name="T54" fmla="*/ 48 w 56"/>
                  <a:gd name="T55" fmla="*/ 78 h 86"/>
                  <a:gd name="T56" fmla="*/ 27 w 56"/>
                  <a:gd name="T57" fmla="*/ 86 h 86"/>
                  <a:gd name="T58" fmla="*/ 9 w 56"/>
                  <a:gd name="T59" fmla="*/ 79 h 86"/>
                  <a:gd name="T60" fmla="*/ 0 w 56"/>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86">
                    <a:moveTo>
                      <a:pt x="0" y="62"/>
                    </a:moveTo>
                    <a:lnTo>
                      <a:pt x="11" y="61"/>
                    </a:lnTo>
                    <a:cubicBezTo>
                      <a:pt x="12" y="67"/>
                      <a:pt x="14" y="71"/>
                      <a:pt x="17" y="74"/>
                    </a:cubicBezTo>
                    <a:cubicBezTo>
                      <a:pt x="20" y="76"/>
                      <a:pt x="23" y="77"/>
                      <a:pt x="27" y="77"/>
                    </a:cubicBezTo>
                    <a:cubicBezTo>
                      <a:pt x="32" y="77"/>
                      <a:pt x="36" y="76"/>
                      <a:pt x="40" y="72"/>
                    </a:cubicBezTo>
                    <a:cubicBezTo>
                      <a:pt x="43" y="69"/>
                      <a:pt x="45" y="65"/>
                      <a:pt x="45" y="60"/>
                    </a:cubicBezTo>
                    <a:cubicBezTo>
                      <a:pt x="45" y="55"/>
                      <a:pt x="43" y="51"/>
                      <a:pt x="40" y="48"/>
                    </a:cubicBezTo>
                    <a:cubicBezTo>
                      <a:pt x="37" y="45"/>
                      <a:pt x="33" y="43"/>
                      <a:pt x="28" y="43"/>
                    </a:cubicBezTo>
                    <a:cubicBezTo>
                      <a:pt x="26" y="43"/>
                      <a:pt x="24" y="44"/>
                      <a:pt x="21" y="45"/>
                    </a:cubicBezTo>
                    <a:lnTo>
                      <a:pt x="22" y="35"/>
                    </a:lnTo>
                    <a:cubicBezTo>
                      <a:pt x="23" y="36"/>
                      <a:pt x="23" y="36"/>
                      <a:pt x="24" y="36"/>
                    </a:cubicBezTo>
                    <a:cubicBezTo>
                      <a:pt x="28" y="36"/>
                      <a:pt x="32" y="34"/>
                      <a:pt x="35" y="32"/>
                    </a:cubicBezTo>
                    <a:cubicBezTo>
                      <a:pt x="39" y="30"/>
                      <a:pt x="41" y="26"/>
                      <a:pt x="41" y="21"/>
                    </a:cubicBezTo>
                    <a:cubicBezTo>
                      <a:pt x="41" y="18"/>
                      <a:pt x="39" y="15"/>
                      <a:pt x="37" y="12"/>
                    </a:cubicBezTo>
                    <a:cubicBezTo>
                      <a:pt x="34" y="10"/>
                      <a:pt x="31" y="8"/>
                      <a:pt x="27" y="8"/>
                    </a:cubicBezTo>
                    <a:cubicBezTo>
                      <a:pt x="23" y="8"/>
                      <a:pt x="20" y="10"/>
                      <a:pt x="17" y="12"/>
                    </a:cubicBezTo>
                    <a:cubicBezTo>
                      <a:pt x="14" y="15"/>
                      <a:pt x="12" y="18"/>
                      <a:pt x="12" y="23"/>
                    </a:cubicBezTo>
                    <a:lnTo>
                      <a:pt x="1" y="22"/>
                    </a:lnTo>
                    <a:cubicBezTo>
                      <a:pt x="3" y="15"/>
                      <a:pt x="5" y="9"/>
                      <a:pt x="10" y="6"/>
                    </a:cubicBezTo>
                    <a:cubicBezTo>
                      <a:pt x="14" y="2"/>
                      <a:pt x="20" y="0"/>
                      <a:pt x="27" y="0"/>
                    </a:cubicBezTo>
                    <a:cubicBezTo>
                      <a:pt x="31" y="0"/>
                      <a:pt x="36" y="1"/>
                      <a:pt x="39" y="3"/>
                    </a:cubicBezTo>
                    <a:cubicBezTo>
                      <a:pt x="43" y="5"/>
                      <a:pt x="46" y="7"/>
                      <a:pt x="48" y="11"/>
                    </a:cubicBezTo>
                    <a:cubicBezTo>
                      <a:pt x="50" y="14"/>
                      <a:pt x="51" y="18"/>
                      <a:pt x="51" y="22"/>
                    </a:cubicBezTo>
                    <a:cubicBezTo>
                      <a:pt x="51" y="25"/>
                      <a:pt x="50" y="29"/>
                      <a:pt x="48" y="32"/>
                    </a:cubicBezTo>
                    <a:cubicBezTo>
                      <a:pt x="47" y="35"/>
                      <a:pt x="44" y="37"/>
                      <a:pt x="40" y="39"/>
                    </a:cubicBezTo>
                    <a:cubicBezTo>
                      <a:pt x="45" y="40"/>
                      <a:pt x="49" y="42"/>
                      <a:pt x="51" y="46"/>
                    </a:cubicBezTo>
                    <a:cubicBezTo>
                      <a:pt x="54" y="50"/>
                      <a:pt x="56" y="54"/>
                      <a:pt x="56" y="60"/>
                    </a:cubicBezTo>
                    <a:cubicBezTo>
                      <a:pt x="56" y="67"/>
                      <a:pt x="53" y="73"/>
                      <a:pt x="48" y="78"/>
                    </a:cubicBezTo>
                    <a:cubicBezTo>
                      <a:pt x="42" y="83"/>
                      <a:pt x="35" y="86"/>
                      <a:pt x="27" y="86"/>
                    </a:cubicBezTo>
                    <a:cubicBezTo>
                      <a:pt x="20" y="86"/>
                      <a:pt x="14" y="84"/>
                      <a:pt x="9" y="79"/>
                    </a:cubicBezTo>
                    <a:cubicBezTo>
                      <a:pt x="4"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1763"/>
              <p:cNvSpPr>
                <a:spLocks noEditPoints="1"/>
              </p:cNvSpPr>
              <p:nvPr/>
            </p:nvSpPr>
            <p:spPr bwMode="auto">
              <a:xfrm>
                <a:off x="471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1764"/>
              <p:cNvSpPr>
                <a:spLocks/>
              </p:cNvSpPr>
              <p:nvPr/>
            </p:nvSpPr>
            <p:spPr bwMode="auto">
              <a:xfrm>
                <a:off x="4740" y="2785"/>
                <a:ext cx="7" cy="19"/>
              </a:xfrm>
              <a:custGeom>
                <a:avLst/>
                <a:gdLst>
                  <a:gd name="T0" fmla="*/ 31 w 31"/>
                  <a:gd name="T1" fmla="*/ 84 h 84"/>
                  <a:gd name="T2" fmla="*/ 20 w 31"/>
                  <a:gd name="T3" fmla="*/ 84 h 84"/>
                  <a:gd name="T4" fmla="*/ 20 w 31"/>
                  <a:gd name="T5" fmla="*/ 18 h 84"/>
                  <a:gd name="T6" fmla="*/ 11 w 31"/>
                  <a:gd name="T7" fmla="*/ 25 h 84"/>
                  <a:gd name="T8" fmla="*/ 0 w 31"/>
                  <a:gd name="T9" fmla="*/ 31 h 84"/>
                  <a:gd name="T10" fmla="*/ 0 w 31"/>
                  <a:gd name="T11" fmla="*/ 21 h 84"/>
                  <a:gd name="T12" fmla="*/ 15 w 31"/>
                  <a:gd name="T13" fmla="*/ 11 h 84"/>
                  <a:gd name="T14" fmla="*/ 24 w 31"/>
                  <a:gd name="T15" fmla="*/ 0 h 84"/>
                  <a:gd name="T16" fmla="*/ 31 w 31"/>
                  <a:gd name="T17" fmla="*/ 0 h 84"/>
                  <a:gd name="T18" fmla="*/ 31 w 31"/>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4">
                    <a:moveTo>
                      <a:pt x="31" y="84"/>
                    </a:moveTo>
                    <a:lnTo>
                      <a:pt x="20" y="84"/>
                    </a:lnTo>
                    <a:lnTo>
                      <a:pt x="20" y="18"/>
                    </a:lnTo>
                    <a:cubicBezTo>
                      <a:pt x="18" y="21"/>
                      <a:pt x="15" y="23"/>
                      <a:pt x="11" y="25"/>
                    </a:cubicBezTo>
                    <a:cubicBezTo>
                      <a:pt x="7" y="28"/>
                      <a:pt x="3" y="30"/>
                      <a:pt x="0" y="31"/>
                    </a:cubicBezTo>
                    <a:lnTo>
                      <a:pt x="0" y="21"/>
                    </a:lnTo>
                    <a:cubicBezTo>
                      <a:pt x="5" y="18"/>
                      <a:pt x="11" y="15"/>
                      <a:pt x="15" y="11"/>
                    </a:cubicBezTo>
                    <a:cubicBezTo>
                      <a:pt x="19" y="7"/>
                      <a:pt x="22" y="3"/>
                      <a:pt x="24" y="0"/>
                    </a:cubicBezTo>
                    <a:lnTo>
                      <a:pt x="31" y="0"/>
                    </a:lnTo>
                    <a:lnTo>
                      <a:pt x="31"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1765"/>
              <p:cNvSpPr>
                <a:spLocks noEditPoints="1"/>
              </p:cNvSpPr>
              <p:nvPr/>
            </p:nvSpPr>
            <p:spPr bwMode="auto">
              <a:xfrm>
                <a:off x="4776"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1766"/>
              <p:cNvSpPr>
                <a:spLocks/>
              </p:cNvSpPr>
              <p:nvPr/>
            </p:nvSpPr>
            <p:spPr bwMode="auto">
              <a:xfrm>
                <a:off x="4795" y="2785"/>
                <a:ext cx="13" cy="19"/>
              </a:xfrm>
              <a:custGeom>
                <a:avLst/>
                <a:gdLst>
                  <a:gd name="T0" fmla="*/ 56 w 56"/>
                  <a:gd name="T1" fmla="*/ 74 h 84"/>
                  <a:gd name="T2" fmla="*/ 56 w 56"/>
                  <a:gd name="T3" fmla="*/ 84 h 84"/>
                  <a:gd name="T4" fmla="*/ 1 w 56"/>
                  <a:gd name="T5" fmla="*/ 84 h 84"/>
                  <a:gd name="T6" fmla="*/ 2 w 56"/>
                  <a:gd name="T7" fmla="*/ 77 h 84"/>
                  <a:gd name="T8" fmla="*/ 9 w 56"/>
                  <a:gd name="T9" fmla="*/ 66 h 84"/>
                  <a:gd name="T10" fmla="*/ 22 w 56"/>
                  <a:gd name="T11" fmla="*/ 53 h 84"/>
                  <a:gd name="T12" fmla="*/ 41 w 56"/>
                  <a:gd name="T13" fmla="*/ 35 h 84"/>
                  <a:gd name="T14" fmla="*/ 46 w 56"/>
                  <a:gd name="T15" fmla="*/ 23 h 84"/>
                  <a:gd name="T16" fmla="*/ 41 w 56"/>
                  <a:gd name="T17" fmla="*/ 12 h 84"/>
                  <a:gd name="T18" fmla="*/ 30 w 56"/>
                  <a:gd name="T19" fmla="*/ 8 h 84"/>
                  <a:gd name="T20" fmla="*/ 18 w 56"/>
                  <a:gd name="T21" fmla="*/ 13 h 84"/>
                  <a:gd name="T22" fmla="*/ 13 w 56"/>
                  <a:gd name="T23" fmla="*/ 25 h 84"/>
                  <a:gd name="T24" fmla="*/ 2 w 56"/>
                  <a:gd name="T25" fmla="*/ 24 h 84"/>
                  <a:gd name="T26" fmla="*/ 11 w 56"/>
                  <a:gd name="T27" fmla="*/ 6 h 84"/>
                  <a:gd name="T28" fmla="*/ 30 w 56"/>
                  <a:gd name="T29" fmla="*/ 0 h 84"/>
                  <a:gd name="T30" fmla="*/ 49 w 56"/>
                  <a:gd name="T31" fmla="*/ 6 h 84"/>
                  <a:gd name="T32" fmla="*/ 56 w 56"/>
                  <a:gd name="T33" fmla="*/ 23 h 84"/>
                  <a:gd name="T34" fmla="*/ 54 w 56"/>
                  <a:gd name="T35" fmla="*/ 33 h 84"/>
                  <a:gd name="T36" fmla="*/ 47 w 56"/>
                  <a:gd name="T37" fmla="*/ 43 h 84"/>
                  <a:gd name="T38" fmla="*/ 31 w 56"/>
                  <a:gd name="T39" fmla="*/ 58 h 84"/>
                  <a:gd name="T40" fmla="*/ 19 w 56"/>
                  <a:gd name="T41" fmla="*/ 69 h 84"/>
                  <a:gd name="T42" fmla="*/ 15 w 56"/>
                  <a:gd name="T43" fmla="*/ 74 h 84"/>
                  <a:gd name="T44" fmla="*/ 56 w 56"/>
                  <a:gd name="T45"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56" y="74"/>
                    </a:moveTo>
                    <a:lnTo>
                      <a:pt x="56" y="84"/>
                    </a:lnTo>
                    <a:lnTo>
                      <a:pt x="1" y="84"/>
                    </a:lnTo>
                    <a:cubicBezTo>
                      <a:pt x="0" y="82"/>
                      <a:pt x="1" y="79"/>
                      <a:pt x="2" y="77"/>
                    </a:cubicBezTo>
                    <a:cubicBezTo>
                      <a:pt x="3" y="73"/>
                      <a:pt x="5" y="70"/>
                      <a:pt x="9" y="66"/>
                    </a:cubicBezTo>
                    <a:cubicBezTo>
                      <a:pt x="12" y="62"/>
                      <a:pt x="16" y="58"/>
                      <a:pt x="22" y="53"/>
                    </a:cubicBezTo>
                    <a:cubicBezTo>
                      <a:pt x="31" y="46"/>
                      <a:pt x="37" y="40"/>
                      <a:pt x="41" y="35"/>
                    </a:cubicBezTo>
                    <a:cubicBezTo>
                      <a:pt x="44" y="31"/>
                      <a:pt x="46" y="27"/>
                      <a:pt x="46" y="23"/>
                    </a:cubicBezTo>
                    <a:cubicBezTo>
                      <a:pt x="46" y="19"/>
                      <a:pt x="44" y="15"/>
                      <a:pt x="41" y="12"/>
                    </a:cubicBezTo>
                    <a:cubicBezTo>
                      <a:pt x="38" y="10"/>
                      <a:pt x="34" y="8"/>
                      <a:pt x="30" y="8"/>
                    </a:cubicBezTo>
                    <a:cubicBezTo>
                      <a:pt x="25" y="8"/>
                      <a:pt x="21" y="10"/>
                      <a:pt x="18" y="13"/>
                    </a:cubicBezTo>
                    <a:cubicBezTo>
                      <a:pt x="15" y="16"/>
                      <a:pt x="13" y="20"/>
                      <a:pt x="13" y="25"/>
                    </a:cubicBezTo>
                    <a:lnTo>
                      <a:pt x="2" y="24"/>
                    </a:lnTo>
                    <a:cubicBezTo>
                      <a:pt x="3" y="16"/>
                      <a:pt x="6" y="10"/>
                      <a:pt x="11" y="6"/>
                    </a:cubicBezTo>
                    <a:cubicBezTo>
                      <a:pt x="15" y="2"/>
                      <a:pt x="22" y="0"/>
                      <a:pt x="30" y="0"/>
                    </a:cubicBezTo>
                    <a:cubicBezTo>
                      <a:pt x="38" y="0"/>
                      <a:pt x="44" y="2"/>
                      <a:pt x="49" y="6"/>
                    </a:cubicBezTo>
                    <a:cubicBezTo>
                      <a:pt x="54" y="11"/>
                      <a:pt x="56" y="16"/>
                      <a:pt x="56" y="23"/>
                    </a:cubicBezTo>
                    <a:cubicBezTo>
                      <a:pt x="56" y="26"/>
                      <a:pt x="55" y="30"/>
                      <a:pt x="54" y="33"/>
                    </a:cubicBezTo>
                    <a:cubicBezTo>
                      <a:pt x="53" y="36"/>
                      <a:pt x="50" y="40"/>
                      <a:pt x="47" y="43"/>
                    </a:cubicBezTo>
                    <a:cubicBezTo>
                      <a:pt x="44" y="47"/>
                      <a:pt x="39" y="52"/>
                      <a:pt x="31" y="58"/>
                    </a:cubicBezTo>
                    <a:cubicBezTo>
                      <a:pt x="25" y="63"/>
                      <a:pt x="21" y="67"/>
                      <a:pt x="19" y="69"/>
                    </a:cubicBezTo>
                    <a:cubicBezTo>
                      <a:pt x="17" y="71"/>
                      <a:pt x="16" y="72"/>
                      <a:pt x="15" y="74"/>
                    </a:cubicBezTo>
                    <a:lnTo>
                      <a:pt x="56"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1767"/>
              <p:cNvSpPr>
                <a:spLocks noEditPoints="1"/>
              </p:cNvSpPr>
              <p:nvPr/>
            </p:nvSpPr>
            <p:spPr bwMode="auto">
              <a:xfrm>
                <a:off x="4834"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1768"/>
              <p:cNvSpPr>
                <a:spLocks/>
              </p:cNvSpPr>
              <p:nvPr/>
            </p:nvSpPr>
            <p:spPr bwMode="auto">
              <a:xfrm>
                <a:off x="4853" y="2785"/>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8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3 h 86"/>
                  <a:gd name="T42" fmla="*/ 48 w 55"/>
                  <a:gd name="T43" fmla="*/ 11 h 86"/>
                  <a:gd name="T44" fmla="*/ 51 w 55"/>
                  <a:gd name="T45" fmla="*/ 22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7"/>
                      <a:pt x="13" y="71"/>
                      <a:pt x="16" y="73"/>
                    </a:cubicBezTo>
                    <a:cubicBezTo>
                      <a:pt x="19" y="76"/>
                      <a:pt x="23" y="77"/>
                      <a:pt x="27" y="77"/>
                    </a:cubicBezTo>
                    <a:cubicBezTo>
                      <a:pt x="32" y="77"/>
                      <a:pt x="36" y="76"/>
                      <a:pt x="39" y="72"/>
                    </a:cubicBezTo>
                    <a:cubicBezTo>
                      <a:pt x="42" y="69"/>
                      <a:pt x="44" y="65"/>
                      <a:pt x="44" y="60"/>
                    </a:cubicBezTo>
                    <a:cubicBezTo>
                      <a:pt x="44" y="55"/>
                      <a:pt x="42" y="51"/>
                      <a:pt x="39" y="48"/>
                    </a:cubicBezTo>
                    <a:cubicBezTo>
                      <a:pt x="36" y="45"/>
                      <a:pt x="32" y="43"/>
                      <a:pt x="28" y="43"/>
                    </a:cubicBezTo>
                    <a:cubicBezTo>
                      <a:pt x="26" y="43"/>
                      <a:pt x="23" y="44"/>
                      <a:pt x="20" y="44"/>
                    </a:cubicBezTo>
                    <a:lnTo>
                      <a:pt x="21" y="35"/>
                    </a:lnTo>
                    <a:cubicBezTo>
                      <a:pt x="22" y="35"/>
                      <a:pt x="23"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5"/>
                      <a:pt x="5" y="9"/>
                      <a:pt x="9" y="5"/>
                    </a:cubicBezTo>
                    <a:cubicBezTo>
                      <a:pt x="14" y="2"/>
                      <a:pt x="20" y="0"/>
                      <a:pt x="26" y="0"/>
                    </a:cubicBezTo>
                    <a:cubicBezTo>
                      <a:pt x="31" y="0"/>
                      <a:pt x="35" y="1"/>
                      <a:pt x="39" y="3"/>
                    </a:cubicBezTo>
                    <a:cubicBezTo>
                      <a:pt x="43" y="5"/>
                      <a:pt x="46" y="7"/>
                      <a:pt x="48" y="11"/>
                    </a:cubicBezTo>
                    <a:cubicBezTo>
                      <a:pt x="50" y="14"/>
                      <a:pt x="51" y="18"/>
                      <a:pt x="51" y="22"/>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1769"/>
              <p:cNvSpPr>
                <a:spLocks noEditPoints="1"/>
              </p:cNvSpPr>
              <p:nvPr/>
            </p:nvSpPr>
            <p:spPr bwMode="auto">
              <a:xfrm>
                <a:off x="4892"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1770"/>
              <p:cNvSpPr>
                <a:spLocks noEditPoints="1"/>
              </p:cNvSpPr>
              <p:nvPr/>
            </p:nvSpPr>
            <p:spPr bwMode="auto">
              <a:xfrm>
                <a:off x="4910" y="2785"/>
                <a:ext cx="13" cy="19"/>
              </a:xfrm>
              <a:custGeom>
                <a:avLst/>
                <a:gdLst>
                  <a:gd name="T0" fmla="*/ 37 w 59"/>
                  <a:gd name="T1" fmla="*/ 84 h 84"/>
                  <a:gd name="T2" fmla="*/ 37 w 59"/>
                  <a:gd name="T3" fmla="*/ 64 h 84"/>
                  <a:gd name="T4" fmla="*/ 0 w 59"/>
                  <a:gd name="T5" fmla="*/ 64 h 84"/>
                  <a:gd name="T6" fmla="*/ 0 w 59"/>
                  <a:gd name="T7" fmla="*/ 55 h 84"/>
                  <a:gd name="T8" fmla="*/ 39 w 59"/>
                  <a:gd name="T9" fmla="*/ 0 h 84"/>
                  <a:gd name="T10" fmla="*/ 47 w 59"/>
                  <a:gd name="T11" fmla="*/ 0 h 84"/>
                  <a:gd name="T12" fmla="*/ 47 w 59"/>
                  <a:gd name="T13" fmla="*/ 55 h 84"/>
                  <a:gd name="T14" fmla="*/ 59 w 59"/>
                  <a:gd name="T15" fmla="*/ 55 h 84"/>
                  <a:gd name="T16" fmla="*/ 59 w 59"/>
                  <a:gd name="T17" fmla="*/ 64 h 84"/>
                  <a:gd name="T18" fmla="*/ 47 w 59"/>
                  <a:gd name="T19" fmla="*/ 64 h 84"/>
                  <a:gd name="T20" fmla="*/ 47 w 59"/>
                  <a:gd name="T21" fmla="*/ 84 h 84"/>
                  <a:gd name="T22" fmla="*/ 37 w 59"/>
                  <a:gd name="T23" fmla="*/ 84 h 84"/>
                  <a:gd name="T24" fmla="*/ 37 w 59"/>
                  <a:gd name="T25" fmla="*/ 55 h 84"/>
                  <a:gd name="T26" fmla="*/ 37 w 59"/>
                  <a:gd name="T27" fmla="*/ 17 h 84"/>
                  <a:gd name="T28" fmla="*/ 11 w 59"/>
                  <a:gd name="T29" fmla="*/ 55 h 84"/>
                  <a:gd name="T30" fmla="*/ 37 w 59"/>
                  <a:gd name="T31" fmla="*/ 5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84">
                    <a:moveTo>
                      <a:pt x="37" y="84"/>
                    </a:moveTo>
                    <a:lnTo>
                      <a:pt x="37" y="64"/>
                    </a:lnTo>
                    <a:lnTo>
                      <a:pt x="0" y="64"/>
                    </a:lnTo>
                    <a:lnTo>
                      <a:pt x="0" y="55"/>
                    </a:lnTo>
                    <a:lnTo>
                      <a:pt x="39" y="0"/>
                    </a:lnTo>
                    <a:lnTo>
                      <a:pt x="47" y="0"/>
                    </a:lnTo>
                    <a:lnTo>
                      <a:pt x="47" y="55"/>
                    </a:lnTo>
                    <a:lnTo>
                      <a:pt x="59" y="55"/>
                    </a:lnTo>
                    <a:lnTo>
                      <a:pt x="59" y="64"/>
                    </a:lnTo>
                    <a:lnTo>
                      <a:pt x="47" y="64"/>
                    </a:lnTo>
                    <a:lnTo>
                      <a:pt x="47" y="84"/>
                    </a:lnTo>
                    <a:lnTo>
                      <a:pt x="37" y="84"/>
                    </a:lnTo>
                    <a:close/>
                    <a:moveTo>
                      <a:pt x="37" y="55"/>
                    </a:moveTo>
                    <a:lnTo>
                      <a:pt x="37" y="17"/>
                    </a:lnTo>
                    <a:lnTo>
                      <a:pt x="11" y="55"/>
                    </a:lnTo>
                    <a:lnTo>
                      <a:pt x="3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1771"/>
              <p:cNvSpPr>
                <a:spLocks noEditPoints="1"/>
              </p:cNvSpPr>
              <p:nvPr/>
            </p:nvSpPr>
            <p:spPr bwMode="auto">
              <a:xfrm>
                <a:off x="494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1772"/>
              <p:cNvSpPr>
                <a:spLocks/>
              </p:cNvSpPr>
              <p:nvPr/>
            </p:nvSpPr>
            <p:spPr bwMode="auto">
              <a:xfrm>
                <a:off x="4968" y="2786"/>
                <a:ext cx="13" cy="19"/>
              </a:xfrm>
              <a:custGeom>
                <a:avLst/>
                <a:gdLst>
                  <a:gd name="T0" fmla="*/ 0 w 56"/>
                  <a:gd name="T1" fmla="*/ 61 h 85"/>
                  <a:gd name="T2" fmla="*/ 11 w 56"/>
                  <a:gd name="T3" fmla="*/ 60 h 85"/>
                  <a:gd name="T4" fmla="*/ 16 w 56"/>
                  <a:gd name="T5" fmla="*/ 72 h 85"/>
                  <a:gd name="T6" fmla="*/ 27 w 56"/>
                  <a:gd name="T7" fmla="*/ 76 h 85"/>
                  <a:gd name="T8" fmla="*/ 39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3 h 85"/>
                  <a:gd name="T22" fmla="*/ 10 w 56"/>
                  <a:gd name="T23" fmla="*/ 0 h 85"/>
                  <a:gd name="T24" fmla="*/ 52 w 56"/>
                  <a:gd name="T25" fmla="*/ 0 h 85"/>
                  <a:gd name="T26" fmla="*/ 52 w 56"/>
                  <a:gd name="T27" fmla="*/ 10 h 85"/>
                  <a:gd name="T28" fmla="*/ 18 w 56"/>
                  <a:gd name="T29" fmla="*/ 10 h 85"/>
                  <a:gd name="T30" fmla="*/ 13 w 56"/>
                  <a:gd name="T31" fmla="*/ 33 h 85"/>
                  <a:gd name="T32" fmla="*/ 29 w 56"/>
                  <a:gd name="T33" fmla="*/ 27 h 85"/>
                  <a:gd name="T34" fmla="*/ 48 w 56"/>
                  <a:gd name="T35" fmla="*/ 35 h 85"/>
                  <a:gd name="T36" fmla="*/ 56 w 56"/>
                  <a:gd name="T37" fmla="*/ 55 h 85"/>
                  <a:gd name="T38" fmla="*/ 49 w 56"/>
                  <a:gd name="T39" fmla="*/ 75 h 85"/>
                  <a:gd name="T40" fmla="*/ 27 w 56"/>
                  <a:gd name="T41" fmla="*/ 85 h 85"/>
                  <a:gd name="T42" fmla="*/ 8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1" y="66"/>
                      <a:pt x="13" y="70"/>
                      <a:pt x="16" y="72"/>
                    </a:cubicBezTo>
                    <a:cubicBezTo>
                      <a:pt x="19" y="75"/>
                      <a:pt x="23" y="76"/>
                      <a:pt x="27" y="76"/>
                    </a:cubicBezTo>
                    <a:cubicBezTo>
                      <a:pt x="32" y="76"/>
                      <a:pt x="36" y="74"/>
                      <a:pt x="39" y="71"/>
                    </a:cubicBezTo>
                    <a:cubicBezTo>
                      <a:pt x="43" y="67"/>
                      <a:pt x="45" y="62"/>
                      <a:pt x="45" y="56"/>
                    </a:cubicBezTo>
                    <a:cubicBezTo>
                      <a:pt x="45" y="50"/>
                      <a:pt x="43" y="45"/>
                      <a:pt x="40" y="42"/>
                    </a:cubicBezTo>
                    <a:cubicBezTo>
                      <a:pt x="36" y="38"/>
                      <a:pt x="32" y="37"/>
                      <a:pt x="27" y="37"/>
                    </a:cubicBezTo>
                    <a:cubicBezTo>
                      <a:pt x="23" y="37"/>
                      <a:pt x="20" y="37"/>
                      <a:pt x="18" y="39"/>
                    </a:cubicBezTo>
                    <a:cubicBezTo>
                      <a:pt x="15" y="40"/>
                      <a:pt x="13" y="42"/>
                      <a:pt x="11" y="45"/>
                    </a:cubicBezTo>
                    <a:lnTo>
                      <a:pt x="2" y="43"/>
                    </a:lnTo>
                    <a:lnTo>
                      <a:pt x="10" y="0"/>
                    </a:lnTo>
                    <a:lnTo>
                      <a:pt x="52" y="0"/>
                    </a:lnTo>
                    <a:lnTo>
                      <a:pt x="52" y="10"/>
                    </a:lnTo>
                    <a:lnTo>
                      <a:pt x="18" y="10"/>
                    </a:lnTo>
                    <a:lnTo>
                      <a:pt x="13" y="33"/>
                    </a:lnTo>
                    <a:cubicBezTo>
                      <a:pt x="19" y="29"/>
                      <a:pt x="24" y="27"/>
                      <a:pt x="29" y="27"/>
                    </a:cubicBezTo>
                    <a:cubicBezTo>
                      <a:pt x="37" y="27"/>
                      <a:pt x="43" y="30"/>
                      <a:pt x="48" y="35"/>
                    </a:cubicBezTo>
                    <a:cubicBezTo>
                      <a:pt x="53" y="40"/>
                      <a:pt x="56" y="47"/>
                      <a:pt x="56" y="55"/>
                    </a:cubicBezTo>
                    <a:cubicBezTo>
                      <a:pt x="56" y="62"/>
                      <a:pt x="53" y="69"/>
                      <a:pt x="49" y="75"/>
                    </a:cubicBezTo>
                    <a:cubicBezTo>
                      <a:pt x="44" y="81"/>
                      <a:pt x="36" y="85"/>
                      <a:pt x="27" y="85"/>
                    </a:cubicBezTo>
                    <a:cubicBezTo>
                      <a:pt x="19" y="85"/>
                      <a:pt x="13" y="83"/>
                      <a:pt x="8" y="78"/>
                    </a:cubicBezTo>
                    <a:cubicBezTo>
                      <a:pt x="3" y="74"/>
                      <a:pt x="0"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1773"/>
              <p:cNvSpPr>
                <a:spLocks/>
              </p:cNvSpPr>
              <p:nvPr/>
            </p:nvSpPr>
            <p:spPr bwMode="auto">
              <a:xfrm>
                <a:off x="4537"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5 h 85"/>
                  <a:gd name="T10" fmla="*/ 43 w 78"/>
                  <a:gd name="T11" fmla="*/ 62 h 85"/>
                  <a:gd name="T12" fmla="*/ 66 w 78"/>
                  <a:gd name="T13" fmla="*/ 0 h 85"/>
                  <a:gd name="T14" fmla="*/ 78 w 78"/>
                  <a:gd name="T15" fmla="*/ 0 h 85"/>
                  <a:gd name="T16" fmla="*/ 45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5"/>
                    </a:cubicBezTo>
                    <a:cubicBezTo>
                      <a:pt x="40" y="71"/>
                      <a:pt x="42" y="66"/>
                      <a:pt x="43" y="62"/>
                    </a:cubicBezTo>
                    <a:lnTo>
                      <a:pt x="66" y="0"/>
                    </a:lnTo>
                    <a:lnTo>
                      <a:pt x="78" y="0"/>
                    </a:lnTo>
                    <a:lnTo>
                      <a:pt x="45"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Rectangle 1774"/>
              <p:cNvSpPr>
                <a:spLocks noChangeArrowheads="1"/>
              </p:cNvSpPr>
              <p:nvPr/>
            </p:nvSpPr>
            <p:spPr bwMode="auto">
              <a:xfrm>
                <a:off x="4557" y="2692"/>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1775"/>
              <p:cNvSpPr>
                <a:spLocks/>
              </p:cNvSpPr>
              <p:nvPr/>
            </p:nvSpPr>
            <p:spPr bwMode="auto">
              <a:xfrm>
                <a:off x="4564"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1776"/>
              <p:cNvSpPr>
                <a:spLocks/>
              </p:cNvSpPr>
              <p:nvPr/>
            </p:nvSpPr>
            <p:spPr bwMode="auto">
              <a:xfrm>
                <a:off x="4451" y="2894"/>
                <a:ext cx="17" cy="19"/>
              </a:xfrm>
              <a:custGeom>
                <a:avLst/>
                <a:gdLst>
                  <a:gd name="T0" fmla="*/ 33 w 77"/>
                  <a:gd name="T1" fmla="*/ 85 h 85"/>
                  <a:gd name="T2" fmla="*/ 0 w 77"/>
                  <a:gd name="T3" fmla="*/ 0 h 85"/>
                  <a:gd name="T4" fmla="*/ 12 w 77"/>
                  <a:gd name="T5" fmla="*/ 0 h 85"/>
                  <a:gd name="T6" fmla="*/ 34 w 77"/>
                  <a:gd name="T7" fmla="*/ 61 h 85"/>
                  <a:gd name="T8" fmla="*/ 38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8"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Rectangle 1777"/>
              <p:cNvSpPr>
                <a:spLocks noChangeArrowheads="1"/>
              </p:cNvSpPr>
              <p:nvPr/>
            </p:nvSpPr>
            <p:spPr bwMode="auto">
              <a:xfrm>
                <a:off x="4471" y="2894"/>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1778"/>
              <p:cNvSpPr>
                <a:spLocks/>
              </p:cNvSpPr>
              <p:nvPr/>
            </p:nvSpPr>
            <p:spPr bwMode="auto">
              <a:xfrm>
                <a:off x="4478" y="2894"/>
                <a:ext cx="15" cy="19"/>
              </a:xfrm>
              <a:custGeom>
                <a:avLst/>
                <a:gdLst>
                  <a:gd name="T0" fmla="*/ 0 w 66"/>
                  <a:gd name="T1" fmla="*/ 85 h 85"/>
                  <a:gd name="T2" fmla="*/ 0 w 66"/>
                  <a:gd name="T3" fmla="*/ 0 h 85"/>
                  <a:gd name="T4" fmla="*/ 11 w 66"/>
                  <a:gd name="T5" fmla="*/ 0 h 85"/>
                  <a:gd name="T6" fmla="*/ 56 w 66"/>
                  <a:gd name="T7" fmla="*/ 66 h 85"/>
                  <a:gd name="T8" fmla="*/ 56 w 66"/>
                  <a:gd name="T9" fmla="*/ 0 h 85"/>
                  <a:gd name="T10" fmla="*/ 66 w 66"/>
                  <a:gd name="T11" fmla="*/ 0 h 85"/>
                  <a:gd name="T12" fmla="*/ 66 w 66"/>
                  <a:gd name="T13" fmla="*/ 85 h 85"/>
                  <a:gd name="T14" fmla="*/ 55 w 66"/>
                  <a:gd name="T15" fmla="*/ 85 h 85"/>
                  <a:gd name="T16" fmla="*/ 11 w 66"/>
                  <a:gd name="T17" fmla="*/ 18 h 85"/>
                  <a:gd name="T18" fmla="*/ 11 w 66"/>
                  <a:gd name="T19" fmla="*/ 85 h 85"/>
                  <a:gd name="T20" fmla="*/ 0 w 66"/>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0" y="85"/>
                    </a:moveTo>
                    <a:lnTo>
                      <a:pt x="0" y="0"/>
                    </a:lnTo>
                    <a:lnTo>
                      <a:pt x="11" y="0"/>
                    </a:lnTo>
                    <a:lnTo>
                      <a:pt x="56" y="66"/>
                    </a:lnTo>
                    <a:lnTo>
                      <a:pt x="56" y="0"/>
                    </a:lnTo>
                    <a:lnTo>
                      <a:pt x="66" y="0"/>
                    </a:lnTo>
                    <a:lnTo>
                      <a:pt x="66"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1779"/>
              <p:cNvSpPr>
                <a:spLocks/>
              </p:cNvSpPr>
              <p:nvPr/>
            </p:nvSpPr>
            <p:spPr bwMode="auto">
              <a:xfrm>
                <a:off x="4380" y="2894"/>
                <a:ext cx="13" cy="20"/>
              </a:xfrm>
              <a:custGeom>
                <a:avLst/>
                <a:gdLst>
                  <a:gd name="T0" fmla="*/ 0 w 56"/>
                  <a:gd name="T1" fmla="*/ 61 h 85"/>
                  <a:gd name="T2" fmla="*/ 11 w 56"/>
                  <a:gd name="T3" fmla="*/ 61 h 85"/>
                  <a:gd name="T4" fmla="*/ 16 w 56"/>
                  <a:gd name="T5" fmla="*/ 72 h 85"/>
                  <a:gd name="T6" fmla="*/ 27 w 56"/>
                  <a:gd name="T7" fmla="*/ 76 h 85"/>
                  <a:gd name="T8" fmla="*/ 40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4 h 85"/>
                  <a:gd name="T22" fmla="*/ 10 w 56"/>
                  <a:gd name="T23" fmla="*/ 0 h 85"/>
                  <a:gd name="T24" fmla="*/ 52 w 56"/>
                  <a:gd name="T25" fmla="*/ 0 h 85"/>
                  <a:gd name="T26" fmla="*/ 52 w 56"/>
                  <a:gd name="T27" fmla="*/ 10 h 85"/>
                  <a:gd name="T28" fmla="*/ 18 w 56"/>
                  <a:gd name="T29" fmla="*/ 10 h 85"/>
                  <a:gd name="T30" fmla="*/ 14 w 56"/>
                  <a:gd name="T31" fmla="*/ 33 h 85"/>
                  <a:gd name="T32" fmla="*/ 30 w 56"/>
                  <a:gd name="T33" fmla="*/ 28 h 85"/>
                  <a:gd name="T34" fmla="*/ 48 w 56"/>
                  <a:gd name="T35" fmla="*/ 35 h 85"/>
                  <a:gd name="T36" fmla="*/ 56 w 56"/>
                  <a:gd name="T37" fmla="*/ 55 h 85"/>
                  <a:gd name="T38" fmla="*/ 49 w 56"/>
                  <a:gd name="T39" fmla="*/ 75 h 85"/>
                  <a:gd name="T40" fmla="*/ 27 w 56"/>
                  <a:gd name="T41" fmla="*/ 85 h 85"/>
                  <a:gd name="T42" fmla="*/ 8 w 56"/>
                  <a:gd name="T43" fmla="*/ 79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1"/>
                    </a:lnTo>
                    <a:cubicBezTo>
                      <a:pt x="12" y="66"/>
                      <a:pt x="13" y="70"/>
                      <a:pt x="16" y="72"/>
                    </a:cubicBezTo>
                    <a:cubicBezTo>
                      <a:pt x="19" y="75"/>
                      <a:pt x="23" y="76"/>
                      <a:pt x="27" y="76"/>
                    </a:cubicBezTo>
                    <a:cubicBezTo>
                      <a:pt x="32" y="76"/>
                      <a:pt x="36" y="75"/>
                      <a:pt x="40" y="71"/>
                    </a:cubicBezTo>
                    <a:cubicBezTo>
                      <a:pt x="43" y="67"/>
                      <a:pt x="45" y="62"/>
                      <a:pt x="45" y="56"/>
                    </a:cubicBezTo>
                    <a:cubicBezTo>
                      <a:pt x="45" y="50"/>
                      <a:pt x="43" y="45"/>
                      <a:pt x="40" y="42"/>
                    </a:cubicBezTo>
                    <a:cubicBezTo>
                      <a:pt x="37" y="38"/>
                      <a:pt x="32" y="37"/>
                      <a:pt x="27" y="37"/>
                    </a:cubicBezTo>
                    <a:cubicBezTo>
                      <a:pt x="23" y="37"/>
                      <a:pt x="20" y="37"/>
                      <a:pt x="18" y="39"/>
                    </a:cubicBezTo>
                    <a:cubicBezTo>
                      <a:pt x="15" y="41"/>
                      <a:pt x="13" y="42"/>
                      <a:pt x="11" y="45"/>
                    </a:cubicBezTo>
                    <a:lnTo>
                      <a:pt x="2" y="44"/>
                    </a:lnTo>
                    <a:lnTo>
                      <a:pt x="10" y="0"/>
                    </a:lnTo>
                    <a:lnTo>
                      <a:pt x="52" y="0"/>
                    </a:lnTo>
                    <a:lnTo>
                      <a:pt x="52" y="10"/>
                    </a:lnTo>
                    <a:lnTo>
                      <a:pt x="18" y="10"/>
                    </a:lnTo>
                    <a:lnTo>
                      <a:pt x="14" y="33"/>
                    </a:lnTo>
                    <a:cubicBezTo>
                      <a:pt x="19" y="29"/>
                      <a:pt x="24" y="28"/>
                      <a:pt x="30" y="28"/>
                    </a:cubicBezTo>
                    <a:cubicBezTo>
                      <a:pt x="37" y="28"/>
                      <a:pt x="43" y="30"/>
                      <a:pt x="48" y="35"/>
                    </a:cubicBezTo>
                    <a:cubicBezTo>
                      <a:pt x="53" y="40"/>
                      <a:pt x="56" y="47"/>
                      <a:pt x="56" y="55"/>
                    </a:cubicBezTo>
                    <a:cubicBezTo>
                      <a:pt x="56" y="63"/>
                      <a:pt x="54" y="69"/>
                      <a:pt x="49" y="75"/>
                    </a:cubicBezTo>
                    <a:cubicBezTo>
                      <a:pt x="44" y="82"/>
                      <a:pt x="36" y="85"/>
                      <a:pt x="27" y="85"/>
                    </a:cubicBezTo>
                    <a:cubicBezTo>
                      <a:pt x="19" y="85"/>
                      <a:pt x="13" y="83"/>
                      <a:pt x="8" y="79"/>
                    </a:cubicBezTo>
                    <a:cubicBezTo>
                      <a:pt x="3" y="74"/>
                      <a:pt x="1" y="69"/>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1780"/>
              <p:cNvSpPr>
                <a:spLocks/>
              </p:cNvSpPr>
              <p:nvPr/>
            </p:nvSpPr>
            <p:spPr bwMode="auto">
              <a:xfrm>
                <a:off x="4394" y="2894"/>
                <a:ext cx="18" cy="19"/>
              </a:xfrm>
              <a:custGeom>
                <a:avLst/>
                <a:gdLst>
                  <a:gd name="T0" fmla="*/ 33 w 77"/>
                  <a:gd name="T1" fmla="*/ 85 h 85"/>
                  <a:gd name="T2" fmla="*/ 0 w 77"/>
                  <a:gd name="T3" fmla="*/ 0 h 85"/>
                  <a:gd name="T4" fmla="*/ 12 w 77"/>
                  <a:gd name="T5" fmla="*/ 0 h 85"/>
                  <a:gd name="T6" fmla="*/ 34 w 77"/>
                  <a:gd name="T7" fmla="*/ 61 h 85"/>
                  <a:gd name="T8" fmla="*/ 39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9"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Freeform 1781"/>
              <p:cNvSpPr>
                <a:spLocks/>
              </p:cNvSpPr>
              <p:nvPr/>
            </p:nvSpPr>
            <p:spPr bwMode="auto">
              <a:xfrm>
                <a:off x="4312" y="2849"/>
                <a:ext cx="12" cy="19"/>
              </a:xfrm>
              <a:custGeom>
                <a:avLst/>
                <a:gdLst>
                  <a:gd name="T0" fmla="*/ 0 w 56"/>
                  <a:gd name="T1" fmla="*/ 61 h 85"/>
                  <a:gd name="T2" fmla="*/ 11 w 56"/>
                  <a:gd name="T3" fmla="*/ 60 h 85"/>
                  <a:gd name="T4" fmla="*/ 17 w 56"/>
                  <a:gd name="T5" fmla="*/ 72 h 85"/>
                  <a:gd name="T6" fmla="*/ 27 w 56"/>
                  <a:gd name="T7" fmla="*/ 76 h 85"/>
                  <a:gd name="T8" fmla="*/ 40 w 56"/>
                  <a:gd name="T9" fmla="*/ 71 h 85"/>
                  <a:gd name="T10" fmla="*/ 45 w 56"/>
                  <a:gd name="T11" fmla="*/ 56 h 85"/>
                  <a:gd name="T12" fmla="*/ 40 w 56"/>
                  <a:gd name="T13" fmla="*/ 42 h 85"/>
                  <a:gd name="T14" fmla="*/ 27 w 56"/>
                  <a:gd name="T15" fmla="*/ 36 h 85"/>
                  <a:gd name="T16" fmla="*/ 18 w 56"/>
                  <a:gd name="T17" fmla="*/ 39 h 85"/>
                  <a:gd name="T18" fmla="*/ 12 w 56"/>
                  <a:gd name="T19" fmla="*/ 45 h 85"/>
                  <a:gd name="T20" fmla="*/ 2 w 56"/>
                  <a:gd name="T21" fmla="*/ 43 h 85"/>
                  <a:gd name="T22" fmla="*/ 10 w 56"/>
                  <a:gd name="T23" fmla="*/ 0 h 85"/>
                  <a:gd name="T24" fmla="*/ 52 w 56"/>
                  <a:gd name="T25" fmla="*/ 0 h 85"/>
                  <a:gd name="T26" fmla="*/ 52 w 56"/>
                  <a:gd name="T27" fmla="*/ 10 h 85"/>
                  <a:gd name="T28" fmla="*/ 19 w 56"/>
                  <a:gd name="T29" fmla="*/ 10 h 85"/>
                  <a:gd name="T30" fmla="*/ 14 w 56"/>
                  <a:gd name="T31" fmla="*/ 33 h 85"/>
                  <a:gd name="T32" fmla="*/ 30 w 56"/>
                  <a:gd name="T33" fmla="*/ 27 h 85"/>
                  <a:gd name="T34" fmla="*/ 49 w 56"/>
                  <a:gd name="T35" fmla="*/ 35 h 85"/>
                  <a:gd name="T36" fmla="*/ 56 w 56"/>
                  <a:gd name="T37" fmla="*/ 55 h 85"/>
                  <a:gd name="T38" fmla="*/ 49 w 56"/>
                  <a:gd name="T39" fmla="*/ 74 h 85"/>
                  <a:gd name="T40" fmla="*/ 27 w 56"/>
                  <a:gd name="T41" fmla="*/ 85 h 85"/>
                  <a:gd name="T42" fmla="*/ 9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2" y="66"/>
                      <a:pt x="14" y="69"/>
                      <a:pt x="17" y="72"/>
                    </a:cubicBezTo>
                    <a:cubicBezTo>
                      <a:pt x="20" y="75"/>
                      <a:pt x="23" y="76"/>
                      <a:pt x="27" y="76"/>
                    </a:cubicBezTo>
                    <a:cubicBezTo>
                      <a:pt x="32" y="76"/>
                      <a:pt x="37" y="74"/>
                      <a:pt x="40" y="71"/>
                    </a:cubicBezTo>
                    <a:cubicBezTo>
                      <a:pt x="43" y="67"/>
                      <a:pt x="45" y="62"/>
                      <a:pt x="45" y="56"/>
                    </a:cubicBezTo>
                    <a:cubicBezTo>
                      <a:pt x="45" y="50"/>
                      <a:pt x="44" y="45"/>
                      <a:pt x="40" y="42"/>
                    </a:cubicBezTo>
                    <a:cubicBezTo>
                      <a:pt x="37" y="38"/>
                      <a:pt x="33" y="36"/>
                      <a:pt x="27" y="36"/>
                    </a:cubicBezTo>
                    <a:cubicBezTo>
                      <a:pt x="24" y="36"/>
                      <a:pt x="21" y="37"/>
                      <a:pt x="18" y="39"/>
                    </a:cubicBezTo>
                    <a:cubicBezTo>
                      <a:pt x="15" y="40"/>
                      <a:pt x="13" y="42"/>
                      <a:pt x="12" y="45"/>
                    </a:cubicBezTo>
                    <a:lnTo>
                      <a:pt x="2" y="43"/>
                    </a:lnTo>
                    <a:lnTo>
                      <a:pt x="10" y="0"/>
                    </a:lnTo>
                    <a:lnTo>
                      <a:pt x="52" y="0"/>
                    </a:lnTo>
                    <a:lnTo>
                      <a:pt x="52" y="10"/>
                    </a:lnTo>
                    <a:lnTo>
                      <a:pt x="19" y="10"/>
                    </a:lnTo>
                    <a:lnTo>
                      <a:pt x="14" y="33"/>
                    </a:lnTo>
                    <a:cubicBezTo>
                      <a:pt x="19" y="29"/>
                      <a:pt x="24" y="27"/>
                      <a:pt x="30" y="27"/>
                    </a:cubicBezTo>
                    <a:cubicBezTo>
                      <a:pt x="37" y="27"/>
                      <a:pt x="44" y="30"/>
                      <a:pt x="49" y="35"/>
                    </a:cubicBezTo>
                    <a:cubicBezTo>
                      <a:pt x="54" y="40"/>
                      <a:pt x="56" y="47"/>
                      <a:pt x="56" y="55"/>
                    </a:cubicBezTo>
                    <a:cubicBezTo>
                      <a:pt x="56" y="62"/>
                      <a:pt x="54" y="69"/>
                      <a:pt x="49" y="74"/>
                    </a:cubicBezTo>
                    <a:cubicBezTo>
                      <a:pt x="44" y="81"/>
                      <a:pt x="37" y="85"/>
                      <a:pt x="27" y="85"/>
                    </a:cubicBezTo>
                    <a:cubicBezTo>
                      <a:pt x="20" y="85"/>
                      <a:pt x="13" y="83"/>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1782"/>
              <p:cNvSpPr>
                <a:spLocks/>
              </p:cNvSpPr>
              <p:nvPr/>
            </p:nvSpPr>
            <p:spPr bwMode="auto">
              <a:xfrm>
                <a:off x="4326" y="2848"/>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1"/>
                      <a:pt x="39" y="75"/>
                    </a:cubicBezTo>
                    <a:cubicBezTo>
                      <a:pt x="40" y="70"/>
                      <a:pt x="42" y="66"/>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1783"/>
              <p:cNvSpPr>
                <a:spLocks/>
              </p:cNvSpPr>
              <p:nvPr/>
            </p:nvSpPr>
            <p:spPr bwMode="auto">
              <a:xfrm>
                <a:off x="4048" y="2848"/>
                <a:ext cx="12"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7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6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2" y="77"/>
                      <a:pt x="27" y="77"/>
                    </a:cubicBezTo>
                    <a:cubicBezTo>
                      <a:pt x="31" y="77"/>
                      <a:pt x="35" y="75"/>
                      <a:pt x="39" y="72"/>
                    </a:cubicBezTo>
                    <a:cubicBezTo>
                      <a:pt x="42" y="69"/>
                      <a:pt x="44" y="65"/>
                      <a:pt x="44" y="60"/>
                    </a:cubicBezTo>
                    <a:cubicBezTo>
                      <a:pt x="44" y="55"/>
                      <a:pt x="42" y="51"/>
                      <a:pt x="39" y="48"/>
                    </a:cubicBezTo>
                    <a:cubicBezTo>
                      <a:pt x="36" y="45"/>
                      <a:pt x="32" y="43"/>
                      <a:pt x="27" y="43"/>
                    </a:cubicBezTo>
                    <a:cubicBezTo>
                      <a:pt x="25" y="43"/>
                      <a:pt x="23" y="44"/>
                      <a:pt x="20" y="44"/>
                    </a:cubicBezTo>
                    <a:lnTo>
                      <a:pt x="21" y="35"/>
                    </a:lnTo>
                    <a:cubicBezTo>
                      <a:pt x="22" y="35"/>
                      <a:pt x="22"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4"/>
                      <a:pt x="5" y="9"/>
                      <a:pt x="9" y="5"/>
                    </a:cubicBezTo>
                    <a:cubicBezTo>
                      <a:pt x="14" y="1"/>
                      <a:pt x="19"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3" y="49"/>
                      <a:pt x="55" y="54"/>
                      <a:pt x="55" y="59"/>
                    </a:cubicBezTo>
                    <a:cubicBezTo>
                      <a:pt x="55" y="67"/>
                      <a:pt x="52" y="73"/>
                      <a:pt x="47" y="78"/>
                    </a:cubicBezTo>
                    <a:cubicBezTo>
                      <a:pt x="41" y="83"/>
                      <a:pt x="35" y="86"/>
                      <a:pt x="26"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Rectangle 1784"/>
              <p:cNvSpPr>
                <a:spLocks noChangeArrowheads="1"/>
              </p:cNvSpPr>
              <p:nvPr/>
            </p:nvSpPr>
            <p:spPr bwMode="auto">
              <a:xfrm>
                <a:off x="4064" y="2865"/>
                <a:ext cx="3"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1785"/>
              <p:cNvSpPr>
                <a:spLocks/>
              </p:cNvSpPr>
              <p:nvPr/>
            </p:nvSpPr>
            <p:spPr bwMode="auto">
              <a:xfrm>
                <a:off x="4070" y="2848"/>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4 h 86"/>
                  <a:gd name="T18" fmla="*/ 22 w 55"/>
                  <a:gd name="T19" fmla="*/ 35 h 86"/>
                  <a:gd name="T20" fmla="*/ 23 w 55"/>
                  <a:gd name="T21" fmla="*/ 35 h 86"/>
                  <a:gd name="T22" fmla="*/ 35 w 55"/>
                  <a:gd name="T23" fmla="*/ 32 h 86"/>
                  <a:gd name="T24" fmla="*/ 40 w 55"/>
                  <a:gd name="T25" fmla="*/ 21 h 86"/>
                  <a:gd name="T26" fmla="*/ 37 w 55"/>
                  <a:gd name="T27" fmla="*/ 12 h 86"/>
                  <a:gd name="T28" fmla="*/ 27 w 55"/>
                  <a:gd name="T29" fmla="*/ 8 h 86"/>
                  <a:gd name="T30" fmla="*/ 16 w 55"/>
                  <a:gd name="T31" fmla="*/ 12 h 86"/>
                  <a:gd name="T32" fmla="*/ 11 w 55"/>
                  <a:gd name="T33" fmla="*/ 23 h 86"/>
                  <a:gd name="T34" fmla="*/ 1 w 55"/>
                  <a:gd name="T35" fmla="*/ 21 h 86"/>
                  <a:gd name="T36" fmla="*/ 10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3" y="77"/>
                      <a:pt x="27" y="77"/>
                    </a:cubicBezTo>
                    <a:cubicBezTo>
                      <a:pt x="32" y="77"/>
                      <a:pt x="36" y="75"/>
                      <a:pt x="39" y="72"/>
                    </a:cubicBezTo>
                    <a:cubicBezTo>
                      <a:pt x="42" y="69"/>
                      <a:pt x="44" y="65"/>
                      <a:pt x="44" y="60"/>
                    </a:cubicBezTo>
                    <a:cubicBezTo>
                      <a:pt x="44" y="55"/>
                      <a:pt x="43" y="51"/>
                      <a:pt x="40" y="48"/>
                    </a:cubicBezTo>
                    <a:cubicBezTo>
                      <a:pt x="36" y="45"/>
                      <a:pt x="32" y="43"/>
                      <a:pt x="28" y="43"/>
                    </a:cubicBezTo>
                    <a:cubicBezTo>
                      <a:pt x="26" y="43"/>
                      <a:pt x="23" y="44"/>
                      <a:pt x="20" y="44"/>
                    </a:cubicBezTo>
                    <a:lnTo>
                      <a:pt x="22" y="35"/>
                    </a:lnTo>
                    <a:cubicBezTo>
                      <a:pt x="22" y="35"/>
                      <a:pt x="23" y="35"/>
                      <a:pt x="23" y="35"/>
                    </a:cubicBezTo>
                    <a:cubicBezTo>
                      <a:pt x="28" y="35"/>
                      <a:pt x="32" y="34"/>
                      <a:pt x="35" y="32"/>
                    </a:cubicBezTo>
                    <a:cubicBezTo>
                      <a:pt x="39" y="30"/>
                      <a:pt x="40" y="26"/>
                      <a:pt x="40" y="21"/>
                    </a:cubicBezTo>
                    <a:cubicBezTo>
                      <a:pt x="40" y="17"/>
                      <a:pt x="39" y="14"/>
                      <a:pt x="37" y="12"/>
                    </a:cubicBezTo>
                    <a:cubicBezTo>
                      <a:pt x="34" y="9"/>
                      <a:pt x="31" y="8"/>
                      <a:pt x="27" y="8"/>
                    </a:cubicBezTo>
                    <a:cubicBezTo>
                      <a:pt x="23" y="8"/>
                      <a:pt x="19" y="9"/>
                      <a:pt x="16" y="12"/>
                    </a:cubicBezTo>
                    <a:cubicBezTo>
                      <a:pt x="14" y="14"/>
                      <a:pt x="12" y="18"/>
                      <a:pt x="11" y="23"/>
                    </a:cubicBezTo>
                    <a:lnTo>
                      <a:pt x="1" y="21"/>
                    </a:lnTo>
                    <a:cubicBezTo>
                      <a:pt x="2" y="14"/>
                      <a:pt x="5" y="9"/>
                      <a:pt x="10" y="5"/>
                    </a:cubicBezTo>
                    <a:cubicBezTo>
                      <a:pt x="14" y="1"/>
                      <a:pt x="20"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Freeform 1786"/>
              <p:cNvSpPr>
                <a:spLocks/>
              </p:cNvSpPr>
              <p:nvPr/>
            </p:nvSpPr>
            <p:spPr bwMode="auto">
              <a:xfrm>
                <a:off x="4084" y="2848"/>
                <a:ext cx="18" cy="19"/>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0"/>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1787"/>
              <p:cNvSpPr>
                <a:spLocks noEditPoints="1"/>
              </p:cNvSpPr>
              <p:nvPr/>
            </p:nvSpPr>
            <p:spPr bwMode="auto">
              <a:xfrm>
                <a:off x="4491" y="2791"/>
                <a:ext cx="14" cy="19"/>
              </a:xfrm>
              <a:custGeom>
                <a:avLst/>
                <a:gdLst>
                  <a:gd name="T0" fmla="*/ 0 w 64"/>
                  <a:gd name="T1" fmla="*/ 84 h 84"/>
                  <a:gd name="T2" fmla="*/ 0 w 64"/>
                  <a:gd name="T3" fmla="*/ 0 h 84"/>
                  <a:gd name="T4" fmla="*/ 32 w 64"/>
                  <a:gd name="T5" fmla="*/ 0 h 84"/>
                  <a:gd name="T6" fmla="*/ 45 w 64"/>
                  <a:gd name="T7" fmla="*/ 1 h 84"/>
                  <a:gd name="T8" fmla="*/ 55 w 64"/>
                  <a:gd name="T9" fmla="*/ 5 h 84"/>
                  <a:gd name="T10" fmla="*/ 62 w 64"/>
                  <a:gd name="T11" fmla="*/ 13 h 84"/>
                  <a:gd name="T12" fmla="*/ 64 w 64"/>
                  <a:gd name="T13" fmla="*/ 24 h 84"/>
                  <a:gd name="T14" fmla="*/ 58 w 64"/>
                  <a:gd name="T15" fmla="*/ 43 h 84"/>
                  <a:gd name="T16" fmla="*/ 33 w 64"/>
                  <a:gd name="T17" fmla="*/ 50 h 84"/>
                  <a:gd name="T18" fmla="*/ 11 w 64"/>
                  <a:gd name="T19" fmla="*/ 50 h 84"/>
                  <a:gd name="T20" fmla="*/ 11 w 64"/>
                  <a:gd name="T21" fmla="*/ 84 h 84"/>
                  <a:gd name="T22" fmla="*/ 0 w 64"/>
                  <a:gd name="T23" fmla="*/ 84 h 84"/>
                  <a:gd name="T24" fmla="*/ 11 w 64"/>
                  <a:gd name="T25" fmla="*/ 40 h 84"/>
                  <a:gd name="T26" fmla="*/ 33 w 64"/>
                  <a:gd name="T27" fmla="*/ 40 h 84"/>
                  <a:gd name="T28" fmla="*/ 48 w 64"/>
                  <a:gd name="T29" fmla="*/ 36 h 84"/>
                  <a:gd name="T30" fmla="*/ 53 w 64"/>
                  <a:gd name="T31" fmla="*/ 25 h 84"/>
                  <a:gd name="T32" fmla="*/ 50 w 64"/>
                  <a:gd name="T33" fmla="*/ 16 h 84"/>
                  <a:gd name="T34" fmla="*/ 43 w 64"/>
                  <a:gd name="T35" fmla="*/ 11 h 84"/>
                  <a:gd name="T36" fmla="*/ 33 w 64"/>
                  <a:gd name="T37" fmla="*/ 10 h 84"/>
                  <a:gd name="T38" fmla="*/ 11 w 64"/>
                  <a:gd name="T39" fmla="*/ 10 h 84"/>
                  <a:gd name="T40" fmla="*/ 11 w 64"/>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84">
                    <a:moveTo>
                      <a:pt x="0" y="84"/>
                    </a:moveTo>
                    <a:lnTo>
                      <a:pt x="0" y="0"/>
                    </a:lnTo>
                    <a:lnTo>
                      <a:pt x="32" y="0"/>
                    </a:lnTo>
                    <a:cubicBezTo>
                      <a:pt x="38" y="0"/>
                      <a:pt x="42" y="0"/>
                      <a:pt x="45" y="1"/>
                    </a:cubicBezTo>
                    <a:cubicBezTo>
                      <a:pt x="49" y="1"/>
                      <a:pt x="52" y="3"/>
                      <a:pt x="55" y="5"/>
                    </a:cubicBezTo>
                    <a:cubicBezTo>
                      <a:pt x="58" y="7"/>
                      <a:pt x="60" y="9"/>
                      <a:pt x="62" y="13"/>
                    </a:cubicBezTo>
                    <a:cubicBezTo>
                      <a:pt x="64" y="16"/>
                      <a:pt x="64" y="20"/>
                      <a:pt x="64" y="24"/>
                    </a:cubicBezTo>
                    <a:cubicBezTo>
                      <a:pt x="64" y="32"/>
                      <a:pt x="62" y="38"/>
                      <a:pt x="58" y="43"/>
                    </a:cubicBezTo>
                    <a:cubicBezTo>
                      <a:pt x="53" y="48"/>
                      <a:pt x="45" y="50"/>
                      <a:pt x="33" y="50"/>
                    </a:cubicBezTo>
                    <a:lnTo>
                      <a:pt x="11" y="50"/>
                    </a:lnTo>
                    <a:lnTo>
                      <a:pt x="11" y="84"/>
                    </a:lnTo>
                    <a:lnTo>
                      <a:pt x="0" y="84"/>
                    </a:lnTo>
                    <a:close/>
                    <a:moveTo>
                      <a:pt x="11" y="40"/>
                    </a:moveTo>
                    <a:lnTo>
                      <a:pt x="33" y="40"/>
                    </a:lnTo>
                    <a:cubicBezTo>
                      <a:pt x="40" y="40"/>
                      <a:pt x="45" y="39"/>
                      <a:pt x="48" y="36"/>
                    </a:cubicBezTo>
                    <a:cubicBezTo>
                      <a:pt x="51" y="33"/>
                      <a:pt x="53" y="30"/>
                      <a:pt x="53" y="25"/>
                    </a:cubicBezTo>
                    <a:cubicBezTo>
                      <a:pt x="53" y="21"/>
                      <a:pt x="52" y="18"/>
                      <a:pt x="50" y="16"/>
                    </a:cubicBezTo>
                    <a:cubicBezTo>
                      <a:pt x="49" y="13"/>
                      <a:pt x="46" y="11"/>
                      <a:pt x="43" y="11"/>
                    </a:cubicBezTo>
                    <a:cubicBezTo>
                      <a:pt x="41"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1788"/>
              <p:cNvSpPr>
                <a:spLocks noEditPoints="1"/>
              </p:cNvSpPr>
              <p:nvPr/>
            </p:nvSpPr>
            <p:spPr bwMode="auto">
              <a:xfrm>
                <a:off x="4508" y="2791"/>
                <a:ext cx="18" cy="19"/>
              </a:xfrm>
              <a:custGeom>
                <a:avLst/>
                <a:gdLst>
                  <a:gd name="T0" fmla="*/ 0 w 81"/>
                  <a:gd name="T1" fmla="*/ 45 h 88"/>
                  <a:gd name="T2" fmla="*/ 12 w 81"/>
                  <a:gd name="T3" fmla="*/ 12 h 88"/>
                  <a:gd name="T4" fmla="*/ 41 w 81"/>
                  <a:gd name="T5" fmla="*/ 0 h 88"/>
                  <a:gd name="T6" fmla="*/ 62 w 81"/>
                  <a:gd name="T7" fmla="*/ 6 h 88"/>
                  <a:gd name="T8" fmla="*/ 76 w 81"/>
                  <a:gd name="T9" fmla="*/ 22 h 88"/>
                  <a:gd name="T10" fmla="*/ 81 w 81"/>
                  <a:gd name="T11" fmla="*/ 44 h 88"/>
                  <a:gd name="T12" fmla="*/ 76 w 81"/>
                  <a:gd name="T13" fmla="*/ 67 h 88"/>
                  <a:gd name="T14" fmla="*/ 61 w 81"/>
                  <a:gd name="T15" fmla="*/ 83 h 88"/>
                  <a:gd name="T16" fmla="*/ 41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1 w 81"/>
                  <a:gd name="T29" fmla="*/ 78 h 88"/>
                  <a:gd name="T30" fmla="*/ 61 w 81"/>
                  <a:gd name="T31" fmla="*/ 69 h 88"/>
                  <a:gd name="T32" fmla="*/ 70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2" y="12"/>
                    </a:cubicBezTo>
                    <a:cubicBezTo>
                      <a:pt x="19" y="4"/>
                      <a:pt x="29" y="0"/>
                      <a:pt x="41" y="0"/>
                    </a:cubicBezTo>
                    <a:cubicBezTo>
                      <a:pt x="49" y="0"/>
                      <a:pt x="56" y="2"/>
                      <a:pt x="62" y="6"/>
                    </a:cubicBezTo>
                    <a:cubicBezTo>
                      <a:pt x="68" y="10"/>
                      <a:pt x="73" y="15"/>
                      <a:pt x="76" y="22"/>
                    </a:cubicBezTo>
                    <a:cubicBezTo>
                      <a:pt x="79" y="28"/>
                      <a:pt x="81" y="36"/>
                      <a:pt x="81" y="44"/>
                    </a:cubicBezTo>
                    <a:cubicBezTo>
                      <a:pt x="81" y="53"/>
                      <a:pt x="79" y="60"/>
                      <a:pt x="76" y="67"/>
                    </a:cubicBezTo>
                    <a:cubicBezTo>
                      <a:pt x="72" y="74"/>
                      <a:pt x="68" y="79"/>
                      <a:pt x="61" y="83"/>
                    </a:cubicBezTo>
                    <a:cubicBezTo>
                      <a:pt x="55" y="86"/>
                      <a:pt x="48" y="88"/>
                      <a:pt x="41" y="88"/>
                    </a:cubicBezTo>
                    <a:cubicBezTo>
                      <a:pt x="33" y="88"/>
                      <a:pt x="26" y="86"/>
                      <a:pt x="19" y="82"/>
                    </a:cubicBezTo>
                    <a:cubicBezTo>
                      <a:pt x="13" y="78"/>
                      <a:pt x="8" y="73"/>
                      <a:pt x="5" y="66"/>
                    </a:cubicBezTo>
                    <a:cubicBezTo>
                      <a:pt x="2" y="60"/>
                      <a:pt x="0" y="53"/>
                      <a:pt x="0" y="45"/>
                    </a:cubicBezTo>
                    <a:close/>
                    <a:moveTo>
                      <a:pt x="12" y="45"/>
                    </a:moveTo>
                    <a:cubicBezTo>
                      <a:pt x="12" y="56"/>
                      <a:pt x="15" y="64"/>
                      <a:pt x="20" y="69"/>
                    </a:cubicBezTo>
                    <a:cubicBezTo>
                      <a:pt x="26" y="75"/>
                      <a:pt x="32" y="78"/>
                      <a:pt x="41" y="78"/>
                    </a:cubicBezTo>
                    <a:cubicBezTo>
                      <a:pt x="49" y="78"/>
                      <a:pt x="56" y="75"/>
                      <a:pt x="61" y="69"/>
                    </a:cubicBezTo>
                    <a:cubicBezTo>
                      <a:pt x="67" y="63"/>
                      <a:pt x="70" y="55"/>
                      <a:pt x="70" y="44"/>
                    </a:cubicBezTo>
                    <a:cubicBezTo>
                      <a:pt x="70" y="37"/>
                      <a:pt x="68" y="31"/>
                      <a:pt x="66" y="26"/>
                    </a:cubicBezTo>
                    <a:cubicBezTo>
                      <a:pt x="64" y="21"/>
                      <a:pt x="60" y="17"/>
                      <a:pt x="56" y="14"/>
                    </a:cubicBezTo>
                    <a:cubicBezTo>
                      <a:pt x="51" y="11"/>
                      <a:pt x="46" y="10"/>
                      <a:pt x="41" y="10"/>
                    </a:cubicBezTo>
                    <a:cubicBezTo>
                      <a:pt x="33" y="10"/>
                      <a:pt x="26" y="13"/>
                      <a:pt x="20" y="18"/>
                    </a:cubicBezTo>
                    <a:cubicBezTo>
                      <a:pt x="15" y="24"/>
                      <a:pt x="12" y="33"/>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1789"/>
              <p:cNvSpPr>
                <a:spLocks/>
              </p:cNvSpPr>
              <p:nvPr/>
            </p:nvSpPr>
            <p:spPr bwMode="auto">
              <a:xfrm>
                <a:off x="4528" y="2791"/>
                <a:ext cx="24" cy="19"/>
              </a:xfrm>
              <a:custGeom>
                <a:avLst/>
                <a:gdLst>
                  <a:gd name="T0" fmla="*/ 22 w 108"/>
                  <a:gd name="T1" fmla="*/ 84 h 84"/>
                  <a:gd name="T2" fmla="*/ 0 w 108"/>
                  <a:gd name="T3" fmla="*/ 0 h 84"/>
                  <a:gd name="T4" fmla="*/ 11 w 108"/>
                  <a:gd name="T5" fmla="*/ 0 h 84"/>
                  <a:gd name="T6" fmla="*/ 24 w 108"/>
                  <a:gd name="T7" fmla="*/ 55 h 84"/>
                  <a:gd name="T8" fmla="*/ 28 w 108"/>
                  <a:gd name="T9" fmla="*/ 73 h 84"/>
                  <a:gd name="T10" fmla="*/ 31 w 108"/>
                  <a:gd name="T11" fmla="*/ 57 h 84"/>
                  <a:gd name="T12" fmla="*/ 47 w 108"/>
                  <a:gd name="T13" fmla="*/ 0 h 84"/>
                  <a:gd name="T14" fmla="*/ 61 w 108"/>
                  <a:gd name="T15" fmla="*/ 0 h 84"/>
                  <a:gd name="T16" fmla="*/ 73 w 108"/>
                  <a:gd name="T17" fmla="*/ 43 h 84"/>
                  <a:gd name="T18" fmla="*/ 80 w 108"/>
                  <a:gd name="T19" fmla="*/ 73 h 84"/>
                  <a:gd name="T20" fmla="*/ 84 w 108"/>
                  <a:gd name="T21" fmla="*/ 54 h 84"/>
                  <a:gd name="T22" fmla="*/ 97 w 108"/>
                  <a:gd name="T23" fmla="*/ 0 h 84"/>
                  <a:gd name="T24" fmla="*/ 108 w 108"/>
                  <a:gd name="T25" fmla="*/ 0 h 84"/>
                  <a:gd name="T26" fmla="*/ 85 w 108"/>
                  <a:gd name="T27" fmla="*/ 84 h 84"/>
                  <a:gd name="T28" fmla="*/ 74 w 108"/>
                  <a:gd name="T29" fmla="*/ 84 h 84"/>
                  <a:gd name="T30" fmla="*/ 57 w 108"/>
                  <a:gd name="T31" fmla="*/ 20 h 84"/>
                  <a:gd name="T32" fmla="*/ 54 w 108"/>
                  <a:gd name="T33" fmla="*/ 10 h 84"/>
                  <a:gd name="T34" fmla="*/ 51 w 108"/>
                  <a:gd name="T35" fmla="*/ 20 h 84"/>
                  <a:gd name="T36" fmla="*/ 34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7" y="67"/>
                      <a:pt x="28" y="73"/>
                    </a:cubicBezTo>
                    <a:cubicBezTo>
                      <a:pt x="30" y="64"/>
                      <a:pt x="31" y="58"/>
                      <a:pt x="31" y="57"/>
                    </a:cubicBezTo>
                    <a:lnTo>
                      <a:pt x="47" y="0"/>
                    </a:lnTo>
                    <a:lnTo>
                      <a:pt x="61" y="0"/>
                    </a:lnTo>
                    <a:lnTo>
                      <a:pt x="73" y="43"/>
                    </a:lnTo>
                    <a:cubicBezTo>
                      <a:pt x="76" y="53"/>
                      <a:pt x="78" y="63"/>
                      <a:pt x="80" y="73"/>
                    </a:cubicBezTo>
                    <a:cubicBezTo>
                      <a:pt x="81" y="67"/>
                      <a:pt x="82" y="61"/>
                      <a:pt x="84" y="54"/>
                    </a:cubicBezTo>
                    <a:lnTo>
                      <a:pt x="97" y="0"/>
                    </a:lnTo>
                    <a:lnTo>
                      <a:pt x="108" y="0"/>
                    </a:lnTo>
                    <a:lnTo>
                      <a:pt x="85" y="84"/>
                    </a:lnTo>
                    <a:lnTo>
                      <a:pt x="74" y="84"/>
                    </a:lnTo>
                    <a:lnTo>
                      <a:pt x="57" y="20"/>
                    </a:lnTo>
                    <a:cubicBezTo>
                      <a:pt x="55" y="15"/>
                      <a:pt x="54" y="11"/>
                      <a:pt x="54" y="10"/>
                    </a:cubicBezTo>
                    <a:cubicBezTo>
                      <a:pt x="53" y="14"/>
                      <a:pt x="52" y="17"/>
                      <a:pt x="51" y="20"/>
                    </a:cubicBezTo>
                    <a:lnTo>
                      <a:pt x="34"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Freeform 1790"/>
              <p:cNvSpPr>
                <a:spLocks/>
              </p:cNvSpPr>
              <p:nvPr/>
            </p:nvSpPr>
            <p:spPr bwMode="auto">
              <a:xfrm>
                <a:off x="4555" y="2791"/>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8 w 63"/>
                  <a:gd name="T13" fmla="*/ 36 h 84"/>
                  <a:gd name="T14" fmla="*/ 58 w 63"/>
                  <a:gd name="T15" fmla="*/ 46 h 84"/>
                  <a:gd name="T16" fmla="*/ 11 w 63"/>
                  <a:gd name="T17" fmla="*/ 46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8" y="36"/>
                    </a:lnTo>
                    <a:lnTo>
                      <a:pt x="58" y="46"/>
                    </a:lnTo>
                    <a:lnTo>
                      <a:pt x="11" y="46"/>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1791"/>
              <p:cNvSpPr>
                <a:spLocks noEditPoints="1"/>
              </p:cNvSpPr>
              <p:nvPr/>
            </p:nvSpPr>
            <p:spPr bwMode="auto">
              <a:xfrm>
                <a:off x="4573" y="2791"/>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50 w 75"/>
                  <a:gd name="T25" fmla="*/ 67 h 84"/>
                  <a:gd name="T26" fmla="*/ 42 w 75"/>
                  <a:gd name="T27" fmla="*/ 55 h 84"/>
                  <a:gd name="T28" fmla="*/ 36 w 75"/>
                  <a:gd name="T29" fmla="*/ 50 h 84"/>
                  <a:gd name="T30" fmla="*/ 31 w 75"/>
                  <a:gd name="T31" fmla="*/ 47 h 84"/>
                  <a:gd name="T32" fmla="*/ 25 w 75"/>
                  <a:gd name="T33" fmla="*/ 47 h 84"/>
                  <a:gd name="T34" fmla="*/ 12 w 75"/>
                  <a:gd name="T35" fmla="*/ 47 h 84"/>
                  <a:gd name="T36" fmla="*/ 12 w 75"/>
                  <a:gd name="T37" fmla="*/ 84 h 84"/>
                  <a:gd name="T38" fmla="*/ 0 w 75"/>
                  <a:gd name="T39" fmla="*/ 84 h 84"/>
                  <a:gd name="T40" fmla="*/ 12 w 75"/>
                  <a:gd name="T41" fmla="*/ 37 h 84"/>
                  <a:gd name="T42" fmla="*/ 36 w 75"/>
                  <a:gd name="T43" fmla="*/ 37 h 84"/>
                  <a:gd name="T44" fmla="*/ 48 w 75"/>
                  <a:gd name="T45" fmla="*/ 36 h 84"/>
                  <a:gd name="T46" fmla="*/ 54 w 75"/>
                  <a:gd name="T47" fmla="*/ 31 h 84"/>
                  <a:gd name="T48" fmla="*/ 56 w 75"/>
                  <a:gd name="T49" fmla="*/ 23 h 84"/>
                  <a:gd name="T50" fmla="*/ 52 w 75"/>
                  <a:gd name="T51" fmla="*/ 13 h 84"/>
                  <a:gd name="T52" fmla="*/ 38 w 75"/>
                  <a:gd name="T53" fmla="*/ 9 h 84"/>
                  <a:gd name="T54" fmla="*/ 12 w 75"/>
                  <a:gd name="T55" fmla="*/ 9 h 84"/>
                  <a:gd name="T56" fmla="*/ 12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1"/>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50" y="67"/>
                    </a:lnTo>
                    <a:cubicBezTo>
                      <a:pt x="46" y="62"/>
                      <a:pt x="44" y="58"/>
                      <a:pt x="42" y="55"/>
                    </a:cubicBezTo>
                    <a:cubicBezTo>
                      <a:pt x="39" y="52"/>
                      <a:pt x="38" y="51"/>
                      <a:pt x="36" y="50"/>
                    </a:cubicBezTo>
                    <a:cubicBezTo>
                      <a:pt x="34" y="48"/>
                      <a:pt x="33" y="48"/>
                      <a:pt x="31" y="47"/>
                    </a:cubicBezTo>
                    <a:cubicBezTo>
                      <a:pt x="30" y="47"/>
                      <a:pt x="27" y="47"/>
                      <a:pt x="25" y="47"/>
                    </a:cubicBezTo>
                    <a:lnTo>
                      <a:pt x="12" y="47"/>
                    </a:lnTo>
                    <a:lnTo>
                      <a:pt x="12" y="84"/>
                    </a:lnTo>
                    <a:lnTo>
                      <a:pt x="0" y="84"/>
                    </a:lnTo>
                    <a:close/>
                    <a:moveTo>
                      <a:pt x="12" y="37"/>
                    </a:moveTo>
                    <a:lnTo>
                      <a:pt x="36" y="37"/>
                    </a:lnTo>
                    <a:cubicBezTo>
                      <a:pt x="41" y="37"/>
                      <a:pt x="45" y="37"/>
                      <a:pt x="48" y="36"/>
                    </a:cubicBezTo>
                    <a:cubicBezTo>
                      <a:pt x="51" y="35"/>
                      <a:pt x="53" y="33"/>
                      <a:pt x="54" y="31"/>
                    </a:cubicBezTo>
                    <a:cubicBezTo>
                      <a:pt x="56" y="28"/>
                      <a:pt x="56" y="26"/>
                      <a:pt x="56" y="23"/>
                    </a:cubicBezTo>
                    <a:cubicBezTo>
                      <a:pt x="56" y="19"/>
                      <a:pt x="55" y="16"/>
                      <a:pt x="52" y="13"/>
                    </a:cubicBezTo>
                    <a:cubicBezTo>
                      <a:pt x="49" y="11"/>
                      <a:pt x="45" y="9"/>
                      <a:pt x="38" y="9"/>
                    </a:cubicBezTo>
                    <a:lnTo>
                      <a:pt x="12" y="9"/>
                    </a:lnTo>
                    <a:lnTo>
                      <a:pt x="12"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1792"/>
              <p:cNvSpPr>
                <a:spLocks/>
              </p:cNvSpPr>
              <p:nvPr/>
            </p:nvSpPr>
            <p:spPr bwMode="auto">
              <a:xfrm>
                <a:off x="4418" y="2691"/>
                <a:ext cx="18" cy="20"/>
              </a:xfrm>
              <a:custGeom>
                <a:avLst/>
                <a:gdLst>
                  <a:gd name="T0" fmla="*/ 42 w 78"/>
                  <a:gd name="T1" fmla="*/ 52 h 87"/>
                  <a:gd name="T2" fmla="*/ 42 w 78"/>
                  <a:gd name="T3" fmla="*/ 42 h 87"/>
                  <a:gd name="T4" fmla="*/ 78 w 78"/>
                  <a:gd name="T5" fmla="*/ 42 h 87"/>
                  <a:gd name="T6" fmla="*/ 78 w 78"/>
                  <a:gd name="T7" fmla="*/ 74 h 87"/>
                  <a:gd name="T8" fmla="*/ 61 w 78"/>
                  <a:gd name="T9" fmla="*/ 84 h 87"/>
                  <a:gd name="T10" fmla="*/ 43 w 78"/>
                  <a:gd name="T11" fmla="*/ 87 h 87"/>
                  <a:gd name="T12" fmla="*/ 20 w 78"/>
                  <a:gd name="T13" fmla="*/ 82 h 87"/>
                  <a:gd name="T14" fmla="*/ 5 w 78"/>
                  <a:gd name="T15" fmla="*/ 66 h 87"/>
                  <a:gd name="T16" fmla="*/ 0 w 78"/>
                  <a:gd name="T17" fmla="*/ 44 h 87"/>
                  <a:gd name="T18" fmla="*/ 5 w 78"/>
                  <a:gd name="T19" fmla="*/ 21 h 87"/>
                  <a:gd name="T20" fmla="*/ 20 w 78"/>
                  <a:gd name="T21" fmla="*/ 5 h 87"/>
                  <a:gd name="T22" fmla="*/ 42 w 78"/>
                  <a:gd name="T23" fmla="*/ 0 h 87"/>
                  <a:gd name="T24" fmla="*/ 59 w 78"/>
                  <a:gd name="T25" fmla="*/ 3 h 87"/>
                  <a:gd name="T26" fmla="*/ 70 w 78"/>
                  <a:gd name="T27" fmla="*/ 11 h 87"/>
                  <a:gd name="T28" fmla="*/ 77 w 78"/>
                  <a:gd name="T29" fmla="*/ 25 h 87"/>
                  <a:gd name="T30" fmla="*/ 66 w 78"/>
                  <a:gd name="T31" fmla="*/ 27 h 87"/>
                  <a:gd name="T32" fmla="*/ 62 w 78"/>
                  <a:gd name="T33" fmla="*/ 17 h 87"/>
                  <a:gd name="T34" fmla="*/ 54 w 78"/>
                  <a:gd name="T35" fmla="*/ 11 h 87"/>
                  <a:gd name="T36" fmla="*/ 42 w 78"/>
                  <a:gd name="T37" fmla="*/ 9 h 87"/>
                  <a:gd name="T38" fmla="*/ 29 w 78"/>
                  <a:gd name="T39" fmla="*/ 12 h 87"/>
                  <a:gd name="T40" fmla="*/ 20 w 78"/>
                  <a:gd name="T41" fmla="*/ 18 h 87"/>
                  <a:gd name="T42" fmla="*/ 14 w 78"/>
                  <a:gd name="T43" fmla="*/ 26 h 87"/>
                  <a:gd name="T44" fmla="*/ 11 w 78"/>
                  <a:gd name="T45" fmla="*/ 43 h 87"/>
                  <a:gd name="T46" fmla="*/ 15 w 78"/>
                  <a:gd name="T47" fmla="*/ 62 h 87"/>
                  <a:gd name="T48" fmla="*/ 26 w 78"/>
                  <a:gd name="T49" fmla="*/ 73 h 87"/>
                  <a:gd name="T50" fmla="*/ 42 w 78"/>
                  <a:gd name="T51" fmla="*/ 77 h 87"/>
                  <a:gd name="T52" fmla="*/ 56 w 78"/>
                  <a:gd name="T53" fmla="*/ 74 h 87"/>
                  <a:gd name="T54" fmla="*/ 67 w 78"/>
                  <a:gd name="T55" fmla="*/ 68 h 87"/>
                  <a:gd name="T56" fmla="*/ 67 w 78"/>
                  <a:gd name="T57" fmla="*/ 52 h 87"/>
                  <a:gd name="T58" fmla="*/ 42 w 78"/>
                  <a:gd name="T59" fmla="*/ 5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2"/>
                    </a:moveTo>
                    <a:lnTo>
                      <a:pt x="42" y="42"/>
                    </a:lnTo>
                    <a:lnTo>
                      <a:pt x="78" y="42"/>
                    </a:lnTo>
                    <a:lnTo>
                      <a:pt x="78" y="74"/>
                    </a:lnTo>
                    <a:cubicBezTo>
                      <a:pt x="72" y="78"/>
                      <a:pt x="67" y="81"/>
                      <a:pt x="61" y="84"/>
                    </a:cubicBezTo>
                    <a:cubicBezTo>
                      <a:pt x="55" y="86"/>
                      <a:pt x="49" y="87"/>
                      <a:pt x="43" y="87"/>
                    </a:cubicBezTo>
                    <a:cubicBezTo>
                      <a:pt x="35" y="87"/>
                      <a:pt x="27" y="85"/>
                      <a:pt x="20" y="82"/>
                    </a:cubicBezTo>
                    <a:cubicBezTo>
                      <a:pt x="13" y="78"/>
                      <a:pt x="8" y="73"/>
                      <a:pt x="5" y="66"/>
                    </a:cubicBezTo>
                    <a:cubicBezTo>
                      <a:pt x="1" y="59"/>
                      <a:pt x="0" y="52"/>
                      <a:pt x="0" y="44"/>
                    </a:cubicBezTo>
                    <a:cubicBezTo>
                      <a:pt x="0" y="35"/>
                      <a:pt x="1" y="28"/>
                      <a:pt x="5" y="21"/>
                    </a:cubicBezTo>
                    <a:cubicBezTo>
                      <a:pt x="8" y="14"/>
                      <a:pt x="13" y="8"/>
                      <a:pt x="20" y="5"/>
                    </a:cubicBezTo>
                    <a:cubicBezTo>
                      <a:pt x="26" y="1"/>
                      <a:pt x="34" y="0"/>
                      <a:pt x="42" y="0"/>
                    </a:cubicBezTo>
                    <a:cubicBezTo>
                      <a:pt x="48" y="0"/>
                      <a:pt x="54" y="1"/>
                      <a:pt x="59" y="3"/>
                    </a:cubicBezTo>
                    <a:cubicBezTo>
                      <a:pt x="63" y="5"/>
                      <a:pt x="67" y="7"/>
                      <a:pt x="70" y="11"/>
                    </a:cubicBezTo>
                    <a:cubicBezTo>
                      <a:pt x="73" y="14"/>
                      <a:pt x="75" y="19"/>
                      <a:pt x="77" y="25"/>
                    </a:cubicBezTo>
                    <a:lnTo>
                      <a:pt x="66" y="27"/>
                    </a:lnTo>
                    <a:cubicBezTo>
                      <a:pt x="65" y="23"/>
                      <a:pt x="64" y="20"/>
                      <a:pt x="62" y="17"/>
                    </a:cubicBezTo>
                    <a:cubicBezTo>
                      <a:pt x="60" y="15"/>
                      <a:pt x="57" y="13"/>
                      <a:pt x="54" y="11"/>
                    </a:cubicBezTo>
                    <a:cubicBezTo>
                      <a:pt x="50" y="10"/>
                      <a:pt x="46" y="9"/>
                      <a:pt x="42" y="9"/>
                    </a:cubicBezTo>
                    <a:cubicBezTo>
                      <a:pt x="37" y="9"/>
                      <a:pt x="33" y="10"/>
                      <a:pt x="29" y="12"/>
                    </a:cubicBezTo>
                    <a:cubicBezTo>
                      <a:pt x="25" y="13"/>
                      <a:pt x="22" y="15"/>
                      <a:pt x="20" y="18"/>
                    </a:cubicBezTo>
                    <a:cubicBezTo>
                      <a:pt x="18" y="20"/>
                      <a:pt x="16" y="23"/>
                      <a:pt x="14" y="26"/>
                    </a:cubicBezTo>
                    <a:cubicBezTo>
                      <a:pt x="12" y="31"/>
                      <a:pt x="11" y="37"/>
                      <a:pt x="11" y="43"/>
                    </a:cubicBezTo>
                    <a:cubicBezTo>
                      <a:pt x="11" y="51"/>
                      <a:pt x="13" y="57"/>
                      <a:pt x="15" y="62"/>
                    </a:cubicBezTo>
                    <a:cubicBezTo>
                      <a:pt x="18" y="67"/>
                      <a:pt x="21" y="71"/>
                      <a:pt x="26" y="73"/>
                    </a:cubicBezTo>
                    <a:cubicBezTo>
                      <a:pt x="31" y="76"/>
                      <a:pt x="37" y="77"/>
                      <a:pt x="42" y="77"/>
                    </a:cubicBezTo>
                    <a:cubicBezTo>
                      <a:pt x="47" y="77"/>
                      <a:pt x="52" y="76"/>
                      <a:pt x="56" y="74"/>
                    </a:cubicBezTo>
                    <a:cubicBezTo>
                      <a:pt x="61" y="72"/>
                      <a:pt x="64" y="70"/>
                      <a:pt x="67" y="68"/>
                    </a:cubicBezTo>
                    <a:lnTo>
                      <a:pt x="67" y="52"/>
                    </a:lnTo>
                    <a:lnTo>
                      <a:pt x="42"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1793"/>
              <p:cNvSpPr>
                <a:spLocks/>
              </p:cNvSpPr>
              <p:nvPr/>
            </p:nvSpPr>
            <p:spPr bwMode="auto">
              <a:xfrm>
                <a:off x="4439" y="2691"/>
                <a:ext cx="16" cy="20"/>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1794"/>
              <p:cNvSpPr>
                <a:spLocks noEditPoints="1"/>
              </p:cNvSpPr>
              <p:nvPr/>
            </p:nvSpPr>
            <p:spPr bwMode="auto">
              <a:xfrm>
                <a:off x="4459" y="2691"/>
                <a:ext cx="16" cy="20"/>
              </a:xfrm>
              <a:custGeom>
                <a:avLst/>
                <a:gdLst>
                  <a:gd name="T0" fmla="*/ 0 w 70"/>
                  <a:gd name="T1" fmla="*/ 84 h 84"/>
                  <a:gd name="T2" fmla="*/ 0 w 70"/>
                  <a:gd name="T3" fmla="*/ 0 h 84"/>
                  <a:gd name="T4" fmla="*/ 29 w 70"/>
                  <a:gd name="T5" fmla="*/ 0 h 84"/>
                  <a:gd name="T6" fmla="*/ 44 w 70"/>
                  <a:gd name="T7" fmla="*/ 1 h 84"/>
                  <a:gd name="T8" fmla="*/ 57 w 70"/>
                  <a:gd name="T9" fmla="*/ 7 h 84"/>
                  <a:gd name="T10" fmla="*/ 67 w 70"/>
                  <a:gd name="T11" fmla="*/ 22 h 84"/>
                  <a:gd name="T12" fmla="*/ 70 w 70"/>
                  <a:gd name="T13" fmla="*/ 42 h 84"/>
                  <a:gd name="T14" fmla="*/ 68 w 70"/>
                  <a:gd name="T15" fmla="*/ 59 h 84"/>
                  <a:gd name="T16" fmla="*/ 62 w 70"/>
                  <a:gd name="T17" fmla="*/ 71 h 84"/>
                  <a:gd name="T18" fmla="*/ 54 w 70"/>
                  <a:gd name="T19" fmla="*/ 79 h 84"/>
                  <a:gd name="T20" fmla="*/ 44 w 70"/>
                  <a:gd name="T21" fmla="*/ 83 h 84"/>
                  <a:gd name="T22" fmla="*/ 31 w 70"/>
                  <a:gd name="T23" fmla="*/ 84 h 84"/>
                  <a:gd name="T24" fmla="*/ 0 w 70"/>
                  <a:gd name="T25" fmla="*/ 84 h 84"/>
                  <a:gd name="T26" fmla="*/ 12 w 70"/>
                  <a:gd name="T27" fmla="*/ 74 h 84"/>
                  <a:gd name="T28" fmla="*/ 30 w 70"/>
                  <a:gd name="T29" fmla="*/ 74 h 84"/>
                  <a:gd name="T30" fmla="*/ 43 w 70"/>
                  <a:gd name="T31" fmla="*/ 73 h 84"/>
                  <a:gd name="T32" fmla="*/ 50 w 70"/>
                  <a:gd name="T33" fmla="*/ 69 h 84"/>
                  <a:gd name="T34" fmla="*/ 56 w 70"/>
                  <a:gd name="T35" fmla="*/ 58 h 84"/>
                  <a:gd name="T36" fmla="*/ 59 w 70"/>
                  <a:gd name="T37" fmla="*/ 42 h 84"/>
                  <a:gd name="T38" fmla="*/ 54 w 70"/>
                  <a:gd name="T39" fmla="*/ 21 h 84"/>
                  <a:gd name="T40" fmla="*/ 44 w 70"/>
                  <a:gd name="T41" fmla="*/ 12 h 84"/>
                  <a:gd name="T42" fmla="*/ 29 w 70"/>
                  <a:gd name="T43" fmla="*/ 10 h 84"/>
                  <a:gd name="T44" fmla="*/ 12 w 70"/>
                  <a:gd name="T45" fmla="*/ 10 h 84"/>
                  <a:gd name="T46" fmla="*/ 12 w 70"/>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4">
                    <a:moveTo>
                      <a:pt x="0" y="84"/>
                    </a:moveTo>
                    <a:lnTo>
                      <a:pt x="0" y="0"/>
                    </a:lnTo>
                    <a:lnTo>
                      <a:pt x="29" y="0"/>
                    </a:lnTo>
                    <a:cubicBezTo>
                      <a:pt x="36" y="0"/>
                      <a:pt x="41" y="0"/>
                      <a:pt x="44" y="1"/>
                    </a:cubicBezTo>
                    <a:cubicBezTo>
                      <a:pt x="49" y="2"/>
                      <a:pt x="53" y="4"/>
                      <a:pt x="57" y="7"/>
                    </a:cubicBezTo>
                    <a:cubicBezTo>
                      <a:pt x="61" y="11"/>
                      <a:pt x="65" y="16"/>
                      <a:pt x="67" y="22"/>
                    </a:cubicBezTo>
                    <a:cubicBezTo>
                      <a:pt x="69" y="28"/>
                      <a:pt x="70" y="34"/>
                      <a:pt x="70" y="42"/>
                    </a:cubicBezTo>
                    <a:cubicBezTo>
                      <a:pt x="70" y="48"/>
                      <a:pt x="69" y="54"/>
                      <a:pt x="68" y="59"/>
                    </a:cubicBezTo>
                    <a:cubicBezTo>
                      <a:pt x="66" y="64"/>
                      <a:pt x="64" y="68"/>
                      <a:pt x="62" y="71"/>
                    </a:cubicBezTo>
                    <a:cubicBezTo>
                      <a:pt x="60" y="74"/>
                      <a:pt x="57" y="77"/>
                      <a:pt x="54" y="79"/>
                    </a:cubicBezTo>
                    <a:cubicBezTo>
                      <a:pt x="52" y="81"/>
                      <a:pt x="48" y="82"/>
                      <a:pt x="44" y="83"/>
                    </a:cubicBezTo>
                    <a:cubicBezTo>
                      <a:pt x="40" y="84"/>
                      <a:pt x="36" y="84"/>
                      <a:pt x="31" y="84"/>
                    </a:cubicBezTo>
                    <a:lnTo>
                      <a:pt x="0" y="84"/>
                    </a:lnTo>
                    <a:close/>
                    <a:moveTo>
                      <a:pt x="12" y="74"/>
                    </a:moveTo>
                    <a:lnTo>
                      <a:pt x="30" y="74"/>
                    </a:lnTo>
                    <a:cubicBezTo>
                      <a:pt x="35" y="74"/>
                      <a:pt x="39" y="74"/>
                      <a:pt x="43" y="73"/>
                    </a:cubicBezTo>
                    <a:cubicBezTo>
                      <a:pt x="46" y="72"/>
                      <a:pt x="48" y="70"/>
                      <a:pt x="50" y="69"/>
                    </a:cubicBezTo>
                    <a:cubicBezTo>
                      <a:pt x="53" y="66"/>
                      <a:pt x="55" y="62"/>
                      <a:pt x="56" y="58"/>
                    </a:cubicBezTo>
                    <a:cubicBezTo>
                      <a:pt x="58" y="53"/>
                      <a:pt x="59" y="48"/>
                      <a:pt x="59" y="42"/>
                    </a:cubicBezTo>
                    <a:cubicBezTo>
                      <a:pt x="59" y="33"/>
                      <a:pt x="57" y="26"/>
                      <a:pt x="54" y="21"/>
                    </a:cubicBezTo>
                    <a:cubicBezTo>
                      <a:pt x="51" y="17"/>
                      <a:pt x="48" y="13"/>
                      <a:pt x="44" y="12"/>
                    </a:cubicBezTo>
                    <a:cubicBezTo>
                      <a:pt x="41" y="11"/>
                      <a:pt x="36" y="10"/>
                      <a:pt x="29" y="10"/>
                    </a:cubicBezTo>
                    <a:lnTo>
                      <a:pt x="12" y="10"/>
                    </a:lnTo>
                    <a:lnTo>
                      <a:pt x="12"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8" name="Freeform 1796"/>
            <p:cNvSpPr>
              <a:spLocks/>
            </p:cNvSpPr>
            <p:nvPr/>
          </p:nvSpPr>
          <p:spPr bwMode="auto">
            <a:xfrm>
              <a:off x="4481" y="2691"/>
              <a:ext cx="18" cy="20"/>
            </a:xfrm>
            <a:custGeom>
              <a:avLst/>
              <a:gdLst>
                <a:gd name="T0" fmla="*/ 42 w 78"/>
                <a:gd name="T1" fmla="*/ 53 h 87"/>
                <a:gd name="T2" fmla="*/ 42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5 w 78"/>
                <a:gd name="T15" fmla="*/ 67 h 87"/>
                <a:gd name="T16" fmla="*/ 0 w 78"/>
                <a:gd name="T17" fmla="*/ 44 h 87"/>
                <a:gd name="T18" fmla="*/ 5 w 78"/>
                <a:gd name="T19" fmla="*/ 21 h 87"/>
                <a:gd name="T20" fmla="*/ 20 w 78"/>
                <a:gd name="T21" fmla="*/ 5 h 87"/>
                <a:gd name="T22" fmla="*/ 42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2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3 h 87"/>
                <a:gd name="T50" fmla="*/ 43 w 78"/>
                <a:gd name="T51" fmla="*/ 77 h 87"/>
                <a:gd name="T52" fmla="*/ 57 w 78"/>
                <a:gd name="T53" fmla="*/ 74 h 87"/>
                <a:gd name="T54" fmla="*/ 67 w 78"/>
                <a:gd name="T55" fmla="*/ 68 h 87"/>
                <a:gd name="T56" fmla="*/ 67 w 78"/>
                <a:gd name="T57" fmla="*/ 53 h 87"/>
                <a:gd name="T58" fmla="*/ 42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3"/>
                  </a:moveTo>
                  <a:lnTo>
                    <a:pt x="42" y="43"/>
                  </a:lnTo>
                  <a:lnTo>
                    <a:pt x="78" y="43"/>
                  </a:lnTo>
                  <a:lnTo>
                    <a:pt x="78" y="74"/>
                  </a:lnTo>
                  <a:cubicBezTo>
                    <a:pt x="73" y="78"/>
                    <a:pt x="67" y="82"/>
                    <a:pt x="61" y="84"/>
                  </a:cubicBezTo>
                  <a:cubicBezTo>
                    <a:pt x="55" y="86"/>
                    <a:pt x="49" y="87"/>
                    <a:pt x="43" y="87"/>
                  </a:cubicBezTo>
                  <a:cubicBezTo>
                    <a:pt x="35" y="87"/>
                    <a:pt x="27" y="85"/>
                    <a:pt x="21" y="82"/>
                  </a:cubicBezTo>
                  <a:cubicBezTo>
                    <a:pt x="14" y="78"/>
                    <a:pt x="9" y="73"/>
                    <a:pt x="5" y="67"/>
                  </a:cubicBezTo>
                  <a:cubicBezTo>
                    <a:pt x="2" y="60"/>
                    <a:pt x="0" y="52"/>
                    <a:pt x="0" y="44"/>
                  </a:cubicBezTo>
                  <a:cubicBezTo>
                    <a:pt x="0" y="36"/>
                    <a:pt x="2" y="28"/>
                    <a:pt x="5" y="21"/>
                  </a:cubicBezTo>
                  <a:cubicBezTo>
                    <a:pt x="9" y="14"/>
                    <a:pt x="14" y="9"/>
                    <a:pt x="20" y="5"/>
                  </a:cubicBezTo>
                  <a:cubicBezTo>
                    <a:pt x="27" y="2"/>
                    <a:pt x="34" y="0"/>
                    <a:pt x="42" y="0"/>
                  </a:cubicBezTo>
                  <a:cubicBezTo>
                    <a:pt x="48" y="0"/>
                    <a:pt x="54" y="1"/>
                    <a:pt x="59" y="3"/>
                  </a:cubicBezTo>
                  <a:cubicBezTo>
                    <a:pt x="64" y="5"/>
                    <a:pt x="68" y="8"/>
                    <a:pt x="71" y="11"/>
                  </a:cubicBezTo>
                  <a:cubicBezTo>
                    <a:pt x="73" y="15"/>
                    <a:pt x="75" y="19"/>
                    <a:pt x="77" y="25"/>
                  </a:cubicBezTo>
                  <a:lnTo>
                    <a:pt x="67" y="28"/>
                  </a:lnTo>
                  <a:cubicBezTo>
                    <a:pt x="66" y="23"/>
                    <a:pt x="64" y="20"/>
                    <a:pt x="62" y="18"/>
                  </a:cubicBezTo>
                  <a:cubicBezTo>
                    <a:pt x="60" y="15"/>
                    <a:pt x="58" y="13"/>
                    <a:pt x="54" y="12"/>
                  </a:cubicBezTo>
                  <a:cubicBezTo>
                    <a:pt x="51" y="10"/>
                    <a:pt x="47" y="10"/>
                    <a:pt x="42" y="10"/>
                  </a:cubicBezTo>
                  <a:cubicBezTo>
                    <a:pt x="37" y="10"/>
                    <a:pt x="33" y="10"/>
                    <a:pt x="29" y="12"/>
                  </a:cubicBezTo>
                  <a:cubicBezTo>
                    <a:pt x="25" y="13"/>
                    <a:pt x="22" y="15"/>
                    <a:pt x="20" y="18"/>
                  </a:cubicBezTo>
                  <a:cubicBezTo>
                    <a:pt x="18" y="21"/>
                    <a:pt x="16" y="23"/>
                    <a:pt x="15" y="26"/>
                  </a:cubicBezTo>
                  <a:cubicBezTo>
                    <a:pt x="13" y="32"/>
                    <a:pt x="12" y="37"/>
                    <a:pt x="12" y="43"/>
                  </a:cubicBezTo>
                  <a:cubicBezTo>
                    <a:pt x="12" y="51"/>
                    <a:pt x="13" y="57"/>
                    <a:pt x="16" y="62"/>
                  </a:cubicBezTo>
                  <a:cubicBezTo>
                    <a:pt x="18" y="67"/>
                    <a:pt x="22" y="71"/>
                    <a:pt x="27" y="73"/>
                  </a:cubicBezTo>
                  <a:cubicBezTo>
                    <a:pt x="32" y="76"/>
                    <a:pt x="37" y="77"/>
                    <a:pt x="43" y="77"/>
                  </a:cubicBezTo>
                  <a:cubicBezTo>
                    <a:pt x="47" y="77"/>
                    <a:pt x="52" y="76"/>
                    <a:pt x="57" y="74"/>
                  </a:cubicBezTo>
                  <a:cubicBezTo>
                    <a:pt x="61" y="73"/>
                    <a:pt x="65" y="71"/>
                    <a:pt x="67" y="68"/>
                  </a:cubicBezTo>
                  <a:lnTo>
                    <a:pt x="67" y="53"/>
                  </a:lnTo>
                  <a:lnTo>
                    <a:pt x="42"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797"/>
            <p:cNvSpPr>
              <a:spLocks/>
            </p:cNvSpPr>
            <p:nvPr/>
          </p:nvSpPr>
          <p:spPr bwMode="auto">
            <a:xfrm>
              <a:off x="4503"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798"/>
            <p:cNvSpPr>
              <a:spLocks noEditPoints="1"/>
            </p:cNvSpPr>
            <p:nvPr/>
          </p:nvSpPr>
          <p:spPr bwMode="auto">
            <a:xfrm>
              <a:off x="4522" y="2692"/>
              <a:ext cx="16" cy="19"/>
            </a:xfrm>
            <a:custGeom>
              <a:avLst/>
              <a:gdLst>
                <a:gd name="T0" fmla="*/ 0 w 69"/>
                <a:gd name="T1" fmla="*/ 85 h 85"/>
                <a:gd name="T2" fmla="*/ 0 w 69"/>
                <a:gd name="T3" fmla="*/ 0 h 85"/>
                <a:gd name="T4" fmla="*/ 29 w 69"/>
                <a:gd name="T5" fmla="*/ 0 h 85"/>
                <a:gd name="T6" fmla="*/ 44 w 69"/>
                <a:gd name="T7" fmla="*/ 2 h 85"/>
                <a:gd name="T8" fmla="*/ 56 w 69"/>
                <a:gd name="T9" fmla="*/ 8 h 85"/>
                <a:gd name="T10" fmla="*/ 66 w 69"/>
                <a:gd name="T11" fmla="*/ 22 h 85"/>
                <a:gd name="T12" fmla="*/ 69 w 69"/>
                <a:gd name="T13" fmla="*/ 42 h 85"/>
                <a:gd name="T14" fmla="*/ 67 w 69"/>
                <a:gd name="T15" fmla="*/ 59 h 85"/>
                <a:gd name="T16" fmla="*/ 61 w 69"/>
                <a:gd name="T17" fmla="*/ 71 h 85"/>
                <a:gd name="T18" fmla="*/ 54 w 69"/>
                <a:gd name="T19" fmla="*/ 79 h 85"/>
                <a:gd name="T20" fmla="*/ 44 w 69"/>
                <a:gd name="T21" fmla="*/ 83 h 85"/>
                <a:gd name="T22" fmla="*/ 30 w 69"/>
                <a:gd name="T23" fmla="*/ 85 h 85"/>
                <a:gd name="T24" fmla="*/ 0 w 69"/>
                <a:gd name="T25" fmla="*/ 85 h 85"/>
                <a:gd name="T26" fmla="*/ 11 w 69"/>
                <a:gd name="T27" fmla="*/ 75 h 85"/>
                <a:gd name="T28" fmla="*/ 29 w 69"/>
                <a:gd name="T29" fmla="*/ 75 h 85"/>
                <a:gd name="T30" fmla="*/ 42 w 69"/>
                <a:gd name="T31" fmla="*/ 73 h 85"/>
                <a:gd name="T32" fmla="*/ 50 w 69"/>
                <a:gd name="T33" fmla="*/ 69 h 85"/>
                <a:gd name="T34" fmla="*/ 56 w 69"/>
                <a:gd name="T35" fmla="*/ 58 h 85"/>
                <a:gd name="T36" fmla="*/ 58 w 69"/>
                <a:gd name="T37" fmla="*/ 42 h 85"/>
                <a:gd name="T38" fmla="*/ 54 w 69"/>
                <a:gd name="T39" fmla="*/ 22 h 85"/>
                <a:gd name="T40" fmla="*/ 43 w 69"/>
                <a:gd name="T41" fmla="*/ 12 h 85"/>
                <a:gd name="T42" fmla="*/ 29 w 69"/>
                <a:gd name="T43" fmla="*/ 10 h 85"/>
                <a:gd name="T44" fmla="*/ 11 w 69"/>
                <a:gd name="T45" fmla="*/ 10 h 85"/>
                <a:gd name="T46" fmla="*/ 11 w 69"/>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5">
                  <a:moveTo>
                    <a:pt x="0" y="85"/>
                  </a:moveTo>
                  <a:lnTo>
                    <a:pt x="0" y="0"/>
                  </a:lnTo>
                  <a:lnTo>
                    <a:pt x="29" y="0"/>
                  </a:lnTo>
                  <a:cubicBezTo>
                    <a:pt x="35" y="0"/>
                    <a:pt x="40" y="1"/>
                    <a:pt x="44" y="2"/>
                  </a:cubicBezTo>
                  <a:cubicBezTo>
                    <a:pt x="49" y="3"/>
                    <a:pt x="53" y="5"/>
                    <a:pt x="56" y="8"/>
                  </a:cubicBezTo>
                  <a:cubicBezTo>
                    <a:pt x="61" y="11"/>
                    <a:pt x="64" y="16"/>
                    <a:pt x="66" y="22"/>
                  </a:cubicBezTo>
                  <a:cubicBezTo>
                    <a:pt x="68" y="28"/>
                    <a:pt x="69" y="35"/>
                    <a:pt x="69" y="42"/>
                  </a:cubicBezTo>
                  <a:cubicBezTo>
                    <a:pt x="69" y="49"/>
                    <a:pt x="69" y="54"/>
                    <a:pt x="67" y="59"/>
                  </a:cubicBezTo>
                  <a:cubicBezTo>
                    <a:pt x="66" y="64"/>
                    <a:pt x="64" y="68"/>
                    <a:pt x="61" y="71"/>
                  </a:cubicBezTo>
                  <a:cubicBezTo>
                    <a:pt x="59" y="75"/>
                    <a:pt x="57" y="77"/>
                    <a:pt x="54" y="79"/>
                  </a:cubicBezTo>
                  <a:cubicBezTo>
                    <a:pt x="51" y="81"/>
                    <a:pt x="48" y="82"/>
                    <a:pt x="44" y="83"/>
                  </a:cubicBezTo>
                  <a:cubicBezTo>
                    <a:pt x="40" y="84"/>
                    <a:pt x="35" y="85"/>
                    <a:pt x="30" y="85"/>
                  </a:cubicBezTo>
                  <a:lnTo>
                    <a:pt x="0" y="85"/>
                  </a:lnTo>
                  <a:close/>
                  <a:moveTo>
                    <a:pt x="11" y="75"/>
                  </a:moveTo>
                  <a:lnTo>
                    <a:pt x="29" y="75"/>
                  </a:lnTo>
                  <a:cubicBezTo>
                    <a:pt x="34" y="75"/>
                    <a:pt x="39" y="74"/>
                    <a:pt x="42" y="73"/>
                  </a:cubicBezTo>
                  <a:cubicBezTo>
                    <a:pt x="45" y="72"/>
                    <a:pt x="48" y="71"/>
                    <a:pt x="50" y="69"/>
                  </a:cubicBezTo>
                  <a:cubicBezTo>
                    <a:pt x="52" y="66"/>
                    <a:pt x="54" y="63"/>
                    <a:pt x="56" y="58"/>
                  </a:cubicBezTo>
                  <a:cubicBezTo>
                    <a:pt x="57" y="54"/>
                    <a:pt x="58" y="48"/>
                    <a:pt x="58" y="42"/>
                  </a:cubicBezTo>
                  <a:cubicBezTo>
                    <a:pt x="58" y="33"/>
                    <a:pt x="57" y="26"/>
                    <a:pt x="54" y="22"/>
                  </a:cubicBezTo>
                  <a:cubicBezTo>
                    <a:pt x="51" y="17"/>
                    <a:pt x="47" y="14"/>
                    <a:pt x="43" y="12"/>
                  </a:cubicBezTo>
                  <a:cubicBezTo>
                    <a:pt x="40" y="11"/>
                    <a:pt x="35"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Rectangle 1799"/>
            <p:cNvSpPr>
              <a:spLocks noChangeArrowheads="1"/>
            </p:cNvSpPr>
            <p:nvPr/>
          </p:nvSpPr>
          <p:spPr bwMode="auto">
            <a:xfrm>
              <a:off x="4201" y="2902"/>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800"/>
            <p:cNvSpPr>
              <a:spLocks noEditPoints="1"/>
            </p:cNvSpPr>
            <p:nvPr/>
          </p:nvSpPr>
          <p:spPr bwMode="auto">
            <a:xfrm>
              <a:off x="4207" y="2902"/>
              <a:ext cx="18" cy="20"/>
            </a:xfrm>
            <a:custGeom>
              <a:avLst/>
              <a:gdLst>
                <a:gd name="T0" fmla="*/ 0 w 81"/>
                <a:gd name="T1" fmla="*/ 45 h 88"/>
                <a:gd name="T2" fmla="*/ 11 w 81"/>
                <a:gd name="T3" fmla="*/ 12 h 88"/>
                <a:gd name="T4" fmla="*/ 41 w 81"/>
                <a:gd name="T5" fmla="*/ 0 h 88"/>
                <a:gd name="T6" fmla="*/ 62 w 81"/>
                <a:gd name="T7" fmla="*/ 6 h 88"/>
                <a:gd name="T8" fmla="*/ 76 w 81"/>
                <a:gd name="T9" fmla="*/ 21 h 88"/>
                <a:gd name="T10" fmla="*/ 81 w 81"/>
                <a:gd name="T11" fmla="*/ 44 h 88"/>
                <a:gd name="T12" fmla="*/ 76 w 81"/>
                <a:gd name="T13" fmla="*/ 67 h 88"/>
                <a:gd name="T14" fmla="*/ 61 w 81"/>
                <a:gd name="T15" fmla="*/ 82 h 88"/>
                <a:gd name="T16" fmla="*/ 40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0 w 81"/>
                <a:gd name="T29" fmla="*/ 78 h 88"/>
                <a:gd name="T30" fmla="*/ 61 w 81"/>
                <a:gd name="T31" fmla="*/ 69 h 88"/>
                <a:gd name="T32" fmla="*/ 69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1" y="12"/>
                  </a:cubicBezTo>
                  <a:cubicBezTo>
                    <a:pt x="19" y="4"/>
                    <a:pt x="29" y="0"/>
                    <a:pt x="41" y="0"/>
                  </a:cubicBezTo>
                  <a:cubicBezTo>
                    <a:pt x="48" y="0"/>
                    <a:pt x="55" y="2"/>
                    <a:pt x="62" y="6"/>
                  </a:cubicBezTo>
                  <a:cubicBezTo>
                    <a:pt x="68" y="10"/>
                    <a:pt x="73" y="15"/>
                    <a:pt x="76" y="21"/>
                  </a:cubicBezTo>
                  <a:cubicBezTo>
                    <a:pt x="79" y="28"/>
                    <a:pt x="81" y="36"/>
                    <a:pt x="81" y="44"/>
                  </a:cubicBezTo>
                  <a:cubicBezTo>
                    <a:pt x="81" y="53"/>
                    <a:pt x="79" y="60"/>
                    <a:pt x="76" y="67"/>
                  </a:cubicBezTo>
                  <a:cubicBezTo>
                    <a:pt x="72" y="74"/>
                    <a:pt x="67" y="79"/>
                    <a:pt x="61" y="82"/>
                  </a:cubicBezTo>
                  <a:cubicBezTo>
                    <a:pt x="55" y="86"/>
                    <a:pt x="48" y="88"/>
                    <a:pt x="40" y="88"/>
                  </a:cubicBezTo>
                  <a:cubicBezTo>
                    <a:pt x="33" y="88"/>
                    <a:pt x="25" y="86"/>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4" y="21"/>
                    <a:pt x="60" y="17"/>
                    <a:pt x="56" y="14"/>
                  </a:cubicBezTo>
                  <a:cubicBezTo>
                    <a:pt x="51" y="11"/>
                    <a:pt x="46" y="10"/>
                    <a:pt x="41" y="10"/>
                  </a:cubicBezTo>
                  <a:cubicBezTo>
                    <a:pt x="33" y="10"/>
                    <a:pt x="26" y="13"/>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801"/>
            <p:cNvSpPr>
              <a:spLocks noEditPoints="1"/>
            </p:cNvSpPr>
            <p:nvPr/>
          </p:nvSpPr>
          <p:spPr bwMode="auto">
            <a:xfrm>
              <a:off x="4228" y="2902"/>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49 w 75"/>
                <a:gd name="T25" fmla="*/ 67 h 84"/>
                <a:gd name="T26" fmla="*/ 41 w 75"/>
                <a:gd name="T27" fmla="*/ 55 h 84"/>
                <a:gd name="T28" fmla="*/ 36 w 75"/>
                <a:gd name="T29" fmla="*/ 49 h 84"/>
                <a:gd name="T30" fmla="*/ 31 w 75"/>
                <a:gd name="T31" fmla="*/ 47 h 84"/>
                <a:gd name="T32" fmla="*/ 24 w 75"/>
                <a:gd name="T33" fmla="*/ 47 h 84"/>
                <a:gd name="T34" fmla="*/ 11 w 75"/>
                <a:gd name="T35" fmla="*/ 47 h 84"/>
                <a:gd name="T36" fmla="*/ 11 w 75"/>
                <a:gd name="T37" fmla="*/ 84 h 84"/>
                <a:gd name="T38" fmla="*/ 0 w 75"/>
                <a:gd name="T39" fmla="*/ 84 h 84"/>
                <a:gd name="T40" fmla="*/ 11 w 75"/>
                <a:gd name="T41" fmla="*/ 37 h 84"/>
                <a:gd name="T42" fmla="*/ 35 w 75"/>
                <a:gd name="T43" fmla="*/ 37 h 84"/>
                <a:gd name="T44" fmla="*/ 47 w 75"/>
                <a:gd name="T45" fmla="*/ 35 h 84"/>
                <a:gd name="T46" fmla="*/ 54 w 75"/>
                <a:gd name="T47" fmla="*/ 30 h 84"/>
                <a:gd name="T48" fmla="*/ 56 w 75"/>
                <a:gd name="T49" fmla="*/ 23 h 84"/>
                <a:gd name="T50" fmla="*/ 52 w 75"/>
                <a:gd name="T51" fmla="*/ 13 h 84"/>
                <a:gd name="T52" fmla="*/ 38 w 75"/>
                <a:gd name="T53" fmla="*/ 9 h 84"/>
                <a:gd name="T54" fmla="*/ 11 w 75"/>
                <a:gd name="T55" fmla="*/ 9 h 84"/>
                <a:gd name="T56" fmla="*/ 11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0"/>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49" y="67"/>
                  </a:lnTo>
                  <a:cubicBezTo>
                    <a:pt x="46" y="61"/>
                    <a:pt x="44" y="58"/>
                    <a:pt x="41" y="55"/>
                  </a:cubicBezTo>
                  <a:cubicBezTo>
                    <a:pt x="39" y="52"/>
                    <a:pt x="37" y="50"/>
                    <a:pt x="36" y="49"/>
                  </a:cubicBezTo>
                  <a:cubicBezTo>
                    <a:pt x="34" y="48"/>
                    <a:pt x="32" y="47"/>
                    <a:pt x="31" y="47"/>
                  </a:cubicBezTo>
                  <a:cubicBezTo>
                    <a:pt x="29" y="47"/>
                    <a:pt x="27" y="47"/>
                    <a:pt x="24" y="47"/>
                  </a:cubicBezTo>
                  <a:lnTo>
                    <a:pt x="11" y="47"/>
                  </a:lnTo>
                  <a:lnTo>
                    <a:pt x="11" y="84"/>
                  </a:lnTo>
                  <a:lnTo>
                    <a:pt x="0" y="84"/>
                  </a:lnTo>
                  <a:close/>
                  <a:moveTo>
                    <a:pt x="11" y="37"/>
                  </a:moveTo>
                  <a:lnTo>
                    <a:pt x="35" y="37"/>
                  </a:lnTo>
                  <a:cubicBezTo>
                    <a:pt x="41" y="37"/>
                    <a:pt x="45" y="36"/>
                    <a:pt x="47" y="35"/>
                  </a:cubicBezTo>
                  <a:cubicBezTo>
                    <a:pt x="50" y="34"/>
                    <a:pt x="53" y="33"/>
                    <a:pt x="54" y="30"/>
                  </a:cubicBezTo>
                  <a:cubicBezTo>
                    <a:pt x="56" y="28"/>
                    <a:pt x="56" y="25"/>
                    <a:pt x="56" y="23"/>
                  </a:cubicBezTo>
                  <a:cubicBezTo>
                    <a:pt x="56" y="19"/>
                    <a:pt x="55" y="15"/>
                    <a:pt x="52" y="13"/>
                  </a:cubicBezTo>
                  <a:cubicBezTo>
                    <a:pt x="49" y="10"/>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Freeform 1802"/>
            <p:cNvSpPr>
              <a:spLocks/>
            </p:cNvSpPr>
            <p:nvPr/>
          </p:nvSpPr>
          <p:spPr bwMode="auto">
            <a:xfrm>
              <a:off x="4248" y="2902"/>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7 w 63"/>
                <a:gd name="T13" fmla="*/ 36 h 84"/>
                <a:gd name="T14" fmla="*/ 57 w 63"/>
                <a:gd name="T15" fmla="*/ 45 h 84"/>
                <a:gd name="T16" fmla="*/ 11 w 63"/>
                <a:gd name="T17" fmla="*/ 45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7" y="36"/>
                  </a:lnTo>
                  <a:lnTo>
                    <a:pt x="57" y="45"/>
                  </a:lnTo>
                  <a:lnTo>
                    <a:pt x="11" y="45"/>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803"/>
            <p:cNvSpPr>
              <a:spLocks/>
            </p:cNvSpPr>
            <p:nvPr/>
          </p:nvSpPr>
          <p:spPr bwMode="auto">
            <a:xfrm>
              <a:off x="4266" y="2902"/>
              <a:ext cx="13" cy="19"/>
            </a:xfrm>
            <a:custGeom>
              <a:avLst/>
              <a:gdLst>
                <a:gd name="T0" fmla="*/ 0 w 57"/>
                <a:gd name="T1" fmla="*/ 84 h 84"/>
                <a:gd name="T2" fmla="*/ 0 w 57"/>
                <a:gd name="T3" fmla="*/ 0 h 84"/>
                <a:gd name="T4" fmla="*/ 57 w 57"/>
                <a:gd name="T5" fmla="*/ 0 h 84"/>
                <a:gd name="T6" fmla="*/ 57 w 57"/>
                <a:gd name="T7" fmla="*/ 10 h 84"/>
                <a:gd name="T8" fmla="*/ 11 w 57"/>
                <a:gd name="T9" fmla="*/ 10 h 84"/>
                <a:gd name="T10" fmla="*/ 11 w 57"/>
                <a:gd name="T11" fmla="*/ 36 h 84"/>
                <a:gd name="T12" fmla="*/ 50 w 57"/>
                <a:gd name="T13" fmla="*/ 36 h 84"/>
                <a:gd name="T14" fmla="*/ 50 w 57"/>
                <a:gd name="T15" fmla="*/ 46 h 84"/>
                <a:gd name="T16" fmla="*/ 11 w 57"/>
                <a:gd name="T17" fmla="*/ 46 h 84"/>
                <a:gd name="T18" fmla="*/ 11 w 57"/>
                <a:gd name="T19" fmla="*/ 84 h 84"/>
                <a:gd name="T20" fmla="*/ 0 w 5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4">
                  <a:moveTo>
                    <a:pt x="0" y="84"/>
                  </a:moveTo>
                  <a:lnTo>
                    <a:pt x="0" y="0"/>
                  </a:lnTo>
                  <a:lnTo>
                    <a:pt x="57" y="0"/>
                  </a:lnTo>
                  <a:lnTo>
                    <a:pt x="57" y="10"/>
                  </a:lnTo>
                  <a:lnTo>
                    <a:pt x="11" y="10"/>
                  </a:lnTo>
                  <a:lnTo>
                    <a:pt x="11" y="36"/>
                  </a:lnTo>
                  <a:lnTo>
                    <a:pt x="50" y="36"/>
                  </a:lnTo>
                  <a:lnTo>
                    <a:pt x="50" y="46"/>
                  </a:lnTo>
                  <a:lnTo>
                    <a:pt x="11" y="46"/>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Rectangle 1804"/>
            <p:cNvSpPr>
              <a:spLocks noChangeArrowheads="1"/>
            </p:cNvSpPr>
            <p:nvPr/>
          </p:nvSpPr>
          <p:spPr bwMode="auto">
            <a:xfrm>
              <a:off x="4207" y="2706"/>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805"/>
            <p:cNvSpPr>
              <a:spLocks noEditPoints="1"/>
            </p:cNvSpPr>
            <p:nvPr/>
          </p:nvSpPr>
          <p:spPr bwMode="auto">
            <a:xfrm>
              <a:off x="4207" y="2684"/>
              <a:ext cx="19" cy="18"/>
            </a:xfrm>
            <a:custGeom>
              <a:avLst/>
              <a:gdLst>
                <a:gd name="T0" fmla="*/ 45 w 87"/>
                <a:gd name="T1" fmla="*/ 80 h 80"/>
                <a:gd name="T2" fmla="*/ 12 w 87"/>
                <a:gd name="T3" fmla="*/ 69 h 80"/>
                <a:gd name="T4" fmla="*/ 0 w 87"/>
                <a:gd name="T5" fmla="*/ 40 h 80"/>
                <a:gd name="T6" fmla="*/ 6 w 87"/>
                <a:gd name="T7" fmla="*/ 19 h 80"/>
                <a:gd name="T8" fmla="*/ 21 w 87"/>
                <a:gd name="T9" fmla="*/ 5 h 80"/>
                <a:gd name="T10" fmla="*/ 44 w 87"/>
                <a:gd name="T11" fmla="*/ 0 h 80"/>
                <a:gd name="T12" fmla="*/ 67 w 87"/>
                <a:gd name="T13" fmla="*/ 5 h 80"/>
                <a:gd name="T14" fmla="*/ 82 w 87"/>
                <a:gd name="T15" fmla="*/ 20 h 80"/>
                <a:gd name="T16" fmla="*/ 87 w 87"/>
                <a:gd name="T17" fmla="*/ 40 h 80"/>
                <a:gd name="T18" fmla="*/ 82 w 87"/>
                <a:gd name="T19" fmla="*/ 61 h 80"/>
                <a:gd name="T20" fmla="*/ 66 w 87"/>
                <a:gd name="T21" fmla="*/ 76 h 80"/>
                <a:gd name="T22" fmla="*/ 45 w 87"/>
                <a:gd name="T23" fmla="*/ 80 h 80"/>
                <a:gd name="T24" fmla="*/ 45 w 87"/>
                <a:gd name="T25" fmla="*/ 69 h 80"/>
                <a:gd name="T26" fmla="*/ 69 w 87"/>
                <a:gd name="T27" fmla="*/ 61 h 80"/>
                <a:gd name="T28" fmla="*/ 78 w 87"/>
                <a:gd name="T29" fmla="*/ 40 h 80"/>
                <a:gd name="T30" fmla="*/ 69 w 87"/>
                <a:gd name="T31" fmla="*/ 19 h 80"/>
                <a:gd name="T32" fmla="*/ 44 w 87"/>
                <a:gd name="T33" fmla="*/ 11 h 80"/>
                <a:gd name="T34" fmla="*/ 26 w 87"/>
                <a:gd name="T35" fmla="*/ 15 h 80"/>
                <a:gd name="T36" fmla="*/ 14 w 87"/>
                <a:gd name="T37" fmla="*/ 25 h 80"/>
                <a:gd name="T38" fmla="*/ 10 w 87"/>
                <a:gd name="T39" fmla="*/ 40 h 80"/>
                <a:gd name="T40" fmla="*/ 18 w 87"/>
                <a:gd name="T41" fmla="*/ 60 h 80"/>
                <a:gd name="T42" fmla="*/ 45 w 87"/>
                <a:gd name="T43"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0">
                  <a:moveTo>
                    <a:pt x="45" y="80"/>
                  </a:moveTo>
                  <a:cubicBezTo>
                    <a:pt x="31" y="80"/>
                    <a:pt x="20" y="77"/>
                    <a:pt x="12" y="69"/>
                  </a:cubicBezTo>
                  <a:cubicBezTo>
                    <a:pt x="4" y="62"/>
                    <a:pt x="0" y="52"/>
                    <a:pt x="0" y="40"/>
                  </a:cubicBezTo>
                  <a:cubicBezTo>
                    <a:pt x="0" y="32"/>
                    <a:pt x="2" y="25"/>
                    <a:pt x="6" y="19"/>
                  </a:cubicBezTo>
                  <a:cubicBezTo>
                    <a:pt x="9" y="13"/>
                    <a:pt x="15" y="8"/>
                    <a:pt x="21" y="5"/>
                  </a:cubicBezTo>
                  <a:cubicBezTo>
                    <a:pt x="28" y="1"/>
                    <a:pt x="36" y="0"/>
                    <a:pt x="44" y="0"/>
                  </a:cubicBezTo>
                  <a:cubicBezTo>
                    <a:pt x="53" y="0"/>
                    <a:pt x="60" y="1"/>
                    <a:pt x="67" y="5"/>
                  </a:cubicBezTo>
                  <a:cubicBezTo>
                    <a:pt x="74" y="8"/>
                    <a:pt x="79" y="13"/>
                    <a:pt x="82" y="20"/>
                  </a:cubicBezTo>
                  <a:cubicBezTo>
                    <a:pt x="86" y="26"/>
                    <a:pt x="87" y="33"/>
                    <a:pt x="87" y="40"/>
                  </a:cubicBezTo>
                  <a:cubicBezTo>
                    <a:pt x="87" y="48"/>
                    <a:pt x="86" y="55"/>
                    <a:pt x="82" y="61"/>
                  </a:cubicBezTo>
                  <a:cubicBezTo>
                    <a:pt x="78" y="68"/>
                    <a:pt x="73" y="72"/>
                    <a:pt x="66" y="76"/>
                  </a:cubicBezTo>
                  <a:cubicBezTo>
                    <a:pt x="59" y="79"/>
                    <a:pt x="52" y="80"/>
                    <a:pt x="45" y="80"/>
                  </a:cubicBezTo>
                  <a:close/>
                  <a:moveTo>
                    <a:pt x="45" y="69"/>
                  </a:moveTo>
                  <a:cubicBezTo>
                    <a:pt x="55" y="69"/>
                    <a:pt x="63" y="66"/>
                    <a:pt x="69" y="61"/>
                  </a:cubicBezTo>
                  <a:cubicBezTo>
                    <a:pt x="75" y="55"/>
                    <a:pt x="78" y="48"/>
                    <a:pt x="78" y="40"/>
                  </a:cubicBezTo>
                  <a:cubicBezTo>
                    <a:pt x="78" y="32"/>
                    <a:pt x="75" y="25"/>
                    <a:pt x="69" y="19"/>
                  </a:cubicBezTo>
                  <a:cubicBezTo>
                    <a:pt x="63" y="14"/>
                    <a:pt x="55" y="11"/>
                    <a:pt x="44" y="11"/>
                  </a:cubicBezTo>
                  <a:cubicBezTo>
                    <a:pt x="37" y="11"/>
                    <a:pt x="31" y="12"/>
                    <a:pt x="26" y="15"/>
                  </a:cubicBezTo>
                  <a:cubicBezTo>
                    <a:pt x="21" y="17"/>
                    <a:pt x="17" y="20"/>
                    <a:pt x="14" y="25"/>
                  </a:cubicBezTo>
                  <a:cubicBezTo>
                    <a:pt x="11" y="29"/>
                    <a:pt x="10" y="34"/>
                    <a:pt x="10" y="40"/>
                  </a:cubicBezTo>
                  <a:cubicBezTo>
                    <a:pt x="10" y="48"/>
                    <a:pt x="12" y="55"/>
                    <a:pt x="18" y="60"/>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806"/>
            <p:cNvSpPr>
              <a:spLocks noEditPoints="1"/>
            </p:cNvSpPr>
            <p:nvPr/>
          </p:nvSpPr>
          <p:spPr bwMode="auto">
            <a:xfrm>
              <a:off x="4207" y="266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6 w 84"/>
                <a:gd name="T25" fmla="*/ 25 h 74"/>
                <a:gd name="T26" fmla="*/ 55 w 84"/>
                <a:gd name="T27" fmla="*/ 33 h 74"/>
                <a:gd name="T28" fmla="*/ 49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5 w 84"/>
                <a:gd name="T45" fmla="*/ 27 h 74"/>
                <a:gd name="T46" fmla="*/ 30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0" y="24"/>
                    <a:pt x="2" y="20"/>
                  </a:cubicBezTo>
                  <a:cubicBezTo>
                    <a:pt x="3" y="16"/>
                    <a:pt x="6" y="13"/>
                    <a:pt x="10" y="10"/>
                  </a:cubicBezTo>
                  <a:cubicBezTo>
                    <a:pt x="14" y="8"/>
                    <a:pt x="18" y="7"/>
                    <a:pt x="23" y="7"/>
                  </a:cubicBezTo>
                  <a:cubicBezTo>
                    <a:pt x="29" y="7"/>
                    <a:pt x="34" y="9"/>
                    <a:pt x="38" y="13"/>
                  </a:cubicBezTo>
                  <a:cubicBezTo>
                    <a:pt x="42" y="16"/>
                    <a:pt x="45" y="22"/>
                    <a:pt x="46" y="31"/>
                  </a:cubicBezTo>
                  <a:cubicBezTo>
                    <a:pt x="47" y="28"/>
                    <a:pt x="48" y="25"/>
                    <a:pt x="50" y="24"/>
                  </a:cubicBezTo>
                  <a:cubicBezTo>
                    <a:pt x="53" y="21"/>
                    <a:pt x="57" y="17"/>
                    <a:pt x="61" y="15"/>
                  </a:cubicBezTo>
                  <a:lnTo>
                    <a:pt x="84" y="0"/>
                  </a:lnTo>
                  <a:lnTo>
                    <a:pt x="84" y="14"/>
                  </a:lnTo>
                  <a:lnTo>
                    <a:pt x="66" y="25"/>
                  </a:lnTo>
                  <a:cubicBezTo>
                    <a:pt x="61" y="28"/>
                    <a:pt x="58" y="31"/>
                    <a:pt x="55" y="33"/>
                  </a:cubicBezTo>
                  <a:cubicBezTo>
                    <a:pt x="52" y="35"/>
                    <a:pt x="50" y="37"/>
                    <a:pt x="49" y="39"/>
                  </a:cubicBezTo>
                  <a:cubicBezTo>
                    <a:pt x="48" y="40"/>
                    <a:pt x="47" y="42"/>
                    <a:pt x="47" y="44"/>
                  </a:cubicBezTo>
                  <a:cubicBezTo>
                    <a:pt x="47" y="45"/>
                    <a:pt x="47" y="47"/>
                    <a:pt x="47" y="50"/>
                  </a:cubicBezTo>
                  <a:lnTo>
                    <a:pt x="47" y="63"/>
                  </a:lnTo>
                  <a:lnTo>
                    <a:pt x="84" y="63"/>
                  </a:lnTo>
                  <a:lnTo>
                    <a:pt x="84" y="74"/>
                  </a:lnTo>
                  <a:close/>
                  <a:moveTo>
                    <a:pt x="37" y="63"/>
                  </a:moveTo>
                  <a:lnTo>
                    <a:pt x="37" y="39"/>
                  </a:lnTo>
                  <a:cubicBezTo>
                    <a:pt x="37" y="34"/>
                    <a:pt x="36" y="30"/>
                    <a:pt x="35" y="27"/>
                  </a:cubicBezTo>
                  <a:cubicBezTo>
                    <a:pt x="34" y="24"/>
                    <a:pt x="33" y="22"/>
                    <a:pt x="30" y="21"/>
                  </a:cubicBezTo>
                  <a:cubicBezTo>
                    <a:pt x="28" y="19"/>
                    <a:pt x="25" y="18"/>
                    <a:pt x="23" y="18"/>
                  </a:cubicBezTo>
                  <a:cubicBezTo>
                    <a:pt x="19" y="18"/>
                    <a:pt x="15" y="20"/>
                    <a:pt x="13" y="23"/>
                  </a:cubicBezTo>
                  <a:cubicBezTo>
                    <a:pt x="10"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807"/>
            <p:cNvSpPr>
              <a:spLocks/>
            </p:cNvSpPr>
            <p:nvPr/>
          </p:nvSpPr>
          <p:spPr bwMode="auto">
            <a:xfrm>
              <a:off x="4207" y="2647"/>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808"/>
            <p:cNvSpPr>
              <a:spLocks/>
            </p:cNvSpPr>
            <p:nvPr/>
          </p:nvSpPr>
          <p:spPr bwMode="auto">
            <a:xfrm>
              <a:off x="4207" y="2630"/>
              <a:ext cx="19" cy="13"/>
            </a:xfrm>
            <a:custGeom>
              <a:avLst/>
              <a:gdLst>
                <a:gd name="T0" fmla="*/ 84 w 84"/>
                <a:gd name="T1" fmla="*/ 57 h 57"/>
                <a:gd name="T2" fmla="*/ 0 w 84"/>
                <a:gd name="T3" fmla="*/ 57 h 57"/>
                <a:gd name="T4" fmla="*/ 0 w 84"/>
                <a:gd name="T5" fmla="*/ 0 h 57"/>
                <a:gd name="T6" fmla="*/ 10 w 84"/>
                <a:gd name="T7" fmla="*/ 0 h 57"/>
                <a:gd name="T8" fmla="*/ 10 w 84"/>
                <a:gd name="T9" fmla="*/ 46 h 57"/>
                <a:gd name="T10" fmla="*/ 36 w 84"/>
                <a:gd name="T11" fmla="*/ 46 h 57"/>
                <a:gd name="T12" fmla="*/ 36 w 84"/>
                <a:gd name="T13" fmla="*/ 6 h 57"/>
                <a:gd name="T14" fmla="*/ 46 w 84"/>
                <a:gd name="T15" fmla="*/ 6 h 57"/>
                <a:gd name="T16" fmla="*/ 46 w 84"/>
                <a:gd name="T17" fmla="*/ 46 h 57"/>
                <a:gd name="T18" fmla="*/ 84 w 84"/>
                <a:gd name="T19" fmla="*/ 46 h 57"/>
                <a:gd name="T20" fmla="*/ 84 w 84"/>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7">
                  <a:moveTo>
                    <a:pt x="84" y="57"/>
                  </a:moveTo>
                  <a:lnTo>
                    <a:pt x="0" y="57"/>
                  </a:lnTo>
                  <a:lnTo>
                    <a:pt x="0" y="0"/>
                  </a:lnTo>
                  <a:lnTo>
                    <a:pt x="10" y="0"/>
                  </a:lnTo>
                  <a:lnTo>
                    <a:pt x="10" y="46"/>
                  </a:lnTo>
                  <a:lnTo>
                    <a:pt x="36" y="46"/>
                  </a:lnTo>
                  <a:lnTo>
                    <a:pt x="36" y="6"/>
                  </a:lnTo>
                  <a:lnTo>
                    <a:pt x="46" y="6"/>
                  </a:lnTo>
                  <a:lnTo>
                    <a:pt x="46" y="46"/>
                  </a:lnTo>
                  <a:lnTo>
                    <a:pt x="84" y="46"/>
                  </a:lnTo>
                  <a:lnTo>
                    <a:pt x="84"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809"/>
            <p:cNvSpPr>
              <a:spLocks/>
            </p:cNvSpPr>
            <p:nvPr/>
          </p:nvSpPr>
          <p:spPr bwMode="auto">
            <a:xfrm>
              <a:off x="3341" y="2904"/>
              <a:ext cx="20" cy="10"/>
            </a:xfrm>
            <a:custGeom>
              <a:avLst/>
              <a:gdLst>
                <a:gd name="T0" fmla="*/ 25 w 86"/>
                <a:gd name="T1" fmla="*/ 0 h 46"/>
                <a:gd name="T2" fmla="*/ 27 w 86"/>
                <a:gd name="T3" fmla="*/ 10 h 46"/>
                <a:gd name="T4" fmla="*/ 14 w 86"/>
                <a:gd name="T5" fmla="*/ 13 h 46"/>
                <a:gd name="T6" fmla="*/ 10 w 86"/>
                <a:gd name="T7" fmla="*/ 22 h 46"/>
                <a:gd name="T8" fmla="*/ 12 w 86"/>
                <a:gd name="T9" fmla="*/ 30 h 46"/>
                <a:gd name="T10" fmla="*/ 17 w 86"/>
                <a:gd name="T11" fmla="*/ 34 h 46"/>
                <a:gd name="T12" fmla="*/ 28 w 86"/>
                <a:gd name="T13" fmla="*/ 35 h 46"/>
                <a:gd name="T14" fmla="*/ 86 w 86"/>
                <a:gd name="T15" fmla="*/ 35 h 46"/>
                <a:gd name="T16" fmla="*/ 86 w 86"/>
                <a:gd name="T17" fmla="*/ 46 h 46"/>
                <a:gd name="T18" fmla="*/ 28 w 86"/>
                <a:gd name="T19" fmla="*/ 46 h 46"/>
                <a:gd name="T20" fmla="*/ 12 w 86"/>
                <a:gd name="T21" fmla="*/ 44 h 46"/>
                <a:gd name="T22" fmla="*/ 3 w 86"/>
                <a:gd name="T23" fmla="*/ 35 h 46"/>
                <a:gd name="T24" fmla="*/ 0 w 86"/>
                <a:gd name="T25" fmla="*/ 22 h 46"/>
                <a:gd name="T26" fmla="*/ 7 w 86"/>
                <a:gd name="T27" fmla="*/ 5 h 46"/>
                <a:gd name="T28" fmla="*/ 25 w 8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6">
                  <a:moveTo>
                    <a:pt x="25" y="0"/>
                  </a:moveTo>
                  <a:lnTo>
                    <a:pt x="27" y="10"/>
                  </a:lnTo>
                  <a:cubicBezTo>
                    <a:pt x="20" y="10"/>
                    <a:pt x="16" y="11"/>
                    <a:pt x="14" y="13"/>
                  </a:cubicBezTo>
                  <a:cubicBezTo>
                    <a:pt x="11" y="16"/>
                    <a:pt x="10" y="19"/>
                    <a:pt x="10" y="22"/>
                  </a:cubicBezTo>
                  <a:cubicBezTo>
                    <a:pt x="10" y="25"/>
                    <a:pt x="11" y="28"/>
                    <a:pt x="12" y="30"/>
                  </a:cubicBezTo>
                  <a:cubicBezTo>
                    <a:pt x="13" y="32"/>
                    <a:pt x="15" y="33"/>
                    <a:pt x="17" y="34"/>
                  </a:cubicBezTo>
                  <a:cubicBezTo>
                    <a:pt x="19" y="35"/>
                    <a:pt x="23" y="35"/>
                    <a:pt x="28" y="35"/>
                  </a:cubicBezTo>
                  <a:lnTo>
                    <a:pt x="86" y="35"/>
                  </a:lnTo>
                  <a:lnTo>
                    <a:pt x="86" y="46"/>
                  </a:lnTo>
                  <a:lnTo>
                    <a:pt x="28" y="46"/>
                  </a:lnTo>
                  <a:cubicBezTo>
                    <a:pt x="21" y="46"/>
                    <a:pt x="16" y="45"/>
                    <a:pt x="12" y="44"/>
                  </a:cubicBezTo>
                  <a:cubicBezTo>
                    <a:pt x="8" y="42"/>
                    <a:pt x="5" y="39"/>
                    <a:pt x="3" y="35"/>
                  </a:cubicBezTo>
                  <a:cubicBezTo>
                    <a:pt x="1" y="32"/>
                    <a:pt x="0" y="27"/>
                    <a:pt x="0" y="22"/>
                  </a:cubicBezTo>
                  <a:cubicBezTo>
                    <a:pt x="0" y="15"/>
                    <a:pt x="2" y="9"/>
                    <a:pt x="7" y="5"/>
                  </a:cubicBezTo>
                  <a:cubicBezTo>
                    <a:pt x="11" y="1"/>
                    <a:pt x="17" y="0"/>
                    <a:pt x="25"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810"/>
            <p:cNvSpPr>
              <a:spLocks/>
            </p:cNvSpPr>
            <p:nvPr/>
          </p:nvSpPr>
          <p:spPr bwMode="auto">
            <a:xfrm>
              <a:off x="3342" y="2917"/>
              <a:ext cx="19" cy="15"/>
            </a:xfrm>
            <a:custGeom>
              <a:avLst/>
              <a:gdLst>
                <a:gd name="T0" fmla="*/ 0 w 84"/>
                <a:gd name="T1" fmla="*/ 28 h 67"/>
                <a:gd name="T2" fmla="*/ 74 w 84"/>
                <a:gd name="T3" fmla="*/ 28 h 67"/>
                <a:gd name="T4" fmla="*/ 74 w 84"/>
                <a:gd name="T5" fmla="*/ 0 h 67"/>
                <a:gd name="T6" fmla="*/ 84 w 84"/>
                <a:gd name="T7" fmla="*/ 0 h 67"/>
                <a:gd name="T8" fmla="*/ 84 w 84"/>
                <a:gd name="T9" fmla="*/ 67 h 67"/>
                <a:gd name="T10" fmla="*/ 74 w 84"/>
                <a:gd name="T11" fmla="*/ 67 h 67"/>
                <a:gd name="T12" fmla="*/ 74 w 84"/>
                <a:gd name="T13" fmla="*/ 39 h 67"/>
                <a:gd name="T14" fmla="*/ 0 w 84"/>
                <a:gd name="T15" fmla="*/ 39 h 67"/>
                <a:gd name="T16" fmla="*/ 0 w 84"/>
                <a:gd name="T17"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0" y="28"/>
                  </a:moveTo>
                  <a:lnTo>
                    <a:pt x="74" y="28"/>
                  </a:lnTo>
                  <a:lnTo>
                    <a:pt x="74" y="0"/>
                  </a:lnTo>
                  <a:lnTo>
                    <a:pt x="84" y="0"/>
                  </a:lnTo>
                  <a:lnTo>
                    <a:pt x="84" y="67"/>
                  </a:lnTo>
                  <a:lnTo>
                    <a:pt x="74" y="67"/>
                  </a:lnTo>
                  <a:lnTo>
                    <a:pt x="74" y="39"/>
                  </a:lnTo>
                  <a:lnTo>
                    <a:pt x="0" y="39"/>
                  </a:lnTo>
                  <a:lnTo>
                    <a:pt x="0" y="2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811"/>
            <p:cNvSpPr>
              <a:spLocks noEditPoints="1"/>
            </p:cNvSpPr>
            <p:nvPr/>
          </p:nvSpPr>
          <p:spPr bwMode="auto">
            <a:xfrm>
              <a:off x="3342" y="2933"/>
              <a:ext cx="19" cy="18"/>
            </a:xfrm>
            <a:custGeom>
              <a:avLst/>
              <a:gdLst>
                <a:gd name="T0" fmla="*/ 0 w 84"/>
                <a:gd name="T1" fmla="*/ 0 h 79"/>
                <a:gd name="T2" fmla="*/ 84 w 84"/>
                <a:gd name="T3" fmla="*/ 33 h 79"/>
                <a:gd name="T4" fmla="*/ 84 w 84"/>
                <a:gd name="T5" fmla="*/ 45 h 79"/>
                <a:gd name="T6" fmla="*/ 0 w 84"/>
                <a:gd name="T7" fmla="*/ 79 h 79"/>
                <a:gd name="T8" fmla="*/ 0 w 84"/>
                <a:gd name="T9" fmla="*/ 66 h 79"/>
                <a:gd name="T10" fmla="*/ 25 w 84"/>
                <a:gd name="T11" fmla="*/ 57 h 79"/>
                <a:gd name="T12" fmla="*/ 25 w 84"/>
                <a:gd name="T13" fmla="*/ 21 h 79"/>
                <a:gd name="T14" fmla="*/ 0 w 84"/>
                <a:gd name="T15" fmla="*/ 12 h 79"/>
                <a:gd name="T16" fmla="*/ 0 w 84"/>
                <a:gd name="T17" fmla="*/ 0 h 79"/>
                <a:gd name="T18" fmla="*/ 34 w 84"/>
                <a:gd name="T19" fmla="*/ 24 h 79"/>
                <a:gd name="T20" fmla="*/ 34 w 84"/>
                <a:gd name="T21" fmla="*/ 53 h 79"/>
                <a:gd name="T22" fmla="*/ 58 w 84"/>
                <a:gd name="T23" fmla="*/ 44 h 79"/>
                <a:gd name="T24" fmla="*/ 75 w 84"/>
                <a:gd name="T25" fmla="*/ 38 h 79"/>
                <a:gd name="T26" fmla="*/ 59 w 84"/>
                <a:gd name="T27" fmla="*/ 34 h 79"/>
                <a:gd name="T28" fmla="*/ 34 w 84"/>
                <a:gd name="T29" fmla="*/ 2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0" y="0"/>
                  </a:moveTo>
                  <a:lnTo>
                    <a:pt x="84" y="33"/>
                  </a:lnTo>
                  <a:lnTo>
                    <a:pt x="84" y="45"/>
                  </a:lnTo>
                  <a:lnTo>
                    <a:pt x="0" y="79"/>
                  </a:lnTo>
                  <a:lnTo>
                    <a:pt x="0" y="66"/>
                  </a:lnTo>
                  <a:lnTo>
                    <a:pt x="25" y="57"/>
                  </a:lnTo>
                  <a:lnTo>
                    <a:pt x="25" y="21"/>
                  </a:lnTo>
                  <a:lnTo>
                    <a:pt x="0" y="12"/>
                  </a:lnTo>
                  <a:lnTo>
                    <a:pt x="0" y="0"/>
                  </a:lnTo>
                  <a:close/>
                  <a:moveTo>
                    <a:pt x="34" y="24"/>
                  </a:moveTo>
                  <a:lnTo>
                    <a:pt x="34" y="53"/>
                  </a:lnTo>
                  <a:lnTo>
                    <a:pt x="58" y="44"/>
                  </a:lnTo>
                  <a:cubicBezTo>
                    <a:pt x="65" y="42"/>
                    <a:pt x="70" y="40"/>
                    <a:pt x="75" y="38"/>
                  </a:cubicBezTo>
                  <a:cubicBezTo>
                    <a:pt x="70" y="37"/>
                    <a:pt x="64" y="36"/>
                    <a:pt x="59" y="34"/>
                  </a:cubicBezTo>
                  <a:lnTo>
                    <a:pt x="34"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Freeform 1812"/>
            <p:cNvSpPr>
              <a:spLocks/>
            </p:cNvSpPr>
            <p:nvPr/>
          </p:nvSpPr>
          <p:spPr bwMode="auto">
            <a:xfrm>
              <a:off x="3341" y="2952"/>
              <a:ext cx="20" cy="18"/>
            </a:xfrm>
            <a:custGeom>
              <a:avLst/>
              <a:gdLst>
                <a:gd name="T0" fmla="*/ 35 w 87"/>
                <a:gd name="T1" fmla="*/ 43 h 78"/>
                <a:gd name="T2" fmla="*/ 45 w 87"/>
                <a:gd name="T3" fmla="*/ 43 h 78"/>
                <a:gd name="T4" fmla="*/ 45 w 87"/>
                <a:gd name="T5" fmla="*/ 78 h 78"/>
                <a:gd name="T6" fmla="*/ 13 w 87"/>
                <a:gd name="T7" fmla="*/ 78 h 78"/>
                <a:gd name="T8" fmla="*/ 3 w 87"/>
                <a:gd name="T9" fmla="*/ 61 h 78"/>
                <a:gd name="T10" fmla="*/ 0 w 87"/>
                <a:gd name="T11" fmla="*/ 43 h 78"/>
                <a:gd name="T12" fmla="*/ 5 w 87"/>
                <a:gd name="T13" fmla="*/ 21 h 78"/>
                <a:gd name="T14" fmla="*/ 21 w 87"/>
                <a:gd name="T15" fmla="*/ 5 h 78"/>
                <a:gd name="T16" fmla="*/ 43 w 87"/>
                <a:gd name="T17" fmla="*/ 0 h 78"/>
                <a:gd name="T18" fmla="*/ 66 w 87"/>
                <a:gd name="T19" fmla="*/ 5 h 78"/>
                <a:gd name="T20" fmla="*/ 82 w 87"/>
                <a:gd name="T21" fmla="*/ 20 h 78"/>
                <a:gd name="T22" fmla="*/ 87 w 87"/>
                <a:gd name="T23" fmla="*/ 43 h 78"/>
                <a:gd name="T24" fmla="*/ 84 w 87"/>
                <a:gd name="T25" fmla="*/ 59 h 78"/>
                <a:gd name="T26" fmla="*/ 76 w 87"/>
                <a:gd name="T27" fmla="*/ 71 h 78"/>
                <a:gd name="T28" fmla="*/ 62 w 87"/>
                <a:gd name="T29" fmla="*/ 77 h 78"/>
                <a:gd name="T30" fmla="*/ 60 w 87"/>
                <a:gd name="T31" fmla="*/ 67 h 78"/>
                <a:gd name="T32" fmla="*/ 70 w 87"/>
                <a:gd name="T33" fmla="*/ 62 h 78"/>
                <a:gd name="T34" fmla="*/ 76 w 87"/>
                <a:gd name="T35" fmla="*/ 54 h 78"/>
                <a:gd name="T36" fmla="*/ 78 w 87"/>
                <a:gd name="T37" fmla="*/ 43 h 78"/>
                <a:gd name="T38" fmla="*/ 75 w 87"/>
                <a:gd name="T39" fmla="*/ 29 h 78"/>
                <a:gd name="T40" fmla="*/ 69 w 87"/>
                <a:gd name="T41" fmla="*/ 20 h 78"/>
                <a:gd name="T42" fmla="*/ 61 w 87"/>
                <a:gd name="T43" fmla="*/ 15 h 78"/>
                <a:gd name="T44" fmla="*/ 44 w 87"/>
                <a:gd name="T45" fmla="*/ 12 h 78"/>
                <a:gd name="T46" fmla="*/ 25 w 87"/>
                <a:gd name="T47" fmla="*/ 16 h 78"/>
                <a:gd name="T48" fmla="*/ 14 w 87"/>
                <a:gd name="T49" fmla="*/ 27 h 78"/>
                <a:gd name="T50" fmla="*/ 10 w 87"/>
                <a:gd name="T51" fmla="*/ 43 h 78"/>
                <a:gd name="T52" fmla="*/ 13 w 87"/>
                <a:gd name="T53" fmla="*/ 57 h 78"/>
                <a:gd name="T54" fmla="*/ 19 w 87"/>
                <a:gd name="T55" fmla="*/ 67 h 78"/>
                <a:gd name="T56" fmla="*/ 35 w 87"/>
                <a:gd name="T57" fmla="*/ 67 h 78"/>
                <a:gd name="T58" fmla="*/ 35 w 87"/>
                <a:gd name="T59" fmla="*/ 4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35" y="43"/>
                  </a:moveTo>
                  <a:lnTo>
                    <a:pt x="45" y="43"/>
                  </a:lnTo>
                  <a:lnTo>
                    <a:pt x="45" y="78"/>
                  </a:lnTo>
                  <a:lnTo>
                    <a:pt x="13" y="78"/>
                  </a:lnTo>
                  <a:cubicBezTo>
                    <a:pt x="9" y="73"/>
                    <a:pt x="6" y="67"/>
                    <a:pt x="3" y="61"/>
                  </a:cubicBezTo>
                  <a:cubicBezTo>
                    <a:pt x="1" y="56"/>
                    <a:pt x="0" y="50"/>
                    <a:pt x="0" y="43"/>
                  </a:cubicBezTo>
                  <a:cubicBezTo>
                    <a:pt x="0" y="35"/>
                    <a:pt x="2" y="28"/>
                    <a:pt x="5" y="21"/>
                  </a:cubicBezTo>
                  <a:cubicBezTo>
                    <a:pt x="9" y="14"/>
                    <a:pt x="14" y="9"/>
                    <a:pt x="21" y="5"/>
                  </a:cubicBezTo>
                  <a:cubicBezTo>
                    <a:pt x="28" y="2"/>
                    <a:pt x="35" y="0"/>
                    <a:pt x="43" y="0"/>
                  </a:cubicBezTo>
                  <a:cubicBezTo>
                    <a:pt x="52" y="0"/>
                    <a:pt x="59" y="2"/>
                    <a:pt x="66" y="5"/>
                  </a:cubicBezTo>
                  <a:cubicBezTo>
                    <a:pt x="73" y="9"/>
                    <a:pt x="79" y="14"/>
                    <a:pt x="82" y="20"/>
                  </a:cubicBezTo>
                  <a:cubicBezTo>
                    <a:pt x="86" y="27"/>
                    <a:pt x="87" y="34"/>
                    <a:pt x="87" y="43"/>
                  </a:cubicBezTo>
                  <a:cubicBezTo>
                    <a:pt x="87" y="49"/>
                    <a:pt x="86" y="54"/>
                    <a:pt x="84" y="59"/>
                  </a:cubicBezTo>
                  <a:cubicBezTo>
                    <a:pt x="82" y="64"/>
                    <a:pt x="80" y="68"/>
                    <a:pt x="76" y="71"/>
                  </a:cubicBezTo>
                  <a:cubicBezTo>
                    <a:pt x="73" y="73"/>
                    <a:pt x="68" y="76"/>
                    <a:pt x="62" y="77"/>
                  </a:cubicBezTo>
                  <a:lnTo>
                    <a:pt x="60" y="67"/>
                  </a:lnTo>
                  <a:cubicBezTo>
                    <a:pt x="64" y="66"/>
                    <a:pt x="67" y="64"/>
                    <a:pt x="70" y="62"/>
                  </a:cubicBezTo>
                  <a:cubicBezTo>
                    <a:pt x="72" y="60"/>
                    <a:pt x="74" y="58"/>
                    <a:pt x="76" y="54"/>
                  </a:cubicBezTo>
                  <a:cubicBezTo>
                    <a:pt x="77" y="51"/>
                    <a:pt x="78" y="47"/>
                    <a:pt x="78" y="43"/>
                  </a:cubicBezTo>
                  <a:cubicBezTo>
                    <a:pt x="78" y="37"/>
                    <a:pt x="77" y="33"/>
                    <a:pt x="75" y="29"/>
                  </a:cubicBezTo>
                  <a:cubicBezTo>
                    <a:pt x="74" y="26"/>
                    <a:pt x="72" y="23"/>
                    <a:pt x="69" y="20"/>
                  </a:cubicBezTo>
                  <a:cubicBezTo>
                    <a:pt x="67" y="18"/>
                    <a:pt x="64" y="16"/>
                    <a:pt x="61" y="15"/>
                  </a:cubicBezTo>
                  <a:cubicBezTo>
                    <a:pt x="56" y="13"/>
                    <a:pt x="50" y="12"/>
                    <a:pt x="44" y="12"/>
                  </a:cubicBezTo>
                  <a:cubicBezTo>
                    <a:pt x="37" y="12"/>
                    <a:pt x="30" y="13"/>
                    <a:pt x="25" y="16"/>
                  </a:cubicBezTo>
                  <a:cubicBezTo>
                    <a:pt x="20" y="18"/>
                    <a:pt x="16" y="22"/>
                    <a:pt x="14" y="27"/>
                  </a:cubicBezTo>
                  <a:cubicBezTo>
                    <a:pt x="11" y="32"/>
                    <a:pt x="10" y="37"/>
                    <a:pt x="10" y="43"/>
                  </a:cubicBezTo>
                  <a:cubicBezTo>
                    <a:pt x="10" y="48"/>
                    <a:pt x="11" y="52"/>
                    <a:pt x="13" y="57"/>
                  </a:cubicBezTo>
                  <a:cubicBezTo>
                    <a:pt x="15" y="62"/>
                    <a:pt x="17" y="65"/>
                    <a:pt x="19" y="67"/>
                  </a:cubicBezTo>
                  <a:lnTo>
                    <a:pt x="35" y="67"/>
                  </a:lnTo>
                  <a:lnTo>
                    <a:pt x="35" y="4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813"/>
            <p:cNvSpPr>
              <a:spLocks noEditPoints="1"/>
            </p:cNvSpPr>
            <p:nvPr/>
          </p:nvSpPr>
          <p:spPr bwMode="auto">
            <a:xfrm>
              <a:off x="4292" y="2954"/>
              <a:ext cx="17" cy="19"/>
            </a:xfrm>
            <a:custGeom>
              <a:avLst/>
              <a:gdLst>
                <a:gd name="T0" fmla="*/ 0 w 74"/>
                <a:gd name="T1" fmla="*/ 85 h 85"/>
                <a:gd name="T2" fmla="*/ 0 w 74"/>
                <a:gd name="T3" fmla="*/ 0 h 85"/>
                <a:gd name="T4" fmla="*/ 37 w 74"/>
                <a:gd name="T5" fmla="*/ 0 h 85"/>
                <a:gd name="T6" fmla="*/ 54 w 74"/>
                <a:gd name="T7" fmla="*/ 3 h 85"/>
                <a:gd name="T8" fmla="*/ 63 w 74"/>
                <a:gd name="T9" fmla="*/ 11 h 85"/>
                <a:gd name="T10" fmla="*/ 67 w 74"/>
                <a:gd name="T11" fmla="*/ 23 h 85"/>
                <a:gd name="T12" fmla="*/ 61 w 74"/>
                <a:gd name="T13" fmla="*/ 39 h 85"/>
                <a:gd name="T14" fmla="*/ 43 w 74"/>
                <a:gd name="T15" fmla="*/ 46 h 85"/>
                <a:gd name="T16" fmla="*/ 50 w 74"/>
                <a:gd name="T17" fmla="*/ 51 h 85"/>
                <a:gd name="T18" fmla="*/ 59 w 74"/>
                <a:gd name="T19" fmla="*/ 62 h 85"/>
                <a:gd name="T20" fmla="*/ 74 w 74"/>
                <a:gd name="T21" fmla="*/ 85 h 85"/>
                <a:gd name="T22" fmla="*/ 60 w 74"/>
                <a:gd name="T23" fmla="*/ 85 h 85"/>
                <a:gd name="T24" fmla="*/ 49 w 74"/>
                <a:gd name="T25" fmla="*/ 67 h 85"/>
                <a:gd name="T26" fmla="*/ 41 w 74"/>
                <a:gd name="T27" fmla="*/ 56 h 85"/>
                <a:gd name="T28" fmla="*/ 35 w 74"/>
                <a:gd name="T29" fmla="*/ 50 h 85"/>
                <a:gd name="T30" fmla="*/ 30 w 74"/>
                <a:gd name="T31" fmla="*/ 48 h 85"/>
                <a:gd name="T32" fmla="*/ 24 w 74"/>
                <a:gd name="T33" fmla="*/ 47 h 85"/>
                <a:gd name="T34" fmla="*/ 11 w 74"/>
                <a:gd name="T35" fmla="*/ 47 h 85"/>
                <a:gd name="T36" fmla="*/ 11 w 74"/>
                <a:gd name="T37" fmla="*/ 85 h 85"/>
                <a:gd name="T38" fmla="*/ 0 w 74"/>
                <a:gd name="T39" fmla="*/ 85 h 85"/>
                <a:gd name="T40" fmla="*/ 11 w 74"/>
                <a:gd name="T41" fmla="*/ 38 h 85"/>
                <a:gd name="T42" fmla="*/ 35 w 74"/>
                <a:gd name="T43" fmla="*/ 38 h 85"/>
                <a:gd name="T44" fmla="*/ 47 w 74"/>
                <a:gd name="T45" fmla="*/ 36 h 85"/>
                <a:gd name="T46" fmla="*/ 53 w 74"/>
                <a:gd name="T47" fmla="*/ 31 h 85"/>
                <a:gd name="T48" fmla="*/ 55 w 74"/>
                <a:gd name="T49" fmla="*/ 23 h 85"/>
                <a:gd name="T50" fmla="*/ 51 w 74"/>
                <a:gd name="T51" fmla="*/ 14 h 85"/>
                <a:gd name="T52" fmla="*/ 37 w 74"/>
                <a:gd name="T53" fmla="*/ 10 h 85"/>
                <a:gd name="T54" fmla="*/ 11 w 74"/>
                <a:gd name="T55" fmla="*/ 10 h 85"/>
                <a:gd name="T56" fmla="*/ 11 w 74"/>
                <a:gd name="T57"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4" y="0"/>
                    <a:pt x="50" y="1"/>
                    <a:pt x="54" y="3"/>
                  </a:cubicBezTo>
                  <a:cubicBezTo>
                    <a:pt x="58" y="4"/>
                    <a:pt x="61" y="7"/>
                    <a:pt x="63" y="11"/>
                  </a:cubicBezTo>
                  <a:cubicBezTo>
                    <a:pt x="66" y="15"/>
                    <a:pt x="67" y="19"/>
                    <a:pt x="67" y="23"/>
                  </a:cubicBezTo>
                  <a:cubicBezTo>
                    <a:pt x="67" y="29"/>
                    <a:pt x="65" y="34"/>
                    <a:pt x="61" y="39"/>
                  </a:cubicBezTo>
                  <a:cubicBezTo>
                    <a:pt x="57" y="43"/>
                    <a:pt x="51" y="45"/>
                    <a:pt x="43" y="46"/>
                  </a:cubicBezTo>
                  <a:cubicBezTo>
                    <a:pt x="46" y="48"/>
                    <a:pt x="48" y="49"/>
                    <a:pt x="50" y="51"/>
                  </a:cubicBezTo>
                  <a:cubicBezTo>
                    <a:pt x="53" y="54"/>
                    <a:pt x="56" y="57"/>
                    <a:pt x="59" y="62"/>
                  </a:cubicBezTo>
                  <a:lnTo>
                    <a:pt x="74" y="85"/>
                  </a:lnTo>
                  <a:lnTo>
                    <a:pt x="60" y="85"/>
                  </a:lnTo>
                  <a:lnTo>
                    <a:pt x="49" y="67"/>
                  </a:lnTo>
                  <a:cubicBezTo>
                    <a:pt x="45" y="62"/>
                    <a:pt x="43" y="58"/>
                    <a:pt x="41" y="56"/>
                  </a:cubicBezTo>
                  <a:cubicBezTo>
                    <a:pt x="38" y="53"/>
                    <a:pt x="37" y="51"/>
                    <a:pt x="35" y="50"/>
                  </a:cubicBezTo>
                  <a:cubicBezTo>
                    <a:pt x="33" y="49"/>
                    <a:pt x="32" y="48"/>
                    <a:pt x="30" y="48"/>
                  </a:cubicBezTo>
                  <a:cubicBezTo>
                    <a:pt x="29" y="47"/>
                    <a:pt x="26" y="47"/>
                    <a:pt x="24" y="47"/>
                  </a:cubicBezTo>
                  <a:lnTo>
                    <a:pt x="11" y="47"/>
                  </a:lnTo>
                  <a:lnTo>
                    <a:pt x="11" y="85"/>
                  </a:lnTo>
                  <a:lnTo>
                    <a:pt x="0" y="85"/>
                  </a:lnTo>
                  <a:close/>
                  <a:moveTo>
                    <a:pt x="11" y="38"/>
                  </a:moveTo>
                  <a:lnTo>
                    <a:pt x="35" y="38"/>
                  </a:lnTo>
                  <a:cubicBezTo>
                    <a:pt x="40" y="38"/>
                    <a:pt x="44" y="37"/>
                    <a:pt x="47" y="36"/>
                  </a:cubicBezTo>
                  <a:cubicBezTo>
                    <a:pt x="50" y="35"/>
                    <a:pt x="52" y="33"/>
                    <a:pt x="53" y="31"/>
                  </a:cubicBezTo>
                  <a:cubicBezTo>
                    <a:pt x="55" y="29"/>
                    <a:pt x="55" y="26"/>
                    <a:pt x="55" y="23"/>
                  </a:cubicBezTo>
                  <a:cubicBezTo>
                    <a:pt x="55" y="19"/>
                    <a:pt x="54" y="16"/>
                    <a:pt x="51" y="14"/>
                  </a:cubicBezTo>
                  <a:cubicBezTo>
                    <a:pt x="48" y="11"/>
                    <a:pt x="44" y="10"/>
                    <a:pt x="37" y="10"/>
                  </a:cubicBezTo>
                  <a:lnTo>
                    <a:pt x="11" y="10"/>
                  </a:lnTo>
                  <a:lnTo>
                    <a:pt x="11" y="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814"/>
            <p:cNvSpPr>
              <a:spLocks/>
            </p:cNvSpPr>
            <p:nvPr/>
          </p:nvSpPr>
          <p:spPr bwMode="auto">
            <a:xfrm>
              <a:off x="4312" y="2954"/>
              <a:ext cx="14" cy="19"/>
            </a:xfrm>
            <a:custGeom>
              <a:avLst/>
              <a:gdLst>
                <a:gd name="T0" fmla="*/ 0 w 63"/>
                <a:gd name="T1" fmla="*/ 85 h 85"/>
                <a:gd name="T2" fmla="*/ 0 w 63"/>
                <a:gd name="T3" fmla="*/ 0 h 85"/>
                <a:gd name="T4" fmla="*/ 61 w 63"/>
                <a:gd name="T5" fmla="*/ 0 h 85"/>
                <a:gd name="T6" fmla="*/ 61 w 63"/>
                <a:gd name="T7" fmla="*/ 10 h 85"/>
                <a:gd name="T8" fmla="*/ 11 w 63"/>
                <a:gd name="T9" fmla="*/ 10 h 85"/>
                <a:gd name="T10" fmla="*/ 11 w 63"/>
                <a:gd name="T11" fmla="*/ 36 h 85"/>
                <a:gd name="T12" fmla="*/ 58 w 63"/>
                <a:gd name="T13" fmla="*/ 36 h 85"/>
                <a:gd name="T14" fmla="*/ 58 w 63"/>
                <a:gd name="T15" fmla="*/ 46 h 85"/>
                <a:gd name="T16" fmla="*/ 11 w 63"/>
                <a:gd name="T17" fmla="*/ 46 h 85"/>
                <a:gd name="T18" fmla="*/ 11 w 63"/>
                <a:gd name="T19" fmla="*/ 75 h 85"/>
                <a:gd name="T20" fmla="*/ 63 w 63"/>
                <a:gd name="T21" fmla="*/ 75 h 85"/>
                <a:gd name="T22" fmla="*/ 63 w 63"/>
                <a:gd name="T23" fmla="*/ 85 h 85"/>
                <a:gd name="T24" fmla="*/ 0 w 63"/>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5">
                  <a:moveTo>
                    <a:pt x="0" y="85"/>
                  </a:moveTo>
                  <a:lnTo>
                    <a:pt x="0" y="0"/>
                  </a:lnTo>
                  <a:lnTo>
                    <a:pt x="61" y="0"/>
                  </a:lnTo>
                  <a:lnTo>
                    <a:pt x="61" y="10"/>
                  </a:lnTo>
                  <a:lnTo>
                    <a:pt x="11" y="10"/>
                  </a:lnTo>
                  <a:lnTo>
                    <a:pt x="11" y="36"/>
                  </a:lnTo>
                  <a:lnTo>
                    <a:pt x="58" y="36"/>
                  </a:lnTo>
                  <a:lnTo>
                    <a:pt x="58" y="46"/>
                  </a:lnTo>
                  <a:lnTo>
                    <a:pt x="11" y="46"/>
                  </a:lnTo>
                  <a:lnTo>
                    <a:pt x="11" y="75"/>
                  </a:lnTo>
                  <a:lnTo>
                    <a:pt x="63" y="75"/>
                  </a:lnTo>
                  <a:lnTo>
                    <a:pt x="63"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815"/>
            <p:cNvSpPr>
              <a:spLocks noEditPoints="1"/>
            </p:cNvSpPr>
            <p:nvPr/>
          </p:nvSpPr>
          <p:spPr bwMode="auto">
            <a:xfrm>
              <a:off x="4329" y="2954"/>
              <a:ext cx="15" cy="19"/>
            </a:xfrm>
            <a:custGeom>
              <a:avLst/>
              <a:gdLst>
                <a:gd name="T0" fmla="*/ 0 w 63"/>
                <a:gd name="T1" fmla="*/ 85 h 85"/>
                <a:gd name="T2" fmla="*/ 0 w 63"/>
                <a:gd name="T3" fmla="*/ 0 h 85"/>
                <a:gd name="T4" fmla="*/ 31 w 63"/>
                <a:gd name="T5" fmla="*/ 0 h 85"/>
                <a:gd name="T6" fmla="*/ 47 w 63"/>
                <a:gd name="T7" fmla="*/ 3 h 85"/>
                <a:gd name="T8" fmla="*/ 56 w 63"/>
                <a:gd name="T9" fmla="*/ 11 h 85"/>
                <a:gd name="T10" fmla="*/ 59 w 63"/>
                <a:gd name="T11" fmla="*/ 22 h 85"/>
                <a:gd name="T12" fmla="*/ 56 w 63"/>
                <a:gd name="T13" fmla="*/ 32 h 85"/>
                <a:gd name="T14" fmla="*/ 48 w 63"/>
                <a:gd name="T15" fmla="*/ 40 h 85"/>
                <a:gd name="T16" fmla="*/ 59 w 63"/>
                <a:gd name="T17" fmla="*/ 47 h 85"/>
                <a:gd name="T18" fmla="*/ 63 w 63"/>
                <a:gd name="T19" fmla="*/ 60 h 85"/>
                <a:gd name="T20" fmla="*/ 61 w 63"/>
                <a:gd name="T21" fmla="*/ 71 h 85"/>
                <a:gd name="T22" fmla="*/ 55 w 63"/>
                <a:gd name="T23" fmla="*/ 79 h 85"/>
                <a:gd name="T24" fmla="*/ 46 w 63"/>
                <a:gd name="T25" fmla="*/ 83 h 85"/>
                <a:gd name="T26" fmla="*/ 32 w 63"/>
                <a:gd name="T27" fmla="*/ 85 h 85"/>
                <a:gd name="T28" fmla="*/ 0 w 63"/>
                <a:gd name="T29" fmla="*/ 85 h 85"/>
                <a:gd name="T30" fmla="*/ 11 w 63"/>
                <a:gd name="T31" fmla="*/ 36 h 85"/>
                <a:gd name="T32" fmla="*/ 29 w 63"/>
                <a:gd name="T33" fmla="*/ 36 h 85"/>
                <a:gd name="T34" fmla="*/ 40 w 63"/>
                <a:gd name="T35" fmla="*/ 35 h 85"/>
                <a:gd name="T36" fmla="*/ 46 w 63"/>
                <a:gd name="T37" fmla="*/ 31 h 85"/>
                <a:gd name="T38" fmla="*/ 48 w 63"/>
                <a:gd name="T39" fmla="*/ 23 h 85"/>
                <a:gd name="T40" fmla="*/ 46 w 63"/>
                <a:gd name="T41" fmla="*/ 16 h 85"/>
                <a:gd name="T42" fmla="*/ 41 w 63"/>
                <a:gd name="T43" fmla="*/ 12 h 85"/>
                <a:gd name="T44" fmla="*/ 28 w 63"/>
                <a:gd name="T45" fmla="*/ 10 h 85"/>
                <a:gd name="T46" fmla="*/ 11 w 63"/>
                <a:gd name="T47" fmla="*/ 10 h 85"/>
                <a:gd name="T48" fmla="*/ 11 w 63"/>
                <a:gd name="T49" fmla="*/ 36 h 85"/>
                <a:gd name="T50" fmla="*/ 11 w 63"/>
                <a:gd name="T51" fmla="*/ 75 h 85"/>
                <a:gd name="T52" fmla="*/ 32 w 63"/>
                <a:gd name="T53" fmla="*/ 75 h 85"/>
                <a:gd name="T54" fmla="*/ 40 w 63"/>
                <a:gd name="T55" fmla="*/ 74 h 85"/>
                <a:gd name="T56" fmla="*/ 46 w 63"/>
                <a:gd name="T57" fmla="*/ 72 h 85"/>
                <a:gd name="T58" fmla="*/ 50 w 63"/>
                <a:gd name="T59" fmla="*/ 67 h 85"/>
                <a:gd name="T60" fmla="*/ 52 w 63"/>
                <a:gd name="T61" fmla="*/ 60 h 85"/>
                <a:gd name="T62" fmla="*/ 49 w 63"/>
                <a:gd name="T63" fmla="*/ 52 h 85"/>
                <a:gd name="T64" fmla="*/ 43 w 63"/>
                <a:gd name="T65" fmla="*/ 47 h 85"/>
                <a:gd name="T66" fmla="*/ 30 w 63"/>
                <a:gd name="T67" fmla="*/ 46 h 85"/>
                <a:gd name="T68" fmla="*/ 11 w 63"/>
                <a:gd name="T69" fmla="*/ 46 h 85"/>
                <a:gd name="T70" fmla="*/ 11 w 63"/>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0" y="85"/>
                  </a:moveTo>
                  <a:lnTo>
                    <a:pt x="0" y="0"/>
                  </a:lnTo>
                  <a:lnTo>
                    <a:pt x="31" y="0"/>
                  </a:lnTo>
                  <a:cubicBezTo>
                    <a:pt x="38" y="0"/>
                    <a:pt x="43" y="1"/>
                    <a:pt x="47" y="3"/>
                  </a:cubicBezTo>
                  <a:cubicBezTo>
                    <a:pt x="51" y="5"/>
                    <a:pt x="54" y="7"/>
                    <a:pt x="56" y="11"/>
                  </a:cubicBezTo>
                  <a:cubicBezTo>
                    <a:pt x="58" y="14"/>
                    <a:pt x="59" y="18"/>
                    <a:pt x="59" y="22"/>
                  </a:cubicBezTo>
                  <a:cubicBezTo>
                    <a:pt x="59" y="26"/>
                    <a:pt x="58" y="29"/>
                    <a:pt x="56" y="32"/>
                  </a:cubicBezTo>
                  <a:cubicBezTo>
                    <a:pt x="54" y="35"/>
                    <a:pt x="52" y="38"/>
                    <a:pt x="48" y="40"/>
                  </a:cubicBezTo>
                  <a:cubicBezTo>
                    <a:pt x="53" y="41"/>
                    <a:pt x="57" y="44"/>
                    <a:pt x="59" y="47"/>
                  </a:cubicBezTo>
                  <a:cubicBezTo>
                    <a:pt x="62" y="51"/>
                    <a:pt x="63" y="55"/>
                    <a:pt x="63" y="60"/>
                  </a:cubicBezTo>
                  <a:cubicBezTo>
                    <a:pt x="63" y="64"/>
                    <a:pt x="63" y="68"/>
                    <a:pt x="61" y="71"/>
                  </a:cubicBezTo>
                  <a:cubicBezTo>
                    <a:pt x="59" y="75"/>
                    <a:pt x="57" y="77"/>
                    <a:pt x="55" y="79"/>
                  </a:cubicBezTo>
                  <a:cubicBezTo>
                    <a:pt x="52" y="81"/>
                    <a:pt x="49" y="82"/>
                    <a:pt x="46" y="83"/>
                  </a:cubicBezTo>
                  <a:cubicBezTo>
                    <a:pt x="42" y="84"/>
                    <a:pt x="37" y="85"/>
                    <a:pt x="32" y="85"/>
                  </a:cubicBezTo>
                  <a:lnTo>
                    <a:pt x="0" y="85"/>
                  </a:lnTo>
                  <a:close/>
                  <a:moveTo>
                    <a:pt x="11" y="36"/>
                  </a:moveTo>
                  <a:lnTo>
                    <a:pt x="29" y="36"/>
                  </a:lnTo>
                  <a:cubicBezTo>
                    <a:pt x="34" y="36"/>
                    <a:pt x="38" y="35"/>
                    <a:pt x="40" y="35"/>
                  </a:cubicBezTo>
                  <a:cubicBezTo>
                    <a:pt x="43" y="34"/>
                    <a:pt x="45" y="33"/>
                    <a:pt x="46" y="31"/>
                  </a:cubicBezTo>
                  <a:cubicBezTo>
                    <a:pt x="48" y="29"/>
                    <a:pt x="48" y="26"/>
                    <a:pt x="48" y="23"/>
                  </a:cubicBezTo>
                  <a:cubicBezTo>
                    <a:pt x="48" y="20"/>
                    <a:pt x="48" y="18"/>
                    <a:pt x="46" y="16"/>
                  </a:cubicBezTo>
                  <a:cubicBezTo>
                    <a:pt x="45" y="14"/>
                    <a:pt x="43" y="12"/>
                    <a:pt x="41" y="12"/>
                  </a:cubicBezTo>
                  <a:cubicBezTo>
                    <a:pt x="38" y="11"/>
                    <a:pt x="34" y="10"/>
                    <a:pt x="28" y="10"/>
                  </a:cubicBezTo>
                  <a:lnTo>
                    <a:pt x="11" y="10"/>
                  </a:lnTo>
                  <a:lnTo>
                    <a:pt x="11" y="36"/>
                  </a:lnTo>
                  <a:close/>
                  <a:moveTo>
                    <a:pt x="11" y="75"/>
                  </a:moveTo>
                  <a:lnTo>
                    <a:pt x="32" y="75"/>
                  </a:lnTo>
                  <a:cubicBezTo>
                    <a:pt x="36" y="75"/>
                    <a:pt x="38" y="75"/>
                    <a:pt x="40" y="74"/>
                  </a:cubicBezTo>
                  <a:cubicBezTo>
                    <a:pt x="42" y="74"/>
                    <a:pt x="44" y="73"/>
                    <a:pt x="46" y="72"/>
                  </a:cubicBezTo>
                  <a:cubicBezTo>
                    <a:pt x="48" y="71"/>
                    <a:pt x="49" y="69"/>
                    <a:pt x="50" y="67"/>
                  </a:cubicBezTo>
                  <a:cubicBezTo>
                    <a:pt x="51" y="65"/>
                    <a:pt x="52" y="63"/>
                    <a:pt x="52" y="60"/>
                  </a:cubicBezTo>
                  <a:cubicBezTo>
                    <a:pt x="52" y="57"/>
                    <a:pt x="51" y="54"/>
                    <a:pt x="49" y="52"/>
                  </a:cubicBezTo>
                  <a:cubicBezTo>
                    <a:pt x="48" y="50"/>
                    <a:pt x="46" y="48"/>
                    <a:pt x="43" y="47"/>
                  </a:cubicBezTo>
                  <a:cubicBezTo>
                    <a:pt x="40" y="46"/>
                    <a:pt x="36" y="46"/>
                    <a:pt x="30" y="46"/>
                  </a:cubicBezTo>
                  <a:lnTo>
                    <a:pt x="11" y="46"/>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816"/>
            <p:cNvSpPr>
              <a:spLocks noEditPoints="1"/>
            </p:cNvSpPr>
            <p:nvPr/>
          </p:nvSpPr>
          <p:spPr bwMode="auto">
            <a:xfrm>
              <a:off x="4347" y="2954"/>
              <a:ext cx="18" cy="19"/>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1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0" y="82"/>
                  </a:cubicBezTo>
                  <a:cubicBezTo>
                    <a:pt x="54" y="85"/>
                    <a:pt x="47" y="87"/>
                    <a:pt x="40" y="87"/>
                  </a:cubicBezTo>
                  <a:cubicBezTo>
                    <a:pt x="32" y="87"/>
                    <a:pt x="25" y="85"/>
                    <a:pt x="19" y="81"/>
                  </a:cubicBezTo>
                  <a:cubicBezTo>
                    <a:pt x="12" y="78"/>
                    <a:pt x="8" y="72"/>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1"/>
                    <a:pt x="60" y="17"/>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817"/>
            <p:cNvSpPr>
              <a:spLocks noEditPoints="1"/>
            </p:cNvSpPr>
            <p:nvPr/>
          </p:nvSpPr>
          <p:spPr bwMode="auto">
            <a:xfrm>
              <a:off x="4367" y="2954"/>
              <a:ext cx="19" cy="19"/>
            </a:xfrm>
            <a:custGeom>
              <a:avLst/>
              <a:gdLst>
                <a:gd name="T0" fmla="*/ 0 w 81"/>
                <a:gd name="T1" fmla="*/ 45 h 87"/>
                <a:gd name="T2" fmla="*/ 11 w 81"/>
                <a:gd name="T3" fmla="*/ 12 h 87"/>
                <a:gd name="T4" fmla="*/ 41 w 81"/>
                <a:gd name="T5" fmla="*/ 0 h 87"/>
                <a:gd name="T6" fmla="*/ 62 w 81"/>
                <a:gd name="T7" fmla="*/ 5 h 87"/>
                <a:gd name="T8" fmla="*/ 76 w 81"/>
                <a:gd name="T9" fmla="*/ 21 h 87"/>
                <a:gd name="T10" fmla="*/ 81 w 81"/>
                <a:gd name="T11" fmla="*/ 44 h 87"/>
                <a:gd name="T12" fmla="*/ 76 w 81"/>
                <a:gd name="T13" fmla="*/ 67 h 87"/>
                <a:gd name="T14" fmla="*/ 61 w 81"/>
                <a:gd name="T15" fmla="*/ 82 h 87"/>
                <a:gd name="T16" fmla="*/ 41 w 81"/>
                <a:gd name="T17" fmla="*/ 87 h 87"/>
                <a:gd name="T18" fmla="*/ 19 w 81"/>
                <a:gd name="T19" fmla="*/ 81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9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1" y="0"/>
                  </a:cubicBezTo>
                  <a:cubicBezTo>
                    <a:pt x="48" y="0"/>
                    <a:pt x="55" y="2"/>
                    <a:pt x="62" y="5"/>
                  </a:cubicBezTo>
                  <a:cubicBezTo>
                    <a:pt x="68" y="9"/>
                    <a:pt x="73" y="14"/>
                    <a:pt x="76" y="21"/>
                  </a:cubicBezTo>
                  <a:cubicBezTo>
                    <a:pt x="79" y="28"/>
                    <a:pt x="81" y="35"/>
                    <a:pt x="81" y="44"/>
                  </a:cubicBezTo>
                  <a:cubicBezTo>
                    <a:pt x="81" y="52"/>
                    <a:pt x="79" y="60"/>
                    <a:pt x="76" y="67"/>
                  </a:cubicBezTo>
                  <a:cubicBezTo>
                    <a:pt x="72" y="73"/>
                    <a:pt x="67" y="78"/>
                    <a:pt x="61" y="82"/>
                  </a:cubicBezTo>
                  <a:cubicBezTo>
                    <a:pt x="55" y="85"/>
                    <a:pt x="48" y="87"/>
                    <a:pt x="41" y="87"/>
                  </a:cubicBezTo>
                  <a:cubicBezTo>
                    <a:pt x="33" y="87"/>
                    <a:pt x="25" y="85"/>
                    <a:pt x="19" y="81"/>
                  </a:cubicBezTo>
                  <a:cubicBezTo>
                    <a:pt x="13" y="78"/>
                    <a:pt x="8" y="72"/>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4"/>
                    <a:pt x="69" y="44"/>
                  </a:cubicBezTo>
                  <a:cubicBezTo>
                    <a:pt x="69" y="37"/>
                    <a:pt x="68" y="31"/>
                    <a:pt x="66" y="26"/>
                  </a:cubicBezTo>
                  <a:cubicBezTo>
                    <a:pt x="64" y="21"/>
                    <a:pt x="60" y="17"/>
                    <a:pt x="56" y="14"/>
                  </a:cubicBezTo>
                  <a:cubicBezTo>
                    <a:pt x="51" y="11"/>
                    <a:pt x="46" y="9"/>
                    <a:pt x="41" y="9"/>
                  </a:cubicBezTo>
                  <a:cubicBezTo>
                    <a:pt x="33" y="9"/>
                    <a:pt x="26" y="12"/>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818"/>
            <p:cNvSpPr>
              <a:spLocks/>
            </p:cNvSpPr>
            <p:nvPr/>
          </p:nvSpPr>
          <p:spPr bwMode="auto">
            <a:xfrm>
              <a:off x="4388" y="2954"/>
              <a:ext cx="15"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Rectangle 1819"/>
            <p:cNvSpPr>
              <a:spLocks noChangeArrowheads="1"/>
            </p:cNvSpPr>
            <p:nvPr/>
          </p:nvSpPr>
          <p:spPr bwMode="auto">
            <a:xfrm>
              <a:off x="4964" y="2061"/>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820"/>
            <p:cNvSpPr>
              <a:spLocks/>
            </p:cNvSpPr>
            <p:nvPr/>
          </p:nvSpPr>
          <p:spPr bwMode="auto">
            <a:xfrm>
              <a:off x="4970" y="2060"/>
              <a:ext cx="17" cy="20"/>
            </a:xfrm>
            <a:custGeom>
              <a:avLst/>
              <a:gdLst>
                <a:gd name="T0" fmla="*/ 64 w 75"/>
                <a:gd name="T1" fmla="*/ 57 h 88"/>
                <a:gd name="T2" fmla="*/ 75 w 75"/>
                <a:gd name="T3" fmla="*/ 60 h 88"/>
                <a:gd name="T4" fmla="*/ 62 w 75"/>
                <a:gd name="T5" fmla="*/ 80 h 88"/>
                <a:gd name="T6" fmla="*/ 40 w 75"/>
                <a:gd name="T7" fmla="*/ 88 h 88"/>
                <a:gd name="T8" fmla="*/ 18 w 75"/>
                <a:gd name="T9" fmla="*/ 82 h 88"/>
                <a:gd name="T10" fmla="*/ 5 w 75"/>
                <a:gd name="T11" fmla="*/ 66 h 88"/>
                <a:gd name="T12" fmla="*/ 0 w 75"/>
                <a:gd name="T13" fmla="*/ 43 h 88"/>
                <a:gd name="T14" fmla="*/ 5 w 75"/>
                <a:gd name="T15" fmla="*/ 20 h 88"/>
                <a:gd name="T16" fmla="*/ 19 w 75"/>
                <a:gd name="T17" fmla="*/ 6 h 88"/>
                <a:gd name="T18" fmla="*/ 40 w 75"/>
                <a:gd name="T19" fmla="*/ 0 h 88"/>
                <a:gd name="T20" fmla="*/ 61 w 75"/>
                <a:gd name="T21" fmla="*/ 7 h 88"/>
                <a:gd name="T22" fmla="*/ 73 w 75"/>
                <a:gd name="T23" fmla="*/ 25 h 88"/>
                <a:gd name="T24" fmla="*/ 62 w 75"/>
                <a:gd name="T25" fmla="*/ 28 h 88"/>
                <a:gd name="T26" fmla="*/ 54 w 75"/>
                <a:gd name="T27" fmla="*/ 14 h 88"/>
                <a:gd name="T28" fmla="*/ 40 w 75"/>
                <a:gd name="T29" fmla="*/ 10 h 88"/>
                <a:gd name="T30" fmla="*/ 23 w 75"/>
                <a:gd name="T31" fmla="*/ 15 h 88"/>
                <a:gd name="T32" fmla="*/ 14 w 75"/>
                <a:gd name="T33" fmla="*/ 27 h 88"/>
                <a:gd name="T34" fmla="*/ 12 w 75"/>
                <a:gd name="T35" fmla="*/ 43 h 88"/>
                <a:gd name="T36" fmla="*/ 15 w 75"/>
                <a:gd name="T37" fmla="*/ 62 h 88"/>
                <a:gd name="T38" fmla="*/ 25 w 75"/>
                <a:gd name="T39" fmla="*/ 74 h 88"/>
                <a:gd name="T40" fmla="*/ 39 w 75"/>
                <a:gd name="T41" fmla="*/ 78 h 88"/>
                <a:gd name="T42" fmla="*/ 55 w 75"/>
                <a:gd name="T43" fmla="*/ 73 h 88"/>
                <a:gd name="T44" fmla="*/ 64 w 75"/>
                <a:gd name="T45"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88">
                  <a:moveTo>
                    <a:pt x="64" y="57"/>
                  </a:moveTo>
                  <a:lnTo>
                    <a:pt x="75" y="60"/>
                  </a:lnTo>
                  <a:cubicBezTo>
                    <a:pt x="72" y="69"/>
                    <a:pt x="68" y="76"/>
                    <a:pt x="62" y="80"/>
                  </a:cubicBezTo>
                  <a:cubicBezTo>
                    <a:pt x="56" y="85"/>
                    <a:pt x="49" y="88"/>
                    <a:pt x="40" y="88"/>
                  </a:cubicBezTo>
                  <a:cubicBezTo>
                    <a:pt x="31" y="88"/>
                    <a:pt x="23" y="86"/>
                    <a:pt x="18" y="82"/>
                  </a:cubicBezTo>
                  <a:cubicBezTo>
                    <a:pt x="12" y="78"/>
                    <a:pt x="8" y="73"/>
                    <a:pt x="5" y="66"/>
                  </a:cubicBezTo>
                  <a:cubicBezTo>
                    <a:pt x="2" y="59"/>
                    <a:pt x="0" y="52"/>
                    <a:pt x="0" y="43"/>
                  </a:cubicBezTo>
                  <a:cubicBezTo>
                    <a:pt x="0" y="35"/>
                    <a:pt x="2" y="27"/>
                    <a:pt x="5" y="20"/>
                  </a:cubicBezTo>
                  <a:cubicBezTo>
                    <a:pt x="9" y="14"/>
                    <a:pt x="13" y="9"/>
                    <a:pt x="19" y="6"/>
                  </a:cubicBezTo>
                  <a:cubicBezTo>
                    <a:pt x="26" y="2"/>
                    <a:pt x="33" y="0"/>
                    <a:pt x="40" y="0"/>
                  </a:cubicBezTo>
                  <a:cubicBezTo>
                    <a:pt x="48" y="0"/>
                    <a:pt x="55" y="3"/>
                    <a:pt x="61" y="7"/>
                  </a:cubicBezTo>
                  <a:cubicBezTo>
                    <a:pt x="67" y="11"/>
                    <a:pt x="71" y="17"/>
                    <a:pt x="73" y="25"/>
                  </a:cubicBezTo>
                  <a:lnTo>
                    <a:pt x="62" y="28"/>
                  </a:lnTo>
                  <a:cubicBezTo>
                    <a:pt x="60" y="21"/>
                    <a:pt x="57" y="17"/>
                    <a:pt x="54" y="14"/>
                  </a:cubicBezTo>
                  <a:cubicBezTo>
                    <a:pt x="50" y="11"/>
                    <a:pt x="45" y="10"/>
                    <a:pt x="40" y="10"/>
                  </a:cubicBezTo>
                  <a:cubicBezTo>
                    <a:pt x="33" y="10"/>
                    <a:pt x="28" y="12"/>
                    <a:pt x="23" y="15"/>
                  </a:cubicBezTo>
                  <a:cubicBezTo>
                    <a:pt x="19" y="18"/>
                    <a:pt x="16" y="22"/>
                    <a:pt x="14" y="27"/>
                  </a:cubicBezTo>
                  <a:cubicBezTo>
                    <a:pt x="13" y="32"/>
                    <a:pt x="12" y="38"/>
                    <a:pt x="12" y="43"/>
                  </a:cubicBezTo>
                  <a:cubicBezTo>
                    <a:pt x="12" y="51"/>
                    <a:pt x="13" y="57"/>
                    <a:pt x="15" y="62"/>
                  </a:cubicBezTo>
                  <a:cubicBezTo>
                    <a:pt x="17" y="68"/>
                    <a:pt x="20" y="72"/>
                    <a:pt x="25" y="74"/>
                  </a:cubicBezTo>
                  <a:cubicBezTo>
                    <a:pt x="29" y="77"/>
                    <a:pt x="34" y="78"/>
                    <a:pt x="39" y="78"/>
                  </a:cubicBezTo>
                  <a:cubicBezTo>
                    <a:pt x="45" y="78"/>
                    <a:pt x="50" y="76"/>
                    <a:pt x="55" y="73"/>
                  </a:cubicBezTo>
                  <a:cubicBezTo>
                    <a:pt x="59" y="69"/>
                    <a:pt x="62" y="64"/>
                    <a:pt x="64" y="5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821"/>
            <p:cNvSpPr>
              <a:spLocks/>
            </p:cNvSpPr>
            <p:nvPr/>
          </p:nvSpPr>
          <p:spPr bwMode="auto">
            <a:xfrm>
              <a:off x="4989" y="2060"/>
              <a:ext cx="15" cy="20"/>
            </a:xfrm>
            <a:custGeom>
              <a:avLst/>
              <a:gdLst>
                <a:gd name="T0" fmla="*/ 0 w 67"/>
                <a:gd name="T1" fmla="*/ 59 h 88"/>
                <a:gd name="T2" fmla="*/ 10 w 67"/>
                <a:gd name="T3" fmla="*/ 58 h 88"/>
                <a:gd name="T4" fmla="*/ 14 w 67"/>
                <a:gd name="T5" fmla="*/ 69 h 88"/>
                <a:gd name="T6" fmla="*/ 22 w 67"/>
                <a:gd name="T7" fmla="*/ 75 h 88"/>
                <a:gd name="T8" fmla="*/ 35 w 67"/>
                <a:gd name="T9" fmla="*/ 78 h 88"/>
                <a:gd name="T10" fmla="*/ 46 w 67"/>
                <a:gd name="T11" fmla="*/ 76 h 88"/>
                <a:gd name="T12" fmla="*/ 54 w 67"/>
                <a:gd name="T13" fmla="*/ 71 h 88"/>
                <a:gd name="T14" fmla="*/ 56 w 67"/>
                <a:gd name="T15" fmla="*/ 63 h 88"/>
                <a:gd name="T16" fmla="*/ 54 w 67"/>
                <a:gd name="T17" fmla="*/ 56 h 88"/>
                <a:gd name="T18" fmla="*/ 46 w 67"/>
                <a:gd name="T19" fmla="*/ 51 h 88"/>
                <a:gd name="T20" fmla="*/ 31 w 67"/>
                <a:gd name="T21" fmla="*/ 47 h 88"/>
                <a:gd name="T22" fmla="*/ 15 w 67"/>
                <a:gd name="T23" fmla="*/ 42 h 88"/>
                <a:gd name="T24" fmla="*/ 6 w 67"/>
                <a:gd name="T25" fmla="*/ 34 h 88"/>
                <a:gd name="T26" fmla="*/ 3 w 67"/>
                <a:gd name="T27" fmla="*/ 24 h 88"/>
                <a:gd name="T28" fmla="*/ 7 w 67"/>
                <a:gd name="T29" fmla="*/ 12 h 88"/>
                <a:gd name="T30" fmla="*/ 17 w 67"/>
                <a:gd name="T31" fmla="*/ 3 h 88"/>
                <a:gd name="T32" fmla="*/ 33 w 67"/>
                <a:gd name="T33" fmla="*/ 0 h 88"/>
                <a:gd name="T34" fmla="*/ 49 w 67"/>
                <a:gd name="T35" fmla="*/ 3 h 88"/>
                <a:gd name="T36" fmla="*/ 60 w 67"/>
                <a:gd name="T37" fmla="*/ 12 h 88"/>
                <a:gd name="T38" fmla="*/ 64 w 67"/>
                <a:gd name="T39" fmla="*/ 26 h 88"/>
                <a:gd name="T40" fmla="*/ 54 w 67"/>
                <a:gd name="T41" fmla="*/ 26 h 88"/>
                <a:gd name="T42" fmla="*/ 48 w 67"/>
                <a:gd name="T43" fmla="*/ 14 h 88"/>
                <a:gd name="T44" fmla="*/ 33 w 67"/>
                <a:gd name="T45" fmla="*/ 10 h 88"/>
                <a:gd name="T46" fmla="*/ 18 w 67"/>
                <a:gd name="T47" fmla="*/ 14 h 88"/>
                <a:gd name="T48" fmla="*/ 14 w 67"/>
                <a:gd name="T49" fmla="*/ 23 h 88"/>
                <a:gd name="T50" fmla="*/ 17 w 67"/>
                <a:gd name="T51" fmla="*/ 30 h 88"/>
                <a:gd name="T52" fmla="*/ 34 w 67"/>
                <a:gd name="T53" fmla="*/ 36 h 88"/>
                <a:gd name="T54" fmla="*/ 52 w 67"/>
                <a:gd name="T55" fmla="*/ 42 h 88"/>
                <a:gd name="T56" fmla="*/ 63 w 67"/>
                <a:gd name="T57" fmla="*/ 50 h 88"/>
                <a:gd name="T58" fmla="*/ 67 w 67"/>
                <a:gd name="T59" fmla="*/ 62 h 88"/>
                <a:gd name="T60" fmla="*/ 63 w 67"/>
                <a:gd name="T61" fmla="*/ 75 h 88"/>
                <a:gd name="T62" fmla="*/ 52 w 67"/>
                <a:gd name="T63" fmla="*/ 84 h 88"/>
                <a:gd name="T64" fmla="*/ 36 w 67"/>
                <a:gd name="T65" fmla="*/ 88 h 88"/>
                <a:gd name="T66" fmla="*/ 17 w 67"/>
                <a:gd name="T67" fmla="*/ 84 h 88"/>
                <a:gd name="T68" fmla="*/ 4 w 67"/>
                <a:gd name="T69" fmla="*/ 74 h 88"/>
                <a:gd name="T70" fmla="*/ 0 w 67"/>
                <a:gd name="T71"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8">
                  <a:moveTo>
                    <a:pt x="0" y="59"/>
                  </a:moveTo>
                  <a:lnTo>
                    <a:pt x="10" y="58"/>
                  </a:lnTo>
                  <a:cubicBezTo>
                    <a:pt x="11" y="62"/>
                    <a:pt x="12" y="66"/>
                    <a:pt x="14" y="69"/>
                  </a:cubicBezTo>
                  <a:cubicBezTo>
                    <a:pt x="16" y="71"/>
                    <a:pt x="18" y="74"/>
                    <a:pt x="22" y="75"/>
                  </a:cubicBezTo>
                  <a:cubicBezTo>
                    <a:pt x="26" y="77"/>
                    <a:pt x="30" y="78"/>
                    <a:pt x="35" y="78"/>
                  </a:cubicBezTo>
                  <a:cubicBezTo>
                    <a:pt x="39" y="78"/>
                    <a:pt x="43" y="77"/>
                    <a:pt x="46" y="76"/>
                  </a:cubicBezTo>
                  <a:cubicBezTo>
                    <a:pt x="50" y="75"/>
                    <a:pt x="52" y="73"/>
                    <a:pt x="54" y="71"/>
                  </a:cubicBezTo>
                  <a:cubicBezTo>
                    <a:pt x="55" y="68"/>
                    <a:pt x="56" y="66"/>
                    <a:pt x="56" y="63"/>
                  </a:cubicBezTo>
                  <a:cubicBezTo>
                    <a:pt x="56" y="61"/>
                    <a:pt x="55" y="58"/>
                    <a:pt x="54" y="56"/>
                  </a:cubicBezTo>
                  <a:cubicBezTo>
                    <a:pt x="52" y="54"/>
                    <a:pt x="50" y="53"/>
                    <a:pt x="46" y="51"/>
                  </a:cubicBezTo>
                  <a:cubicBezTo>
                    <a:pt x="44" y="51"/>
                    <a:pt x="39" y="49"/>
                    <a:pt x="31" y="47"/>
                  </a:cubicBezTo>
                  <a:cubicBezTo>
                    <a:pt x="23" y="45"/>
                    <a:pt x="18" y="44"/>
                    <a:pt x="15" y="42"/>
                  </a:cubicBezTo>
                  <a:cubicBezTo>
                    <a:pt x="11" y="40"/>
                    <a:pt x="8" y="37"/>
                    <a:pt x="6" y="34"/>
                  </a:cubicBezTo>
                  <a:cubicBezTo>
                    <a:pt x="4" y="31"/>
                    <a:pt x="3" y="28"/>
                    <a:pt x="3" y="24"/>
                  </a:cubicBezTo>
                  <a:cubicBezTo>
                    <a:pt x="3" y="19"/>
                    <a:pt x="4" y="15"/>
                    <a:pt x="7" y="12"/>
                  </a:cubicBezTo>
                  <a:cubicBezTo>
                    <a:pt x="9" y="8"/>
                    <a:pt x="13" y="5"/>
                    <a:pt x="17" y="3"/>
                  </a:cubicBezTo>
                  <a:cubicBezTo>
                    <a:pt x="22" y="1"/>
                    <a:pt x="27" y="0"/>
                    <a:pt x="33" y="0"/>
                  </a:cubicBezTo>
                  <a:cubicBezTo>
                    <a:pt x="39" y="0"/>
                    <a:pt x="44" y="1"/>
                    <a:pt x="49" y="3"/>
                  </a:cubicBezTo>
                  <a:cubicBezTo>
                    <a:pt x="54" y="5"/>
                    <a:pt x="58" y="8"/>
                    <a:pt x="60" y="12"/>
                  </a:cubicBezTo>
                  <a:cubicBezTo>
                    <a:pt x="63" y="16"/>
                    <a:pt x="64" y="21"/>
                    <a:pt x="64" y="26"/>
                  </a:cubicBezTo>
                  <a:lnTo>
                    <a:pt x="54" y="26"/>
                  </a:lnTo>
                  <a:cubicBezTo>
                    <a:pt x="53" y="21"/>
                    <a:pt x="51" y="17"/>
                    <a:pt x="48" y="14"/>
                  </a:cubicBezTo>
                  <a:cubicBezTo>
                    <a:pt x="44" y="12"/>
                    <a:pt x="40" y="10"/>
                    <a:pt x="33" y="10"/>
                  </a:cubicBezTo>
                  <a:cubicBezTo>
                    <a:pt x="26" y="10"/>
                    <a:pt x="21" y="12"/>
                    <a:pt x="18" y="14"/>
                  </a:cubicBezTo>
                  <a:cubicBezTo>
                    <a:pt x="15" y="16"/>
                    <a:pt x="14" y="19"/>
                    <a:pt x="14" y="23"/>
                  </a:cubicBezTo>
                  <a:cubicBezTo>
                    <a:pt x="14" y="26"/>
                    <a:pt x="15" y="28"/>
                    <a:pt x="17" y="30"/>
                  </a:cubicBezTo>
                  <a:cubicBezTo>
                    <a:pt x="19" y="32"/>
                    <a:pt x="25" y="34"/>
                    <a:pt x="34" y="36"/>
                  </a:cubicBezTo>
                  <a:cubicBezTo>
                    <a:pt x="43" y="39"/>
                    <a:pt x="49" y="40"/>
                    <a:pt x="52" y="42"/>
                  </a:cubicBezTo>
                  <a:cubicBezTo>
                    <a:pt x="57" y="44"/>
                    <a:pt x="61" y="47"/>
                    <a:pt x="63" y="50"/>
                  </a:cubicBezTo>
                  <a:cubicBezTo>
                    <a:pt x="66" y="54"/>
                    <a:pt x="67" y="58"/>
                    <a:pt x="67" y="62"/>
                  </a:cubicBezTo>
                  <a:cubicBezTo>
                    <a:pt x="67" y="67"/>
                    <a:pt x="66" y="71"/>
                    <a:pt x="63" y="75"/>
                  </a:cubicBezTo>
                  <a:cubicBezTo>
                    <a:pt x="60" y="79"/>
                    <a:pt x="57" y="82"/>
                    <a:pt x="52" y="84"/>
                  </a:cubicBezTo>
                  <a:cubicBezTo>
                    <a:pt x="47" y="87"/>
                    <a:pt x="42" y="88"/>
                    <a:pt x="36" y="88"/>
                  </a:cubicBezTo>
                  <a:cubicBezTo>
                    <a:pt x="28" y="88"/>
                    <a:pt x="22" y="87"/>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Freeform 1822"/>
            <p:cNvSpPr>
              <a:spLocks noEditPoints="1"/>
            </p:cNvSpPr>
            <p:nvPr/>
          </p:nvSpPr>
          <p:spPr bwMode="auto">
            <a:xfrm>
              <a:off x="5008" y="2061"/>
              <a:ext cx="14" cy="19"/>
            </a:xfrm>
            <a:custGeom>
              <a:avLst/>
              <a:gdLst>
                <a:gd name="T0" fmla="*/ 0 w 65"/>
                <a:gd name="T1" fmla="*/ 84 h 84"/>
                <a:gd name="T2" fmla="*/ 0 w 65"/>
                <a:gd name="T3" fmla="*/ 0 h 84"/>
                <a:gd name="T4" fmla="*/ 32 w 65"/>
                <a:gd name="T5" fmla="*/ 0 h 84"/>
                <a:gd name="T6" fmla="*/ 45 w 65"/>
                <a:gd name="T7" fmla="*/ 1 h 84"/>
                <a:gd name="T8" fmla="*/ 55 w 65"/>
                <a:gd name="T9" fmla="*/ 5 h 84"/>
                <a:gd name="T10" fmla="*/ 62 w 65"/>
                <a:gd name="T11" fmla="*/ 13 h 84"/>
                <a:gd name="T12" fmla="*/ 65 w 65"/>
                <a:gd name="T13" fmla="*/ 24 h 84"/>
                <a:gd name="T14" fmla="*/ 58 w 65"/>
                <a:gd name="T15" fmla="*/ 43 h 84"/>
                <a:gd name="T16" fmla="*/ 33 w 65"/>
                <a:gd name="T17" fmla="*/ 50 h 84"/>
                <a:gd name="T18" fmla="*/ 11 w 65"/>
                <a:gd name="T19" fmla="*/ 50 h 84"/>
                <a:gd name="T20" fmla="*/ 11 w 65"/>
                <a:gd name="T21" fmla="*/ 84 h 84"/>
                <a:gd name="T22" fmla="*/ 0 w 65"/>
                <a:gd name="T23" fmla="*/ 84 h 84"/>
                <a:gd name="T24" fmla="*/ 11 w 65"/>
                <a:gd name="T25" fmla="*/ 40 h 84"/>
                <a:gd name="T26" fmla="*/ 33 w 65"/>
                <a:gd name="T27" fmla="*/ 40 h 84"/>
                <a:gd name="T28" fmla="*/ 49 w 65"/>
                <a:gd name="T29" fmla="*/ 36 h 84"/>
                <a:gd name="T30" fmla="*/ 53 w 65"/>
                <a:gd name="T31" fmla="*/ 25 h 84"/>
                <a:gd name="T32" fmla="*/ 50 w 65"/>
                <a:gd name="T33" fmla="*/ 16 h 84"/>
                <a:gd name="T34" fmla="*/ 43 w 65"/>
                <a:gd name="T35" fmla="*/ 11 h 84"/>
                <a:gd name="T36" fmla="*/ 33 w 65"/>
                <a:gd name="T37" fmla="*/ 10 h 84"/>
                <a:gd name="T38" fmla="*/ 11 w 65"/>
                <a:gd name="T39" fmla="*/ 10 h 84"/>
                <a:gd name="T40" fmla="*/ 11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1"/>
                  </a:cubicBezTo>
                  <a:cubicBezTo>
                    <a:pt x="49" y="1"/>
                    <a:pt x="53" y="3"/>
                    <a:pt x="55" y="5"/>
                  </a:cubicBezTo>
                  <a:cubicBezTo>
                    <a:pt x="58" y="7"/>
                    <a:pt x="60" y="9"/>
                    <a:pt x="62" y="13"/>
                  </a:cubicBezTo>
                  <a:cubicBezTo>
                    <a:pt x="64" y="16"/>
                    <a:pt x="65" y="20"/>
                    <a:pt x="65" y="24"/>
                  </a:cubicBezTo>
                  <a:cubicBezTo>
                    <a:pt x="65" y="31"/>
                    <a:pt x="62" y="38"/>
                    <a:pt x="58" y="43"/>
                  </a:cubicBezTo>
                  <a:cubicBezTo>
                    <a:pt x="53" y="47"/>
                    <a:pt x="45" y="50"/>
                    <a:pt x="33" y="50"/>
                  </a:cubicBezTo>
                  <a:lnTo>
                    <a:pt x="11" y="50"/>
                  </a:lnTo>
                  <a:lnTo>
                    <a:pt x="11" y="84"/>
                  </a:lnTo>
                  <a:lnTo>
                    <a:pt x="0" y="84"/>
                  </a:lnTo>
                  <a:close/>
                  <a:moveTo>
                    <a:pt x="11" y="40"/>
                  </a:moveTo>
                  <a:lnTo>
                    <a:pt x="33" y="40"/>
                  </a:lnTo>
                  <a:cubicBezTo>
                    <a:pt x="40" y="40"/>
                    <a:pt x="46" y="39"/>
                    <a:pt x="49" y="36"/>
                  </a:cubicBezTo>
                  <a:cubicBezTo>
                    <a:pt x="52" y="33"/>
                    <a:pt x="53" y="30"/>
                    <a:pt x="53" y="25"/>
                  </a:cubicBezTo>
                  <a:cubicBezTo>
                    <a:pt x="53" y="21"/>
                    <a:pt x="52" y="18"/>
                    <a:pt x="50" y="16"/>
                  </a:cubicBezTo>
                  <a:cubicBezTo>
                    <a:pt x="49" y="13"/>
                    <a:pt x="46" y="11"/>
                    <a:pt x="43" y="11"/>
                  </a:cubicBezTo>
                  <a:cubicBezTo>
                    <a:pt x="42"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823"/>
            <p:cNvSpPr>
              <a:spLocks noEditPoints="1"/>
            </p:cNvSpPr>
            <p:nvPr/>
          </p:nvSpPr>
          <p:spPr bwMode="auto">
            <a:xfrm>
              <a:off x="2876" y="2978"/>
              <a:ext cx="13" cy="12"/>
            </a:xfrm>
            <a:custGeom>
              <a:avLst/>
              <a:gdLst>
                <a:gd name="T0" fmla="*/ 60 w 60"/>
                <a:gd name="T1" fmla="*/ 53 h 53"/>
                <a:gd name="T2" fmla="*/ 0 w 60"/>
                <a:gd name="T3" fmla="*/ 53 h 53"/>
                <a:gd name="T4" fmla="*/ 0 w 60"/>
                <a:gd name="T5" fmla="*/ 26 h 53"/>
                <a:gd name="T6" fmla="*/ 1 w 60"/>
                <a:gd name="T7" fmla="*/ 14 h 53"/>
                <a:gd name="T8" fmla="*/ 7 w 60"/>
                <a:gd name="T9" fmla="*/ 7 h 53"/>
                <a:gd name="T10" fmla="*/ 16 w 60"/>
                <a:gd name="T11" fmla="*/ 5 h 53"/>
                <a:gd name="T12" fmla="*/ 27 w 60"/>
                <a:gd name="T13" fmla="*/ 9 h 53"/>
                <a:gd name="T14" fmla="*/ 33 w 60"/>
                <a:gd name="T15" fmla="*/ 22 h 53"/>
                <a:gd name="T16" fmla="*/ 36 w 60"/>
                <a:gd name="T17" fmla="*/ 17 h 53"/>
                <a:gd name="T18" fmla="*/ 44 w 60"/>
                <a:gd name="T19" fmla="*/ 10 h 53"/>
                <a:gd name="T20" fmla="*/ 60 w 60"/>
                <a:gd name="T21" fmla="*/ 0 h 53"/>
                <a:gd name="T22" fmla="*/ 60 w 60"/>
                <a:gd name="T23" fmla="*/ 10 h 53"/>
                <a:gd name="T24" fmla="*/ 48 w 60"/>
                <a:gd name="T25" fmla="*/ 18 h 53"/>
                <a:gd name="T26" fmla="*/ 39 w 60"/>
                <a:gd name="T27" fmla="*/ 24 h 53"/>
                <a:gd name="T28" fmla="*/ 35 w 60"/>
                <a:gd name="T29" fmla="*/ 28 h 53"/>
                <a:gd name="T30" fmla="*/ 34 w 60"/>
                <a:gd name="T31" fmla="*/ 31 h 53"/>
                <a:gd name="T32" fmla="*/ 34 w 60"/>
                <a:gd name="T33" fmla="*/ 36 h 53"/>
                <a:gd name="T34" fmla="*/ 34 w 60"/>
                <a:gd name="T35" fmla="*/ 45 h 53"/>
                <a:gd name="T36" fmla="*/ 60 w 60"/>
                <a:gd name="T37" fmla="*/ 45 h 53"/>
                <a:gd name="T38" fmla="*/ 60 w 60"/>
                <a:gd name="T39" fmla="*/ 53 h 53"/>
                <a:gd name="T40" fmla="*/ 27 w 60"/>
                <a:gd name="T41" fmla="*/ 45 h 53"/>
                <a:gd name="T42" fmla="*/ 27 w 60"/>
                <a:gd name="T43" fmla="*/ 28 h 53"/>
                <a:gd name="T44" fmla="*/ 25 w 60"/>
                <a:gd name="T45" fmla="*/ 19 h 53"/>
                <a:gd name="T46" fmla="*/ 22 w 60"/>
                <a:gd name="T47" fmla="*/ 14 h 53"/>
                <a:gd name="T48" fmla="*/ 16 w 60"/>
                <a:gd name="T49" fmla="*/ 13 h 53"/>
                <a:gd name="T50" fmla="*/ 9 w 60"/>
                <a:gd name="T51" fmla="*/ 16 h 53"/>
                <a:gd name="T52" fmla="*/ 6 w 60"/>
                <a:gd name="T53" fmla="*/ 26 h 53"/>
                <a:gd name="T54" fmla="*/ 6 w 60"/>
                <a:gd name="T55" fmla="*/ 45 h 53"/>
                <a:gd name="T56" fmla="*/ 27 w 60"/>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53">
                  <a:moveTo>
                    <a:pt x="60" y="53"/>
                  </a:moveTo>
                  <a:lnTo>
                    <a:pt x="0" y="53"/>
                  </a:lnTo>
                  <a:lnTo>
                    <a:pt x="0" y="26"/>
                  </a:lnTo>
                  <a:cubicBezTo>
                    <a:pt x="0" y="21"/>
                    <a:pt x="0" y="17"/>
                    <a:pt x="1" y="14"/>
                  </a:cubicBezTo>
                  <a:cubicBezTo>
                    <a:pt x="3" y="11"/>
                    <a:pt x="4" y="9"/>
                    <a:pt x="7" y="7"/>
                  </a:cubicBezTo>
                  <a:cubicBezTo>
                    <a:pt x="10" y="5"/>
                    <a:pt x="13" y="5"/>
                    <a:pt x="16" y="5"/>
                  </a:cubicBezTo>
                  <a:cubicBezTo>
                    <a:pt x="21" y="5"/>
                    <a:pt x="24" y="6"/>
                    <a:pt x="27" y="9"/>
                  </a:cubicBezTo>
                  <a:cubicBezTo>
                    <a:pt x="30" y="12"/>
                    <a:pt x="32" y="16"/>
                    <a:pt x="33" y="22"/>
                  </a:cubicBezTo>
                  <a:cubicBezTo>
                    <a:pt x="34" y="20"/>
                    <a:pt x="35" y="18"/>
                    <a:pt x="36" y="17"/>
                  </a:cubicBezTo>
                  <a:cubicBezTo>
                    <a:pt x="38" y="14"/>
                    <a:pt x="41" y="12"/>
                    <a:pt x="44" y="10"/>
                  </a:cubicBezTo>
                  <a:lnTo>
                    <a:pt x="60" y="0"/>
                  </a:lnTo>
                  <a:lnTo>
                    <a:pt x="60" y="10"/>
                  </a:lnTo>
                  <a:lnTo>
                    <a:pt x="48" y="18"/>
                  </a:lnTo>
                  <a:cubicBezTo>
                    <a:pt x="44" y="20"/>
                    <a:pt x="41" y="22"/>
                    <a:pt x="39" y="24"/>
                  </a:cubicBezTo>
                  <a:cubicBezTo>
                    <a:pt x="38" y="25"/>
                    <a:pt x="36" y="26"/>
                    <a:pt x="35" y="28"/>
                  </a:cubicBezTo>
                  <a:cubicBezTo>
                    <a:pt x="35" y="29"/>
                    <a:pt x="34" y="30"/>
                    <a:pt x="34" y="31"/>
                  </a:cubicBezTo>
                  <a:cubicBezTo>
                    <a:pt x="34" y="32"/>
                    <a:pt x="34" y="34"/>
                    <a:pt x="34" y="36"/>
                  </a:cubicBezTo>
                  <a:lnTo>
                    <a:pt x="34" y="45"/>
                  </a:lnTo>
                  <a:lnTo>
                    <a:pt x="60" y="45"/>
                  </a:lnTo>
                  <a:lnTo>
                    <a:pt x="60" y="53"/>
                  </a:lnTo>
                  <a:close/>
                  <a:moveTo>
                    <a:pt x="27" y="45"/>
                  </a:moveTo>
                  <a:lnTo>
                    <a:pt x="27" y="28"/>
                  </a:lnTo>
                  <a:cubicBezTo>
                    <a:pt x="27" y="24"/>
                    <a:pt x="26" y="21"/>
                    <a:pt x="25" y="19"/>
                  </a:cubicBezTo>
                  <a:cubicBezTo>
                    <a:pt x="25" y="17"/>
                    <a:pt x="23" y="16"/>
                    <a:pt x="22" y="14"/>
                  </a:cubicBezTo>
                  <a:cubicBezTo>
                    <a:pt x="20" y="13"/>
                    <a:pt x="18" y="13"/>
                    <a:pt x="16" y="13"/>
                  </a:cubicBezTo>
                  <a:cubicBezTo>
                    <a:pt x="13" y="13"/>
                    <a:pt x="11" y="14"/>
                    <a:pt x="9" y="16"/>
                  </a:cubicBezTo>
                  <a:cubicBezTo>
                    <a:pt x="7" y="18"/>
                    <a:pt x="6" y="21"/>
                    <a:pt x="6" y="26"/>
                  </a:cubicBezTo>
                  <a:lnTo>
                    <a:pt x="6" y="45"/>
                  </a:lnTo>
                  <a:lnTo>
                    <a:pt x="27"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Freeform 1824"/>
            <p:cNvSpPr>
              <a:spLocks/>
            </p:cNvSpPr>
            <p:nvPr/>
          </p:nvSpPr>
          <p:spPr bwMode="auto">
            <a:xfrm>
              <a:off x="2876" y="2966"/>
              <a:ext cx="13" cy="10"/>
            </a:xfrm>
            <a:custGeom>
              <a:avLst/>
              <a:gdLst>
                <a:gd name="T0" fmla="*/ 60 w 60"/>
                <a:gd name="T1" fmla="*/ 46 h 46"/>
                <a:gd name="T2" fmla="*/ 0 w 60"/>
                <a:gd name="T3" fmla="*/ 46 h 46"/>
                <a:gd name="T4" fmla="*/ 0 w 60"/>
                <a:gd name="T5" fmla="*/ 2 h 46"/>
                <a:gd name="T6" fmla="*/ 7 w 60"/>
                <a:gd name="T7" fmla="*/ 2 h 46"/>
                <a:gd name="T8" fmla="*/ 7 w 60"/>
                <a:gd name="T9" fmla="*/ 38 h 46"/>
                <a:gd name="T10" fmla="*/ 26 w 60"/>
                <a:gd name="T11" fmla="*/ 38 h 46"/>
                <a:gd name="T12" fmla="*/ 26 w 60"/>
                <a:gd name="T13" fmla="*/ 4 h 46"/>
                <a:gd name="T14" fmla="*/ 33 w 60"/>
                <a:gd name="T15" fmla="*/ 4 h 46"/>
                <a:gd name="T16" fmla="*/ 33 w 60"/>
                <a:gd name="T17" fmla="*/ 38 h 46"/>
                <a:gd name="T18" fmla="*/ 53 w 60"/>
                <a:gd name="T19" fmla="*/ 38 h 46"/>
                <a:gd name="T20" fmla="*/ 53 w 60"/>
                <a:gd name="T21" fmla="*/ 0 h 46"/>
                <a:gd name="T22" fmla="*/ 60 w 60"/>
                <a:gd name="T23" fmla="*/ 0 h 46"/>
                <a:gd name="T24" fmla="*/ 60 w 60"/>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6">
                  <a:moveTo>
                    <a:pt x="60" y="46"/>
                  </a:moveTo>
                  <a:lnTo>
                    <a:pt x="0" y="46"/>
                  </a:lnTo>
                  <a:lnTo>
                    <a:pt x="0" y="2"/>
                  </a:lnTo>
                  <a:lnTo>
                    <a:pt x="7" y="2"/>
                  </a:lnTo>
                  <a:lnTo>
                    <a:pt x="7" y="38"/>
                  </a:lnTo>
                  <a:lnTo>
                    <a:pt x="26" y="38"/>
                  </a:lnTo>
                  <a:lnTo>
                    <a:pt x="26" y="4"/>
                  </a:lnTo>
                  <a:lnTo>
                    <a:pt x="33" y="4"/>
                  </a:lnTo>
                  <a:lnTo>
                    <a:pt x="33" y="38"/>
                  </a:lnTo>
                  <a:lnTo>
                    <a:pt x="53" y="38"/>
                  </a:lnTo>
                  <a:lnTo>
                    <a:pt x="53" y="0"/>
                  </a:lnTo>
                  <a:lnTo>
                    <a:pt x="60" y="0"/>
                  </a:lnTo>
                  <a:lnTo>
                    <a:pt x="60" y="4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825"/>
            <p:cNvSpPr>
              <a:spLocks/>
            </p:cNvSpPr>
            <p:nvPr/>
          </p:nvSpPr>
          <p:spPr bwMode="auto">
            <a:xfrm>
              <a:off x="2875" y="2953"/>
              <a:ext cx="15" cy="11"/>
            </a:xfrm>
            <a:custGeom>
              <a:avLst/>
              <a:gdLst>
                <a:gd name="T0" fmla="*/ 42 w 63"/>
                <a:gd name="T1" fmla="*/ 48 h 48"/>
                <a:gd name="T2" fmla="*/ 41 w 63"/>
                <a:gd name="T3" fmla="*/ 40 h 48"/>
                <a:gd name="T4" fmla="*/ 49 w 63"/>
                <a:gd name="T5" fmla="*/ 38 h 48"/>
                <a:gd name="T6" fmla="*/ 54 w 63"/>
                <a:gd name="T7" fmla="*/ 32 h 48"/>
                <a:gd name="T8" fmla="*/ 55 w 63"/>
                <a:gd name="T9" fmla="*/ 22 h 48"/>
                <a:gd name="T10" fmla="*/ 54 w 63"/>
                <a:gd name="T11" fmla="*/ 14 h 48"/>
                <a:gd name="T12" fmla="*/ 50 w 63"/>
                <a:gd name="T13" fmla="*/ 9 h 48"/>
                <a:gd name="T14" fmla="*/ 45 w 63"/>
                <a:gd name="T15" fmla="*/ 7 h 48"/>
                <a:gd name="T16" fmla="*/ 40 w 63"/>
                <a:gd name="T17" fmla="*/ 9 h 48"/>
                <a:gd name="T18" fmla="*/ 36 w 63"/>
                <a:gd name="T19" fmla="*/ 15 h 48"/>
                <a:gd name="T20" fmla="*/ 33 w 63"/>
                <a:gd name="T21" fmla="*/ 25 h 48"/>
                <a:gd name="T22" fmla="*/ 30 w 63"/>
                <a:gd name="T23" fmla="*/ 37 h 48"/>
                <a:gd name="T24" fmla="*/ 24 w 63"/>
                <a:gd name="T25" fmla="*/ 44 h 48"/>
                <a:gd name="T26" fmla="*/ 16 w 63"/>
                <a:gd name="T27" fmla="*/ 46 h 48"/>
                <a:gd name="T28" fmla="*/ 8 w 63"/>
                <a:gd name="T29" fmla="*/ 43 h 48"/>
                <a:gd name="T30" fmla="*/ 2 w 63"/>
                <a:gd name="T31" fmla="*/ 35 h 48"/>
                <a:gd name="T32" fmla="*/ 0 w 63"/>
                <a:gd name="T33" fmla="*/ 24 h 48"/>
                <a:gd name="T34" fmla="*/ 2 w 63"/>
                <a:gd name="T35" fmla="*/ 12 h 48"/>
                <a:gd name="T36" fmla="*/ 8 w 63"/>
                <a:gd name="T37" fmla="*/ 4 h 48"/>
                <a:gd name="T38" fmla="*/ 18 w 63"/>
                <a:gd name="T39" fmla="*/ 2 h 48"/>
                <a:gd name="T40" fmla="*/ 18 w 63"/>
                <a:gd name="T41" fmla="*/ 9 h 48"/>
                <a:gd name="T42" fmla="*/ 10 w 63"/>
                <a:gd name="T43" fmla="*/ 13 h 48"/>
                <a:gd name="T44" fmla="*/ 7 w 63"/>
                <a:gd name="T45" fmla="*/ 24 h 48"/>
                <a:gd name="T46" fmla="*/ 10 w 63"/>
                <a:gd name="T47" fmla="*/ 35 h 48"/>
                <a:gd name="T48" fmla="*/ 16 w 63"/>
                <a:gd name="T49" fmla="*/ 38 h 48"/>
                <a:gd name="T50" fmla="*/ 21 w 63"/>
                <a:gd name="T51" fmla="*/ 36 h 48"/>
                <a:gd name="T52" fmla="*/ 26 w 63"/>
                <a:gd name="T53" fmla="*/ 23 h 48"/>
                <a:gd name="T54" fmla="*/ 30 w 63"/>
                <a:gd name="T55" fmla="*/ 10 h 48"/>
                <a:gd name="T56" fmla="*/ 36 w 63"/>
                <a:gd name="T57" fmla="*/ 2 h 48"/>
                <a:gd name="T58" fmla="*/ 44 w 63"/>
                <a:gd name="T59" fmla="*/ 0 h 48"/>
                <a:gd name="T60" fmla="*/ 53 w 63"/>
                <a:gd name="T61" fmla="*/ 2 h 48"/>
                <a:gd name="T62" fmla="*/ 60 w 63"/>
                <a:gd name="T63" fmla="*/ 10 h 48"/>
                <a:gd name="T64" fmla="*/ 63 w 63"/>
                <a:gd name="T65" fmla="*/ 22 h 48"/>
                <a:gd name="T66" fmla="*/ 60 w 63"/>
                <a:gd name="T67" fmla="*/ 36 h 48"/>
                <a:gd name="T68" fmla="*/ 53 w 63"/>
                <a:gd name="T69" fmla="*/ 45 h 48"/>
                <a:gd name="T70" fmla="*/ 42 w 63"/>
                <a:gd name="T7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8">
                  <a:moveTo>
                    <a:pt x="42" y="48"/>
                  </a:moveTo>
                  <a:lnTo>
                    <a:pt x="41" y="40"/>
                  </a:lnTo>
                  <a:cubicBezTo>
                    <a:pt x="44" y="40"/>
                    <a:pt x="47" y="39"/>
                    <a:pt x="49" y="38"/>
                  </a:cubicBezTo>
                  <a:cubicBezTo>
                    <a:pt x="51" y="37"/>
                    <a:pt x="52" y="35"/>
                    <a:pt x="54" y="32"/>
                  </a:cubicBezTo>
                  <a:cubicBezTo>
                    <a:pt x="55" y="29"/>
                    <a:pt x="55" y="26"/>
                    <a:pt x="55" y="22"/>
                  </a:cubicBezTo>
                  <a:cubicBezTo>
                    <a:pt x="55" y="19"/>
                    <a:pt x="55" y="17"/>
                    <a:pt x="54" y="14"/>
                  </a:cubicBezTo>
                  <a:cubicBezTo>
                    <a:pt x="53" y="12"/>
                    <a:pt x="52" y="10"/>
                    <a:pt x="50" y="9"/>
                  </a:cubicBezTo>
                  <a:cubicBezTo>
                    <a:pt x="49" y="8"/>
                    <a:pt x="47" y="7"/>
                    <a:pt x="45" y="7"/>
                  </a:cubicBezTo>
                  <a:cubicBezTo>
                    <a:pt x="43" y="7"/>
                    <a:pt x="41" y="8"/>
                    <a:pt x="40" y="9"/>
                  </a:cubicBezTo>
                  <a:cubicBezTo>
                    <a:pt x="39" y="10"/>
                    <a:pt x="37" y="12"/>
                    <a:pt x="36" y="15"/>
                  </a:cubicBezTo>
                  <a:cubicBezTo>
                    <a:pt x="36" y="16"/>
                    <a:pt x="35" y="20"/>
                    <a:pt x="33" y="25"/>
                  </a:cubicBezTo>
                  <a:cubicBezTo>
                    <a:pt x="32" y="31"/>
                    <a:pt x="31" y="35"/>
                    <a:pt x="30" y="37"/>
                  </a:cubicBezTo>
                  <a:cubicBezTo>
                    <a:pt x="28" y="40"/>
                    <a:pt x="26" y="42"/>
                    <a:pt x="24" y="44"/>
                  </a:cubicBezTo>
                  <a:cubicBezTo>
                    <a:pt x="22" y="45"/>
                    <a:pt x="19" y="46"/>
                    <a:pt x="16" y="46"/>
                  </a:cubicBezTo>
                  <a:cubicBezTo>
                    <a:pt x="13" y="46"/>
                    <a:pt x="11" y="45"/>
                    <a:pt x="8" y="43"/>
                  </a:cubicBezTo>
                  <a:cubicBezTo>
                    <a:pt x="5" y="41"/>
                    <a:pt x="3" y="39"/>
                    <a:pt x="2" y="35"/>
                  </a:cubicBezTo>
                  <a:cubicBezTo>
                    <a:pt x="0" y="32"/>
                    <a:pt x="0" y="28"/>
                    <a:pt x="0" y="24"/>
                  </a:cubicBezTo>
                  <a:cubicBezTo>
                    <a:pt x="0" y="20"/>
                    <a:pt x="0" y="16"/>
                    <a:pt x="2" y="12"/>
                  </a:cubicBezTo>
                  <a:cubicBezTo>
                    <a:pt x="3" y="9"/>
                    <a:pt x="6" y="6"/>
                    <a:pt x="8" y="4"/>
                  </a:cubicBezTo>
                  <a:cubicBezTo>
                    <a:pt x="11" y="3"/>
                    <a:pt x="14" y="2"/>
                    <a:pt x="18" y="2"/>
                  </a:cubicBezTo>
                  <a:lnTo>
                    <a:pt x="18" y="9"/>
                  </a:lnTo>
                  <a:cubicBezTo>
                    <a:pt x="15" y="10"/>
                    <a:pt x="12" y="11"/>
                    <a:pt x="10" y="13"/>
                  </a:cubicBezTo>
                  <a:cubicBezTo>
                    <a:pt x="8" y="16"/>
                    <a:pt x="7" y="19"/>
                    <a:pt x="7" y="24"/>
                  </a:cubicBezTo>
                  <a:cubicBezTo>
                    <a:pt x="7" y="29"/>
                    <a:pt x="8" y="32"/>
                    <a:pt x="10" y="35"/>
                  </a:cubicBezTo>
                  <a:cubicBezTo>
                    <a:pt x="11" y="37"/>
                    <a:pt x="13" y="38"/>
                    <a:pt x="16" y="38"/>
                  </a:cubicBezTo>
                  <a:cubicBezTo>
                    <a:pt x="18" y="38"/>
                    <a:pt x="20" y="37"/>
                    <a:pt x="21" y="36"/>
                  </a:cubicBezTo>
                  <a:cubicBezTo>
                    <a:pt x="23" y="34"/>
                    <a:pt x="24" y="30"/>
                    <a:pt x="26" y="23"/>
                  </a:cubicBezTo>
                  <a:cubicBezTo>
                    <a:pt x="27" y="17"/>
                    <a:pt x="28" y="12"/>
                    <a:pt x="30" y="10"/>
                  </a:cubicBezTo>
                  <a:cubicBezTo>
                    <a:pt x="31" y="6"/>
                    <a:pt x="33" y="4"/>
                    <a:pt x="36" y="2"/>
                  </a:cubicBezTo>
                  <a:cubicBezTo>
                    <a:pt x="38" y="1"/>
                    <a:pt x="41" y="0"/>
                    <a:pt x="44" y="0"/>
                  </a:cubicBezTo>
                  <a:cubicBezTo>
                    <a:pt x="48" y="0"/>
                    <a:pt x="51" y="1"/>
                    <a:pt x="53" y="2"/>
                  </a:cubicBezTo>
                  <a:cubicBezTo>
                    <a:pt x="56" y="4"/>
                    <a:pt x="59" y="7"/>
                    <a:pt x="60" y="10"/>
                  </a:cubicBezTo>
                  <a:cubicBezTo>
                    <a:pt x="62" y="14"/>
                    <a:pt x="63" y="18"/>
                    <a:pt x="63" y="22"/>
                  </a:cubicBezTo>
                  <a:cubicBezTo>
                    <a:pt x="63" y="28"/>
                    <a:pt x="62" y="32"/>
                    <a:pt x="60" y="36"/>
                  </a:cubicBezTo>
                  <a:cubicBezTo>
                    <a:pt x="59" y="40"/>
                    <a:pt x="56" y="43"/>
                    <a:pt x="53" y="45"/>
                  </a:cubicBezTo>
                  <a:cubicBezTo>
                    <a:pt x="50" y="47"/>
                    <a:pt x="46" y="48"/>
                    <a:pt x="42" y="4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826"/>
            <p:cNvSpPr>
              <a:spLocks/>
            </p:cNvSpPr>
            <p:nvPr/>
          </p:nvSpPr>
          <p:spPr bwMode="auto">
            <a:xfrm>
              <a:off x="2876" y="2940"/>
              <a:ext cx="13" cy="10"/>
            </a:xfrm>
            <a:custGeom>
              <a:avLst/>
              <a:gdLst>
                <a:gd name="T0" fmla="*/ 60 w 60"/>
                <a:gd name="T1" fmla="*/ 45 h 45"/>
                <a:gd name="T2" fmla="*/ 0 w 60"/>
                <a:gd name="T3" fmla="*/ 45 h 45"/>
                <a:gd name="T4" fmla="*/ 0 w 60"/>
                <a:gd name="T5" fmla="*/ 2 h 45"/>
                <a:gd name="T6" fmla="*/ 7 w 60"/>
                <a:gd name="T7" fmla="*/ 2 h 45"/>
                <a:gd name="T8" fmla="*/ 7 w 60"/>
                <a:gd name="T9" fmla="*/ 37 h 45"/>
                <a:gd name="T10" fmla="*/ 26 w 60"/>
                <a:gd name="T11" fmla="*/ 37 h 45"/>
                <a:gd name="T12" fmla="*/ 26 w 60"/>
                <a:gd name="T13" fmla="*/ 4 h 45"/>
                <a:gd name="T14" fmla="*/ 33 w 60"/>
                <a:gd name="T15" fmla="*/ 4 h 45"/>
                <a:gd name="T16" fmla="*/ 33 w 60"/>
                <a:gd name="T17" fmla="*/ 37 h 45"/>
                <a:gd name="T18" fmla="*/ 53 w 60"/>
                <a:gd name="T19" fmla="*/ 37 h 45"/>
                <a:gd name="T20" fmla="*/ 53 w 60"/>
                <a:gd name="T21" fmla="*/ 0 h 45"/>
                <a:gd name="T22" fmla="*/ 60 w 60"/>
                <a:gd name="T23" fmla="*/ 0 h 45"/>
                <a:gd name="T24" fmla="*/ 60 w 60"/>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5">
                  <a:moveTo>
                    <a:pt x="60" y="45"/>
                  </a:moveTo>
                  <a:lnTo>
                    <a:pt x="0" y="45"/>
                  </a:lnTo>
                  <a:lnTo>
                    <a:pt x="0" y="2"/>
                  </a:lnTo>
                  <a:lnTo>
                    <a:pt x="7" y="2"/>
                  </a:lnTo>
                  <a:lnTo>
                    <a:pt x="7" y="37"/>
                  </a:lnTo>
                  <a:lnTo>
                    <a:pt x="26" y="37"/>
                  </a:lnTo>
                  <a:lnTo>
                    <a:pt x="26" y="4"/>
                  </a:lnTo>
                  <a:lnTo>
                    <a:pt x="33" y="4"/>
                  </a:lnTo>
                  <a:lnTo>
                    <a:pt x="33" y="37"/>
                  </a:lnTo>
                  <a:lnTo>
                    <a:pt x="53" y="37"/>
                  </a:lnTo>
                  <a:lnTo>
                    <a:pt x="53" y="0"/>
                  </a:lnTo>
                  <a:lnTo>
                    <a:pt x="60" y="0"/>
                  </a:lnTo>
                  <a:lnTo>
                    <a:pt x="60"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827"/>
            <p:cNvSpPr>
              <a:spLocks/>
            </p:cNvSpPr>
            <p:nvPr/>
          </p:nvSpPr>
          <p:spPr bwMode="auto">
            <a:xfrm>
              <a:off x="2876" y="2928"/>
              <a:ext cx="13" cy="11"/>
            </a:xfrm>
            <a:custGeom>
              <a:avLst/>
              <a:gdLst>
                <a:gd name="T0" fmla="*/ 60 w 60"/>
                <a:gd name="T1" fmla="*/ 29 h 49"/>
                <a:gd name="T2" fmla="*/ 7 w 60"/>
                <a:gd name="T3" fmla="*/ 29 h 49"/>
                <a:gd name="T4" fmla="*/ 7 w 60"/>
                <a:gd name="T5" fmla="*/ 49 h 49"/>
                <a:gd name="T6" fmla="*/ 0 w 60"/>
                <a:gd name="T7" fmla="*/ 49 h 49"/>
                <a:gd name="T8" fmla="*/ 0 w 60"/>
                <a:gd name="T9" fmla="*/ 0 h 49"/>
                <a:gd name="T10" fmla="*/ 7 w 60"/>
                <a:gd name="T11" fmla="*/ 0 h 49"/>
                <a:gd name="T12" fmla="*/ 7 w 60"/>
                <a:gd name="T13" fmla="*/ 20 h 49"/>
                <a:gd name="T14" fmla="*/ 60 w 60"/>
                <a:gd name="T15" fmla="*/ 20 h 49"/>
                <a:gd name="T16" fmla="*/ 60 w 60"/>
                <a:gd name="T1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9">
                  <a:moveTo>
                    <a:pt x="60" y="29"/>
                  </a:moveTo>
                  <a:lnTo>
                    <a:pt x="7" y="29"/>
                  </a:lnTo>
                  <a:lnTo>
                    <a:pt x="7" y="49"/>
                  </a:lnTo>
                  <a:lnTo>
                    <a:pt x="0" y="49"/>
                  </a:lnTo>
                  <a:lnTo>
                    <a:pt x="0" y="0"/>
                  </a:lnTo>
                  <a:lnTo>
                    <a:pt x="7" y="0"/>
                  </a:lnTo>
                  <a:lnTo>
                    <a:pt x="7" y="20"/>
                  </a:lnTo>
                  <a:lnTo>
                    <a:pt x="60" y="20"/>
                  </a:lnTo>
                  <a:lnTo>
                    <a:pt x="60"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828"/>
            <p:cNvSpPr>
              <a:spLocks/>
            </p:cNvSpPr>
            <p:nvPr/>
          </p:nvSpPr>
          <p:spPr bwMode="auto">
            <a:xfrm>
              <a:off x="2884" y="2843"/>
              <a:ext cx="11" cy="15"/>
            </a:xfrm>
            <a:custGeom>
              <a:avLst/>
              <a:gdLst>
                <a:gd name="T0" fmla="*/ 0 w 48"/>
                <a:gd name="T1" fmla="*/ 42 h 63"/>
                <a:gd name="T2" fmla="*/ 8 w 48"/>
                <a:gd name="T3" fmla="*/ 42 h 63"/>
                <a:gd name="T4" fmla="*/ 10 w 48"/>
                <a:gd name="T5" fmla="*/ 49 h 63"/>
                <a:gd name="T6" fmla="*/ 16 w 48"/>
                <a:gd name="T7" fmla="*/ 54 h 63"/>
                <a:gd name="T8" fmla="*/ 26 w 48"/>
                <a:gd name="T9" fmla="*/ 56 h 63"/>
                <a:gd name="T10" fmla="*/ 34 w 48"/>
                <a:gd name="T11" fmla="*/ 54 h 63"/>
                <a:gd name="T12" fmla="*/ 39 w 48"/>
                <a:gd name="T13" fmla="*/ 50 h 63"/>
                <a:gd name="T14" fmla="*/ 41 w 48"/>
                <a:gd name="T15" fmla="*/ 45 h 63"/>
                <a:gd name="T16" fmla="*/ 39 w 48"/>
                <a:gd name="T17" fmla="*/ 40 h 63"/>
                <a:gd name="T18" fmla="*/ 34 w 48"/>
                <a:gd name="T19" fmla="*/ 37 h 63"/>
                <a:gd name="T20" fmla="*/ 23 w 48"/>
                <a:gd name="T21" fmla="*/ 34 h 63"/>
                <a:gd name="T22" fmla="*/ 11 w 48"/>
                <a:gd name="T23" fmla="*/ 30 h 63"/>
                <a:gd name="T24" fmla="*/ 5 w 48"/>
                <a:gd name="T25" fmla="*/ 24 h 63"/>
                <a:gd name="T26" fmla="*/ 2 w 48"/>
                <a:gd name="T27" fmla="*/ 17 h 63"/>
                <a:gd name="T28" fmla="*/ 5 w 48"/>
                <a:gd name="T29" fmla="*/ 8 h 63"/>
                <a:gd name="T30" fmla="*/ 13 w 48"/>
                <a:gd name="T31" fmla="*/ 2 h 63"/>
                <a:gd name="T32" fmla="*/ 24 w 48"/>
                <a:gd name="T33" fmla="*/ 0 h 63"/>
                <a:gd name="T34" fmla="*/ 36 w 48"/>
                <a:gd name="T35" fmla="*/ 2 h 63"/>
                <a:gd name="T36" fmla="*/ 44 w 48"/>
                <a:gd name="T37" fmla="*/ 9 h 63"/>
                <a:gd name="T38" fmla="*/ 47 w 48"/>
                <a:gd name="T39" fmla="*/ 18 h 63"/>
                <a:gd name="T40" fmla="*/ 39 w 48"/>
                <a:gd name="T41" fmla="*/ 19 h 63"/>
                <a:gd name="T42" fmla="*/ 35 w 48"/>
                <a:gd name="T43" fmla="*/ 10 h 63"/>
                <a:gd name="T44" fmla="*/ 24 w 48"/>
                <a:gd name="T45" fmla="*/ 7 h 63"/>
                <a:gd name="T46" fmla="*/ 13 w 48"/>
                <a:gd name="T47" fmla="*/ 10 h 63"/>
                <a:gd name="T48" fmla="*/ 10 w 48"/>
                <a:gd name="T49" fmla="*/ 16 h 63"/>
                <a:gd name="T50" fmla="*/ 13 w 48"/>
                <a:gd name="T51" fmla="*/ 22 h 63"/>
                <a:gd name="T52" fmla="*/ 25 w 48"/>
                <a:gd name="T53" fmla="*/ 26 h 63"/>
                <a:gd name="T54" fmla="*/ 38 w 48"/>
                <a:gd name="T55" fmla="*/ 30 h 63"/>
                <a:gd name="T56" fmla="*/ 46 w 48"/>
                <a:gd name="T57" fmla="*/ 36 h 63"/>
                <a:gd name="T58" fmla="*/ 48 w 48"/>
                <a:gd name="T59" fmla="*/ 45 h 63"/>
                <a:gd name="T60" fmla="*/ 46 w 48"/>
                <a:gd name="T61" fmla="*/ 54 h 63"/>
                <a:gd name="T62" fmla="*/ 38 w 48"/>
                <a:gd name="T63" fmla="*/ 60 h 63"/>
                <a:gd name="T64" fmla="*/ 26 w 48"/>
                <a:gd name="T65" fmla="*/ 63 h 63"/>
                <a:gd name="T66" fmla="*/ 12 w 48"/>
                <a:gd name="T67" fmla="*/ 60 h 63"/>
                <a:gd name="T68" fmla="*/ 3 w 48"/>
                <a:gd name="T69" fmla="*/ 53 h 63"/>
                <a:gd name="T70" fmla="*/ 0 w 48"/>
                <a:gd name="T7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3">
                  <a:moveTo>
                    <a:pt x="0" y="42"/>
                  </a:moveTo>
                  <a:lnTo>
                    <a:pt x="8" y="42"/>
                  </a:lnTo>
                  <a:cubicBezTo>
                    <a:pt x="8" y="45"/>
                    <a:pt x="9" y="47"/>
                    <a:pt x="10" y="49"/>
                  </a:cubicBezTo>
                  <a:cubicBezTo>
                    <a:pt x="11" y="51"/>
                    <a:pt x="14" y="53"/>
                    <a:pt x="16" y="54"/>
                  </a:cubicBezTo>
                  <a:cubicBezTo>
                    <a:pt x="19" y="55"/>
                    <a:pt x="22" y="56"/>
                    <a:pt x="26" y="56"/>
                  </a:cubicBezTo>
                  <a:cubicBezTo>
                    <a:pt x="29" y="56"/>
                    <a:pt x="31" y="55"/>
                    <a:pt x="34" y="54"/>
                  </a:cubicBezTo>
                  <a:cubicBezTo>
                    <a:pt x="36" y="53"/>
                    <a:pt x="38" y="52"/>
                    <a:pt x="39" y="50"/>
                  </a:cubicBezTo>
                  <a:cubicBezTo>
                    <a:pt x="40" y="49"/>
                    <a:pt x="41" y="47"/>
                    <a:pt x="41" y="45"/>
                  </a:cubicBezTo>
                  <a:cubicBezTo>
                    <a:pt x="41" y="43"/>
                    <a:pt x="40" y="42"/>
                    <a:pt x="39" y="40"/>
                  </a:cubicBezTo>
                  <a:cubicBezTo>
                    <a:pt x="38" y="39"/>
                    <a:pt x="36" y="38"/>
                    <a:pt x="34" y="37"/>
                  </a:cubicBezTo>
                  <a:cubicBezTo>
                    <a:pt x="32" y="36"/>
                    <a:pt x="28" y="35"/>
                    <a:pt x="23" y="34"/>
                  </a:cubicBezTo>
                  <a:cubicBezTo>
                    <a:pt x="17" y="32"/>
                    <a:pt x="13" y="31"/>
                    <a:pt x="11" y="30"/>
                  </a:cubicBezTo>
                  <a:cubicBezTo>
                    <a:pt x="8" y="28"/>
                    <a:pt x="6" y="27"/>
                    <a:pt x="5" y="24"/>
                  </a:cubicBezTo>
                  <a:cubicBezTo>
                    <a:pt x="3" y="22"/>
                    <a:pt x="2" y="20"/>
                    <a:pt x="2" y="17"/>
                  </a:cubicBezTo>
                  <a:cubicBezTo>
                    <a:pt x="2" y="14"/>
                    <a:pt x="3" y="11"/>
                    <a:pt x="5" y="8"/>
                  </a:cubicBezTo>
                  <a:cubicBezTo>
                    <a:pt x="7" y="5"/>
                    <a:pt x="9" y="3"/>
                    <a:pt x="13" y="2"/>
                  </a:cubicBezTo>
                  <a:cubicBezTo>
                    <a:pt x="16" y="1"/>
                    <a:pt x="20" y="0"/>
                    <a:pt x="24" y="0"/>
                  </a:cubicBezTo>
                  <a:cubicBezTo>
                    <a:pt x="28" y="0"/>
                    <a:pt x="32" y="1"/>
                    <a:pt x="36" y="2"/>
                  </a:cubicBezTo>
                  <a:cubicBezTo>
                    <a:pt x="39" y="4"/>
                    <a:pt x="42" y="6"/>
                    <a:pt x="44" y="9"/>
                  </a:cubicBezTo>
                  <a:cubicBezTo>
                    <a:pt x="45" y="11"/>
                    <a:pt x="46" y="15"/>
                    <a:pt x="47" y="18"/>
                  </a:cubicBezTo>
                  <a:lnTo>
                    <a:pt x="39" y="19"/>
                  </a:lnTo>
                  <a:cubicBezTo>
                    <a:pt x="38" y="15"/>
                    <a:pt x="37" y="12"/>
                    <a:pt x="35" y="10"/>
                  </a:cubicBezTo>
                  <a:cubicBezTo>
                    <a:pt x="32" y="8"/>
                    <a:pt x="29" y="7"/>
                    <a:pt x="24" y="7"/>
                  </a:cubicBezTo>
                  <a:cubicBezTo>
                    <a:pt x="19" y="7"/>
                    <a:pt x="16" y="8"/>
                    <a:pt x="13" y="10"/>
                  </a:cubicBezTo>
                  <a:cubicBezTo>
                    <a:pt x="11" y="12"/>
                    <a:pt x="10" y="14"/>
                    <a:pt x="10" y="16"/>
                  </a:cubicBezTo>
                  <a:cubicBezTo>
                    <a:pt x="10" y="18"/>
                    <a:pt x="11" y="20"/>
                    <a:pt x="13" y="22"/>
                  </a:cubicBezTo>
                  <a:cubicBezTo>
                    <a:pt x="14" y="23"/>
                    <a:pt x="18" y="24"/>
                    <a:pt x="25" y="26"/>
                  </a:cubicBezTo>
                  <a:cubicBezTo>
                    <a:pt x="31" y="27"/>
                    <a:pt x="36" y="29"/>
                    <a:pt x="38" y="30"/>
                  </a:cubicBezTo>
                  <a:cubicBezTo>
                    <a:pt x="42" y="31"/>
                    <a:pt x="44" y="33"/>
                    <a:pt x="46" y="36"/>
                  </a:cubicBezTo>
                  <a:cubicBezTo>
                    <a:pt x="48" y="38"/>
                    <a:pt x="48" y="41"/>
                    <a:pt x="48" y="45"/>
                  </a:cubicBezTo>
                  <a:cubicBezTo>
                    <a:pt x="48" y="48"/>
                    <a:pt x="47" y="51"/>
                    <a:pt x="46" y="54"/>
                  </a:cubicBezTo>
                  <a:cubicBezTo>
                    <a:pt x="44" y="57"/>
                    <a:pt x="41" y="59"/>
                    <a:pt x="38" y="60"/>
                  </a:cubicBezTo>
                  <a:cubicBezTo>
                    <a:pt x="34" y="62"/>
                    <a:pt x="30" y="63"/>
                    <a:pt x="26" y="63"/>
                  </a:cubicBezTo>
                  <a:cubicBezTo>
                    <a:pt x="20" y="63"/>
                    <a:pt x="16" y="62"/>
                    <a:pt x="12" y="60"/>
                  </a:cubicBezTo>
                  <a:cubicBezTo>
                    <a:pt x="8" y="59"/>
                    <a:pt x="6" y="56"/>
                    <a:pt x="3" y="53"/>
                  </a:cubicBezTo>
                  <a:cubicBezTo>
                    <a:pt x="1" y="50"/>
                    <a:pt x="0" y="46"/>
                    <a:pt x="0" y="4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829"/>
            <p:cNvSpPr>
              <a:spLocks noEditPoints="1"/>
            </p:cNvSpPr>
            <p:nvPr/>
          </p:nvSpPr>
          <p:spPr bwMode="auto">
            <a:xfrm>
              <a:off x="2898" y="2843"/>
              <a:ext cx="11" cy="14"/>
            </a:xfrm>
            <a:custGeom>
              <a:avLst/>
              <a:gdLst>
                <a:gd name="T0" fmla="*/ 0 w 51"/>
                <a:gd name="T1" fmla="*/ 61 h 61"/>
                <a:gd name="T2" fmla="*/ 0 w 51"/>
                <a:gd name="T3" fmla="*/ 0 h 61"/>
                <a:gd name="T4" fmla="*/ 21 w 51"/>
                <a:gd name="T5" fmla="*/ 0 h 61"/>
                <a:gd name="T6" fmla="*/ 32 w 51"/>
                <a:gd name="T7" fmla="*/ 1 h 61"/>
                <a:gd name="T8" fmla="*/ 41 w 51"/>
                <a:gd name="T9" fmla="*/ 5 h 61"/>
                <a:gd name="T10" fmla="*/ 48 w 51"/>
                <a:gd name="T11" fmla="*/ 16 h 61"/>
                <a:gd name="T12" fmla="*/ 51 w 51"/>
                <a:gd name="T13" fmla="*/ 30 h 61"/>
                <a:gd name="T14" fmla="*/ 49 w 51"/>
                <a:gd name="T15" fmla="*/ 42 h 61"/>
                <a:gd name="T16" fmla="*/ 45 w 51"/>
                <a:gd name="T17" fmla="*/ 51 h 61"/>
                <a:gd name="T18" fmla="*/ 39 w 51"/>
                <a:gd name="T19" fmla="*/ 57 h 61"/>
                <a:gd name="T20" fmla="*/ 32 w 51"/>
                <a:gd name="T21" fmla="*/ 60 h 61"/>
                <a:gd name="T22" fmla="*/ 22 w 51"/>
                <a:gd name="T23" fmla="*/ 61 h 61"/>
                <a:gd name="T24" fmla="*/ 0 w 51"/>
                <a:gd name="T25" fmla="*/ 61 h 61"/>
                <a:gd name="T26" fmla="*/ 8 w 51"/>
                <a:gd name="T27" fmla="*/ 54 h 61"/>
                <a:gd name="T28" fmla="*/ 21 w 51"/>
                <a:gd name="T29" fmla="*/ 54 h 61"/>
                <a:gd name="T30" fmla="*/ 31 w 51"/>
                <a:gd name="T31" fmla="*/ 52 h 61"/>
                <a:gd name="T32" fmla="*/ 36 w 51"/>
                <a:gd name="T33" fmla="*/ 49 h 61"/>
                <a:gd name="T34" fmla="*/ 41 w 51"/>
                <a:gd name="T35" fmla="*/ 42 h 61"/>
                <a:gd name="T36" fmla="*/ 42 w 51"/>
                <a:gd name="T37" fmla="*/ 30 h 61"/>
                <a:gd name="T38" fmla="*/ 39 w 51"/>
                <a:gd name="T39" fmla="*/ 15 h 61"/>
                <a:gd name="T40" fmla="*/ 32 w 51"/>
                <a:gd name="T41" fmla="*/ 8 h 61"/>
                <a:gd name="T42" fmla="*/ 21 w 51"/>
                <a:gd name="T43" fmla="*/ 7 h 61"/>
                <a:gd name="T44" fmla="*/ 8 w 51"/>
                <a:gd name="T45" fmla="*/ 7 h 61"/>
                <a:gd name="T46" fmla="*/ 8 w 51"/>
                <a:gd name="T4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1">
                  <a:moveTo>
                    <a:pt x="0" y="61"/>
                  </a:moveTo>
                  <a:lnTo>
                    <a:pt x="0" y="0"/>
                  </a:lnTo>
                  <a:lnTo>
                    <a:pt x="21" y="0"/>
                  </a:lnTo>
                  <a:cubicBezTo>
                    <a:pt x="26" y="0"/>
                    <a:pt x="30" y="0"/>
                    <a:pt x="32" y="1"/>
                  </a:cubicBezTo>
                  <a:cubicBezTo>
                    <a:pt x="36" y="2"/>
                    <a:pt x="39" y="3"/>
                    <a:pt x="41" y="5"/>
                  </a:cubicBezTo>
                  <a:cubicBezTo>
                    <a:pt x="44" y="8"/>
                    <a:pt x="47" y="11"/>
                    <a:pt x="48" y="16"/>
                  </a:cubicBezTo>
                  <a:cubicBezTo>
                    <a:pt x="50" y="20"/>
                    <a:pt x="51" y="25"/>
                    <a:pt x="51" y="30"/>
                  </a:cubicBezTo>
                  <a:cubicBezTo>
                    <a:pt x="51" y="35"/>
                    <a:pt x="50" y="39"/>
                    <a:pt x="49" y="42"/>
                  </a:cubicBezTo>
                  <a:cubicBezTo>
                    <a:pt x="48" y="46"/>
                    <a:pt x="47" y="49"/>
                    <a:pt x="45" y="51"/>
                  </a:cubicBezTo>
                  <a:cubicBezTo>
                    <a:pt x="43" y="53"/>
                    <a:pt x="41" y="55"/>
                    <a:pt x="39" y="57"/>
                  </a:cubicBezTo>
                  <a:cubicBezTo>
                    <a:pt x="37" y="58"/>
                    <a:pt x="35" y="59"/>
                    <a:pt x="32" y="60"/>
                  </a:cubicBezTo>
                  <a:cubicBezTo>
                    <a:pt x="29" y="60"/>
                    <a:pt x="26" y="61"/>
                    <a:pt x="22" y="61"/>
                  </a:cubicBezTo>
                  <a:lnTo>
                    <a:pt x="0" y="61"/>
                  </a:lnTo>
                  <a:close/>
                  <a:moveTo>
                    <a:pt x="8" y="54"/>
                  </a:moveTo>
                  <a:lnTo>
                    <a:pt x="21" y="54"/>
                  </a:lnTo>
                  <a:cubicBezTo>
                    <a:pt x="25" y="54"/>
                    <a:pt x="29" y="53"/>
                    <a:pt x="31" y="52"/>
                  </a:cubicBezTo>
                  <a:cubicBezTo>
                    <a:pt x="33" y="52"/>
                    <a:pt x="35" y="51"/>
                    <a:pt x="36" y="49"/>
                  </a:cubicBezTo>
                  <a:cubicBezTo>
                    <a:pt x="38" y="47"/>
                    <a:pt x="40" y="45"/>
                    <a:pt x="41" y="42"/>
                  </a:cubicBezTo>
                  <a:cubicBezTo>
                    <a:pt x="42" y="38"/>
                    <a:pt x="42" y="35"/>
                    <a:pt x="42" y="30"/>
                  </a:cubicBezTo>
                  <a:cubicBezTo>
                    <a:pt x="42" y="24"/>
                    <a:pt x="41" y="19"/>
                    <a:pt x="39" y="15"/>
                  </a:cubicBezTo>
                  <a:cubicBezTo>
                    <a:pt x="37" y="12"/>
                    <a:pt x="35" y="10"/>
                    <a:pt x="32" y="8"/>
                  </a:cubicBezTo>
                  <a:cubicBezTo>
                    <a:pt x="29" y="8"/>
                    <a:pt x="26" y="7"/>
                    <a:pt x="21" y="7"/>
                  </a:cubicBezTo>
                  <a:lnTo>
                    <a:pt x="8" y="7"/>
                  </a:lnTo>
                  <a:lnTo>
                    <a:pt x="8"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830"/>
            <p:cNvSpPr>
              <a:spLocks noEditPoints="1"/>
            </p:cNvSpPr>
            <p:nvPr/>
          </p:nvSpPr>
          <p:spPr bwMode="auto">
            <a:xfrm>
              <a:off x="2874" y="2886"/>
              <a:ext cx="13" cy="14"/>
            </a:xfrm>
            <a:custGeom>
              <a:avLst/>
              <a:gdLst>
                <a:gd name="T0" fmla="*/ 0 w 58"/>
                <a:gd name="T1" fmla="*/ 33 h 63"/>
                <a:gd name="T2" fmla="*/ 8 w 58"/>
                <a:gd name="T3" fmla="*/ 9 h 63"/>
                <a:gd name="T4" fmla="*/ 29 w 58"/>
                <a:gd name="T5" fmla="*/ 0 h 63"/>
                <a:gd name="T6" fmla="*/ 44 w 58"/>
                <a:gd name="T7" fmla="*/ 4 h 63"/>
                <a:gd name="T8" fmla="*/ 55 w 58"/>
                <a:gd name="T9" fmla="*/ 16 h 63"/>
                <a:gd name="T10" fmla="*/ 58 w 58"/>
                <a:gd name="T11" fmla="*/ 32 h 63"/>
                <a:gd name="T12" fmla="*/ 54 w 58"/>
                <a:gd name="T13" fmla="*/ 48 h 63"/>
                <a:gd name="T14" fmla="*/ 44 w 58"/>
                <a:gd name="T15" fmla="*/ 60 h 63"/>
                <a:gd name="T16" fmla="*/ 29 w 58"/>
                <a:gd name="T17" fmla="*/ 63 h 63"/>
                <a:gd name="T18" fmla="*/ 14 w 58"/>
                <a:gd name="T19" fmla="*/ 59 h 63"/>
                <a:gd name="T20" fmla="*/ 4 w 58"/>
                <a:gd name="T21" fmla="*/ 48 h 63"/>
                <a:gd name="T22" fmla="*/ 0 w 58"/>
                <a:gd name="T23" fmla="*/ 33 h 63"/>
                <a:gd name="T24" fmla="*/ 8 w 58"/>
                <a:gd name="T25" fmla="*/ 33 h 63"/>
                <a:gd name="T26" fmla="*/ 14 w 58"/>
                <a:gd name="T27" fmla="*/ 50 h 63"/>
                <a:gd name="T28" fmla="*/ 29 w 58"/>
                <a:gd name="T29" fmla="*/ 56 h 63"/>
                <a:gd name="T30" fmla="*/ 44 w 58"/>
                <a:gd name="T31" fmla="*/ 50 h 63"/>
                <a:gd name="T32" fmla="*/ 50 w 58"/>
                <a:gd name="T33" fmla="*/ 32 h 63"/>
                <a:gd name="T34" fmla="*/ 47 w 58"/>
                <a:gd name="T35" fmla="*/ 19 h 63"/>
                <a:gd name="T36" fmla="*/ 40 w 58"/>
                <a:gd name="T37" fmla="*/ 10 h 63"/>
                <a:gd name="T38" fmla="*/ 29 w 58"/>
                <a:gd name="T39" fmla="*/ 7 h 63"/>
                <a:gd name="T40" fmla="*/ 14 w 58"/>
                <a:gd name="T41" fmla="*/ 13 h 63"/>
                <a:gd name="T42" fmla="*/ 8 w 58"/>
                <a:gd name="T43"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3">
                  <a:moveTo>
                    <a:pt x="0" y="33"/>
                  </a:moveTo>
                  <a:cubicBezTo>
                    <a:pt x="0" y="23"/>
                    <a:pt x="3" y="15"/>
                    <a:pt x="8" y="9"/>
                  </a:cubicBezTo>
                  <a:cubicBezTo>
                    <a:pt x="14" y="3"/>
                    <a:pt x="21" y="0"/>
                    <a:pt x="29" y="0"/>
                  </a:cubicBezTo>
                  <a:cubicBezTo>
                    <a:pt x="35" y="0"/>
                    <a:pt x="40" y="2"/>
                    <a:pt x="44" y="4"/>
                  </a:cubicBezTo>
                  <a:cubicBezTo>
                    <a:pt x="49" y="7"/>
                    <a:pt x="52" y="11"/>
                    <a:pt x="55" y="16"/>
                  </a:cubicBezTo>
                  <a:cubicBezTo>
                    <a:pt x="57" y="20"/>
                    <a:pt x="58" y="26"/>
                    <a:pt x="58" y="32"/>
                  </a:cubicBezTo>
                  <a:cubicBezTo>
                    <a:pt x="58" y="38"/>
                    <a:pt x="57" y="44"/>
                    <a:pt x="54" y="48"/>
                  </a:cubicBezTo>
                  <a:cubicBezTo>
                    <a:pt x="52" y="53"/>
                    <a:pt x="48" y="57"/>
                    <a:pt x="44" y="60"/>
                  </a:cubicBezTo>
                  <a:cubicBezTo>
                    <a:pt x="39" y="62"/>
                    <a:pt x="34" y="63"/>
                    <a:pt x="29" y="63"/>
                  </a:cubicBezTo>
                  <a:cubicBezTo>
                    <a:pt x="23" y="63"/>
                    <a:pt x="18" y="62"/>
                    <a:pt x="14" y="59"/>
                  </a:cubicBezTo>
                  <a:cubicBezTo>
                    <a:pt x="9" y="56"/>
                    <a:pt x="6" y="53"/>
                    <a:pt x="4" y="48"/>
                  </a:cubicBezTo>
                  <a:cubicBezTo>
                    <a:pt x="1" y="43"/>
                    <a:pt x="0" y="38"/>
                    <a:pt x="0" y="33"/>
                  </a:cubicBezTo>
                  <a:close/>
                  <a:moveTo>
                    <a:pt x="8" y="33"/>
                  </a:moveTo>
                  <a:cubicBezTo>
                    <a:pt x="8" y="40"/>
                    <a:pt x="10" y="46"/>
                    <a:pt x="14" y="50"/>
                  </a:cubicBezTo>
                  <a:cubicBezTo>
                    <a:pt x="18" y="54"/>
                    <a:pt x="23" y="56"/>
                    <a:pt x="29" y="56"/>
                  </a:cubicBezTo>
                  <a:cubicBezTo>
                    <a:pt x="35" y="56"/>
                    <a:pt x="40" y="54"/>
                    <a:pt x="44" y="50"/>
                  </a:cubicBezTo>
                  <a:cubicBezTo>
                    <a:pt x="48" y="46"/>
                    <a:pt x="50" y="40"/>
                    <a:pt x="50" y="32"/>
                  </a:cubicBezTo>
                  <a:cubicBezTo>
                    <a:pt x="50" y="27"/>
                    <a:pt x="49" y="23"/>
                    <a:pt x="47" y="19"/>
                  </a:cubicBezTo>
                  <a:cubicBezTo>
                    <a:pt x="46" y="15"/>
                    <a:pt x="43" y="12"/>
                    <a:pt x="40" y="10"/>
                  </a:cubicBezTo>
                  <a:cubicBezTo>
                    <a:pt x="37" y="8"/>
                    <a:pt x="33" y="7"/>
                    <a:pt x="29" y="7"/>
                  </a:cubicBezTo>
                  <a:cubicBezTo>
                    <a:pt x="23" y="7"/>
                    <a:pt x="19" y="9"/>
                    <a:pt x="14" y="13"/>
                  </a:cubicBezTo>
                  <a:cubicBezTo>
                    <a:pt x="10" y="17"/>
                    <a:pt x="8" y="24"/>
                    <a:pt x="8" y="3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831"/>
            <p:cNvSpPr>
              <a:spLocks/>
            </p:cNvSpPr>
            <p:nvPr/>
          </p:nvSpPr>
          <p:spPr bwMode="auto">
            <a:xfrm>
              <a:off x="2889" y="2887"/>
              <a:ext cx="11" cy="13"/>
            </a:xfrm>
            <a:custGeom>
              <a:avLst/>
              <a:gdLst>
                <a:gd name="T0" fmla="*/ 0 w 48"/>
                <a:gd name="T1" fmla="*/ 60 h 60"/>
                <a:gd name="T2" fmla="*/ 0 w 48"/>
                <a:gd name="T3" fmla="*/ 0 h 60"/>
                <a:gd name="T4" fmla="*/ 9 w 48"/>
                <a:gd name="T5" fmla="*/ 0 h 60"/>
                <a:gd name="T6" fmla="*/ 40 w 48"/>
                <a:gd name="T7" fmla="*/ 47 h 60"/>
                <a:gd name="T8" fmla="*/ 40 w 48"/>
                <a:gd name="T9" fmla="*/ 0 h 60"/>
                <a:gd name="T10" fmla="*/ 48 w 48"/>
                <a:gd name="T11" fmla="*/ 0 h 60"/>
                <a:gd name="T12" fmla="*/ 48 w 48"/>
                <a:gd name="T13" fmla="*/ 60 h 60"/>
                <a:gd name="T14" fmla="*/ 40 w 48"/>
                <a:gd name="T15" fmla="*/ 60 h 60"/>
                <a:gd name="T16" fmla="*/ 8 w 48"/>
                <a:gd name="T17" fmla="*/ 13 h 60"/>
                <a:gd name="T18" fmla="*/ 8 w 48"/>
                <a:gd name="T19" fmla="*/ 60 h 60"/>
                <a:gd name="T20" fmla="*/ 0 w 48"/>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0">
                  <a:moveTo>
                    <a:pt x="0" y="60"/>
                  </a:moveTo>
                  <a:lnTo>
                    <a:pt x="0" y="0"/>
                  </a:lnTo>
                  <a:lnTo>
                    <a:pt x="9" y="0"/>
                  </a:lnTo>
                  <a:lnTo>
                    <a:pt x="40" y="47"/>
                  </a:lnTo>
                  <a:lnTo>
                    <a:pt x="40" y="0"/>
                  </a:lnTo>
                  <a:lnTo>
                    <a:pt x="48" y="0"/>
                  </a:lnTo>
                  <a:lnTo>
                    <a:pt x="48" y="60"/>
                  </a:lnTo>
                  <a:lnTo>
                    <a:pt x="40" y="60"/>
                  </a:lnTo>
                  <a:lnTo>
                    <a:pt x="8" y="13"/>
                  </a:lnTo>
                  <a:lnTo>
                    <a:pt x="8" y="60"/>
                  </a:lnTo>
                  <a:lnTo>
                    <a:pt x="0"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832"/>
            <p:cNvSpPr>
              <a:spLocks/>
            </p:cNvSpPr>
            <p:nvPr/>
          </p:nvSpPr>
          <p:spPr bwMode="auto">
            <a:xfrm>
              <a:off x="3464" y="2653"/>
              <a:ext cx="17" cy="20"/>
            </a:xfrm>
            <a:custGeom>
              <a:avLst/>
              <a:gdLst>
                <a:gd name="T0" fmla="*/ 63 w 74"/>
                <a:gd name="T1" fmla="*/ 56 h 87"/>
                <a:gd name="T2" fmla="*/ 74 w 74"/>
                <a:gd name="T3" fmla="*/ 59 h 87"/>
                <a:gd name="T4" fmla="*/ 62 w 74"/>
                <a:gd name="T5" fmla="*/ 80 h 87"/>
                <a:gd name="T6" fmla="*/ 39 w 74"/>
                <a:gd name="T7" fmla="*/ 87 h 87"/>
                <a:gd name="T8" fmla="*/ 17 w 74"/>
                <a:gd name="T9" fmla="*/ 82 h 87"/>
                <a:gd name="T10" fmla="*/ 4 w 74"/>
                <a:gd name="T11" fmla="*/ 65 h 87"/>
                <a:gd name="T12" fmla="*/ 0 w 74"/>
                <a:gd name="T13" fmla="*/ 43 h 87"/>
                <a:gd name="T14" fmla="*/ 5 w 74"/>
                <a:gd name="T15" fmla="*/ 20 h 87"/>
                <a:gd name="T16" fmla="*/ 19 w 74"/>
                <a:gd name="T17" fmla="*/ 5 h 87"/>
                <a:gd name="T18" fmla="*/ 40 w 74"/>
                <a:gd name="T19" fmla="*/ 0 h 87"/>
                <a:gd name="T20" fmla="*/ 61 w 74"/>
                <a:gd name="T21" fmla="*/ 6 h 87"/>
                <a:gd name="T22" fmla="*/ 73 w 74"/>
                <a:gd name="T23" fmla="*/ 24 h 87"/>
                <a:gd name="T24" fmla="*/ 62 w 74"/>
                <a:gd name="T25" fmla="*/ 27 h 87"/>
                <a:gd name="T26" fmla="*/ 53 w 74"/>
                <a:gd name="T27" fmla="*/ 14 h 87"/>
                <a:gd name="T28" fmla="*/ 39 w 74"/>
                <a:gd name="T29" fmla="*/ 9 h 87"/>
                <a:gd name="T30" fmla="*/ 23 w 74"/>
                <a:gd name="T31" fmla="*/ 14 h 87"/>
                <a:gd name="T32" fmla="*/ 14 w 74"/>
                <a:gd name="T33" fmla="*/ 27 h 87"/>
                <a:gd name="T34" fmla="*/ 11 w 74"/>
                <a:gd name="T35" fmla="*/ 43 h 87"/>
                <a:gd name="T36" fmla="*/ 14 w 74"/>
                <a:gd name="T37" fmla="*/ 62 h 87"/>
                <a:gd name="T38" fmla="*/ 24 w 74"/>
                <a:gd name="T39" fmla="*/ 74 h 87"/>
                <a:gd name="T40" fmla="*/ 38 w 74"/>
                <a:gd name="T41" fmla="*/ 78 h 87"/>
                <a:gd name="T42" fmla="*/ 54 w 74"/>
                <a:gd name="T43" fmla="*/ 72 h 87"/>
                <a:gd name="T44" fmla="*/ 63 w 74"/>
                <a:gd name="T45" fmla="*/ 5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87">
                  <a:moveTo>
                    <a:pt x="63" y="56"/>
                  </a:moveTo>
                  <a:lnTo>
                    <a:pt x="74" y="59"/>
                  </a:lnTo>
                  <a:cubicBezTo>
                    <a:pt x="72" y="68"/>
                    <a:pt x="68" y="75"/>
                    <a:pt x="62" y="80"/>
                  </a:cubicBezTo>
                  <a:cubicBezTo>
                    <a:pt x="56" y="85"/>
                    <a:pt x="48" y="87"/>
                    <a:pt x="39" y="87"/>
                  </a:cubicBezTo>
                  <a:cubicBezTo>
                    <a:pt x="30" y="87"/>
                    <a:pt x="23" y="85"/>
                    <a:pt x="17" y="82"/>
                  </a:cubicBezTo>
                  <a:cubicBezTo>
                    <a:pt x="11" y="78"/>
                    <a:pt x="7" y="73"/>
                    <a:pt x="4" y="65"/>
                  </a:cubicBezTo>
                  <a:cubicBezTo>
                    <a:pt x="1" y="58"/>
                    <a:pt x="0" y="51"/>
                    <a:pt x="0" y="43"/>
                  </a:cubicBezTo>
                  <a:cubicBezTo>
                    <a:pt x="0" y="34"/>
                    <a:pt x="1" y="26"/>
                    <a:pt x="5" y="20"/>
                  </a:cubicBezTo>
                  <a:cubicBezTo>
                    <a:pt x="8" y="13"/>
                    <a:pt x="13" y="8"/>
                    <a:pt x="19" y="5"/>
                  </a:cubicBezTo>
                  <a:cubicBezTo>
                    <a:pt x="25" y="2"/>
                    <a:pt x="32" y="0"/>
                    <a:pt x="40" y="0"/>
                  </a:cubicBezTo>
                  <a:cubicBezTo>
                    <a:pt x="48" y="0"/>
                    <a:pt x="55" y="2"/>
                    <a:pt x="61" y="6"/>
                  </a:cubicBezTo>
                  <a:cubicBezTo>
                    <a:pt x="67" y="11"/>
                    <a:pt x="71" y="17"/>
                    <a:pt x="73" y="24"/>
                  </a:cubicBezTo>
                  <a:lnTo>
                    <a:pt x="62" y="27"/>
                  </a:lnTo>
                  <a:cubicBezTo>
                    <a:pt x="60" y="21"/>
                    <a:pt x="57" y="16"/>
                    <a:pt x="53" y="14"/>
                  </a:cubicBezTo>
                  <a:cubicBezTo>
                    <a:pt x="50" y="11"/>
                    <a:pt x="45" y="9"/>
                    <a:pt x="39" y="9"/>
                  </a:cubicBezTo>
                  <a:cubicBezTo>
                    <a:pt x="33" y="9"/>
                    <a:pt x="27" y="11"/>
                    <a:pt x="23" y="14"/>
                  </a:cubicBezTo>
                  <a:cubicBezTo>
                    <a:pt x="19" y="17"/>
                    <a:pt x="16" y="21"/>
                    <a:pt x="14" y="27"/>
                  </a:cubicBezTo>
                  <a:cubicBezTo>
                    <a:pt x="12" y="32"/>
                    <a:pt x="11" y="37"/>
                    <a:pt x="11" y="43"/>
                  </a:cubicBezTo>
                  <a:cubicBezTo>
                    <a:pt x="11" y="50"/>
                    <a:pt x="12" y="56"/>
                    <a:pt x="14" y="62"/>
                  </a:cubicBezTo>
                  <a:cubicBezTo>
                    <a:pt x="16" y="67"/>
                    <a:pt x="20" y="71"/>
                    <a:pt x="24" y="74"/>
                  </a:cubicBezTo>
                  <a:cubicBezTo>
                    <a:pt x="29" y="76"/>
                    <a:pt x="33" y="78"/>
                    <a:pt x="38" y="78"/>
                  </a:cubicBezTo>
                  <a:cubicBezTo>
                    <a:pt x="45" y="78"/>
                    <a:pt x="50" y="76"/>
                    <a:pt x="54" y="72"/>
                  </a:cubicBezTo>
                  <a:cubicBezTo>
                    <a:pt x="59" y="69"/>
                    <a:pt x="62" y="63"/>
                    <a:pt x="63"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833"/>
            <p:cNvSpPr>
              <a:spLocks noEditPoints="1"/>
            </p:cNvSpPr>
            <p:nvPr/>
          </p:nvSpPr>
          <p:spPr bwMode="auto">
            <a:xfrm>
              <a:off x="3484" y="2653"/>
              <a:ext cx="18" cy="20"/>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1 w 80"/>
                <a:gd name="T15" fmla="*/ 82 h 87"/>
                <a:gd name="T16" fmla="*/ 40 w 80"/>
                <a:gd name="T17" fmla="*/ 87 h 87"/>
                <a:gd name="T18" fmla="*/ 19 w 80"/>
                <a:gd name="T19" fmla="*/ 81 h 87"/>
                <a:gd name="T20" fmla="*/ 5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1" y="82"/>
                  </a:cubicBezTo>
                  <a:cubicBezTo>
                    <a:pt x="54" y="85"/>
                    <a:pt x="47" y="87"/>
                    <a:pt x="40" y="87"/>
                  </a:cubicBezTo>
                  <a:cubicBezTo>
                    <a:pt x="32" y="87"/>
                    <a:pt x="25" y="85"/>
                    <a:pt x="19" y="81"/>
                  </a:cubicBezTo>
                  <a:cubicBezTo>
                    <a:pt x="12" y="78"/>
                    <a:pt x="8" y="72"/>
                    <a:pt x="5"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0"/>
                    <a:pt x="60" y="16"/>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Rectangle 1834"/>
            <p:cNvSpPr>
              <a:spLocks noChangeArrowheads="1"/>
            </p:cNvSpPr>
            <p:nvPr/>
          </p:nvSpPr>
          <p:spPr bwMode="auto">
            <a:xfrm>
              <a:off x="3506" y="2654"/>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835"/>
            <p:cNvSpPr>
              <a:spLocks/>
            </p:cNvSpPr>
            <p:nvPr/>
          </p:nvSpPr>
          <p:spPr bwMode="auto">
            <a:xfrm>
              <a:off x="3512" y="2654"/>
              <a:ext cx="16"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836"/>
            <p:cNvSpPr>
              <a:spLocks noEditPoints="1"/>
            </p:cNvSpPr>
            <p:nvPr/>
          </p:nvSpPr>
          <p:spPr bwMode="auto">
            <a:xfrm>
              <a:off x="4960" y="1700"/>
              <a:ext cx="21" cy="14"/>
            </a:xfrm>
            <a:custGeom>
              <a:avLst/>
              <a:gdLst>
                <a:gd name="T0" fmla="*/ 48 w 96"/>
                <a:gd name="T1" fmla="*/ 62 h 62"/>
                <a:gd name="T2" fmla="*/ 21 w 96"/>
                <a:gd name="T3" fmla="*/ 58 h 62"/>
                <a:gd name="T4" fmla="*/ 5 w 96"/>
                <a:gd name="T5" fmla="*/ 48 h 62"/>
                <a:gd name="T6" fmla="*/ 0 w 96"/>
                <a:gd name="T7" fmla="*/ 31 h 62"/>
                <a:gd name="T8" fmla="*/ 3 w 96"/>
                <a:gd name="T9" fmla="*/ 17 h 62"/>
                <a:gd name="T10" fmla="*/ 12 w 96"/>
                <a:gd name="T11" fmla="*/ 8 h 62"/>
                <a:gd name="T12" fmla="*/ 26 w 96"/>
                <a:gd name="T13" fmla="*/ 2 h 62"/>
                <a:gd name="T14" fmla="*/ 48 w 96"/>
                <a:gd name="T15" fmla="*/ 0 h 62"/>
                <a:gd name="T16" fmla="*/ 75 w 96"/>
                <a:gd name="T17" fmla="*/ 3 h 62"/>
                <a:gd name="T18" fmla="*/ 91 w 96"/>
                <a:gd name="T19" fmla="*/ 14 h 62"/>
                <a:gd name="T20" fmla="*/ 96 w 96"/>
                <a:gd name="T21" fmla="*/ 31 h 62"/>
                <a:gd name="T22" fmla="*/ 87 w 96"/>
                <a:gd name="T23" fmla="*/ 52 h 62"/>
                <a:gd name="T24" fmla="*/ 48 w 96"/>
                <a:gd name="T25" fmla="*/ 62 h 62"/>
                <a:gd name="T26" fmla="*/ 48 w 96"/>
                <a:gd name="T27" fmla="*/ 50 h 62"/>
                <a:gd name="T28" fmla="*/ 79 w 96"/>
                <a:gd name="T29" fmla="*/ 44 h 62"/>
                <a:gd name="T30" fmla="*/ 87 w 96"/>
                <a:gd name="T31" fmla="*/ 31 h 62"/>
                <a:gd name="T32" fmla="*/ 79 w 96"/>
                <a:gd name="T33" fmla="*/ 17 h 62"/>
                <a:gd name="T34" fmla="*/ 48 w 96"/>
                <a:gd name="T35" fmla="*/ 12 h 62"/>
                <a:gd name="T36" fmla="*/ 17 w 96"/>
                <a:gd name="T37" fmla="*/ 17 h 62"/>
                <a:gd name="T38" fmla="*/ 9 w 96"/>
                <a:gd name="T39" fmla="*/ 31 h 62"/>
                <a:gd name="T40" fmla="*/ 16 w 96"/>
                <a:gd name="T41" fmla="*/ 44 h 62"/>
                <a:gd name="T42" fmla="*/ 48 w 96"/>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62">
                  <a:moveTo>
                    <a:pt x="48" y="62"/>
                  </a:moveTo>
                  <a:cubicBezTo>
                    <a:pt x="37" y="62"/>
                    <a:pt x="28" y="61"/>
                    <a:pt x="21" y="58"/>
                  </a:cubicBezTo>
                  <a:cubicBezTo>
                    <a:pt x="14" y="56"/>
                    <a:pt x="9" y="53"/>
                    <a:pt x="5" y="48"/>
                  </a:cubicBezTo>
                  <a:cubicBezTo>
                    <a:pt x="2" y="43"/>
                    <a:pt x="0" y="38"/>
                    <a:pt x="0" y="31"/>
                  </a:cubicBezTo>
                  <a:cubicBezTo>
                    <a:pt x="0" y="26"/>
                    <a:pt x="1" y="21"/>
                    <a:pt x="3" y="17"/>
                  </a:cubicBezTo>
                  <a:cubicBezTo>
                    <a:pt x="5" y="14"/>
                    <a:pt x="8" y="10"/>
                    <a:pt x="12" y="8"/>
                  </a:cubicBezTo>
                  <a:cubicBezTo>
                    <a:pt x="16" y="5"/>
                    <a:pt x="20" y="4"/>
                    <a:pt x="26" y="2"/>
                  </a:cubicBezTo>
                  <a:cubicBezTo>
                    <a:pt x="31" y="1"/>
                    <a:pt x="39" y="0"/>
                    <a:pt x="48" y="0"/>
                  </a:cubicBezTo>
                  <a:cubicBezTo>
                    <a:pt x="59" y="0"/>
                    <a:pt x="68" y="1"/>
                    <a:pt x="75" y="3"/>
                  </a:cubicBezTo>
                  <a:cubicBezTo>
                    <a:pt x="82" y="6"/>
                    <a:pt x="87" y="9"/>
                    <a:pt x="91" y="14"/>
                  </a:cubicBezTo>
                  <a:cubicBezTo>
                    <a:pt x="95" y="18"/>
                    <a:pt x="96" y="24"/>
                    <a:pt x="96" y="31"/>
                  </a:cubicBezTo>
                  <a:cubicBezTo>
                    <a:pt x="96" y="40"/>
                    <a:pt x="93" y="47"/>
                    <a:pt x="87" y="52"/>
                  </a:cubicBezTo>
                  <a:cubicBezTo>
                    <a:pt x="79" y="59"/>
                    <a:pt x="66" y="62"/>
                    <a:pt x="48" y="62"/>
                  </a:cubicBezTo>
                  <a:close/>
                  <a:moveTo>
                    <a:pt x="48" y="50"/>
                  </a:moveTo>
                  <a:cubicBezTo>
                    <a:pt x="64" y="50"/>
                    <a:pt x="74" y="48"/>
                    <a:pt x="79" y="44"/>
                  </a:cubicBezTo>
                  <a:cubicBezTo>
                    <a:pt x="84" y="41"/>
                    <a:pt x="87" y="36"/>
                    <a:pt x="87" y="31"/>
                  </a:cubicBezTo>
                  <a:cubicBezTo>
                    <a:pt x="87" y="25"/>
                    <a:pt x="84" y="21"/>
                    <a:pt x="79" y="17"/>
                  </a:cubicBezTo>
                  <a:cubicBezTo>
                    <a:pt x="74" y="14"/>
                    <a:pt x="64" y="12"/>
                    <a:pt x="48" y="12"/>
                  </a:cubicBezTo>
                  <a:cubicBezTo>
                    <a:pt x="33" y="12"/>
                    <a:pt x="22" y="14"/>
                    <a:pt x="17" y="17"/>
                  </a:cubicBezTo>
                  <a:cubicBezTo>
                    <a:pt x="12" y="21"/>
                    <a:pt x="9" y="26"/>
                    <a:pt x="9" y="31"/>
                  </a:cubicBezTo>
                  <a:cubicBezTo>
                    <a:pt x="9" y="36"/>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837"/>
            <p:cNvSpPr>
              <a:spLocks/>
            </p:cNvSpPr>
            <p:nvPr/>
          </p:nvSpPr>
          <p:spPr bwMode="auto">
            <a:xfrm>
              <a:off x="4902" y="1704"/>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2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3" y="14"/>
                    <a:pt x="26" y="18"/>
                    <a:pt x="29" y="23"/>
                  </a:cubicBezTo>
                  <a:cubicBezTo>
                    <a:pt x="32" y="27"/>
                    <a:pt x="34" y="31"/>
                    <a:pt x="35" y="35"/>
                  </a:cubicBezTo>
                  <a:lnTo>
                    <a:pt x="24" y="35"/>
                  </a:lnTo>
                  <a:cubicBezTo>
                    <a:pt x="21" y="28"/>
                    <a:pt x="17" y="23"/>
                    <a:pt x="12" y="18"/>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0" name="Freeform 1838"/>
            <p:cNvSpPr>
              <a:spLocks/>
            </p:cNvSpPr>
            <p:nvPr/>
          </p:nvSpPr>
          <p:spPr bwMode="auto">
            <a:xfrm>
              <a:off x="4902" y="1778"/>
              <a:ext cx="21"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839"/>
            <p:cNvSpPr>
              <a:spLocks/>
            </p:cNvSpPr>
            <p:nvPr/>
          </p:nvSpPr>
          <p:spPr bwMode="auto">
            <a:xfrm>
              <a:off x="4902" y="1758"/>
              <a:ext cx="21" cy="19"/>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0"/>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840"/>
            <p:cNvSpPr>
              <a:spLocks noEditPoints="1"/>
            </p:cNvSpPr>
            <p:nvPr/>
          </p:nvSpPr>
          <p:spPr bwMode="auto">
            <a:xfrm>
              <a:off x="4960" y="1774"/>
              <a:ext cx="21" cy="20"/>
            </a:xfrm>
            <a:custGeom>
              <a:avLst/>
              <a:gdLst>
                <a:gd name="T0" fmla="*/ 95 w 95"/>
                <a:gd name="T1" fmla="*/ 84 h 84"/>
                <a:gd name="T2" fmla="*/ 0 w 95"/>
                <a:gd name="T3" fmla="*/ 84 h 84"/>
                <a:gd name="T4" fmla="*/ 0 w 95"/>
                <a:gd name="T5" fmla="*/ 42 h 84"/>
                <a:gd name="T6" fmla="*/ 3 w 95"/>
                <a:gd name="T7" fmla="*/ 22 h 84"/>
                <a:gd name="T8" fmla="*/ 12 w 95"/>
                <a:gd name="T9" fmla="*/ 12 h 84"/>
                <a:gd name="T10" fmla="*/ 26 w 95"/>
                <a:gd name="T11" fmla="*/ 8 h 84"/>
                <a:gd name="T12" fmla="*/ 43 w 95"/>
                <a:gd name="T13" fmla="*/ 15 h 84"/>
                <a:gd name="T14" fmla="*/ 52 w 95"/>
                <a:gd name="T15" fmla="*/ 35 h 84"/>
                <a:gd name="T16" fmla="*/ 57 w 95"/>
                <a:gd name="T17" fmla="*/ 27 h 84"/>
                <a:gd name="T18" fmla="*/ 69 w 95"/>
                <a:gd name="T19" fmla="*/ 17 h 84"/>
                <a:gd name="T20" fmla="*/ 95 w 95"/>
                <a:gd name="T21" fmla="*/ 0 h 84"/>
                <a:gd name="T22" fmla="*/ 95 w 95"/>
                <a:gd name="T23" fmla="*/ 16 h 84"/>
                <a:gd name="T24" fmla="*/ 75 w 95"/>
                <a:gd name="T25" fmla="*/ 29 h 84"/>
                <a:gd name="T26" fmla="*/ 62 w 95"/>
                <a:gd name="T27" fmla="*/ 38 h 84"/>
                <a:gd name="T28" fmla="*/ 56 w 95"/>
                <a:gd name="T29" fmla="*/ 44 h 84"/>
                <a:gd name="T30" fmla="*/ 53 w 95"/>
                <a:gd name="T31" fmla="*/ 50 h 84"/>
                <a:gd name="T32" fmla="*/ 53 w 95"/>
                <a:gd name="T33" fmla="*/ 57 h 84"/>
                <a:gd name="T34" fmla="*/ 53 w 95"/>
                <a:gd name="T35" fmla="*/ 71 h 84"/>
                <a:gd name="T36" fmla="*/ 95 w 95"/>
                <a:gd name="T37" fmla="*/ 71 h 84"/>
                <a:gd name="T38" fmla="*/ 95 w 95"/>
                <a:gd name="T39" fmla="*/ 84 h 84"/>
                <a:gd name="T40" fmla="*/ 42 w 95"/>
                <a:gd name="T41" fmla="*/ 71 h 84"/>
                <a:gd name="T42" fmla="*/ 42 w 95"/>
                <a:gd name="T43" fmla="*/ 44 h 84"/>
                <a:gd name="T44" fmla="*/ 40 w 95"/>
                <a:gd name="T45" fmla="*/ 31 h 84"/>
                <a:gd name="T46" fmla="*/ 35 w 95"/>
                <a:gd name="T47" fmla="*/ 23 h 84"/>
                <a:gd name="T48" fmla="*/ 26 w 95"/>
                <a:gd name="T49" fmla="*/ 21 h 84"/>
                <a:gd name="T50" fmla="*/ 15 w 95"/>
                <a:gd name="T51" fmla="*/ 26 h 84"/>
                <a:gd name="T52" fmla="*/ 11 w 95"/>
                <a:gd name="T53" fmla="*/ 41 h 84"/>
                <a:gd name="T54" fmla="*/ 11 w 95"/>
                <a:gd name="T55" fmla="*/ 71 h 84"/>
                <a:gd name="T56" fmla="*/ 42 w 95"/>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4">
                  <a:moveTo>
                    <a:pt x="95" y="84"/>
                  </a:moveTo>
                  <a:lnTo>
                    <a:pt x="0" y="84"/>
                  </a:lnTo>
                  <a:lnTo>
                    <a:pt x="0" y="42"/>
                  </a:lnTo>
                  <a:cubicBezTo>
                    <a:pt x="0" y="33"/>
                    <a:pt x="1" y="27"/>
                    <a:pt x="3" y="22"/>
                  </a:cubicBezTo>
                  <a:cubicBezTo>
                    <a:pt x="4" y="18"/>
                    <a:pt x="7" y="15"/>
                    <a:pt x="12" y="12"/>
                  </a:cubicBezTo>
                  <a:cubicBezTo>
                    <a:pt x="16" y="9"/>
                    <a:pt x="21" y="8"/>
                    <a:pt x="26" y="8"/>
                  </a:cubicBezTo>
                  <a:cubicBezTo>
                    <a:pt x="33" y="8"/>
                    <a:pt x="38" y="10"/>
                    <a:pt x="43" y="15"/>
                  </a:cubicBezTo>
                  <a:cubicBezTo>
                    <a:pt x="48" y="19"/>
                    <a:pt x="51" y="26"/>
                    <a:pt x="52" y="35"/>
                  </a:cubicBezTo>
                  <a:cubicBezTo>
                    <a:pt x="53" y="31"/>
                    <a:pt x="55" y="29"/>
                    <a:pt x="57" y="27"/>
                  </a:cubicBezTo>
                  <a:cubicBezTo>
                    <a:pt x="60" y="23"/>
                    <a:pt x="64" y="20"/>
                    <a:pt x="69" y="17"/>
                  </a:cubicBezTo>
                  <a:lnTo>
                    <a:pt x="95" y="0"/>
                  </a:lnTo>
                  <a:lnTo>
                    <a:pt x="95" y="16"/>
                  </a:lnTo>
                  <a:lnTo>
                    <a:pt x="75" y="29"/>
                  </a:lnTo>
                  <a:cubicBezTo>
                    <a:pt x="69" y="32"/>
                    <a:pt x="65" y="35"/>
                    <a:pt x="62" y="38"/>
                  </a:cubicBezTo>
                  <a:cubicBezTo>
                    <a:pt x="59" y="40"/>
                    <a:pt x="57" y="42"/>
                    <a:pt x="56" y="44"/>
                  </a:cubicBezTo>
                  <a:cubicBezTo>
                    <a:pt x="55" y="46"/>
                    <a:pt x="54" y="48"/>
                    <a:pt x="53" y="50"/>
                  </a:cubicBezTo>
                  <a:cubicBezTo>
                    <a:pt x="53" y="51"/>
                    <a:pt x="53" y="53"/>
                    <a:pt x="53" y="57"/>
                  </a:cubicBezTo>
                  <a:lnTo>
                    <a:pt x="53" y="71"/>
                  </a:lnTo>
                  <a:lnTo>
                    <a:pt x="95" y="71"/>
                  </a:lnTo>
                  <a:lnTo>
                    <a:pt x="95" y="84"/>
                  </a:lnTo>
                  <a:close/>
                  <a:moveTo>
                    <a:pt x="42" y="71"/>
                  </a:moveTo>
                  <a:lnTo>
                    <a:pt x="42" y="44"/>
                  </a:lnTo>
                  <a:cubicBezTo>
                    <a:pt x="42" y="39"/>
                    <a:pt x="41" y="34"/>
                    <a:pt x="40" y="31"/>
                  </a:cubicBezTo>
                  <a:cubicBezTo>
                    <a:pt x="39" y="28"/>
                    <a:pt x="37" y="25"/>
                    <a:pt x="35" y="23"/>
                  </a:cubicBezTo>
                  <a:cubicBezTo>
                    <a:pt x="32" y="22"/>
                    <a:pt x="29" y="21"/>
                    <a:pt x="26" y="21"/>
                  </a:cubicBezTo>
                  <a:cubicBezTo>
                    <a:pt x="22" y="21"/>
                    <a:pt x="18" y="23"/>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841"/>
            <p:cNvSpPr>
              <a:spLocks/>
            </p:cNvSpPr>
            <p:nvPr/>
          </p:nvSpPr>
          <p:spPr bwMode="auto">
            <a:xfrm>
              <a:off x="4960" y="1754"/>
              <a:ext cx="21" cy="20"/>
            </a:xfrm>
            <a:custGeom>
              <a:avLst/>
              <a:gdLst>
                <a:gd name="T0" fmla="*/ 95 w 95"/>
                <a:gd name="T1" fmla="*/ 87 h 87"/>
                <a:gd name="T2" fmla="*/ 46 w 95"/>
                <a:gd name="T3" fmla="*/ 50 h 87"/>
                <a:gd name="T4" fmla="*/ 0 w 95"/>
                <a:gd name="T5" fmla="*/ 83 h 87"/>
                <a:gd name="T6" fmla="*/ 0 w 95"/>
                <a:gd name="T7" fmla="*/ 68 h 87"/>
                <a:gd name="T8" fmla="*/ 24 w 95"/>
                <a:gd name="T9" fmla="*/ 50 h 87"/>
                <a:gd name="T10" fmla="*/ 36 w 95"/>
                <a:gd name="T11" fmla="*/ 43 h 87"/>
                <a:gd name="T12" fmla="*/ 25 w 95"/>
                <a:gd name="T13" fmla="*/ 35 h 87"/>
                <a:gd name="T14" fmla="*/ 0 w 95"/>
                <a:gd name="T15" fmla="*/ 16 h 87"/>
                <a:gd name="T16" fmla="*/ 0 w 95"/>
                <a:gd name="T17" fmla="*/ 3 h 87"/>
                <a:gd name="T18" fmla="*/ 45 w 95"/>
                <a:gd name="T19" fmla="*/ 36 h 87"/>
                <a:gd name="T20" fmla="*/ 95 w 95"/>
                <a:gd name="T21" fmla="*/ 0 h 87"/>
                <a:gd name="T22" fmla="*/ 95 w 95"/>
                <a:gd name="T23" fmla="*/ 16 h 87"/>
                <a:gd name="T24" fmla="*/ 61 w 95"/>
                <a:gd name="T25" fmla="*/ 39 h 87"/>
                <a:gd name="T26" fmla="*/ 55 w 95"/>
                <a:gd name="T27" fmla="*/ 44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3"/>
                  </a:lnTo>
                  <a:lnTo>
                    <a:pt x="0" y="68"/>
                  </a:lnTo>
                  <a:lnTo>
                    <a:pt x="24" y="50"/>
                  </a:lnTo>
                  <a:cubicBezTo>
                    <a:pt x="30" y="47"/>
                    <a:pt x="33" y="44"/>
                    <a:pt x="36" y="43"/>
                  </a:cubicBezTo>
                  <a:cubicBezTo>
                    <a:pt x="33" y="41"/>
                    <a:pt x="29" y="38"/>
                    <a:pt x="25" y="35"/>
                  </a:cubicBezTo>
                  <a:lnTo>
                    <a:pt x="0" y="16"/>
                  </a:lnTo>
                  <a:lnTo>
                    <a:pt x="0" y="3"/>
                  </a:lnTo>
                  <a:lnTo>
                    <a:pt x="45" y="36"/>
                  </a:lnTo>
                  <a:lnTo>
                    <a:pt x="95" y="0"/>
                  </a:lnTo>
                  <a:lnTo>
                    <a:pt x="95" y="16"/>
                  </a:lnTo>
                  <a:lnTo>
                    <a:pt x="61" y="39"/>
                  </a:lnTo>
                  <a:cubicBezTo>
                    <a:pt x="59" y="41"/>
                    <a:pt x="57" y="42"/>
                    <a:pt x="55" y="44"/>
                  </a:cubicBezTo>
                  <a:cubicBezTo>
                    <a:pt x="58" y="46"/>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Freeform 1842"/>
            <p:cNvSpPr>
              <a:spLocks/>
            </p:cNvSpPr>
            <p:nvPr/>
          </p:nvSpPr>
          <p:spPr bwMode="auto">
            <a:xfrm>
              <a:off x="4901" y="1724"/>
              <a:ext cx="22" cy="18"/>
            </a:xfrm>
            <a:custGeom>
              <a:avLst/>
              <a:gdLst>
                <a:gd name="T0" fmla="*/ 82 w 95"/>
                <a:gd name="T1" fmla="*/ 77 h 77"/>
                <a:gd name="T2" fmla="*/ 82 w 95"/>
                <a:gd name="T3" fmla="*/ 77 h 77"/>
                <a:gd name="T4" fmla="*/ 13 w 95"/>
                <a:gd name="T5" fmla="*/ 77 h 77"/>
                <a:gd name="T6" fmla="*/ 3 w 95"/>
                <a:gd name="T7" fmla="*/ 70 h 77"/>
                <a:gd name="T8" fmla="*/ 3 w 95"/>
                <a:gd name="T9" fmla="*/ 58 h 77"/>
                <a:gd name="T10" fmla="*/ 38 w 95"/>
                <a:gd name="T11" fmla="*/ 6 h 77"/>
                <a:gd name="T12" fmla="*/ 58 w 95"/>
                <a:gd name="T13" fmla="*/ 6 h 77"/>
                <a:gd name="T14" fmla="*/ 91 w 95"/>
                <a:gd name="T15" fmla="*/ 56 h 77"/>
                <a:gd name="T16" fmla="*/ 95 w 95"/>
                <a:gd name="T17" fmla="*/ 65 h 77"/>
                <a:gd name="T18" fmla="*/ 82 w 95"/>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82" y="77"/>
                  </a:moveTo>
                  <a:lnTo>
                    <a:pt x="82" y="77"/>
                  </a:lnTo>
                  <a:lnTo>
                    <a:pt x="13" y="77"/>
                  </a:lnTo>
                  <a:cubicBezTo>
                    <a:pt x="9" y="77"/>
                    <a:pt x="5" y="74"/>
                    <a:pt x="3" y="70"/>
                  </a:cubicBezTo>
                  <a:cubicBezTo>
                    <a:pt x="0" y="66"/>
                    <a:pt x="1" y="62"/>
                    <a:pt x="3" y="58"/>
                  </a:cubicBezTo>
                  <a:lnTo>
                    <a:pt x="38" y="6"/>
                  </a:lnTo>
                  <a:cubicBezTo>
                    <a:pt x="42" y="0"/>
                    <a:pt x="53" y="0"/>
                    <a:pt x="58" y="6"/>
                  </a:cubicBezTo>
                  <a:lnTo>
                    <a:pt x="91" y="56"/>
                  </a:lnTo>
                  <a:cubicBezTo>
                    <a:pt x="93" y="58"/>
                    <a:pt x="95" y="61"/>
                    <a:pt x="95" y="65"/>
                  </a:cubicBezTo>
                  <a:cubicBezTo>
                    <a:pt x="94" y="71"/>
                    <a:pt x="89"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843"/>
            <p:cNvSpPr>
              <a:spLocks/>
            </p:cNvSpPr>
            <p:nvPr/>
          </p:nvSpPr>
          <p:spPr bwMode="auto">
            <a:xfrm>
              <a:off x="4156" y="1507"/>
              <a:ext cx="22" cy="17"/>
            </a:xfrm>
            <a:custGeom>
              <a:avLst/>
              <a:gdLst>
                <a:gd name="T0" fmla="*/ 82 w 94"/>
                <a:gd name="T1" fmla="*/ 77 h 77"/>
                <a:gd name="T2" fmla="*/ 81 w 94"/>
                <a:gd name="T3" fmla="*/ 77 h 77"/>
                <a:gd name="T4" fmla="*/ 13 w 94"/>
                <a:gd name="T5" fmla="*/ 77 h 77"/>
                <a:gd name="T6" fmla="*/ 2 w 94"/>
                <a:gd name="T7" fmla="*/ 70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0"/>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Freeform 1844"/>
            <p:cNvSpPr>
              <a:spLocks/>
            </p:cNvSpPr>
            <p:nvPr/>
          </p:nvSpPr>
          <p:spPr bwMode="auto">
            <a:xfrm>
              <a:off x="3836" y="1507"/>
              <a:ext cx="21" cy="17"/>
            </a:xfrm>
            <a:custGeom>
              <a:avLst/>
              <a:gdLst>
                <a:gd name="T0" fmla="*/ 81 w 94"/>
                <a:gd name="T1" fmla="*/ 77 h 77"/>
                <a:gd name="T2" fmla="*/ 81 w 94"/>
                <a:gd name="T3" fmla="*/ 77 h 77"/>
                <a:gd name="T4" fmla="*/ 12 w 94"/>
                <a:gd name="T5" fmla="*/ 77 h 77"/>
                <a:gd name="T6" fmla="*/ 2 w 94"/>
                <a:gd name="T7" fmla="*/ 70 h 77"/>
                <a:gd name="T8" fmla="*/ 2 w 94"/>
                <a:gd name="T9" fmla="*/ 58 h 77"/>
                <a:gd name="T10" fmla="*/ 37 w 94"/>
                <a:gd name="T11" fmla="*/ 7 h 77"/>
                <a:gd name="T12" fmla="*/ 57 w 94"/>
                <a:gd name="T13" fmla="*/ 7 h 77"/>
                <a:gd name="T14" fmla="*/ 90 w 94"/>
                <a:gd name="T15" fmla="*/ 56 h 77"/>
                <a:gd name="T16" fmla="*/ 94 w 94"/>
                <a:gd name="T17" fmla="*/ 65 h 77"/>
                <a:gd name="T18" fmla="*/ 81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1" y="77"/>
                  </a:moveTo>
                  <a:lnTo>
                    <a:pt x="81" y="77"/>
                  </a:lnTo>
                  <a:lnTo>
                    <a:pt x="12" y="77"/>
                  </a:lnTo>
                  <a:cubicBezTo>
                    <a:pt x="8" y="77"/>
                    <a:pt x="4" y="74"/>
                    <a:pt x="2" y="70"/>
                  </a:cubicBezTo>
                  <a:cubicBezTo>
                    <a:pt x="0" y="67"/>
                    <a:pt x="0" y="62"/>
                    <a:pt x="2" y="58"/>
                  </a:cubicBezTo>
                  <a:lnTo>
                    <a:pt x="37" y="7"/>
                  </a:lnTo>
                  <a:cubicBezTo>
                    <a:pt x="41" y="0"/>
                    <a:pt x="52" y="0"/>
                    <a:pt x="57" y="7"/>
                  </a:cubicBezTo>
                  <a:lnTo>
                    <a:pt x="90" y="56"/>
                  </a:lnTo>
                  <a:cubicBezTo>
                    <a:pt x="92" y="58"/>
                    <a:pt x="94" y="61"/>
                    <a:pt x="94" y="65"/>
                  </a:cubicBezTo>
                  <a:cubicBezTo>
                    <a:pt x="93" y="71"/>
                    <a:pt x="88" y="77"/>
                    <a:pt x="81"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845"/>
            <p:cNvSpPr>
              <a:spLocks/>
            </p:cNvSpPr>
            <p:nvPr/>
          </p:nvSpPr>
          <p:spPr bwMode="auto">
            <a:xfrm>
              <a:off x="4960" y="1724"/>
              <a:ext cx="21" cy="18"/>
            </a:xfrm>
            <a:custGeom>
              <a:avLst/>
              <a:gdLst>
                <a:gd name="T0" fmla="*/ 12 w 94"/>
                <a:gd name="T1" fmla="*/ 0 h 77"/>
                <a:gd name="T2" fmla="*/ 13 w 94"/>
                <a:gd name="T3" fmla="*/ 0 h 77"/>
                <a:gd name="T4" fmla="*/ 81 w 94"/>
                <a:gd name="T5" fmla="*/ 0 h 77"/>
                <a:gd name="T6" fmla="*/ 92 w 94"/>
                <a:gd name="T7" fmla="*/ 7 h 77"/>
                <a:gd name="T8" fmla="*/ 91 w 94"/>
                <a:gd name="T9" fmla="*/ 19 h 77"/>
                <a:gd name="T10" fmla="*/ 57 w 94"/>
                <a:gd name="T11" fmla="*/ 71 h 77"/>
                <a:gd name="T12" fmla="*/ 37 w 94"/>
                <a:gd name="T13" fmla="*/ 71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7"/>
                  </a:cubicBezTo>
                  <a:cubicBezTo>
                    <a:pt x="94" y="11"/>
                    <a:pt x="94" y="15"/>
                    <a:pt x="91" y="19"/>
                  </a:cubicBezTo>
                  <a:lnTo>
                    <a:pt x="57" y="71"/>
                  </a:lnTo>
                  <a:cubicBezTo>
                    <a:pt x="52" y="77"/>
                    <a:pt x="41" y="77"/>
                    <a:pt x="37" y="71"/>
                  </a:cubicBezTo>
                  <a:lnTo>
                    <a:pt x="4" y="21"/>
                  </a:lnTo>
                  <a:cubicBezTo>
                    <a:pt x="1"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846"/>
            <p:cNvSpPr>
              <a:spLocks/>
            </p:cNvSpPr>
            <p:nvPr/>
          </p:nvSpPr>
          <p:spPr bwMode="auto">
            <a:xfrm>
              <a:off x="4759" y="1404"/>
              <a:ext cx="21" cy="18"/>
            </a:xfrm>
            <a:custGeom>
              <a:avLst/>
              <a:gdLst>
                <a:gd name="T0" fmla="*/ 12 w 94"/>
                <a:gd name="T1" fmla="*/ 0 h 76"/>
                <a:gd name="T2" fmla="*/ 13 w 94"/>
                <a:gd name="T3" fmla="*/ 0 h 76"/>
                <a:gd name="T4" fmla="*/ 81 w 94"/>
                <a:gd name="T5" fmla="*/ 0 h 76"/>
                <a:gd name="T6" fmla="*/ 92 w 94"/>
                <a:gd name="T7" fmla="*/ 6 h 76"/>
                <a:gd name="T8" fmla="*/ 91 w 94"/>
                <a:gd name="T9" fmla="*/ 18 h 76"/>
                <a:gd name="T10" fmla="*/ 56 w 94"/>
                <a:gd name="T11" fmla="*/ 70 h 76"/>
                <a:gd name="T12" fmla="*/ 37 w 94"/>
                <a:gd name="T13" fmla="*/ 70 h 76"/>
                <a:gd name="T14" fmla="*/ 4 w 94"/>
                <a:gd name="T15" fmla="*/ 20 h 76"/>
                <a:gd name="T16" fmla="*/ 0 w 94"/>
                <a:gd name="T17" fmla="*/ 12 h 76"/>
                <a:gd name="T18" fmla="*/ 12 w 94"/>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12" y="0"/>
                  </a:moveTo>
                  <a:lnTo>
                    <a:pt x="13" y="0"/>
                  </a:lnTo>
                  <a:lnTo>
                    <a:pt x="81" y="0"/>
                  </a:lnTo>
                  <a:cubicBezTo>
                    <a:pt x="85" y="0"/>
                    <a:pt x="89" y="2"/>
                    <a:pt x="92" y="6"/>
                  </a:cubicBezTo>
                  <a:cubicBezTo>
                    <a:pt x="94" y="10"/>
                    <a:pt x="94" y="14"/>
                    <a:pt x="91" y="18"/>
                  </a:cubicBezTo>
                  <a:lnTo>
                    <a:pt x="56" y="70"/>
                  </a:lnTo>
                  <a:cubicBezTo>
                    <a:pt x="52" y="76"/>
                    <a:pt x="41" y="76"/>
                    <a:pt x="37" y="70"/>
                  </a:cubicBezTo>
                  <a:lnTo>
                    <a:pt x="4" y="20"/>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847"/>
            <p:cNvSpPr>
              <a:spLocks/>
            </p:cNvSpPr>
            <p:nvPr/>
          </p:nvSpPr>
          <p:spPr bwMode="auto">
            <a:xfrm>
              <a:off x="4959" y="1601"/>
              <a:ext cx="22"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2"/>
                    <a:pt x="92" y="6"/>
                  </a:cubicBezTo>
                  <a:cubicBezTo>
                    <a:pt x="94" y="10"/>
                    <a:pt x="94" y="15"/>
                    <a:pt x="91" y="18"/>
                  </a:cubicBezTo>
                  <a:lnTo>
                    <a:pt x="57" y="70"/>
                  </a:lnTo>
                  <a:cubicBezTo>
                    <a:pt x="52" y="77"/>
                    <a:pt x="41" y="77"/>
                    <a:pt x="37" y="70"/>
                  </a:cubicBezTo>
                  <a:lnTo>
                    <a:pt x="4" y="21"/>
                  </a:lnTo>
                  <a:cubicBezTo>
                    <a:pt x="2" y="18"/>
                    <a:pt x="0" y="15"/>
                    <a:pt x="0" y="12"/>
                  </a:cubicBezTo>
                  <a:cubicBezTo>
                    <a:pt x="0" y="5"/>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1848"/>
            <p:cNvSpPr>
              <a:spLocks/>
            </p:cNvSpPr>
            <p:nvPr/>
          </p:nvSpPr>
          <p:spPr bwMode="auto">
            <a:xfrm>
              <a:off x="4460" y="1601"/>
              <a:ext cx="21"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6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5" y="0"/>
                    <a:pt x="89" y="2"/>
                    <a:pt x="92" y="6"/>
                  </a:cubicBezTo>
                  <a:cubicBezTo>
                    <a:pt x="94" y="10"/>
                    <a:pt x="94" y="15"/>
                    <a:pt x="91" y="18"/>
                  </a:cubicBezTo>
                  <a:lnTo>
                    <a:pt x="56" y="70"/>
                  </a:lnTo>
                  <a:cubicBezTo>
                    <a:pt x="52" y="77"/>
                    <a:pt x="41" y="77"/>
                    <a:pt x="37" y="70"/>
                  </a:cubicBezTo>
                  <a:lnTo>
                    <a:pt x="4" y="21"/>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849"/>
            <p:cNvSpPr>
              <a:spLocks/>
            </p:cNvSpPr>
            <p:nvPr/>
          </p:nvSpPr>
          <p:spPr bwMode="auto">
            <a:xfrm>
              <a:off x="4919" y="2104"/>
              <a:ext cx="18" cy="21"/>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0 w 77"/>
                <a:gd name="T11" fmla="*/ 37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0" y="37"/>
                  </a:lnTo>
                  <a:cubicBezTo>
                    <a:pt x="77" y="42"/>
                    <a:pt x="77" y="53"/>
                    <a:pt x="70" y="57"/>
                  </a:cubicBezTo>
                  <a:lnTo>
                    <a:pt x="21" y="90"/>
                  </a:lnTo>
                  <a:cubicBezTo>
                    <a:pt x="19" y="92"/>
                    <a:pt x="16" y="94"/>
                    <a:pt x="12" y="94"/>
                  </a:cubicBezTo>
                  <a:cubicBezTo>
                    <a:pt x="6" y="94"/>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850"/>
            <p:cNvSpPr>
              <a:spLocks/>
            </p:cNvSpPr>
            <p:nvPr/>
          </p:nvSpPr>
          <p:spPr bwMode="auto">
            <a:xfrm>
              <a:off x="4625" y="2742"/>
              <a:ext cx="18" cy="21"/>
            </a:xfrm>
            <a:custGeom>
              <a:avLst/>
              <a:gdLst>
                <a:gd name="T0" fmla="*/ 0 w 77"/>
                <a:gd name="T1" fmla="*/ 82 h 94"/>
                <a:gd name="T2" fmla="*/ 0 w 77"/>
                <a:gd name="T3" fmla="*/ 81 h 94"/>
                <a:gd name="T4" fmla="*/ 0 w 77"/>
                <a:gd name="T5" fmla="*/ 13 h 94"/>
                <a:gd name="T6" fmla="*/ 6 w 77"/>
                <a:gd name="T7" fmla="*/ 2 h 94"/>
                <a:gd name="T8" fmla="*/ 19 w 77"/>
                <a:gd name="T9" fmla="*/ 3 h 94"/>
                <a:gd name="T10" fmla="*/ 70 w 77"/>
                <a:gd name="T11" fmla="*/ 38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5"/>
                    <a:pt x="6" y="2"/>
                  </a:cubicBezTo>
                  <a:cubicBezTo>
                    <a:pt x="10" y="0"/>
                    <a:pt x="15" y="0"/>
                    <a:pt x="19" y="3"/>
                  </a:cubicBezTo>
                  <a:lnTo>
                    <a:pt x="70" y="38"/>
                  </a:lnTo>
                  <a:cubicBezTo>
                    <a:pt x="77" y="42"/>
                    <a:pt x="77" y="53"/>
                    <a:pt x="70" y="57"/>
                  </a:cubicBezTo>
                  <a:lnTo>
                    <a:pt x="21" y="90"/>
                  </a:lnTo>
                  <a:cubicBezTo>
                    <a:pt x="19" y="93"/>
                    <a:pt x="16" y="94"/>
                    <a:pt x="12" y="94"/>
                  </a:cubicBezTo>
                  <a:cubicBezTo>
                    <a:pt x="5" y="94"/>
                    <a:pt x="0" y="89"/>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851"/>
            <p:cNvSpPr>
              <a:spLocks/>
            </p:cNvSpPr>
            <p:nvPr/>
          </p:nvSpPr>
          <p:spPr bwMode="auto">
            <a:xfrm>
              <a:off x="4497" y="2848"/>
              <a:ext cx="17" cy="21"/>
            </a:xfrm>
            <a:custGeom>
              <a:avLst/>
              <a:gdLst>
                <a:gd name="T0" fmla="*/ 77 w 77"/>
                <a:gd name="T1" fmla="*/ 12 h 94"/>
                <a:gd name="T2" fmla="*/ 77 w 77"/>
                <a:gd name="T3" fmla="*/ 13 h 94"/>
                <a:gd name="T4" fmla="*/ 77 w 77"/>
                <a:gd name="T5" fmla="*/ 81 h 94"/>
                <a:gd name="T6" fmla="*/ 70 w 77"/>
                <a:gd name="T7" fmla="*/ 92 h 94"/>
                <a:gd name="T8" fmla="*/ 58 w 77"/>
                <a:gd name="T9" fmla="*/ 91 h 94"/>
                <a:gd name="T10" fmla="*/ 6 w 77"/>
                <a:gd name="T11" fmla="*/ 57 h 94"/>
                <a:gd name="T12" fmla="*/ 6 w 77"/>
                <a:gd name="T13" fmla="*/ 37 h 94"/>
                <a:gd name="T14" fmla="*/ 56 w 77"/>
                <a:gd name="T15" fmla="*/ 4 h 94"/>
                <a:gd name="T16" fmla="*/ 65 w 77"/>
                <a:gd name="T17" fmla="*/ 0 h 94"/>
                <a:gd name="T18" fmla="*/ 77 w 77"/>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77" y="12"/>
                  </a:moveTo>
                  <a:lnTo>
                    <a:pt x="77" y="13"/>
                  </a:lnTo>
                  <a:lnTo>
                    <a:pt x="77" y="81"/>
                  </a:lnTo>
                  <a:cubicBezTo>
                    <a:pt x="77" y="86"/>
                    <a:pt x="74" y="90"/>
                    <a:pt x="70" y="92"/>
                  </a:cubicBezTo>
                  <a:cubicBezTo>
                    <a:pt x="66" y="94"/>
                    <a:pt x="62" y="94"/>
                    <a:pt x="58" y="91"/>
                  </a:cubicBezTo>
                  <a:lnTo>
                    <a:pt x="6" y="57"/>
                  </a:lnTo>
                  <a:cubicBezTo>
                    <a:pt x="0" y="52"/>
                    <a:pt x="0" y="41"/>
                    <a:pt x="6" y="37"/>
                  </a:cubicBezTo>
                  <a:lnTo>
                    <a:pt x="56" y="4"/>
                  </a:lnTo>
                  <a:cubicBezTo>
                    <a:pt x="58" y="2"/>
                    <a:pt x="61" y="0"/>
                    <a:pt x="65" y="0"/>
                  </a:cubicBezTo>
                  <a:cubicBezTo>
                    <a:pt x="71" y="0"/>
                    <a:pt x="77" y="6"/>
                    <a:pt x="77"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852"/>
            <p:cNvSpPr>
              <a:spLocks/>
            </p:cNvSpPr>
            <p:nvPr/>
          </p:nvSpPr>
          <p:spPr bwMode="auto">
            <a:xfrm>
              <a:off x="2967" y="1564"/>
              <a:ext cx="17" cy="21"/>
            </a:xfrm>
            <a:custGeom>
              <a:avLst/>
              <a:gdLst>
                <a:gd name="T0" fmla="*/ 76 w 76"/>
                <a:gd name="T1" fmla="*/ 12 h 94"/>
                <a:gd name="T2" fmla="*/ 76 w 76"/>
                <a:gd name="T3" fmla="*/ 13 h 94"/>
                <a:gd name="T4" fmla="*/ 76 w 76"/>
                <a:gd name="T5" fmla="*/ 81 h 94"/>
                <a:gd name="T6" fmla="*/ 70 w 76"/>
                <a:gd name="T7" fmla="*/ 92 h 94"/>
                <a:gd name="T8" fmla="*/ 58 w 76"/>
                <a:gd name="T9" fmla="*/ 91 h 94"/>
                <a:gd name="T10" fmla="*/ 6 w 76"/>
                <a:gd name="T11" fmla="*/ 57 h 94"/>
                <a:gd name="T12" fmla="*/ 6 w 76"/>
                <a:gd name="T13" fmla="*/ 37 h 94"/>
                <a:gd name="T14" fmla="*/ 56 w 76"/>
                <a:gd name="T15" fmla="*/ 4 h 94"/>
                <a:gd name="T16" fmla="*/ 64 w 76"/>
                <a:gd name="T17" fmla="*/ 0 h 94"/>
                <a:gd name="T18" fmla="*/ 76 w 76"/>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4">
                  <a:moveTo>
                    <a:pt x="76" y="12"/>
                  </a:moveTo>
                  <a:lnTo>
                    <a:pt x="76" y="13"/>
                  </a:lnTo>
                  <a:lnTo>
                    <a:pt x="76" y="81"/>
                  </a:lnTo>
                  <a:cubicBezTo>
                    <a:pt x="76" y="86"/>
                    <a:pt x="74" y="90"/>
                    <a:pt x="70" y="92"/>
                  </a:cubicBezTo>
                  <a:cubicBezTo>
                    <a:pt x="66" y="94"/>
                    <a:pt x="61" y="94"/>
                    <a:pt x="58" y="91"/>
                  </a:cubicBezTo>
                  <a:lnTo>
                    <a:pt x="6" y="57"/>
                  </a:lnTo>
                  <a:cubicBezTo>
                    <a:pt x="0" y="53"/>
                    <a:pt x="0" y="41"/>
                    <a:pt x="6" y="37"/>
                  </a:cubicBezTo>
                  <a:lnTo>
                    <a:pt x="56" y="4"/>
                  </a:lnTo>
                  <a:cubicBezTo>
                    <a:pt x="58" y="2"/>
                    <a:pt x="61" y="0"/>
                    <a:pt x="64" y="0"/>
                  </a:cubicBezTo>
                  <a:cubicBezTo>
                    <a:pt x="71" y="0"/>
                    <a:pt x="76" y="6"/>
                    <a:pt x="76"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853"/>
            <p:cNvSpPr>
              <a:spLocks/>
            </p:cNvSpPr>
            <p:nvPr/>
          </p:nvSpPr>
          <p:spPr bwMode="auto">
            <a:xfrm>
              <a:off x="3037" y="1888"/>
              <a:ext cx="21" cy="17"/>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5"/>
                    <a:pt x="2" y="71"/>
                  </a:cubicBezTo>
                  <a:cubicBezTo>
                    <a:pt x="0" y="67"/>
                    <a:pt x="0" y="62"/>
                    <a:pt x="3" y="58"/>
                  </a:cubicBezTo>
                  <a:lnTo>
                    <a:pt x="37" y="7"/>
                  </a:lnTo>
                  <a:cubicBezTo>
                    <a:pt x="42" y="0"/>
                    <a:pt x="53" y="0"/>
                    <a:pt x="57" y="7"/>
                  </a:cubicBezTo>
                  <a:lnTo>
                    <a:pt x="90" y="56"/>
                  </a:lnTo>
                  <a:cubicBezTo>
                    <a:pt x="92" y="58"/>
                    <a:pt x="94" y="61"/>
                    <a:pt x="94" y="65"/>
                  </a:cubicBezTo>
                  <a:cubicBezTo>
                    <a:pt x="94" y="72"/>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854"/>
            <p:cNvSpPr>
              <a:spLocks/>
            </p:cNvSpPr>
            <p:nvPr/>
          </p:nvSpPr>
          <p:spPr bwMode="auto">
            <a:xfrm>
              <a:off x="4264" y="2806"/>
              <a:ext cx="22" cy="18"/>
            </a:xfrm>
            <a:custGeom>
              <a:avLst/>
              <a:gdLst>
                <a:gd name="T0" fmla="*/ 13 w 95"/>
                <a:gd name="T1" fmla="*/ 0 h 77"/>
                <a:gd name="T2" fmla="*/ 13 w 95"/>
                <a:gd name="T3" fmla="*/ 0 h 77"/>
                <a:gd name="T4" fmla="*/ 82 w 95"/>
                <a:gd name="T5" fmla="*/ 0 h 77"/>
                <a:gd name="T6" fmla="*/ 92 w 95"/>
                <a:gd name="T7" fmla="*/ 7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3"/>
                    <a:pt x="92" y="7"/>
                  </a:cubicBezTo>
                  <a:cubicBezTo>
                    <a:pt x="95" y="11"/>
                    <a:pt x="94" y="15"/>
                    <a:pt x="92" y="19"/>
                  </a:cubicBezTo>
                  <a:lnTo>
                    <a:pt x="57" y="70"/>
                  </a:lnTo>
                  <a:cubicBezTo>
                    <a:pt x="53" y="77"/>
                    <a:pt x="42" y="77"/>
                    <a:pt x="37" y="70"/>
                  </a:cubicBezTo>
                  <a:lnTo>
                    <a:pt x="4" y="21"/>
                  </a:lnTo>
                  <a:cubicBezTo>
                    <a:pt x="2" y="19"/>
                    <a:pt x="0" y="16"/>
                    <a:pt x="0" y="12"/>
                  </a:cubicBezTo>
                  <a:cubicBezTo>
                    <a:pt x="1" y="6"/>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855"/>
            <p:cNvSpPr>
              <a:spLocks/>
            </p:cNvSpPr>
            <p:nvPr/>
          </p:nvSpPr>
          <p:spPr bwMode="auto">
            <a:xfrm>
              <a:off x="4149" y="2698"/>
              <a:ext cx="22" cy="18"/>
            </a:xfrm>
            <a:custGeom>
              <a:avLst/>
              <a:gdLst>
                <a:gd name="T0" fmla="*/ 13 w 95"/>
                <a:gd name="T1" fmla="*/ 0 h 77"/>
                <a:gd name="T2" fmla="*/ 13 w 95"/>
                <a:gd name="T3" fmla="*/ 0 h 77"/>
                <a:gd name="T4" fmla="*/ 82 w 95"/>
                <a:gd name="T5" fmla="*/ 0 h 77"/>
                <a:gd name="T6" fmla="*/ 92 w 95"/>
                <a:gd name="T7" fmla="*/ 6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2"/>
                    <a:pt x="92" y="6"/>
                  </a:cubicBezTo>
                  <a:cubicBezTo>
                    <a:pt x="95" y="10"/>
                    <a:pt x="94" y="15"/>
                    <a:pt x="92" y="19"/>
                  </a:cubicBezTo>
                  <a:lnTo>
                    <a:pt x="57" y="70"/>
                  </a:lnTo>
                  <a:cubicBezTo>
                    <a:pt x="53" y="77"/>
                    <a:pt x="42" y="77"/>
                    <a:pt x="37" y="70"/>
                  </a:cubicBezTo>
                  <a:lnTo>
                    <a:pt x="4" y="21"/>
                  </a:lnTo>
                  <a:cubicBezTo>
                    <a:pt x="2" y="19"/>
                    <a:pt x="0" y="16"/>
                    <a:pt x="0" y="12"/>
                  </a:cubicBezTo>
                  <a:cubicBezTo>
                    <a:pt x="1" y="5"/>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856"/>
            <p:cNvSpPr>
              <a:spLocks/>
            </p:cNvSpPr>
            <p:nvPr/>
          </p:nvSpPr>
          <p:spPr bwMode="auto">
            <a:xfrm>
              <a:off x="3562" y="2644"/>
              <a:ext cx="19" cy="20"/>
            </a:xfrm>
            <a:custGeom>
              <a:avLst/>
              <a:gdLst>
                <a:gd name="T0" fmla="*/ 82 w 87"/>
                <a:gd name="T1" fmla="*/ 34 h 87"/>
                <a:gd name="T2" fmla="*/ 82 w 87"/>
                <a:gd name="T3" fmla="*/ 34 h 87"/>
                <a:gd name="T4" fmla="*/ 33 w 87"/>
                <a:gd name="T5" fmla="*/ 83 h 87"/>
                <a:gd name="T6" fmla="*/ 21 w 87"/>
                <a:gd name="T7" fmla="*/ 86 h 87"/>
                <a:gd name="T8" fmla="*/ 13 w 87"/>
                <a:gd name="T9" fmla="*/ 76 h 87"/>
                <a:gd name="T10" fmla="*/ 1 w 87"/>
                <a:gd name="T11" fmla="*/ 16 h 87"/>
                <a:gd name="T12" fmla="*/ 15 w 87"/>
                <a:gd name="T13" fmla="*/ 2 h 87"/>
                <a:gd name="T14" fmla="*/ 73 w 87"/>
                <a:gd name="T15" fmla="*/ 13 h 87"/>
                <a:gd name="T16" fmla="*/ 82 w 87"/>
                <a:gd name="T17" fmla="*/ 17 h 87"/>
                <a:gd name="T18" fmla="*/ 82 w 87"/>
                <a:gd name="T19"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82" y="34"/>
                  </a:moveTo>
                  <a:lnTo>
                    <a:pt x="82" y="34"/>
                  </a:lnTo>
                  <a:lnTo>
                    <a:pt x="33" y="83"/>
                  </a:lnTo>
                  <a:cubicBezTo>
                    <a:pt x="30" y="86"/>
                    <a:pt x="26" y="87"/>
                    <a:pt x="21" y="86"/>
                  </a:cubicBezTo>
                  <a:cubicBezTo>
                    <a:pt x="17" y="84"/>
                    <a:pt x="14" y="81"/>
                    <a:pt x="13" y="76"/>
                  </a:cubicBezTo>
                  <a:lnTo>
                    <a:pt x="1" y="16"/>
                  </a:lnTo>
                  <a:cubicBezTo>
                    <a:pt x="0" y="8"/>
                    <a:pt x="7" y="0"/>
                    <a:pt x="15" y="2"/>
                  </a:cubicBezTo>
                  <a:lnTo>
                    <a:pt x="73" y="13"/>
                  </a:lnTo>
                  <a:cubicBezTo>
                    <a:pt x="77" y="13"/>
                    <a:pt x="80" y="14"/>
                    <a:pt x="82" y="17"/>
                  </a:cubicBezTo>
                  <a:cubicBezTo>
                    <a:pt x="87" y="21"/>
                    <a:pt x="87" y="29"/>
                    <a:pt x="82" y="3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857"/>
            <p:cNvSpPr>
              <a:spLocks/>
            </p:cNvSpPr>
            <p:nvPr/>
          </p:nvSpPr>
          <p:spPr bwMode="auto">
            <a:xfrm>
              <a:off x="2721" y="2672"/>
              <a:ext cx="18" cy="22"/>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1 w 77"/>
                <a:gd name="T11" fmla="*/ 37 h 94"/>
                <a:gd name="T12" fmla="*/ 71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1" y="37"/>
                  </a:lnTo>
                  <a:cubicBezTo>
                    <a:pt x="77" y="42"/>
                    <a:pt x="77" y="53"/>
                    <a:pt x="71" y="57"/>
                  </a:cubicBezTo>
                  <a:lnTo>
                    <a:pt x="21" y="90"/>
                  </a:lnTo>
                  <a:cubicBezTo>
                    <a:pt x="19" y="92"/>
                    <a:pt x="16" y="94"/>
                    <a:pt x="12" y="94"/>
                  </a:cubicBezTo>
                  <a:cubicBezTo>
                    <a:pt x="6" y="93"/>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Freeform 1858"/>
            <p:cNvSpPr>
              <a:spLocks noEditPoints="1"/>
            </p:cNvSpPr>
            <p:nvPr/>
          </p:nvSpPr>
          <p:spPr bwMode="auto">
            <a:xfrm>
              <a:off x="4429" y="1831"/>
              <a:ext cx="16" cy="20"/>
            </a:xfrm>
            <a:custGeom>
              <a:avLst/>
              <a:gdLst>
                <a:gd name="T0" fmla="*/ 0 w 70"/>
                <a:gd name="T1" fmla="*/ 85 h 85"/>
                <a:gd name="T2" fmla="*/ 0 w 70"/>
                <a:gd name="T3" fmla="*/ 0 h 85"/>
                <a:gd name="T4" fmla="*/ 29 w 70"/>
                <a:gd name="T5" fmla="*/ 0 h 85"/>
                <a:gd name="T6" fmla="*/ 44 w 70"/>
                <a:gd name="T7" fmla="*/ 2 h 85"/>
                <a:gd name="T8" fmla="*/ 57 w 70"/>
                <a:gd name="T9" fmla="*/ 8 h 85"/>
                <a:gd name="T10" fmla="*/ 67 w 70"/>
                <a:gd name="T11" fmla="*/ 22 h 85"/>
                <a:gd name="T12" fmla="*/ 70 w 70"/>
                <a:gd name="T13" fmla="*/ 42 h 85"/>
                <a:gd name="T14" fmla="*/ 68 w 70"/>
                <a:gd name="T15" fmla="*/ 59 h 85"/>
                <a:gd name="T16" fmla="*/ 62 w 70"/>
                <a:gd name="T17" fmla="*/ 72 h 85"/>
                <a:gd name="T18" fmla="*/ 54 w 70"/>
                <a:gd name="T19" fmla="*/ 79 h 85"/>
                <a:gd name="T20" fmla="*/ 44 w 70"/>
                <a:gd name="T21" fmla="*/ 83 h 85"/>
                <a:gd name="T22" fmla="*/ 31 w 70"/>
                <a:gd name="T23" fmla="*/ 85 h 85"/>
                <a:gd name="T24" fmla="*/ 0 w 70"/>
                <a:gd name="T25" fmla="*/ 85 h 85"/>
                <a:gd name="T26" fmla="*/ 11 w 70"/>
                <a:gd name="T27" fmla="*/ 75 h 85"/>
                <a:gd name="T28" fmla="*/ 29 w 70"/>
                <a:gd name="T29" fmla="*/ 75 h 85"/>
                <a:gd name="T30" fmla="*/ 43 w 70"/>
                <a:gd name="T31" fmla="*/ 73 h 85"/>
                <a:gd name="T32" fmla="*/ 50 w 70"/>
                <a:gd name="T33" fmla="*/ 69 h 85"/>
                <a:gd name="T34" fmla="*/ 56 w 70"/>
                <a:gd name="T35" fmla="*/ 58 h 85"/>
                <a:gd name="T36" fmla="*/ 59 w 70"/>
                <a:gd name="T37" fmla="*/ 42 h 85"/>
                <a:gd name="T38" fmla="*/ 54 w 70"/>
                <a:gd name="T39" fmla="*/ 22 h 85"/>
                <a:gd name="T40" fmla="*/ 44 w 70"/>
                <a:gd name="T41" fmla="*/ 12 h 85"/>
                <a:gd name="T42" fmla="*/ 29 w 70"/>
                <a:gd name="T43" fmla="*/ 10 h 85"/>
                <a:gd name="T44" fmla="*/ 11 w 70"/>
                <a:gd name="T45" fmla="*/ 10 h 85"/>
                <a:gd name="T46" fmla="*/ 11 w 70"/>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5">
                  <a:moveTo>
                    <a:pt x="0" y="85"/>
                  </a:moveTo>
                  <a:lnTo>
                    <a:pt x="0" y="0"/>
                  </a:lnTo>
                  <a:lnTo>
                    <a:pt x="29" y="0"/>
                  </a:lnTo>
                  <a:cubicBezTo>
                    <a:pt x="36" y="0"/>
                    <a:pt x="41" y="1"/>
                    <a:pt x="44" y="2"/>
                  </a:cubicBezTo>
                  <a:cubicBezTo>
                    <a:pt x="49" y="3"/>
                    <a:pt x="53" y="5"/>
                    <a:pt x="57" y="8"/>
                  </a:cubicBezTo>
                  <a:cubicBezTo>
                    <a:pt x="61" y="11"/>
                    <a:pt x="65" y="16"/>
                    <a:pt x="67" y="22"/>
                  </a:cubicBezTo>
                  <a:cubicBezTo>
                    <a:pt x="69" y="28"/>
                    <a:pt x="70" y="35"/>
                    <a:pt x="70" y="42"/>
                  </a:cubicBezTo>
                  <a:cubicBezTo>
                    <a:pt x="70" y="49"/>
                    <a:pt x="69" y="54"/>
                    <a:pt x="68" y="59"/>
                  </a:cubicBezTo>
                  <a:cubicBezTo>
                    <a:pt x="66" y="64"/>
                    <a:pt x="64" y="68"/>
                    <a:pt x="62" y="72"/>
                  </a:cubicBezTo>
                  <a:cubicBezTo>
                    <a:pt x="60" y="75"/>
                    <a:pt x="57" y="77"/>
                    <a:pt x="54" y="79"/>
                  </a:cubicBezTo>
                  <a:cubicBezTo>
                    <a:pt x="52" y="81"/>
                    <a:pt x="48" y="82"/>
                    <a:pt x="44" y="83"/>
                  </a:cubicBezTo>
                  <a:cubicBezTo>
                    <a:pt x="40" y="84"/>
                    <a:pt x="36" y="85"/>
                    <a:pt x="31" y="85"/>
                  </a:cubicBezTo>
                  <a:lnTo>
                    <a:pt x="0" y="85"/>
                  </a:lnTo>
                  <a:close/>
                  <a:moveTo>
                    <a:pt x="11" y="75"/>
                  </a:moveTo>
                  <a:lnTo>
                    <a:pt x="29" y="75"/>
                  </a:lnTo>
                  <a:cubicBezTo>
                    <a:pt x="35" y="75"/>
                    <a:pt x="39" y="74"/>
                    <a:pt x="43" y="73"/>
                  </a:cubicBezTo>
                  <a:cubicBezTo>
                    <a:pt x="46" y="72"/>
                    <a:pt x="48" y="71"/>
                    <a:pt x="50" y="69"/>
                  </a:cubicBezTo>
                  <a:cubicBezTo>
                    <a:pt x="53" y="66"/>
                    <a:pt x="55" y="63"/>
                    <a:pt x="56" y="58"/>
                  </a:cubicBezTo>
                  <a:cubicBezTo>
                    <a:pt x="58" y="54"/>
                    <a:pt x="59" y="48"/>
                    <a:pt x="59" y="42"/>
                  </a:cubicBezTo>
                  <a:cubicBezTo>
                    <a:pt x="59" y="33"/>
                    <a:pt x="57" y="26"/>
                    <a:pt x="54" y="22"/>
                  </a:cubicBezTo>
                  <a:cubicBezTo>
                    <a:pt x="51" y="17"/>
                    <a:pt x="48" y="14"/>
                    <a:pt x="44" y="12"/>
                  </a:cubicBezTo>
                  <a:cubicBezTo>
                    <a:pt x="41" y="11"/>
                    <a:pt x="36"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1" name="Rectangle 1859"/>
            <p:cNvSpPr>
              <a:spLocks noChangeArrowheads="1"/>
            </p:cNvSpPr>
            <p:nvPr/>
          </p:nvSpPr>
          <p:spPr bwMode="auto">
            <a:xfrm>
              <a:off x="4449" y="1831"/>
              <a:ext cx="3"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2" name="Freeform 1860"/>
            <p:cNvSpPr>
              <a:spLocks/>
            </p:cNvSpPr>
            <p:nvPr/>
          </p:nvSpPr>
          <p:spPr bwMode="auto">
            <a:xfrm>
              <a:off x="4455" y="1831"/>
              <a:ext cx="18" cy="20"/>
            </a:xfrm>
            <a:custGeom>
              <a:avLst/>
              <a:gdLst>
                <a:gd name="T0" fmla="*/ 43 w 78"/>
                <a:gd name="T1" fmla="*/ 53 h 87"/>
                <a:gd name="T2" fmla="*/ 43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6 w 78"/>
                <a:gd name="T15" fmla="*/ 67 h 87"/>
                <a:gd name="T16" fmla="*/ 0 w 78"/>
                <a:gd name="T17" fmla="*/ 44 h 87"/>
                <a:gd name="T18" fmla="*/ 5 w 78"/>
                <a:gd name="T19" fmla="*/ 21 h 87"/>
                <a:gd name="T20" fmla="*/ 20 w 78"/>
                <a:gd name="T21" fmla="*/ 5 h 87"/>
                <a:gd name="T22" fmla="*/ 43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3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4 h 87"/>
                <a:gd name="T50" fmla="*/ 43 w 78"/>
                <a:gd name="T51" fmla="*/ 77 h 87"/>
                <a:gd name="T52" fmla="*/ 57 w 78"/>
                <a:gd name="T53" fmla="*/ 74 h 87"/>
                <a:gd name="T54" fmla="*/ 67 w 78"/>
                <a:gd name="T55" fmla="*/ 68 h 87"/>
                <a:gd name="T56" fmla="*/ 67 w 78"/>
                <a:gd name="T57" fmla="*/ 53 h 87"/>
                <a:gd name="T58" fmla="*/ 43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3" y="53"/>
                  </a:moveTo>
                  <a:lnTo>
                    <a:pt x="43" y="43"/>
                  </a:lnTo>
                  <a:lnTo>
                    <a:pt x="78" y="43"/>
                  </a:lnTo>
                  <a:lnTo>
                    <a:pt x="78" y="74"/>
                  </a:lnTo>
                  <a:cubicBezTo>
                    <a:pt x="73" y="78"/>
                    <a:pt x="67" y="82"/>
                    <a:pt x="61" y="84"/>
                  </a:cubicBezTo>
                  <a:cubicBezTo>
                    <a:pt x="56" y="86"/>
                    <a:pt x="50" y="87"/>
                    <a:pt x="43" y="87"/>
                  </a:cubicBezTo>
                  <a:cubicBezTo>
                    <a:pt x="35" y="87"/>
                    <a:pt x="28" y="86"/>
                    <a:pt x="21" y="82"/>
                  </a:cubicBezTo>
                  <a:cubicBezTo>
                    <a:pt x="14" y="78"/>
                    <a:pt x="9" y="73"/>
                    <a:pt x="6" y="67"/>
                  </a:cubicBezTo>
                  <a:cubicBezTo>
                    <a:pt x="2" y="60"/>
                    <a:pt x="0" y="52"/>
                    <a:pt x="0" y="44"/>
                  </a:cubicBezTo>
                  <a:cubicBezTo>
                    <a:pt x="0" y="36"/>
                    <a:pt x="2" y="28"/>
                    <a:pt x="5" y="21"/>
                  </a:cubicBezTo>
                  <a:cubicBezTo>
                    <a:pt x="9" y="14"/>
                    <a:pt x="14" y="9"/>
                    <a:pt x="20" y="5"/>
                  </a:cubicBezTo>
                  <a:cubicBezTo>
                    <a:pt x="27" y="2"/>
                    <a:pt x="34" y="0"/>
                    <a:pt x="43" y="0"/>
                  </a:cubicBezTo>
                  <a:cubicBezTo>
                    <a:pt x="49" y="0"/>
                    <a:pt x="54" y="1"/>
                    <a:pt x="59" y="3"/>
                  </a:cubicBezTo>
                  <a:cubicBezTo>
                    <a:pt x="64" y="5"/>
                    <a:pt x="68" y="8"/>
                    <a:pt x="71" y="11"/>
                  </a:cubicBezTo>
                  <a:cubicBezTo>
                    <a:pt x="74" y="15"/>
                    <a:pt x="76" y="19"/>
                    <a:pt x="77" y="25"/>
                  </a:cubicBezTo>
                  <a:lnTo>
                    <a:pt x="67" y="28"/>
                  </a:lnTo>
                  <a:cubicBezTo>
                    <a:pt x="66" y="24"/>
                    <a:pt x="64" y="20"/>
                    <a:pt x="62" y="18"/>
                  </a:cubicBezTo>
                  <a:cubicBezTo>
                    <a:pt x="60" y="15"/>
                    <a:pt x="58" y="13"/>
                    <a:pt x="54" y="12"/>
                  </a:cubicBezTo>
                  <a:cubicBezTo>
                    <a:pt x="51" y="10"/>
                    <a:pt x="47" y="10"/>
                    <a:pt x="43" y="10"/>
                  </a:cubicBezTo>
                  <a:cubicBezTo>
                    <a:pt x="38" y="10"/>
                    <a:pt x="33" y="10"/>
                    <a:pt x="29" y="12"/>
                  </a:cubicBezTo>
                  <a:cubicBezTo>
                    <a:pt x="26" y="13"/>
                    <a:pt x="23" y="16"/>
                    <a:pt x="20" y="18"/>
                  </a:cubicBezTo>
                  <a:cubicBezTo>
                    <a:pt x="18" y="21"/>
                    <a:pt x="16" y="23"/>
                    <a:pt x="15" y="26"/>
                  </a:cubicBezTo>
                  <a:cubicBezTo>
                    <a:pt x="13" y="32"/>
                    <a:pt x="12" y="37"/>
                    <a:pt x="12" y="43"/>
                  </a:cubicBezTo>
                  <a:cubicBezTo>
                    <a:pt x="12" y="51"/>
                    <a:pt x="13" y="57"/>
                    <a:pt x="16" y="62"/>
                  </a:cubicBezTo>
                  <a:cubicBezTo>
                    <a:pt x="18" y="67"/>
                    <a:pt x="22" y="71"/>
                    <a:pt x="27" y="74"/>
                  </a:cubicBezTo>
                  <a:cubicBezTo>
                    <a:pt x="32" y="76"/>
                    <a:pt x="37" y="77"/>
                    <a:pt x="43" y="77"/>
                  </a:cubicBezTo>
                  <a:cubicBezTo>
                    <a:pt x="48" y="77"/>
                    <a:pt x="52" y="76"/>
                    <a:pt x="57" y="74"/>
                  </a:cubicBezTo>
                  <a:cubicBezTo>
                    <a:pt x="62" y="73"/>
                    <a:pt x="65" y="71"/>
                    <a:pt x="67" y="68"/>
                  </a:cubicBezTo>
                  <a:lnTo>
                    <a:pt x="67" y="53"/>
                  </a:lnTo>
                  <a:lnTo>
                    <a:pt x="43"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861"/>
            <p:cNvSpPr>
              <a:spLocks noChangeArrowheads="1"/>
            </p:cNvSpPr>
            <p:nvPr/>
          </p:nvSpPr>
          <p:spPr bwMode="auto">
            <a:xfrm>
              <a:off x="4478" y="1831"/>
              <a:ext cx="2"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862"/>
            <p:cNvSpPr>
              <a:spLocks/>
            </p:cNvSpPr>
            <p:nvPr/>
          </p:nvSpPr>
          <p:spPr bwMode="auto">
            <a:xfrm>
              <a:off x="4483" y="1831"/>
              <a:ext cx="15" cy="20"/>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863"/>
            <p:cNvSpPr>
              <a:spLocks noEditPoints="1"/>
            </p:cNvSpPr>
            <p:nvPr/>
          </p:nvSpPr>
          <p:spPr bwMode="auto">
            <a:xfrm>
              <a:off x="4499" y="1831"/>
              <a:ext cx="18" cy="20"/>
            </a:xfrm>
            <a:custGeom>
              <a:avLst/>
              <a:gdLst>
                <a:gd name="T0" fmla="*/ 0 w 79"/>
                <a:gd name="T1" fmla="*/ 85 h 85"/>
                <a:gd name="T2" fmla="*/ 33 w 79"/>
                <a:gd name="T3" fmla="*/ 0 h 85"/>
                <a:gd name="T4" fmla="*/ 45 w 79"/>
                <a:gd name="T5" fmla="*/ 0 h 85"/>
                <a:gd name="T6" fmla="*/ 79 w 79"/>
                <a:gd name="T7" fmla="*/ 85 h 85"/>
                <a:gd name="T8" fmla="*/ 66 w 79"/>
                <a:gd name="T9" fmla="*/ 85 h 85"/>
                <a:gd name="T10" fmla="*/ 57 w 79"/>
                <a:gd name="T11" fmla="*/ 59 h 85"/>
                <a:gd name="T12" fmla="*/ 21 w 79"/>
                <a:gd name="T13" fmla="*/ 59 h 85"/>
                <a:gd name="T14" fmla="*/ 12 w 79"/>
                <a:gd name="T15" fmla="*/ 85 h 85"/>
                <a:gd name="T16" fmla="*/ 0 w 79"/>
                <a:gd name="T17" fmla="*/ 85 h 85"/>
                <a:gd name="T18" fmla="*/ 25 w 79"/>
                <a:gd name="T19" fmla="*/ 50 h 85"/>
                <a:gd name="T20" fmla="*/ 53 w 79"/>
                <a:gd name="T21" fmla="*/ 50 h 85"/>
                <a:gd name="T22" fmla="*/ 44 w 79"/>
                <a:gd name="T23" fmla="*/ 27 h 85"/>
                <a:gd name="T24" fmla="*/ 38 w 79"/>
                <a:gd name="T25" fmla="*/ 9 h 85"/>
                <a:gd name="T26" fmla="*/ 34 w 79"/>
                <a:gd name="T27" fmla="*/ 25 h 85"/>
                <a:gd name="T28" fmla="*/ 25 w 79"/>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5">
                  <a:moveTo>
                    <a:pt x="0" y="85"/>
                  </a:moveTo>
                  <a:lnTo>
                    <a:pt x="33" y="0"/>
                  </a:lnTo>
                  <a:lnTo>
                    <a:pt x="45" y="0"/>
                  </a:lnTo>
                  <a:lnTo>
                    <a:pt x="79" y="85"/>
                  </a:lnTo>
                  <a:lnTo>
                    <a:pt x="66" y="85"/>
                  </a:lnTo>
                  <a:lnTo>
                    <a:pt x="57" y="59"/>
                  </a:lnTo>
                  <a:lnTo>
                    <a:pt x="21" y="59"/>
                  </a:lnTo>
                  <a:lnTo>
                    <a:pt x="12" y="85"/>
                  </a:lnTo>
                  <a:lnTo>
                    <a:pt x="0" y="85"/>
                  </a:lnTo>
                  <a:close/>
                  <a:moveTo>
                    <a:pt x="25" y="50"/>
                  </a:moveTo>
                  <a:lnTo>
                    <a:pt x="53" y="50"/>
                  </a:lnTo>
                  <a:lnTo>
                    <a:pt x="44" y="27"/>
                  </a:lnTo>
                  <a:cubicBezTo>
                    <a:pt x="42" y="20"/>
                    <a:pt x="40" y="14"/>
                    <a:pt x="38" y="9"/>
                  </a:cubicBezTo>
                  <a:cubicBezTo>
                    <a:pt x="37" y="15"/>
                    <a:pt x="36" y="20"/>
                    <a:pt x="34" y="25"/>
                  </a:cubicBezTo>
                  <a:lnTo>
                    <a:pt x="25"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1864"/>
            <p:cNvSpPr>
              <a:spLocks/>
            </p:cNvSpPr>
            <p:nvPr/>
          </p:nvSpPr>
          <p:spPr bwMode="auto">
            <a:xfrm>
              <a:off x="4519" y="1831"/>
              <a:ext cx="11" cy="20"/>
            </a:xfrm>
            <a:custGeom>
              <a:avLst/>
              <a:gdLst>
                <a:gd name="T0" fmla="*/ 0 w 52"/>
                <a:gd name="T1" fmla="*/ 85 h 85"/>
                <a:gd name="T2" fmla="*/ 0 w 52"/>
                <a:gd name="T3" fmla="*/ 0 h 85"/>
                <a:gd name="T4" fmla="*/ 11 w 52"/>
                <a:gd name="T5" fmla="*/ 0 h 85"/>
                <a:gd name="T6" fmla="*/ 11 w 52"/>
                <a:gd name="T7" fmla="*/ 75 h 85"/>
                <a:gd name="T8" fmla="*/ 52 w 52"/>
                <a:gd name="T9" fmla="*/ 75 h 85"/>
                <a:gd name="T10" fmla="*/ 52 w 52"/>
                <a:gd name="T11" fmla="*/ 85 h 85"/>
                <a:gd name="T12" fmla="*/ 0 w 52"/>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52" h="85">
                  <a:moveTo>
                    <a:pt x="0" y="85"/>
                  </a:moveTo>
                  <a:lnTo>
                    <a:pt x="0" y="0"/>
                  </a:lnTo>
                  <a:lnTo>
                    <a:pt x="11" y="0"/>
                  </a:lnTo>
                  <a:lnTo>
                    <a:pt x="11" y="75"/>
                  </a:lnTo>
                  <a:lnTo>
                    <a:pt x="52" y="75"/>
                  </a:lnTo>
                  <a:lnTo>
                    <a:pt x="52"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1865"/>
            <p:cNvSpPr>
              <a:spLocks/>
            </p:cNvSpPr>
            <p:nvPr/>
          </p:nvSpPr>
          <p:spPr bwMode="auto">
            <a:xfrm>
              <a:off x="4533" y="1831"/>
              <a:ext cx="6" cy="25"/>
            </a:xfrm>
            <a:custGeom>
              <a:avLst/>
              <a:gdLst>
                <a:gd name="T0" fmla="*/ 20 w 28"/>
                <a:gd name="T1" fmla="*/ 111 h 111"/>
                <a:gd name="T2" fmla="*/ 6 w 28"/>
                <a:gd name="T3" fmla="*/ 85 h 111"/>
                <a:gd name="T4" fmla="*/ 0 w 28"/>
                <a:gd name="T5" fmla="*/ 55 h 111"/>
                <a:gd name="T6" fmla="*/ 4 w 28"/>
                <a:gd name="T7" fmla="*/ 29 h 111"/>
                <a:gd name="T8" fmla="*/ 20 w 28"/>
                <a:gd name="T9" fmla="*/ 0 h 111"/>
                <a:gd name="T10" fmla="*/ 28 w 28"/>
                <a:gd name="T11" fmla="*/ 0 h 111"/>
                <a:gd name="T12" fmla="*/ 19 w 28"/>
                <a:gd name="T13" fmla="*/ 17 h 111"/>
                <a:gd name="T14" fmla="*/ 13 w 28"/>
                <a:gd name="T15" fmla="*/ 34 h 111"/>
                <a:gd name="T16" fmla="*/ 11 w 28"/>
                <a:gd name="T17" fmla="*/ 55 h 111"/>
                <a:gd name="T18" fmla="*/ 28 w 28"/>
                <a:gd name="T19" fmla="*/ 111 h 111"/>
                <a:gd name="T20" fmla="*/ 20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20" y="111"/>
                  </a:moveTo>
                  <a:cubicBezTo>
                    <a:pt x="15" y="103"/>
                    <a:pt x="10" y="95"/>
                    <a:pt x="6" y="85"/>
                  </a:cubicBezTo>
                  <a:cubicBezTo>
                    <a:pt x="2" y="76"/>
                    <a:pt x="0" y="66"/>
                    <a:pt x="0" y="55"/>
                  </a:cubicBezTo>
                  <a:cubicBezTo>
                    <a:pt x="0" y="46"/>
                    <a:pt x="1" y="37"/>
                    <a:pt x="4" y="29"/>
                  </a:cubicBezTo>
                  <a:cubicBezTo>
                    <a:pt x="8" y="19"/>
                    <a:pt x="13" y="10"/>
                    <a:pt x="20" y="0"/>
                  </a:cubicBezTo>
                  <a:lnTo>
                    <a:pt x="28" y="0"/>
                  </a:lnTo>
                  <a:cubicBezTo>
                    <a:pt x="23" y="8"/>
                    <a:pt x="20" y="14"/>
                    <a:pt x="19" y="17"/>
                  </a:cubicBezTo>
                  <a:cubicBezTo>
                    <a:pt x="16" y="22"/>
                    <a:pt x="14" y="28"/>
                    <a:pt x="13" y="34"/>
                  </a:cubicBezTo>
                  <a:cubicBezTo>
                    <a:pt x="11" y="41"/>
                    <a:pt x="11" y="48"/>
                    <a:pt x="11" y="55"/>
                  </a:cubicBezTo>
                  <a:cubicBezTo>
                    <a:pt x="11" y="74"/>
                    <a:pt x="16" y="92"/>
                    <a:pt x="28" y="111"/>
                  </a:cubicBezTo>
                  <a:lnTo>
                    <a:pt x="20" y="1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1866"/>
            <p:cNvSpPr>
              <a:spLocks noEditPoints="1"/>
            </p:cNvSpPr>
            <p:nvPr/>
          </p:nvSpPr>
          <p:spPr bwMode="auto">
            <a:xfrm>
              <a:off x="4542" y="1831"/>
              <a:ext cx="15" cy="20"/>
            </a:xfrm>
            <a:custGeom>
              <a:avLst/>
              <a:gdLst>
                <a:gd name="T0" fmla="*/ 0 w 65"/>
                <a:gd name="T1" fmla="*/ 85 h 85"/>
                <a:gd name="T2" fmla="*/ 0 w 65"/>
                <a:gd name="T3" fmla="*/ 0 h 85"/>
                <a:gd name="T4" fmla="*/ 32 w 65"/>
                <a:gd name="T5" fmla="*/ 0 h 85"/>
                <a:gd name="T6" fmla="*/ 45 w 65"/>
                <a:gd name="T7" fmla="*/ 1 h 85"/>
                <a:gd name="T8" fmla="*/ 55 w 65"/>
                <a:gd name="T9" fmla="*/ 5 h 85"/>
                <a:gd name="T10" fmla="*/ 62 w 65"/>
                <a:gd name="T11" fmla="*/ 13 h 85"/>
                <a:gd name="T12" fmla="*/ 65 w 65"/>
                <a:gd name="T13" fmla="*/ 25 h 85"/>
                <a:gd name="T14" fmla="*/ 58 w 65"/>
                <a:gd name="T15" fmla="*/ 43 h 85"/>
                <a:gd name="T16" fmla="*/ 33 w 65"/>
                <a:gd name="T17" fmla="*/ 51 h 85"/>
                <a:gd name="T18" fmla="*/ 11 w 65"/>
                <a:gd name="T19" fmla="*/ 51 h 85"/>
                <a:gd name="T20" fmla="*/ 11 w 65"/>
                <a:gd name="T21" fmla="*/ 85 h 85"/>
                <a:gd name="T22" fmla="*/ 0 w 65"/>
                <a:gd name="T23" fmla="*/ 85 h 85"/>
                <a:gd name="T24" fmla="*/ 11 w 65"/>
                <a:gd name="T25" fmla="*/ 41 h 85"/>
                <a:gd name="T26" fmla="*/ 33 w 65"/>
                <a:gd name="T27" fmla="*/ 41 h 85"/>
                <a:gd name="T28" fmla="*/ 49 w 65"/>
                <a:gd name="T29" fmla="*/ 37 h 85"/>
                <a:gd name="T30" fmla="*/ 53 w 65"/>
                <a:gd name="T31" fmla="*/ 25 h 85"/>
                <a:gd name="T32" fmla="*/ 50 w 65"/>
                <a:gd name="T33" fmla="*/ 16 h 85"/>
                <a:gd name="T34" fmla="*/ 43 w 65"/>
                <a:gd name="T35" fmla="*/ 11 h 85"/>
                <a:gd name="T36" fmla="*/ 33 w 65"/>
                <a:gd name="T37" fmla="*/ 10 h 85"/>
                <a:gd name="T38" fmla="*/ 11 w 65"/>
                <a:gd name="T39" fmla="*/ 10 h 85"/>
                <a:gd name="T40" fmla="*/ 11 w 65"/>
                <a:gd name="T41" fmla="*/ 4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5">
                  <a:moveTo>
                    <a:pt x="0" y="85"/>
                  </a:moveTo>
                  <a:lnTo>
                    <a:pt x="0" y="0"/>
                  </a:lnTo>
                  <a:lnTo>
                    <a:pt x="32" y="0"/>
                  </a:lnTo>
                  <a:cubicBezTo>
                    <a:pt x="38" y="0"/>
                    <a:pt x="42" y="1"/>
                    <a:pt x="45" y="1"/>
                  </a:cubicBezTo>
                  <a:cubicBezTo>
                    <a:pt x="49" y="2"/>
                    <a:pt x="52" y="3"/>
                    <a:pt x="55" y="5"/>
                  </a:cubicBezTo>
                  <a:cubicBezTo>
                    <a:pt x="58" y="7"/>
                    <a:pt x="60" y="10"/>
                    <a:pt x="62" y="13"/>
                  </a:cubicBezTo>
                  <a:cubicBezTo>
                    <a:pt x="64" y="17"/>
                    <a:pt x="65" y="21"/>
                    <a:pt x="65" y="25"/>
                  </a:cubicBezTo>
                  <a:cubicBezTo>
                    <a:pt x="65" y="32"/>
                    <a:pt x="62" y="38"/>
                    <a:pt x="58" y="43"/>
                  </a:cubicBezTo>
                  <a:cubicBezTo>
                    <a:pt x="53" y="48"/>
                    <a:pt x="45" y="51"/>
                    <a:pt x="33" y="51"/>
                  </a:cubicBezTo>
                  <a:lnTo>
                    <a:pt x="11" y="51"/>
                  </a:lnTo>
                  <a:lnTo>
                    <a:pt x="11" y="85"/>
                  </a:lnTo>
                  <a:lnTo>
                    <a:pt x="0" y="85"/>
                  </a:lnTo>
                  <a:close/>
                  <a:moveTo>
                    <a:pt x="11" y="41"/>
                  </a:moveTo>
                  <a:lnTo>
                    <a:pt x="33" y="41"/>
                  </a:lnTo>
                  <a:cubicBezTo>
                    <a:pt x="40" y="41"/>
                    <a:pt x="45" y="39"/>
                    <a:pt x="49" y="37"/>
                  </a:cubicBezTo>
                  <a:cubicBezTo>
                    <a:pt x="52" y="34"/>
                    <a:pt x="53" y="30"/>
                    <a:pt x="53" y="25"/>
                  </a:cubicBezTo>
                  <a:cubicBezTo>
                    <a:pt x="53" y="22"/>
                    <a:pt x="52" y="19"/>
                    <a:pt x="50" y="16"/>
                  </a:cubicBezTo>
                  <a:cubicBezTo>
                    <a:pt x="49" y="14"/>
                    <a:pt x="46" y="12"/>
                    <a:pt x="43" y="11"/>
                  </a:cubicBezTo>
                  <a:cubicBezTo>
                    <a:pt x="41" y="11"/>
                    <a:pt x="38" y="10"/>
                    <a:pt x="33" y="10"/>
                  </a:cubicBezTo>
                  <a:lnTo>
                    <a:pt x="11" y="10"/>
                  </a:lnTo>
                  <a:lnTo>
                    <a:pt x="11"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1867"/>
            <p:cNvSpPr>
              <a:spLocks/>
            </p:cNvSpPr>
            <p:nvPr/>
          </p:nvSpPr>
          <p:spPr bwMode="auto">
            <a:xfrm>
              <a:off x="4559" y="1831"/>
              <a:ext cx="24" cy="20"/>
            </a:xfrm>
            <a:custGeom>
              <a:avLst/>
              <a:gdLst>
                <a:gd name="T0" fmla="*/ 23 w 109"/>
                <a:gd name="T1" fmla="*/ 85 h 85"/>
                <a:gd name="T2" fmla="*/ 0 w 109"/>
                <a:gd name="T3" fmla="*/ 0 h 85"/>
                <a:gd name="T4" fmla="*/ 12 w 109"/>
                <a:gd name="T5" fmla="*/ 0 h 85"/>
                <a:gd name="T6" fmla="*/ 25 w 109"/>
                <a:gd name="T7" fmla="*/ 56 h 85"/>
                <a:gd name="T8" fmla="*/ 28 w 109"/>
                <a:gd name="T9" fmla="*/ 73 h 85"/>
                <a:gd name="T10" fmla="*/ 32 w 109"/>
                <a:gd name="T11" fmla="*/ 57 h 85"/>
                <a:gd name="T12" fmla="*/ 48 w 109"/>
                <a:gd name="T13" fmla="*/ 0 h 85"/>
                <a:gd name="T14" fmla="*/ 61 w 109"/>
                <a:gd name="T15" fmla="*/ 0 h 85"/>
                <a:gd name="T16" fmla="*/ 74 w 109"/>
                <a:gd name="T17" fmla="*/ 43 h 85"/>
                <a:gd name="T18" fmla="*/ 80 w 109"/>
                <a:gd name="T19" fmla="*/ 73 h 85"/>
                <a:gd name="T20" fmla="*/ 84 w 109"/>
                <a:gd name="T21" fmla="*/ 55 h 85"/>
                <a:gd name="T22" fmla="*/ 98 w 109"/>
                <a:gd name="T23" fmla="*/ 0 h 85"/>
                <a:gd name="T24" fmla="*/ 109 w 109"/>
                <a:gd name="T25" fmla="*/ 0 h 85"/>
                <a:gd name="T26" fmla="*/ 86 w 109"/>
                <a:gd name="T27" fmla="*/ 85 h 85"/>
                <a:gd name="T28" fmla="*/ 75 w 109"/>
                <a:gd name="T29" fmla="*/ 85 h 85"/>
                <a:gd name="T30" fmla="*/ 57 w 109"/>
                <a:gd name="T31" fmla="*/ 21 h 85"/>
                <a:gd name="T32" fmla="*/ 54 w 109"/>
                <a:gd name="T33" fmla="*/ 11 h 85"/>
                <a:gd name="T34" fmla="*/ 52 w 109"/>
                <a:gd name="T35" fmla="*/ 21 h 85"/>
                <a:gd name="T36" fmla="*/ 34 w 109"/>
                <a:gd name="T37" fmla="*/ 85 h 85"/>
                <a:gd name="T38" fmla="*/ 23 w 109"/>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85">
                  <a:moveTo>
                    <a:pt x="23" y="85"/>
                  </a:moveTo>
                  <a:lnTo>
                    <a:pt x="0" y="0"/>
                  </a:lnTo>
                  <a:lnTo>
                    <a:pt x="12" y="0"/>
                  </a:lnTo>
                  <a:lnTo>
                    <a:pt x="25" y="56"/>
                  </a:lnTo>
                  <a:cubicBezTo>
                    <a:pt x="26" y="62"/>
                    <a:pt x="27" y="67"/>
                    <a:pt x="28" y="73"/>
                  </a:cubicBezTo>
                  <a:cubicBezTo>
                    <a:pt x="30" y="64"/>
                    <a:pt x="32" y="59"/>
                    <a:pt x="32" y="57"/>
                  </a:cubicBezTo>
                  <a:lnTo>
                    <a:pt x="48" y="0"/>
                  </a:lnTo>
                  <a:lnTo>
                    <a:pt x="61" y="0"/>
                  </a:lnTo>
                  <a:lnTo>
                    <a:pt x="74" y="43"/>
                  </a:lnTo>
                  <a:cubicBezTo>
                    <a:pt x="77" y="54"/>
                    <a:pt x="79" y="64"/>
                    <a:pt x="80" y="73"/>
                  </a:cubicBezTo>
                  <a:cubicBezTo>
                    <a:pt x="81" y="68"/>
                    <a:pt x="83" y="62"/>
                    <a:pt x="84" y="55"/>
                  </a:cubicBezTo>
                  <a:lnTo>
                    <a:pt x="98" y="0"/>
                  </a:lnTo>
                  <a:lnTo>
                    <a:pt x="109" y="0"/>
                  </a:lnTo>
                  <a:lnTo>
                    <a:pt x="86" y="85"/>
                  </a:lnTo>
                  <a:lnTo>
                    <a:pt x="75" y="85"/>
                  </a:lnTo>
                  <a:lnTo>
                    <a:pt x="57" y="21"/>
                  </a:lnTo>
                  <a:cubicBezTo>
                    <a:pt x="56" y="15"/>
                    <a:pt x="55" y="12"/>
                    <a:pt x="54" y="11"/>
                  </a:cubicBezTo>
                  <a:cubicBezTo>
                    <a:pt x="54" y="15"/>
                    <a:pt x="53" y="18"/>
                    <a:pt x="52" y="21"/>
                  </a:cubicBezTo>
                  <a:lnTo>
                    <a:pt x="34" y="85"/>
                  </a:lnTo>
                  <a:lnTo>
                    <a:pt x="2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1868"/>
            <p:cNvSpPr>
              <a:spLocks/>
            </p:cNvSpPr>
            <p:nvPr/>
          </p:nvSpPr>
          <p:spPr bwMode="auto">
            <a:xfrm>
              <a:off x="4586" y="1831"/>
              <a:ext cx="18" cy="20"/>
            </a:xfrm>
            <a:custGeom>
              <a:avLst/>
              <a:gdLst>
                <a:gd name="T0" fmla="*/ 0 w 80"/>
                <a:gd name="T1" fmla="*/ 85 h 85"/>
                <a:gd name="T2" fmla="*/ 0 w 80"/>
                <a:gd name="T3" fmla="*/ 0 h 85"/>
                <a:gd name="T4" fmla="*/ 17 w 80"/>
                <a:gd name="T5" fmla="*/ 0 h 85"/>
                <a:gd name="T6" fmla="*/ 37 w 80"/>
                <a:gd name="T7" fmla="*/ 60 h 85"/>
                <a:gd name="T8" fmla="*/ 41 w 80"/>
                <a:gd name="T9" fmla="*/ 73 h 85"/>
                <a:gd name="T10" fmla="*/ 45 w 80"/>
                <a:gd name="T11" fmla="*/ 59 h 85"/>
                <a:gd name="T12" fmla="*/ 65 w 80"/>
                <a:gd name="T13" fmla="*/ 0 h 85"/>
                <a:gd name="T14" fmla="*/ 80 w 80"/>
                <a:gd name="T15" fmla="*/ 0 h 85"/>
                <a:gd name="T16" fmla="*/ 80 w 80"/>
                <a:gd name="T17" fmla="*/ 85 h 85"/>
                <a:gd name="T18" fmla="*/ 69 w 80"/>
                <a:gd name="T19" fmla="*/ 85 h 85"/>
                <a:gd name="T20" fmla="*/ 69 w 80"/>
                <a:gd name="T21" fmla="*/ 14 h 85"/>
                <a:gd name="T22" fmla="*/ 45 w 80"/>
                <a:gd name="T23" fmla="*/ 85 h 85"/>
                <a:gd name="T24" fmla="*/ 35 w 80"/>
                <a:gd name="T25" fmla="*/ 85 h 85"/>
                <a:gd name="T26" fmla="*/ 11 w 80"/>
                <a:gd name="T27" fmla="*/ 13 h 85"/>
                <a:gd name="T28" fmla="*/ 11 w 80"/>
                <a:gd name="T29" fmla="*/ 85 h 85"/>
                <a:gd name="T30" fmla="*/ 0 w 80"/>
                <a:gd name="T3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0" y="85"/>
                  </a:moveTo>
                  <a:lnTo>
                    <a:pt x="0" y="0"/>
                  </a:lnTo>
                  <a:lnTo>
                    <a:pt x="17" y="0"/>
                  </a:lnTo>
                  <a:lnTo>
                    <a:pt x="37" y="60"/>
                  </a:lnTo>
                  <a:cubicBezTo>
                    <a:pt x="38" y="66"/>
                    <a:pt x="40" y="70"/>
                    <a:pt x="41" y="73"/>
                  </a:cubicBezTo>
                  <a:cubicBezTo>
                    <a:pt x="42" y="70"/>
                    <a:pt x="43" y="65"/>
                    <a:pt x="45" y="59"/>
                  </a:cubicBezTo>
                  <a:lnTo>
                    <a:pt x="65" y="0"/>
                  </a:lnTo>
                  <a:lnTo>
                    <a:pt x="80" y="0"/>
                  </a:lnTo>
                  <a:lnTo>
                    <a:pt x="80" y="85"/>
                  </a:lnTo>
                  <a:lnTo>
                    <a:pt x="69" y="85"/>
                  </a:lnTo>
                  <a:lnTo>
                    <a:pt x="69" y="14"/>
                  </a:lnTo>
                  <a:lnTo>
                    <a:pt x="45" y="85"/>
                  </a:lnTo>
                  <a:lnTo>
                    <a:pt x="35" y="85"/>
                  </a:lnTo>
                  <a:lnTo>
                    <a:pt x="11" y="13"/>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1869"/>
            <p:cNvSpPr>
              <a:spLocks/>
            </p:cNvSpPr>
            <p:nvPr/>
          </p:nvSpPr>
          <p:spPr bwMode="auto">
            <a:xfrm>
              <a:off x="4615" y="1831"/>
              <a:ext cx="6" cy="25"/>
            </a:xfrm>
            <a:custGeom>
              <a:avLst/>
              <a:gdLst>
                <a:gd name="T0" fmla="*/ 8 w 28"/>
                <a:gd name="T1" fmla="*/ 111 h 111"/>
                <a:gd name="T2" fmla="*/ 0 w 28"/>
                <a:gd name="T3" fmla="*/ 111 h 111"/>
                <a:gd name="T4" fmla="*/ 17 w 28"/>
                <a:gd name="T5" fmla="*/ 55 h 111"/>
                <a:gd name="T6" fmla="*/ 15 w 28"/>
                <a:gd name="T7" fmla="*/ 34 h 111"/>
                <a:gd name="T8" fmla="*/ 9 w 28"/>
                <a:gd name="T9" fmla="*/ 17 h 111"/>
                <a:gd name="T10" fmla="*/ 0 w 28"/>
                <a:gd name="T11" fmla="*/ 0 h 111"/>
                <a:gd name="T12" fmla="*/ 8 w 28"/>
                <a:gd name="T13" fmla="*/ 0 h 111"/>
                <a:gd name="T14" fmla="*/ 24 w 28"/>
                <a:gd name="T15" fmla="*/ 29 h 111"/>
                <a:gd name="T16" fmla="*/ 28 w 28"/>
                <a:gd name="T17" fmla="*/ 55 h 111"/>
                <a:gd name="T18" fmla="*/ 22 w 28"/>
                <a:gd name="T19" fmla="*/ 85 h 111"/>
                <a:gd name="T20" fmla="*/ 8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8" y="111"/>
                  </a:moveTo>
                  <a:lnTo>
                    <a:pt x="0" y="111"/>
                  </a:lnTo>
                  <a:cubicBezTo>
                    <a:pt x="12" y="92"/>
                    <a:pt x="17" y="74"/>
                    <a:pt x="17" y="55"/>
                  </a:cubicBezTo>
                  <a:cubicBezTo>
                    <a:pt x="17" y="48"/>
                    <a:pt x="16" y="41"/>
                    <a:pt x="15" y="34"/>
                  </a:cubicBezTo>
                  <a:cubicBezTo>
                    <a:pt x="14" y="28"/>
                    <a:pt x="12" y="23"/>
                    <a:pt x="9" y="17"/>
                  </a:cubicBezTo>
                  <a:cubicBezTo>
                    <a:pt x="8" y="14"/>
                    <a:pt x="5" y="8"/>
                    <a:pt x="0" y="0"/>
                  </a:cubicBezTo>
                  <a:lnTo>
                    <a:pt x="8" y="0"/>
                  </a:lnTo>
                  <a:cubicBezTo>
                    <a:pt x="15" y="10"/>
                    <a:pt x="20" y="19"/>
                    <a:pt x="24" y="29"/>
                  </a:cubicBezTo>
                  <a:cubicBezTo>
                    <a:pt x="26" y="37"/>
                    <a:pt x="28" y="46"/>
                    <a:pt x="28" y="55"/>
                  </a:cubicBezTo>
                  <a:cubicBezTo>
                    <a:pt x="28" y="66"/>
                    <a:pt x="26" y="76"/>
                    <a:pt x="22" y="85"/>
                  </a:cubicBezTo>
                  <a:cubicBezTo>
                    <a:pt x="18" y="95"/>
                    <a:pt x="13" y="103"/>
                    <a:pt x="8" y="1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1870"/>
            <p:cNvSpPr>
              <a:spLocks/>
            </p:cNvSpPr>
            <p:nvPr/>
          </p:nvSpPr>
          <p:spPr bwMode="auto">
            <a:xfrm>
              <a:off x="3103"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6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6"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1871"/>
            <p:cNvSpPr>
              <a:spLocks noEditPoints="1"/>
            </p:cNvSpPr>
            <p:nvPr/>
          </p:nvSpPr>
          <p:spPr bwMode="auto">
            <a:xfrm>
              <a:off x="3116" y="1890"/>
              <a:ext cx="12" cy="20"/>
            </a:xfrm>
            <a:custGeom>
              <a:avLst/>
              <a:gdLst>
                <a:gd name="T0" fmla="*/ 0 w 55"/>
                <a:gd name="T1" fmla="*/ 43 h 86"/>
                <a:gd name="T2" fmla="*/ 3 w 55"/>
                <a:gd name="T3" fmla="*/ 19 h 86"/>
                <a:gd name="T4" fmla="*/ 12 w 55"/>
                <a:gd name="T5" fmla="*/ 5 h 86"/>
                <a:gd name="T6" fmla="*/ 28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8 w 55"/>
                <a:gd name="T21" fmla="*/ 86 h 86"/>
                <a:gd name="T22" fmla="*/ 8 w 55"/>
                <a:gd name="T23" fmla="*/ 78 h 86"/>
                <a:gd name="T24" fmla="*/ 0 w 55"/>
                <a:gd name="T25" fmla="*/ 43 h 86"/>
                <a:gd name="T26" fmla="*/ 11 w 55"/>
                <a:gd name="T27" fmla="*/ 43 h 86"/>
                <a:gd name="T28" fmla="*/ 16 w 55"/>
                <a:gd name="T29" fmla="*/ 71 h 86"/>
                <a:gd name="T30" fmla="*/ 28 w 55"/>
                <a:gd name="T31" fmla="*/ 78 h 86"/>
                <a:gd name="T32" fmla="*/ 40 w 55"/>
                <a:gd name="T33" fmla="*/ 71 h 86"/>
                <a:gd name="T34" fmla="*/ 44 w 55"/>
                <a:gd name="T35" fmla="*/ 43 h 86"/>
                <a:gd name="T36" fmla="*/ 40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8"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8" y="86"/>
                  </a:cubicBezTo>
                  <a:cubicBezTo>
                    <a:pt x="19" y="86"/>
                    <a:pt x="13" y="83"/>
                    <a:pt x="8" y="78"/>
                  </a:cubicBezTo>
                  <a:cubicBezTo>
                    <a:pt x="3" y="71"/>
                    <a:pt x="0" y="59"/>
                    <a:pt x="0" y="43"/>
                  </a:cubicBezTo>
                  <a:close/>
                  <a:moveTo>
                    <a:pt x="11" y="43"/>
                  </a:moveTo>
                  <a:cubicBezTo>
                    <a:pt x="11" y="57"/>
                    <a:pt x="12" y="66"/>
                    <a:pt x="16" y="71"/>
                  </a:cubicBezTo>
                  <a:cubicBezTo>
                    <a:pt x="19" y="76"/>
                    <a:pt x="23" y="78"/>
                    <a:pt x="28" y="78"/>
                  </a:cubicBezTo>
                  <a:cubicBezTo>
                    <a:pt x="32" y="78"/>
                    <a:pt x="36" y="76"/>
                    <a:pt x="40" y="71"/>
                  </a:cubicBezTo>
                  <a:cubicBezTo>
                    <a:pt x="43" y="66"/>
                    <a:pt x="44" y="57"/>
                    <a:pt x="44" y="43"/>
                  </a:cubicBezTo>
                  <a:cubicBezTo>
                    <a:pt x="44" y="29"/>
                    <a:pt x="43" y="20"/>
                    <a:pt x="40"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1872"/>
            <p:cNvSpPr>
              <a:spLocks/>
            </p:cNvSpPr>
            <p:nvPr/>
          </p:nvSpPr>
          <p:spPr bwMode="auto">
            <a:xfrm>
              <a:off x="3130" y="1890"/>
              <a:ext cx="7" cy="20"/>
            </a:xfrm>
            <a:custGeom>
              <a:avLst/>
              <a:gdLst>
                <a:gd name="T0" fmla="*/ 0 w 33"/>
                <a:gd name="T1" fmla="*/ 87 h 87"/>
                <a:gd name="T2" fmla="*/ 24 w 33"/>
                <a:gd name="T3" fmla="*/ 0 h 87"/>
                <a:gd name="T4" fmla="*/ 33 w 33"/>
                <a:gd name="T5" fmla="*/ 0 h 87"/>
                <a:gd name="T6" fmla="*/ 8 w 33"/>
                <a:gd name="T7" fmla="*/ 87 h 87"/>
                <a:gd name="T8" fmla="*/ 0 w 33"/>
                <a:gd name="T9" fmla="*/ 87 h 87"/>
              </a:gdLst>
              <a:ahLst/>
              <a:cxnLst>
                <a:cxn ang="0">
                  <a:pos x="T0" y="T1"/>
                </a:cxn>
                <a:cxn ang="0">
                  <a:pos x="T2" y="T3"/>
                </a:cxn>
                <a:cxn ang="0">
                  <a:pos x="T4" y="T5"/>
                </a:cxn>
                <a:cxn ang="0">
                  <a:pos x="T6" y="T7"/>
                </a:cxn>
                <a:cxn ang="0">
                  <a:pos x="T8" y="T9"/>
                </a:cxn>
              </a:cxnLst>
              <a:rect l="0" t="0" r="r" b="b"/>
              <a:pathLst>
                <a:path w="33" h="87">
                  <a:moveTo>
                    <a:pt x="0" y="87"/>
                  </a:moveTo>
                  <a:lnTo>
                    <a:pt x="24" y="0"/>
                  </a:lnTo>
                  <a:lnTo>
                    <a:pt x="33" y="0"/>
                  </a:lnTo>
                  <a:lnTo>
                    <a:pt x="8" y="87"/>
                  </a:lnTo>
                  <a:lnTo>
                    <a:pt x="0"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1873"/>
            <p:cNvSpPr>
              <a:spLocks/>
            </p:cNvSpPr>
            <p:nvPr/>
          </p:nvSpPr>
          <p:spPr bwMode="auto">
            <a:xfrm>
              <a:off x="3140"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5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5"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1874"/>
            <p:cNvSpPr>
              <a:spLocks noEditPoints="1"/>
            </p:cNvSpPr>
            <p:nvPr/>
          </p:nvSpPr>
          <p:spPr bwMode="auto">
            <a:xfrm>
              <a:off x="3153"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8 h 86"/>
                <a:gd name="T24" fmla="*/ 0 w 55"/>
                <a:gd name="T25" fmla="*/ 43 h 86"/>
                <a:gd name="T26" fmla="*/ 11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7" y="86"/>
                  </a:cubicBezTo>
                  <a:cubicBezTo>
                    <a:pt x="19" y="86"/>
                    <a:pt x="13" y="83"/>
                    <a:pt x="8" y="78"/>
                  </a:cubicBezTo>
                  <a:cubicBezTo>
                    <a:pt x="3" y="71"/>
                    <a:pt x="0" y="59"/>
                    <a:pt x="0" y="43"/>
                  </a:cubicBezTo>
                  <a:close/>
                  <a:moveTo>
                    <a:pt x="11" y="43"/>
                  </a:moveTo>
                  <a:cubicBezTo>
                    <a:pt x="11" y="57"/>
                    <a:pt x="12" y="66"/>
                    <a:pt x="15" y="71"/>
                  </a:cubicBezTo>
                  <a:cubicBezTo>
                    <a:pt x="19" y="76"/>
                    <a:pt x="23" y="78"/>
                    <a:pt x="27" y="78"/>
                  </a:cubicBezTo>
                  <a:cubicBezTo>
                    <a:pt x="32" y="78"/>
                    <a:pt x="36" y="76"/>
                    <a:pt x="39" y="71"/>
                  </a:cubicBezTo>
                  <a:cubicBezTo>
                    <a:pt x="43" y="66"/>
                    <a:pt x="44" y="57"/>
                    <a:pt x="44" y="43"/>
                  </a:cubicBezTo>
                  <a:cubicBezTo>
                    <a:pt x="44" y="29"/>
                    <a:pt x="43" y="20"/>
                    <a:pt x="39"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1875"/>
            <p:cNvSpPr>
              <a:spLocks noEditPoints="1"/>
            </p:cNvSpPr>
            <p:nvPr/>
          </p:nvSpPr>
          <p:spPr bwMode="auto">
            <a:xfrm>
              <a:off x="3168"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7 w 55"/>
                <a:gd name="T11" fmla="*/ 11 h 86"/>
                <a:gd name="T12" fmla="*/ 53 w 55"/>
                <a:gd name="T13" fmla="*/ 23 h 86"/>
                <a:gd name="T14" fmla="*/ 55 w 55"/>
                <a:gd name="T15" fmla="*/ 43 h 86"/>
                <a:gd name="T16" fmla="*/ 52 w 55"/>
                <a:gd name="T17" fmla="*/ 67 h 86"/>
                <a:gd name="T18" fmla="*/ 42 w 55"/>
                <a:gd name="T19" fmla="*/ 81 h 86"/>
                <a:gd name="T20" fmla="*/ 27 w 55"/>
                <a:gd name="T21" fmla="*/ 86 h 86"/>
                <a:gd name="T22" fmla="*/ 8 w 55"/>
                <a:gd name="T23" fmla="*/ 78 h 86"/>
                <a:gd name="T24" fmla="*/ 0 w 55"/>
                <a:gd name="T25" fmla="*/ 43 h 86"/>
                <a:gd name="T26" fmla="*/ 10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2" y="5"/>
                    <a:pt x="45" y="7"/>
                    <a:pt x="47" y="11"/>
                  </a:cubicBezTo>
                  <a:cubicBezTo>
                    <a:pt x="50" y="14"/>
                    <a:pt x="51" y="18"/>
                    <a:pt x="53" y="23"/>
                  </a:cubicBezTo>
                  <a:cubicBezTo>
                    <a:pt x="54" y="28"/>
                    <a:pt x="55" y="35"/>
                    <a:pt x="55" y="43"/>
                  </a:cubicBezTo>
                  <a:cubicBezTo>
                    <a:pt x="55" y="53"/>
                    <a:pt x="54" y="61"/>
                    <a:pt x="52" y="67"/>
                  </a:cubicBezTo>
                  <a:cubicBezTo>
                    <a:pt x="49" y="73"/>
                    <a:pt x="46" y="78"/>
                    <a:pt x="42" y="81"/>
                  </a:cubicBezTo>
                  <a:cubicBezTo>
                    <a:pt x="38" y="85"/>
                    <a:pt x="33" y="86"/>
                    <a:pt x="27" y="86"/>
                  </a:cubicBezTo>
                  <a:cubicBezTo>
                    <a:pt x="19" y="86"/>
                    <a:pt x="13" y="83"/>
                    <a:pt x="8" y="78"/>
                  </a:cubicBezTo>
                  <a:cubicBezTo>
                    <a:pt x="2" y="71"/>
                    <a:pt x="0" y="59"/>
                    <a:pt x="0" y="43"/>
                  </a:cubicBezTo>
                  <a:close/>
                  <a:moveTo>
                    <a:pt x="10" y="43"/>
                  </a:moveTo>
                  <a:cubicBezTo>
                    <a:pt x="10" y="57"/>
                    <a:pt x="12" y="66"/>
                    <a:pt x="15" y="71"/>
                  </a:cubicBezTo>
                  <a:cubicBezTo>
                    <a:pt x="18" y="76"/>
                    <a:pt x="22" y="78"/>
                    <a:pt x="27" y="78"/>
                  </a:cubicBezTo>
                  <a:cubicBezTo>
                    <a:pt x="32" y="78"/>
                    <a:pt x="36" y="76"/>
                    <a:pt x="39" y="71"/>
                  </a:cubicBezTo>
                  <a:cubicBezTo>
                    <a:pt x="42" y="66"/>
                    <a:pt x="44" y="57"/>
                    <a:pt x="44" y="43"/>
                  </a:cubicBezTo>
                  <a:cubicBezTo>
                    <a:pt x="44" y="29"/>
                    <a:pt x="42" y="20"/>
                    <a:pt x="39" y="16"/>
                  </a:cubicBezTo>
                  <a:cubicBezTo>
                    <a:pt x="36" y="11"/>
                    <a:pt x="32" y="9"/>
                    <a:pt x="27" y="9"/>
                  </a:cubicBezTo>
                  <a:cubicBezTo>
                    <a:pt x="22" y="9"/>
                    <a:pt x="18" y="11"/>
                    <a:pt x="16" y="15"/>
                  </a:cubicBezTo>
                  <a:cubicBezTo>
                    <a:pt x="12" y="20"/>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1876"/>
            <p:cNvSpPr>
              <a:spLocks/>
            </p:cNvSpPr>
            <p:nvPr/>
          </p:nvSpPr>
          <p:spPr bwMode="auto">
            <a:xfrm>
              <a:off x="3191" y="1891"/>
              <a:ext cx="12" cy="19"/>
            </a:xfrm>
            <a:custGeom>
              <a:avLst/>
              <a:gdLst>
                <a:gd name="T0" fmla="*/ 0 w 52"/>
                <a:gd name="T1" fmla="*/ 84 h 84"/>
                <a:gd name="T2" fmla="*/ 0 w 52"/>
                <a:gd name="T3" fmla="*/ 0 h 84"/>
                <a:gd name="T4" fmla="*/ 11 w 52"/>
                <a:gd name="T5" fmla="*/ 0 h 84"/>
                <a:gd name="T6" fmla="*/ 11 w 52"/>
                <a:gd name="T7" fmla="*/ 74 h 84"/>
                <a:gd name="T8" fmla="*/ 52 w 52"/>
                <a:gd name="T9" fmla="*/ 74 h 84"/>
                <a:gd name="T10" fmla="*/ 52 w 52"/>
                <a:gd name="T11" fmla="*/ 84 h 84"/>
                <a:gd name="T12" fmla="*/ 0 w 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52" h="84">
                  <a:moveTo>
                    <a:pt x="0" y="84"/>
                  </a:moveTo>
                  <a:lnTo>
                    <a:pt x="0" y="0"/>
                  </a:lnTo>
                  <a:lnTo>
                    <a:pt x="11" y="0"/>
                  </a:lnTo>
                  <a:lnTo>
                    <a:pt x="11" y="74"/>
                  </a:lnTo>
                  <a:lnTo>
                    <a:pt x="52" y="74"/>
                  </a:lnTo>
                  <a:lnTo>
                    <a:pt x="52"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1877"/>
            <p:cNvSpPr>
              <a:spLocks noEditPoints="1"/>
            </p:cNvSpPr>
            <p:nvPr/>
          </p:nvSpPr>
          <p:spPr bwMode="auto">
            <a:xfrm>
              <a:off x="3204" y="1891"/>
              <a:ext cx="18" cy="19"/>
            </a:xfrm>
            <a:custGeom>
              <a:avLst/>
              <a:gdLst>
                <a:gd name="T0" fmla="*/ 0 w 79"/>
                <a:gd name="T1" fmla="*/ 84 h 84"/>
                <a:gd name="T2" fmla="*/ 33 w 79"/>
                <a:gd name="T3" fmla="*/ 0 h 84"/>
                <a:gd name="T4" fmla="*/ 45 w 79"/>
                <a:gd name="T5" fmla="*/ 0 h 84"/>
                <a:gd name="T6" fmla="*/ 79 w 79"/>
                <a:gd name="T7" fmla="*/ 84 h 84"/>
                <a:gd name="T8" fmla="*/ 67 w 79"/>
                <a:gd name="T9" fmla="*/ 84 h 84"/>
                <a:gd name="T10" fmla="*/ 57 w 79"/>
                <a:gd name="T11" fmla="*/ 58 h 84"/>
                <a:gd name="T12" fmla="*/ 22 w 79"/>
                <a:gd name="T13" fmla="*/ 58 h 84"/>
                <a:gd name="T14" fmla="*/ 12 w 79"/>
                <a:gd name="T15" fmla="*/ 84 h 84"/>
                <a:gd name="T16" fmla="*/ 0 w 79"/>
                <a:gd name="T17" fmla="*/ 84 h 84"/>
                <a:gd name="T18" fmla="*/ 25 w 79"/>
                <a:gd name="T19" fmla="*/ 49 h 84"/>
                <a:gd name="T20" fmla="*/ 53 w 79"/>
                <a:gd name="T21" fmla="*/ 49 h 84"/>
                <a:gd name="T22" fmla="*/ 45 w 79"/>
                <a:gd name="T23" fmla="*/ 26 h 84"/>
                <a:gd name="T24" fmla="*/ 39 w 79"/>
                <a:gd name="T25" fmla="*/ 8 h 84"/>
                <a:gd name="T26" fmla="*/ 34 w 79"/>
                <a:gd name="T27" fmla="*/ 25 h 84"/>
                <a:gd name="T28" fmla="*/ 25 w 79"/>
                <a:gd name="T29"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3" y="0"/>
                  </a:lnTo>
                  <a:lnTo>
                    <a:pt x="45" y="0"/>
                  </a:lnTo>
                  <a:lnTo>
                    <a:pt x="79" y="84"/>
                  </a:lnTo>
                  <a:lnTo>
                    <a:pt x="67" y="84"/>
                  </a:lnTo>
                  <a:lnTo>
                    <a:pt x="57" y="58"/>
                  </a:lnTo>
                  <a:lnTo>
                    <a:pt x="22" y="58"/>
                  </a:lnTo>
                  <a:lnTo>
                    <a:pt x="12" y="84"/>
                  </a:lnTo>
                  <a:lnTo>
                    <a:pt x="0" y="84"/>
                  </a:lnTo>
                  <a:close/>
                  <a:moveTo>
                    <a:pt x="25" y="49"/>
                  </a:moveTo>
                  <a:lnTo>
                    <a:pt x="53" y="49"/>
                  </a:lnTo>
                  <a:lnTo>
                    <a:pt x="45" y="26"/>
                  </a:lnTo>
                  <a:cubicBezTo>
                    <a:pt x="42" y="19"/>
                    <a:pt x="40" y="13"/>
                    <a:pt x="39" y="8"/>
                  </a:cubicBezTo>
                  <a:cubicBezTo>
                    <a:pt x="37" y="14"/>
                    <a:pt x="36" y="19"/>
                    <a:pt x="34" y="25"/>
                  </a:cubicBezTo>
                  <a:lnTo>
                    <a:pt x="25"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1878"/>
            <p:cNvSpPr>
              <a:spLocks/>
            </p:cNvSpPr>
            <p:nvPr/>
          </p:nvSpPr>
          <p:spPr bwMode="auto">
            <a:xfrm>
              <a:off x="3224" y="1891"/>
              <a:ext cx="15" cy="19"/>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1879"/>
            <p:cNvSpPr>
              <a:spLocks/>
            </p:cNvSpPr>
            <p:nvPr/>
          </p:nvSpPr>
          <p:spPr bwMode="auto">
            <a:xfrm>
              <a:off x="2682" y="2399"/>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10 h 84"/>
                <a:gd name="T28" fmla="*/ 19 w 56"/>
                <a:gd name="T29" fmla="*/ 10 h 84"/>
                <a:gd name="T30" fmla="*/ 14 w 56"/>
                <a:gd name="T31" fmla="*/ 32 h 84"/>
                <a:gd name="T32" fmla="*/ 30 w 56"/>
                <a:gd name="T33" fmla="*/ 27 h 84"/>
                <a:gd name="T34" fmla="*/ 49 w 56"/>
                <a:gd name="T35" fmla="*/ 35 h 84"/>
                <a:gd name="T36" fmla="*/ 56 w 56"/>
                <a:gd name="T37" fmla="*/ 54 h 84"/>
                <a:gd name="T38" fmla="*/ 49 w 56"/>
                <a:gd name="T39" fmla="*/ 74 h 84"/>
                <a:gd name="T40" fmla="*/ 27 w 56"/>
                <a:gd name="T41" fmla="*/ 84 h 84"/>
                <a:gd name="T42" fmla="*/ 9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7" y="74"/>
                    <a:pt x="40" y="70"/>
                  </a:cubicBezTo>
                  <a:cubicBezTo>
                    <a:pt x="43" y="66"/>
                    <a:pt x="45" y="61"/>
                    <a:pt x="45" y="55"/>
                  </a:cubicBezTo>
                  <a:cubicBezTo>
                    <a:pt x="45" y="49"/>
                    <a:pt x="44" y="45"/>
                    <a:pt x="40" y="41"/>
                  </a:cubicBezTo>
                  <a:cubicBezTo>
                    <a:pt x="37" y="38"/>
                    <a:pt x="33" y="36"/>
                    <a:pt x="27" y="36"/>
                  </a:cubicBezTo>
                  <a:cubicBezTo>
                    <a:pt x="24" y="36"/>
                    <a:pt x="21" y="37"/>
                    <a:pt x="18" y="38"/>
                  </a:cubicBezTo>
                  <a:cubicBezTo>
                    <a:pt x="15" y="40"/>
                    <a:pt x="13" y="42"/>
                    <a:pt x="12" y="44"/>
                  </a:cubicBezTo>
                  <a:lnTo>
                    <a:pt x="2" y="43"/>
                  </a:lnTo>
                  <a:lnTo>
                    <a:pt x="10" y="0"/>
                  </a:lnTo>
                  <a:lnTo>
                    <a:pt x="52" y="0"/>
                  </a:lnTo>
                  <a:lnTo>
                    <a:pt x="52" y="10"/>
                  </a:lnTo>
                  <a:lnTo>
                    <a:pt x="19" y="10"/>
                  </a:lnTo>
                  <a:lnTo>
                    <a:pt x="14" y="32"/>
                  </a:lnTo>
                  <a:cubicBezTo>
                    <a:pt x="19" y="29"/>
                    <a:pt x="24" y="27"/>
                    <a:pt x="30" y="27"/>
                  </a:cubicBezTo>
                  <a:cubicBezTo>
                    <a:pt x="37" y="27"/>
                    <a:pt x="44" y="29"/>
                    <a:pt x="49" y="35"/>
                  </a:cubicBezTo>
                  <a:cubicBezTo>
                    <a:pt x="54" y="40"/>
                    <a:pt x="56" y="46"/>
                    <a:pt x="56" y="54"/>
                  </a:cubicBezTo>
                  <a:cubicBezTo>
                    <a:pt x="56" y="62"/>
                    <a:pt x="54" y="69"/>
                    <a:pt x="49" y="74"/>
                  </a:cubicBezTo>
                  <a:cubicBezTo>
                    <a:pt x="44" y="81"/>
                    <a:pt x="37" y="84"/>
                    <a:pt x="27" y="84"/>
                  </a:cubicBezTo>
                  <a:cubicBezTo>
                    <a:pt x="20" y="84"/>
                    <a:pt x="13" y="82"/>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Freeform 1880"/>
            <p:cNvSpPr>
              <a:spLocks/>
            </p:cNvSpPr>
            <p:nvPr/>
          </p:nvSpPr>
          <p:spPr bwMode="auto">
            <a:xfrm>
              <a:off x="2696" y="2399"/>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0"/>
                    <a:pt x="39" y="75"/>
                  </a:cubicBezTo>
                  <a:cubicBezTo>
                    <a:pt x="40" y="70"/>
                    <a:pt x="42" y="65"/>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Freeform 1881"/>
            <p:cNvSpPr>
              <a:spLocks noEditPoints="1"/>
            </p:cNvSpPr>
            <p:nvPr/>
          </p:nvSpPr>
          <p:spPr bwMode="auto">
            <a:xfrm>
              <a:off x="2723" y="2399"/>
              <a:ext cx="15" cy="19"/>
            </a:xfrm>
            <a:custGeom>
              <a:avLst/>
              <a:gdLst>
                <a:gd name="T0" fmla="*/ 0 w 65"/>
                <a:gd name="T1" fmla="*/ 84 h 84"/>
                <a:gd name="T2" fmla="*/ 0 w 65"/>
                <a:gd name="T3" fmla="*/ 0 h 84"/>
                <a:gd name="T4" fmla="*/ 32 w 65"/>
                <a:gd name="T5" fmla="*/ 0 h 84"/>
                <a:gd name="T6" fmla="*/ 45 w 65"/>
                <a:gd name="T7" fmla="*/ 0 h 84"/>
                <a:gd name="T8" fmla="*/ 56 w 65"/>
                <a:gd name="T9" fmla="*/ 4 h 84"/>
                <a:gd name="T10" fmla="*/ 62 w 65"/>
                <a:gd name="T11" fmla="*/ 12 h 84"/>
                <a:gd name="T12" fmla="*/ 65 w 65"/>
                <a:gd name="T13" fmla="*/ 24 h 84"/>
                <a:gd name="T14" fmla="*/ 58 w 65"/>
                <a:gd name="T15" fmla="*/ 42 h 84"/>
                <a:gd name="T16" fmla="*/ 33 w 65"/>
                <a:gd name="T17" fmla="*/ 50 h 84"/>
                <a:gd name="T18" fmla="*/ 12 w 65"/>
                <a:gd name="T19" fmla="*/ 50 h 84"/>
                <a:gd name="T20" fmla="*/ 12 w 65"/>
                <a:gd name="T21" fmla="*/ 84 h 84"/>
                <a:gd name="T22" fmla="*/ 0 w 65"/>
                <a:gd name="T23" fmla="*/ 84 h 84"/>
                <a:gd name="T24" fmla="*/ 12 w 65"/>
                <a:gd name="T25" fmla="*/ 40 h 84"/>
                <a:gd name="T26" fmla="*/ 33 w 65"/>
                <a:gd name="T27" fmla="*/ 40 h 84"/>
                <a:gd name="T28" fmla="*/ 49 w 65"/>
                <a:gd name="T29" fmla="*/ 36 h 84"/>
                <a:gd name="T30" fmla="*/ 53 w 65"/>
                <a:gd name="T31" fmla="*/ 24 h 84"/>
                <a:gd name="T32" fmla="*/ 51 w 65"/>
                <a:gd name="T33" fmla="*/ 15 h 84"/>
                <a:gd name="T34" fmla="*/ 44 w 65"/>
                <a:gd name="T35" fmla="*/ 10 h 84"/>
                <a:gd name="T36" fmla="*/ 33 w 65"/>
                <a:gd name="T37" fmla="*/ 9 h 84"/>
                <a:gd name="T38" fmla="*/ 12 w 65"/>
                <a:gd name="T39" fmla="*/ 9 h 84"/>
                <a:gd name="T40" fmla="*/ 12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0"/>
                  </a:cubicBezTo>
                  <a:cubicBezTo>
                    <a:pt x="49" y="1"/>
                    <a:pt x="53" y="2"/>
                    <a:pt x="56" y="4"/>
                  </a:cubicBezTo>
                  <a:cubicBezTo>
                    <a:pt x="58" y="6"/>
                    <a:pt x="61" y="9"/>
                    <a:pt x="62" y="12"/>
                  </a:cubicBezTo>
                  <a:cubicBezTo>
                    <a:pt x="64" y="16"/>
                    <a:pt x="65" y="20"/>
                    <a:pt x="65" y="24"/>
                  </a:cubicBezTo>
                  <a:cubicBezTo>
                    <a:pt x="65" y="31"/>
                    <a:pt x="63" y="37"/>
                    <a:pt x="58" y="42"/>
                  </a:cubicBezTo>
                  <a:cubicBezTo>
                    <a:pt x="53" y="47"/>
                    <a:pt x="45" y="50"/>
                    <a:pt x="33" y="50"/>
                  </a:cubicBezTo>
                  <a:lnTo>
                    <a:pt x="12" y="50"/>
                  </a:lnTo>
                  <a:lnTo>
                    <a:pt x="12" y="84"/>
                  </a:lnTo>
                  <a:lnTo>
                    <a:pt x="0" y="84"/>
                  </a:lnTo>
                  <a:close/>
                  <a:moveTo>
                    <a:pt x="12" y="40"/>
                  </a:moveTo>
                  <a:lnTo>
                    <a:pt x="33" y="40"/>
                  </a:lnTo>
                  <a:cubicBezTo>
                    <a:pt x="41" y="40"/>
                    <a:pt x="46" y="38"/>
                    <a:pt x="49" y="36"/>
                  </a:cubicBezTo>
                  <a:cubicBezTo>
                    <a:pt x="52" y="33"/>
                    <a:pt x="53" y="29"/>
                    <a:pt x="53" y="24"/>
                  </a:cubicBezTo>
                  <a:cubicBezTo>
                    <a:pt x="53" y="21"/>
                    <a:pt x="52" y="18"/>
                    <a:pt x="51" y="15"/>
                  </a:cubicBezTo>
                  <a:cubicBezTo>
                    <a:pt x="49" y="13"/>
                    <a:pt x="47" y="11"/>
                    <a:pt x="44" y="10"/>
                  </a:cubicBezTo>
                  <a:cubicBezTo>
                    <a:pt x="42" y="10"/>
                    <a:pt x="38" y="9"/>
                    <a:pt x="33" y="9"/>
                  </a:cubicBezTo>
                  <a:lnTo>
                    <a:pt x="12" y="9"/>
                  </a:lnTo>
                  <a:lnTo>
                    <a:pt x="12"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Freeform 1882"/>
            <p:cNvSpPr>
              <a:spLocks/>
            </p:cNvSpPr>
            <p:nvPr/>
          </p:nvSpPr>
          <p:spPr bwMode="auto">
            <a:xfrm>
              <a:off x="2739" y="2399"/>
              <a:ext cx="25" cy="19"/>
            </a:xfrm>
            <a:custGeom>
              <a:avLst/>
              <a:gdLst>
                <a:gd name="T0" fmla="*/ 22 w 108"/>
                <a:gd name="T1" fmla="*/ 84 h 84"/>
                <a:gd name="T2" fmla="*/ 0 w 108"/>
                <a:gd name="T3" fmla="*/ 0 h 84"/>
                <a:gd name="T4" fmla="*/ 11 w 108"/>
                <a:gd name="T5" fmla="*/ 0 h 84"/>
                <a:gd name="T6" fmla="*/ 24 w 108"/>
                <a:gd name="T7" fmla="*/ 55 h 84"/>
                <a:gd name="T8" fmla="*/ 27 w 108"/>
                <a:gd name="T9" fmla="*/ 72 h 84"/>
                <a:gd name="T10" fmla="*/ 31 w 108"/>
                <a:gd name="T11" fmla="*/ 56 h 84"/>
                <a:gd name="T12" fmla="*/ 47 w 108"/>
                <a:gd name="T13" fmla="*/ 0 h 84"/>
                <a:gd name="T14" fmla="*/ 61 w 108"/>
                <a:gd name="T15" fmla="*/ 0 h 84"/>
                <a:gd name="T16" fmla="*/ 73 w 108"/>
                <a:gd name="T17" fmla="*/ 42 h 84"/>
                <a:gd name="T18" fmla="*/ 79 w 108"/>
                <a:gd name="T19" fmla="*/ 72 h 84"/>
                <a:gd name="T20" fmla="*/ 84 w 108"/>
                <a:gd name="T21" fmla="*/ 54 h 84"/>
                <a:gd name="T22" fmla="*/ 97 w 108"/>
                <a:gd name="T23" fmla="*/ 0 h 84"/>
                <a:gd name="T24" fmla="*/ 108 w 108"/>
                <a:gd name="T25" fmla="*/ 0 h 84"/>
                <a:gd name="T26" fmla="*/ 85 w 108"/>
                <a:gd name="T27" fmla="*/ 84 h 84"/>
                <a:gd name="T28" fmla="*/ 74 w 108"/>
                <a:gd name="T29" fmla="*/ 84 h 84"/>
                <a:gd name="T30" fmla="*/ 56 w 108"/>
                <a:gd name="T31" fmla="*/ 20 h 84"/>
                <a:gd name="T32" fmla="*/ 54 w 108"/>
                <a:gd name="T33" fmla="*/ 10 h 84"/>
                <a:gd name="T34" fmla="*/ 51 w 108"/>
                <a:gd name="T35" fmla="*/ 20 h 84"/>
                <a:gd name="T36" fmla="*/ 33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6" y="66"/>
                    <a:pt x="27" y="72"/>
                  </a:cubicBezTo>
                  <a:cubicBezTo>
                    <a:pt x="30" y="63"/>
                    <a:pt x="31" y="58"/>
                    <a:pt x="31" y="56"/>
                  </a:cubicBezTo>
                  <a:lnTo>
                    <a:pt x="47" y="0"/>
                  </a:lnTo>
                  <a:lnTo>
                    <a:pt x="61" y="0"/>
                  </a:lnTo>
                  <a:lnTo>
                    <a:pt x="73" y="42"/>
                  </a:lnTo>
                  <a:cubicBezTo>
                    <a:pt x="76" y="53"/>
                    <a:pt x="78" y="63"/>
                    <a:pt x="79" y="72"/>
                  </a:cubicBezTo>
                  <a:cubicBezTo>
                    <a:pt x="80" y="67"/>
                    <a:pt x="82" y="61"/>
                    <a:pt x="84" y="54"/>
                  </a:cubicBezTo>
                  <a:lnTo>
                    <a:pt x="97" y="0"/>
                  </a:lnTo>
                  <a:lnTo>
                    <a:pt x="108" y="0"/>
                  </a:lnTo>
                  <a:lnTo>
                    <a:pt x="85" y="84"/>
                  </a:lnTo>
                  <a:lnTo>
                    <a:pt x="74" y="84"/>
                  </a:lnTo>
                  <a:lnTo>
                    <a:pt x="56" y="20"/>
                  </a:lnTo>
                  <a:cubicBezTo>
                    <a:pt x="55" y="14"/>
                    <a:pt x="54" y="11"/>
                    <a:pt x="54" y="10"/>
                  </a:cubicBezTo>
                  <a:cubicBezTo>
                    <a:pt x="53" y="14"/>
                    <a:pt x="52" y="17"/>
                    <a:pt x="51" y="20"/>
                  </a:cubicBezTo>
                  <a:lnTo>
                    <a:pt x="33"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1883"/>
            <p:cNvSpPr>
              <a:spLocks noEditPoints="1"/>
            </p:cNvSpPr>
            <p:nvPr/>
          </p:nvSpPr>
          <p:spPr bwMode="auto">
            <a:xfrm>
              <a:off x="2766" y="2399"/>
              <a:ext cx="17" cy="19"/>
            </a:xfrm>
            <a:custGeom>
              <a:avLst/>
              <a:gdLst>
                <a:gd name="T0" fmla="*/ 0 w 74"/>
                <a:gd name="T1" fmla="*/ 84 h 84"/>
                <a:gd name="T2" fmla="*/ 0 w 74"/>
                <a:gd name="T3" fmla="*/ 0 h 84"/>
                <a:gd name="T4" fmla="*/ 37 w 74"/>
                <a:gd name="T5" fmla="*/ 0 h 84"/>
                <a:gd name="T6" fmla="*/ 54 w 74"/>
                <a:gd name="T7" fmla="*/ 2 h 84"/>
                <a:gd name="T8" fmla="*/ 63 w 74"/>
                <a:gd name="T9" fmla="*/ 10 h 84"/>
                <a:gd name="T10" fmla="*/ 67 w 74"/>
                <a:gd name="T11" fmla="*/ 23 h 84"/>
                <a:gd name="T12" fmla="*/ 61 w 74"/>
                <a:gd name="T13" fmla="*/ 38 h 84"/>
                <a:gd name="T14" fmla="*/ 43 w 74"/>
                <a:gd name="T15" fmla="*/ 45 h 84"/>
                <a:gd name="T16" fmla="*/ 50 w 74"/>
                <a:gd name="T17" fmla="*/ 50 h 84"/>
                <a:gd name="T18" fmla="*/ 59 w 74"/>
                <a:gd name="T19" fmla="*/ 61 h 84"/>
                <a:gd name="T20" fmla="*/ 74 w 74"/>
                <a:gd name="T21" fmla="*/ 84 h 84"/>
                <a:gd name="T22" fmla="*/ 60 w 74"/>
                <a:gd name="T23" fmla="*/ 84 h 84"/>
                <a:gd name="T24" fmla="*/ 49 w 74"/>
                <a:gd name="T25" fmla="*/ 66 h 84"/>
                <a:gd name="T26" fmla="*/ 41 w 74"/>
                <a:gd name="T27" fmla="*/ 55 h 84"/>
                <a:gd name="T28" fmla="*/ 35 w 74"/>
                <a:gd name="T29" fmla="*/ 49 h 84"/>
                <a:gd name="T30" fmla="*/ 30 w 74"/>
                <a:gd name="T31" fmla="*/ 47 h 84"/>
                <a:gd name="T32" fmla="*/ 24 w 74"/>
                <a:gd name="T33" fmla="*/ 46 h 84"/>
                <a:gd name="T34" fmla="*/ 11 w 74"/>
                <a:gd name="T35" fmla="*/ 46 h 84"/>
                <a:gd name="T36" fmla="*/ 11 w 74"/>
                <a:gd name="T37" fmla="*/ 84 h 84"/>
                <a:gd name="T38" fmla="*/ 0 w 74"/>
                <a:gd name="T39" fmla="*/ 84 h 84"/>
                <a:gd name="T40" fmla="*/ 11 w 74"/>
                <a:gd name="T41" fmla="*/ 37 h 84"/>
                <a:gd name="T42" fmla="*/ 35 w 74"/>
                <a:gd name="T43" fmla="*/ 37 h 84"/>
                <a:gd name="T44" fmla="*/ 47 w 74"/>
                <a:gd name="T45" fmla="*/ 35 h 84"/>
                <a:gd name="T46" fmla="*/ 53 w 74"/>
                <a:gd name="T47" fmla="*/ 30 h 84"/>
                <a:gd name="T48" fmla="*/ 55 w 74"/>
                <a:gd name="T49" fmla="*/ 23 h 84"/>
                <a:gd name="T50" fmla="*/ 51 w 74"/>
                <a:gd name="T51" fmla="*/ 13 h 84"/>
                <a:gd name="T52" fmla="*/ 37 w 74"/>
                <a:gd name="T53" fmla="*/ 9 h 84"/>
                <a:gd name="T54" fmla="*/ 11 w 74"/>
                <a:gd name="T55" fmla="*/ 9 h 84"/>
                <a:gd name="T56" fmla="*/ 11 w 74"/>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4">
                  <a:moveTo>
                    <a:pt x="0" y="84"/>
                  </a:moveTo>
                  <a:lnTo>
                    <a:pt x="0" y="0"/>
                  </a:lnTo>
                  <a:lnTo>
                    <a:pt x="37" y="0"/>
                  </a:lnTo>
                  <a:cubicBezTo>
                    <a:pt x="44" y="0"/>
                    <a:pt x="50" y="0"/>
                    <a:pt x="54" y="2"/>
                  </a:cubicBezTo>
                  <a:cubicBezTo>
                    <a:pt x="58" y="3"/>
                    <a:pt x="61" y="6"/>
                    <a:pt x="63" y="10"/>
                  </a:cubicBezTo>
                  <a:cubicBezTo>
                    <a:pt x="66" y="14"/>
                    <a:pt x="67" y="18"/>
                    <a:pt x="67" y="23"/>
                  </a:cubicBezTo>
                  <a:cubicBezTo>
                    <a:pt x="67" y="29"/>
                    <a:pt x="65" y="34"/>
                    <a:pt x="61" y="38"/>
                  </a:cubicBezTo>
                  <a:cubicBezTo>
                    <a:pt x="57" y="42"/>
                    <a:pt x="51" y="44"/>
                    <a:pt x="43" y="45"/>
                  </a:cubicBezTo>
                  <a:cubicBezTo>
                    <a:pt x="46" y="47"/>
                    <a:pt x="48" y="48"/>
                    <a:pt x="50" y="50"/>
                  </a:cubicBezTo>
                  <a:cubicBezTo>
                    <a:pt x="53" y="53"/>
                    <a:pt x="56" y="56"/>
                    <a:pt x="59" y="61"/>
                  </a:cubicBezTo>
                  <a:lnTo>
                    <a:pt x="74" y="84"/>
                  </a:lnTo>
                  <a:lnTo>
                    <a:pt x="60" y="84"/>
                  </a:lnTo>
                  <a:lnTo>
                    <a:pt x="49" y="66"/>
                  </a:lnTo>
                  <a:cubicBezTo>
                    <a:pt x="45" y="61"/>
                    <a:pt x="43" y="57"/>
                    <a:pt x="41" y="55"/>
                  </a:cubicBezTo>
                  <a:cubicBezTo>
                    <a:pt x="39" y="52"/>
                    <a:pt x="37" y="50"/>
                    <a:pt x="35" y="49"/>
                  </a:cubicBezTo>
                  <a:cubicBezTo>
                    <a:pt x="33" y="48"/>
                    <a:pt x="32" y="47"/>
                    <a:pt x="30" y="47"/>
                  </a:cubicBezTo>
                  <a:cubicBezTo>
                    <a:pt x="29" y="47"/>
                    <a:pt x="27" y="46"/>
                    <a:pt x="24" y="46"/>
                  </a:cubicBezTo>
                  <a:lnTo>
                    <a:pt x="11" y="46"/>
                  </a:lnTo>
                  <a:lnTo>
                    <a:pt x="11" y="84"/>
                  </a:lnTo>
                  <a:lnTo>
                    <a:pt x="0" y="84"/>
                  </a:lnTo>
                  <a:close/>
                  <a:moveTo>
                    <a:pt x="11" y="37"/>
                  </a:moveTo>
                  <a:lnTo>
                    <a:pt x="35" y="37"/>
                  </a:lnTo>
                  <a:cubicBezTo>
                    <a:pt x="40" y="37"/>
                    <a:pt x="44" y="36"/>
                    <a:pt x="47" y="35"/>
                  </a:cubicBezTo>
                  <a:cubicBezTo>
                    <a:pt x="50" y="34"/>
                    <a:pt x="52" y="32"/>
                    <a:pt x="53" y="30"/>
                  </a:cubicBezTo>
                  <a:cubicBezTo>
                    <a:pt x="55" y="28"/>
                    <a:pt x="55" y="25"/>
                    <a:pt x="55" y="23"/>
                  </a:cubicBezTo>
                  <a:cubicBezTo>
                    <a:pt x="55" y="19"/>
                    <a:pt x="54" y="15"/>
                    <a:pt x="51" y="13"/>
                  </a:cubicBezTo>
                  <a:cubicBezTo>
                    <a:pt x="48" y="10"/>
                    <a:pt x="44" y="9"/>
                    <a:pt x="37"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Freeform 1884"/>
            <p:cNvSpPr>
              <a:spLocks/>
            </p:cNvSpPr>
            <p:nvPr/>
          </p:nvSpPr>
          <p:spPr bwMode="auto">
            <a:xfrm>
              <a:off x="2784" y="2140"/>
              <a:ext cx="8" cy="12"/>
            </a:xfrm>
            <a:custGeom>
              <a:avLst/>
              <a:gdLst>
                <a:gd name="T0" fmla="*/ 0 w 37"/>
                <a:gd name="T1" fmla="*/ 55 h 55"/>
                <a:gd name="T2" fmla="*/ 0 w 37"/>
                <a:gd name="T3" fmla="*/ 0 h 55"/>
                <a:gd name="T4" fmla="*/ 37 w 37"/>
                <a:gd name="T5" fmla="*/ 0 h 55"/>
                <a:gd name="T6" fmla="*/ 37 w 37"/>
                <a:gd name="T7" fmla="*/ 7 h 55"/>
                <a:gd name="T8" fmla="*/ 7 w 37"/>
                <a:gd name="T9" fmla="*/ 7 h 55"/>
                <a:gd name="T10" fmla="*/ 7 w 37"/>
                <a:gd name="T11" fmla="*/ 24 h 55"/>
                <a:gd name="T12" fmla="*/ 33 w 37"/>
                <a:gd name="T13" fmla="*/ 24 h 55"/>
                <a:gd name="T14" fmla="*/ 33 w 37"/>
                <a:gd name="T15" fmla="*/ 30 h 55"/>
                <a:gd name="T16" fmla="*/ 7 w 37"/>
                <a:gd name="T17" fmla="*/ 30 h 55"/>
                <a:gd name="T18" fmla="*/ 7 w 37"/>
                <a:gd name="T19" fmla="*/ 55 h 55"/>
                <a:gd name="T20" fmla="*/ 0 w 3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5">
                  <a:moveTo>
                    <a:pt x="0" y="55"/>
                  </a:moveTo>
                  <a:lnTo>
                    <a:pt x="0" y="0"/>
                  </a:lnTo>
                  <a:lnTo>
                    <a:pt x="37" y="0"/>
                  </a:lnTo>
                  <a:lnTo>
                    <a:pt x="37" y="7"/>
                  </a:lnTo>
                  <a:lnTo>
                    <a:pt x="7" y="7"/>
                  </a:lnTo>
                  <a:lnTo>
                    <a:pt x="7" y="24"/>
                  </a:lnTo>
                  <a:lnTo>
                    <a:pt x="33" y="24"/>
                  </a:lnTo>
                  <a:lnTo>
                    <a:pt x="33" y="30"/>
                  </a:lnTo>
                  <a:lnTo>
                    <a:pt x="7" y="30"/>
                  </a:lnTo>
                  <a:lnTo>
                    <a:pt x="7"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Freeform 1885"/>
            <p:cNvSpPr>
              <a:spLocks/>
            </p:cNvSpPr>
            <p:nvPr/>
          </p:nvSpPr>
          <p:spPr bwMode="auto">
            <a:xfrm>
              <a:off x="2794" y="2140"/>
              <a:ext cx="10" cy="12"/>
            </a:xfrm>
            <a:custGeom>
              <a:avLst/>
              <a:gdLst>
                <a:gd name="T0" fmla="*/ 36 w 43"/>
                <a:gd name="T1" fmla="*/ 0 h 56"/>
                <a:gd name="T2" fmla="*/ 43 w 43"/>
                <a:gd name="T3" fmla="*/ 0 h 56"/>
                <a:gd name="T4" fmla="*/ 43 w 43"/>
                <a:gd name="T5" fmla="*/ 32 h 56"/>
                <a:gd name="T6" fmla="*/ 41 w 43"/>
                <a:gd name="T7" fmla="*/ 45 h 56"/>
                <a:gd name="T8" fmla="*/ 35 w 43"/>
                <a:gd name="T9" fmla="*/ 53 h 56"/>
                <a:gd name="T10" fmla="*/ 22 w 43"/>
                <a:gd name="T11" fmla="*/ 56 h 56"/>
                <a:gd name="T12" fmla="*/ 9 w 43"/>
                <a:gd name="T13" fmla="*/ 54 h 56"/>
                <a:gd name="T14" fmla="*/ 2 w 43"/>
                <a:gd name="T15" fmla="*/ 46 h 56"/>
                <a:gd name="T16" fmla="*/ 0 w 43"/>
                <a:gd name="T17" fmla="*/ 32 h 56"/>
                <a:gd name="T18" fmla="*/ 0 w 43"/>
                <a:gd name="T19" fmla="*/ 0 h 56"/>
                <a:gd name="T20" fmla="*/ 7 w 43"/>
                <a:gd name="T21" fmla="*/ 0 h 56"/>
                <a:gd name="T22" fmla="*/ 7 w 43"/>
                <a:gd name="T23" fmla="*/ 32 h 56"/>
                <a:gd name="T24" fmla="*/ 9 w 43"/>
                <a:gd name="T25" fmla="*/ 43 h 56"/>
                <a:gd name="T26" fmla="*/ 13 w 43"/>
                <a:gd name="T27" fmla="*/ 48 h 56"/>
                <a:gd name="T28" fmla="*/ 21 w 43"/>
                <a:gd name="T29" fmla="*/ 50 h 56"/>
                <a:gd name="T30" fmla="*/ 33 w 43"/>
                <a:gd name="T31" fmla="*/ 46 h 56"/>
                <a:gd name="T32" fmla="*/ 36 w 43"/>
                <a:gd name="T33" fmla="*/ 32 h 56"/>
                <a:gd name="T34" fmla="*/ 36 w 43"/>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6">
                  <a:moveTo>
                    <a:pt x="36" y="0"/>
                  </a:moveTo>
                  <a:lnTo>
                    <a:pt x="43" y="0"/>
                  </a:lnTo>
                  <a:lnTo>
                    <a:pt x="43" y="32"/>
                  </a:lnTo>
                  <a:cubicBezTo>
                    <a:pt x="43" y="38"/>
                    <a:pt x="43" y="42"/>
                    <a:pt x="41" y="45"/>
                  </a:cubicBezTo>
                  <a:cubicBezTo>
                    <a:pt x="40" y="49"/>
                    <a:pt x="38" y="51"/>
                    <a:pt x="35" y="53"/>
                  </a:cubicBezTo>
                  <a:cubicBezTo>
                    <a:pt x="31" y="55"/>
                    <a:pt x="27" y="56"/>
                    <a:pt x="22" y="56"/>
                  </a:cubicBezTo>
                  <a:cubicBezTo>
                    <a:pt x="17" y="56"/>
                    <a:pt x="12" y="55"/>
                    <a:pt x="9" y="54"/>
                  </a:cubicBezTo>
                  <a:cubicBezTo>
                    <a:pt x="6" y="52"/>
                    <a:pt x="3" y="49"/>
                    <a:pt x="2" y="46"/>
                  </a:cubicBezTo>
                  <a:cubicBezTo>
                    <a:pt x="1" y="43"/>
                    <a:pt x="0" y="38"/>
                    <a:pt x="0" y="32"/>
                  </a:cubicBezTo>
                  <a:lnTo>
                    <a:pt x="0" y="0"/>
                  </a:lnTo>
                  <a:lnTo>
                    <a:pt x="7" y="0"/>
                  </a:lnTo>
                  <a:lnTo>
                    <a:pt x="7" y="32"/>
                  </a:lnTo>
                  <a:cubicBezTo>
                    <a:pt x="7" y="37"/>
                    <a:pt x="8" y="40"/>
                    <a:pt x="9" y="43"/>
                  </a:cubicBezTo>
                  <a:cubicBezTo>
                    <a:pt x="9" y="45"/>
                    <a:pt x="11" y="47"/>
                    <a:pt x="13" y="48"/>
                  </a:cubicBezTo>
                  <a:cubicBezTo>
                    <a:pt x="15" y="49"/>
                    <a:pt x="18" y="50"/>
                    <a:pt x="21" y="50"/>
                  </a:cubicBezTo>
                  <a:cubicBezTo>
                    <a:pt x="26" y="50"/>
                    <a:pt x="30" y="49"/>
                    <a:pt x="33" y="46"/>
                  </a:cubicBezTo>
                  <a:cubicBezTo>
                    <a:pt x="35" y="44"/>
                    <a:pt x="36" y="39"/>
                    <a:pt x="36" y="32"/>
                  </a:cubicBezTo>
                  <a:lnTo>
                    <a:pt x="3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Freeform 1886"/>
            <p:cNvSpPr>
              <a:spLocks/>
            </p:cNvSpPr>
            <p:nvPr/>
          </p:nvSpPr>
          <p:spPr bwMode="auto">
            <a:xfrm>
              <a:off x="2806" y="2139"/>
              <a:ext cx="10" cy="13"/>
            </a:xfrm>
            <a:custGeom>
              <a:avLst/>
              <a:gdLst>
                <a:gd name="T0" fmla="*/ 0 w 44"/>
                <a:gd name="T1" fmla="*/ 39 h 57"/>
                <a:gd name="T2" fmla="*/ 7 w 44"/>
                <a:gd name="T3" fmla="*/ 38 h 57"/>
                <a:gd name="T4" fmla="*/ 9 w 44"/>
                <a:gd name="T5" fmla="*/ 45 h 57"/>
                <a:gd name="T6" fmla="*/ 15 w 44"/>
                <a:gd name="T7" fmla="*/ 49 h 57"/>
                <a:gd name="T8" fmla="*/ 23 w 44"/>
                <a:gd name="T9" fmla="*/ 51 h 57"/>
                <a:gd name="T10" fmla="*/ 31 w 44"/>
                <a:gd name="T11" fmla="*/ 50 h 57"/>
                <a:gd name="T12" fmla="*/ 35 w 44"/>
                <a:gd name="T13" fmla="*/ 46 h 57"/>
                <a:gd name="T14" fmla="*/ 37 w 44"/>
                <a:gd name="T15" fmla="*/ 41 h 57"/>
                <a:gd name="T16" fmla="*/ 35 w 44"/>
                <a:gd name="T17" fmla="*/ 37 h 57"/>
                <a:gd name="T18" fmla="*/ 30 w 44"/>
                <a:gd name="T19" fmla="*/ 34 h 57"/>
                <a:gd name="T20" fmla="*/ 21 w 44"/>
                <a:gd name="T21" fmla="*/ 31 h 57"/>
                <a:gd name="T22" fmla="*/ 10 w 44"/>
                <a:gd name="T23" fmla="*/ 28 h 57"/>
                <a:gd name="T24" fmla="*/ 4 w 44"/>
                <a:gd name="T25" fmla="*/ 22 h 57"/>
                <a:gd name="T26" fmla="*/ 2 w 44"/>
                <a:gd name="T27" fmla="*/ 16 h 57"/>
                <a:gd name="T28" fmla="*/ 4 w 44"/>
                <a:gd name="T29" fmla="*/ 8 h 57"/>
                <a:gd name="T30" fmla="*/ 11 w 44"/>
                <a:gd name="T31" fmla="*/ 2 h 57"/>
                <a:gd name="T32" fmla="*/ 22 w 44"/>
                <a:gd name="T33" fmla="*/ 0 h 57"/>
                <a:gd name="T34" fmla="*/ 32 w 44"/>
                <a:gd name="T35" fmla="*/ 2 h 57"/>
                <a:gd name="T36" fmla="*/ 40 w 44"/>
                <a:gd name="T37" fmla="*/ 8 h 57"/>
                <a:gd name="T38" fmla="*/ 42 w 44"/>
                <a:gd name="T39" fmla="*/ 17 h 57"/>
                <a:gd name="T40" fmla="*/ 35 w 44"/>
                <a:gd name="T41" fmla="*/ 17 h 57"/>
                <a:gd name="T42" fmla="*/ 31 w 44"/>
                <a:gd name="T43" fmla="*/ 9 h 57"/>
                <a:gd name="T44" fmla="*/ 22 w 44"/>
                <a:gd name="T45" fmla="*/ 7 h 57"/>
                <a:gd name="T46" fmla="*/ 12 w 44"/>
                <a:gd name="T47" fmla="*/ 9 h 57"/>
                <a:gd name="T48" fmla="*/ 9 w 44"/>
                <a:gd name="T49" fmla="*/ 15 h 57"/>
                <a:gd name="T50" fmla="*/ 11 w 44"/>
                <a:gd name="T51" fmla="*/ 20 h 57"/>
                <a:gd name="T52" fmla="*/ 22 w 44"/>
                <a:gd name="T53" fmla="*/ 24 h 57"/>
                <a:gd name="T54" fmla="*/ 35 w 44"/>
                <a:gd name="T55" fmla="*/ 27 h 57"/>
                <a:gd name="T56" fmla="*/ 42 w 44"/>
                <a:gd name="T57" fmla="*/ 33 h 57"/>
                <a:gd name="T58" fmla="*/ 44 w 44"/>
                <a:gd name="T59" fmla="*/ 41 h 57"/>
                <a:gd name="T60" fmla="*/ 41 w 44"/>
                <a:gd name="T61" fmla="*/ 49 h 57"/>
                <a:gd name="T62" fmla="*/ 34 w 44"/>
                <a:gd name="T63" fmla="*/ 55 h 57"/>
                <a:gd name="T64" fmla="*/ 24 w 44"/>
                <a:gd name="T65" fmla="*/ 57 h 57"/>
                <a:gd name="T66" fmla="*/ 11 w 44"/>
                <a:gd name="T67" fmla="*/ 55 h 57"/>
                <a:gd name="T68" fmla="*/ 3 w 44"/>
                <a:gd name="T69" fmla="*/ 49 h 57"/>
                <a:gd name="T70" fmla="*/ 0 w 44"/>
                <a:gd name="T71"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57">
                  <a:moveTo>
                    <a:pt x="0" y="39"/>
                  </a:moveTo>
                  <a:lnTo>
                    <a:pt x="7" y="38"/>
                  </a:lnTo>
                  <a:cubicBezTo>
                    <a:pt x="7" y="41"/>
                    <a:pt x="8" y="43"/>
                    <a:pt x="9" y="45"/>
                  </a:cubicBezTo>
                  <a:cubicBezTo>
                    <a:pt x="10" y="47"/>
                    <a:pt x="12" y="48"/>
                    <a:pt x="15" y="49"/>
                  </a:cubicBezTo>
                  <a:cubicBezTo>
                    <a:pt x="17" y="50"/>
                    <a:pt x="20" y="51"/>
                    <a:pt x="23" y="51"/>
                  </a:cubicBezTo>
                  <a:cubicBezTo>
                    <a:pt x="26" y="51"/>
                    <a:pt x="28" y="50"/>
                    <a:pt x="31" y="50"/>
                  </a:cubicBezTo>
                  <a:cubicBezTo>
                    <a:pt x="33" y="49"/>
                    <a:pt x="34" y="48"/>
                    <a:pt x="35" y="46"/>
                  </a:cubicBezTo>
                  <a:cubicBezTo>
                    <a:pt x="36" y="45"/>
                    <a:pt x="37" y="43"/>
                    <a:pt x="37" y="41"/>
                  </a:cubicBezTo>
                  <a:cubicBezTo>
                    <a:pt x="37" y="40"/>
                    <a:pt x="36" y="38"/>
                    <a:pt x="35" y="37"/>
                  </a:cubicBezTo>
                  <a:cubicBezTo>
                    <a:pt x="34" y="36"/>
                    <a:pt x="33" y="35"/>
                    <a:pt x="30" y="34"/>
                  </a:cubicBezTo>
                  <a:cubicBezTo>
                    <a:pt x="29" y="33"/>
                    <a:pt x="26" y="32"/>
                    <a:pt x="21" y="31"/>
                  </a:cubicBezTo>
                  <a:cubicBezTo>
                    <a:pt x="16" y="30"/>
                    <a:pt x="12" y="29"/>
                    <a:pt x="10" y="28"/>
                  </a:cubicBezTo>
                  <a:cubicBezTo>
                    <a:pt x="7" y="26"/>
                    <a:pt x="5" y="24"/>
                    <a:pt x="4" y="22"/>
                  </a:cubicBezTo>
                  <a:cubicBezTo>
                    <a:pt x="3" y="20"/>
                    <a:pt x="2" y="18"/>
                    <a:pt x="2" y="16"/>
                  </a:cubicBezTo>
                  <a:cubicBezTo>
                    <a:pt x="2" y="13"/>
                    <a:pt x="3" y="10"/>
                    <a:pt x="4" y="8"/>
                  </a:cubicBezTo>
                  <a:cubicBezTo>
                    <a:pt x="6" y="5"/>
                    <a:pt x="8" y="3"/>
                    <a:pt x="11" y="2"/>
                  </a:cubicBezTo>
                  <a:cubicBezTo>
                    <a:pt x="14" y="1"/>
                    <a:pt x="18" y="0"/>
                    <a:pt x="22" y="0"/>
                  </a:cubicBezTo>
                  <a:cubicBezTo>
                    <a:pt x="26" y="0"/>
                    <a:pt x="29" y="1"/>
                    <a:pt x="32" y="2"/>
                  </a:cubicBezTo>
                  <a:cubicBezTo>
                    <a:pt x="36" y="4"/>
                    <a:pt x="38" y="6"/>
                    <a:pt x="40" y="8"/>
                  </a:cubicBezTo>
                  <a:cubicBezTo>
                    <a:pt x="41" y="11"/>
                    <a:pt x="42" y="14"/>
                    <a:pt x="42" y="17"/>
                  </a:cubicBezTo>
                  <a:lnTo>
                    <a:pt x="35" y="17"/>
                  </a:lnTo>
                  <a:cubicBezTo>
                    <a:pt x="35" y="14"/>
                    <a:pt x="34" y="11"/>
                    <a:pt x="31" y="9"/>
                  </a:cubicBezTo>
                  <a:cubicBezTo>
                    <a:pt x="29" y="8"/>
                    <a:pt x="26" y="7"/>
                    <a:pt x="22" y="7"/>
                  </a:cubicBezTo>
                  <a:cubicBezTo>
                    <a:pt x="17" y="7"/>
                    <a:pt x="14" y="8"/>
                    <a:pt x="12" y="9"/>
                  </a:cubicBezTo>
                  <a:cubicBezTo>
                    <a:pt x="10" y="11"/>
                    <a:pt x="9" y="13"/>
                    <a:pt x="9" y="15"/>
                  </a:cubicBezTo>
                  <a:cubicBezTo>
                    <a:pt x="9" y="17"/>
                    <a:pt x="10" y="19"/>
                    <a:pt x="11" y="20"/>
                  </a:cubicBezTo>
                  <a:cubicBezTo>
                    <a:pt x="13" y="21"/>
                    <a:pt x="16" y="23"/>
                    <a:pt x="22" y="24"/>
                  </a:cubicBezTo>
                  <a:cubicBezTo>
                    <a:pt x="28" y="25"/>
                    <a:pt x="32" y="26"/>
                    <a:pt x="35" y="27"/>
                  </a:cubicBezTo>
                  <a:cubicBezTo>
                    <a:pt x="38" y="29"/>
                    <a:pt x="40" y="31"/>
                    <a:pt x="42" y="33"/>
                  </a:cubicBezTo>
                  <a:cubicBezTo>
                    <a:pt x="43" y="35"/>
                    <a:pt x="44" y="38"/>
                    <a:pt x="44" y="41"/>
                  </a:cubicBezTo>
                  <a:cubicBezTo>
                    <a:pt x="44" y="44"/>
                    <a:pt x="43" y="47"/>
                    <a:pt x="41" y="49"/>
                  </a:cubicBezTo>
                  <a:cubicBezTo>
                    <a:pt x="40" y="52"/>
                    <a:pt x="37" y="54"/>
                    <a:pt x="34" y="55"/>
                  </a:cubicBezTo>
                  <a:cubicBezTo>
                    <a:pt x="31" y="57"/>
                    <a:pt x="27" y="57"/>
                    <a:pt x="24" y="57"/>
                  </a:cubicBezTo>
                  <a:cubicBezTo>
                    <a:pt x="19" y="57"/>
                    <a:pt x="14" y="57"/>
                    <a:pt x="11" y="55"/>
                  </a:cubicBezTo>
                  <a:cubicBezTo>
                    <a:pt x="8" y="54"/>
                    <a:pt x="5" y="52"/>
                    <a:pt x="3" y="49"/>
                  </a:cubicBezTo>
                  <a:cubicBezTo>
                    <a:pt x="1" y="46"/>
                    <a:pt x="0" y="42"/>
                    <a:pt x="0" y="3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1887"/>
            <p:cNvSpPr>
              <a:spLocks/>
            </p:cNvSpPr>
            <p:nvPr/>
          </p:nvSpPr>
          <p:spPr bwMode="auto">
            <a:xfrm>
              <a:off x="2818" y="2140"/>
              <a:ext cx="10" cy="12"/>
            </a:xfrm>
            <a:custGeom>
              <a:avLst/>
              <a:gdLst>
                <a:gd name="T0" fmla="*/ 0 w 41"/>
                <a:gd name="T1" fmla="*/ 55 h 55"/>
                <a:gd name="T2" fmla="*/ 0 w 41"/>
                <a:gd name="T3" fmla="*/ 0 h 55"/>
                <a:gd name="T4" fmla="*/ 40 w 41"/>
                <a:gd name="T5" fmla="*/ 0 h 55"/>
                <a:gd name="T6" fmla="*/ 40 w 41"/>
                <a:gd name="T7" fmla="*/ 7 h 55"/>
                <a:gd name="T8" fmla="*/ 7 w 41"/>
                <a:gd name="T9" fmla="*/ 7 h 55"/>
                <a:gd name="T10" fmla="*/ 7 w 41"/>
                <a:gd name="T11" fmla="*/ 24 h 55"/>
                <a:gd name="T12" fmla="*/ 38 w 41"/>
                <a:gd name="T13" fmla="*/ 24 h 55"/>
                <a:gd name="T14" fmla="*/ 38 w 41"/>
                <a:gd name="T15" fmla="*/ 30 h 55"/>
                <a:gd name="T16" fmla="*/ 7 w 41"/>
                <a:gd name="T17" fmla="*/ 30 h 55"/>
                <a:gd name="T18" fmla="*/ 7 w 41"/>
                <a:gd name="T19" fmla="*/ 49 h 55"/>
                <a:gd name="T20" fmla="*/ 41 w 41"/>
                <a:gd name="T21" fmla="*/ 49 h 55"/>
                <a:gd name="T22" fmla="*/ 41 w 41"/>
                <a:gd name="T23" fmla="*/ 55 h 55"/>
                <a:gd name="T24" fmla="*/ 0 w 41"/>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5">
                  <a:moveTo>
                    <a:pt x="0" y="55"/>
                  </a:moveTo>
                  <a:lnTo>
                    <a:pt x="0" y="0"/>
                  </a:lnTo>
                  <a:lnTo>
                    <a:pt x="40" y="0"/>
                  </a:lnTo>
                  <a:lnTo>
                    <a:pt x="40" y="7"/>
                  </a:lnTo>
                  <a:lnTo>
                    <a:pt x="7" y="7"/>
                  </a:lnTo>
                  <a:lnTo>
                    <a:pt x="7" y="24"/>
                  </a:lnTo>
                  <a:lnTo>
                    <a:pt x="38" y="24"/>
                  </a:lnTo>
                  <a:lnTo>
                    <a:pt x="38" y="30"/>
                  </a:lnTo>
                  <a:lnTo>
                    <a:pt x="7" y="30"/>
                  </a:lnTo>
                  <a:lnTo>
                    <a:pt x="7" y="49"/>
                  </a:lnTo>
                  <a:lnTo>
                    <a:pt x="41" y="49"/>
                  </a:lnTo>
                  <a:lnTo>
                    <a:pt x="41"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Freeform 1888"/>
            <p:cNvSpPr>
              <a:spLocks/>
            </p:cNvSpPr>
            <p:nvPr/>
          </p:nvSpPr>
          <p:spPr bwMode="auto">
            <a:xfrm>
              <a:off x="2835" y="2140"/>
              <a:ext cx="9" cy="12"/>
            </a:xfrm>
            <a:custGeom>
              <a:avLst/>
              <a:gdLst>
                <a:gd name="T0" fmla="*/ 0 w 38"/>
                <a:gd name="T1" fmla="*/ 55 h 55"/>
                <a:gd name="T2" fmla="*/ 0 w 38"/>
                <a:gd name="T3" fmla="*/ 0 h 55"/>
                <a:gd name="T4" fmla="*/ 38 w 38"/>
                <a:gd name="T5" fmla="*/ 0 h 55"/>
                <a:gd name="T6" fmla="*/ 38 w 38"/>
                <a:gd name="T7" fmla="*/ 7 h 55"/>
                <a:gd name="T8" fmla="*/ 8 w 38"/>
                <a:gd name="T9" fmla="*/ 7 h 55"/>
                <a:gd name="T10" fmla="*/ 8 w 38"/>
                <a:gd name="T11" fmla="*/ 24 h 55"/>
                <a:gd name="T12" fmla="*/ 34 w 38"/>
                <a:gd name="T13" fmla="*/ 24 h 55"/>
                <a:gd name="T14" fmla="*/ 34 w 38"/>
                <a:gd name="T15" fmla="*/ 30 h 55"/>
                <a:gd name="T16" fmla="*/ 8 w 38"/>
                <a:gd name="T17" fmla="*/ 30 h 55"/>
                <a:gd name="T18" fmla="*/ 8 w 38"/>
                <a:gd name="T19" fmla="*/ 55 h 55"/>
                <a:gd name="T20" fmla="*/ 0 w 3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5">
                  <a:moveTo>
                    <a:pt x="0" y="55"/>
                  </a:moveTo>
                  <a:lnTo>
                    <a:pt x="0" y="0"/>
                  </a:lnTo>
                  <a:lnTo>
                    <a:pt x="38" y="0"/>
                  </a:lnTo>
                  <a:lnTo>
                    <a:pt x="38" y="7"/>
                  </a:lnTo>
                  <a:lnTo>
                    <a:pt x="8" y="7"/>
                  </a:lnTo>
                  <a:lnTo>
                    <a:pt x="8" y="24"/>
                  </a:lnTo>
                  <a:lnTo>
                    <a:pt x="34" y="24"/>
                  </a:lnTo>
                  <a:lnTo>
                    <a:pt x="34" y="30"/>
                  </a:lnTo>
                  <a:lnTo>
                    <a:pt x="8" y="30"/>
                  </a:lnTo>
                  <a:lnTo>
                    <a:pt x="8"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Freeform 1889"/>
            <p:cNvSpPr>
              <a:spLocks noEditPoints="1"/>
            </p:cNvSpPr>
            <p:nvPr/>
          </p:nvSpPr>
          <p:spPr bwMode="auto">
            <a:xfrm>
              <a:off x="2845" y="2140"/>
              <a:ext cx="8" cy="12"/>
            </a:xfrm>
            <a:custGeom>
              <a:avLst/>
              <a:gdLst>
                <a:gd name="T0" fmla="*/ 24 w 38"/>
                <a:gd name="T1" fmla="*/ 55 h 55"/>
                <a:gd name="T2" fmla="*/ 24 w 38"/>
                <a:gd name="T3" fmla="*/ 42 h 55"/>
                <a:gd name="T4" fmla="*/ 0 w 38"/>
                <a:gd name="T5" fmla="*/ 42 h 55"/>
                <a:gd name="T6" fmla="*/ 0 w 38"/>
                <a:gd name="T7" fmla="*/ 36 h 55"/>
                <a:gd name="T8" fmla="*/ 25 w 38"/>
                <a:gd name="T9" fmla="*/ 0 h 55"/>
                <a:gd name="T10" fmla="*/ 31 w 38"/>
                <a:gd name="T11" fmla="*/ 0 h 55"/>
                <a:gd name="T12" fmla="*/ 31 w 38"/>
                <a:gd name="T13" fmla="*/ 36 h 55"/>
                <a:gd name="T14" fmla="*/ 38 w 38"/>
                <a:gd name="T15" fmla="*/ 36 h 55"/>
                <a:gd name="T16" fmla="*/ 38 w 38"/>
                <a:gd name="T17" fmla="*/ 42 h 55"/>
                <a:gd name="T18" fmla="*/ 31 w 38"/>
                <a:gd name="T19" fmla="*/ 42 h 55"/>
                <a:gd name="T20" fmla="*/ 31 w 38"/>
                <a:gd name="T21" fmla="*/ 55 h 55"/>
                <a:gd name="T22" fmla="*/ 24 w 38"/>
                <a:gd name="T23" fmla="*/ 55 h 55"/>
                <a:gd name="T24" fmla="*/ 24 w 38"/>
                <a:gd name="T25" fmla="*/ 36 h 55"/>
                <a:gd name="T26" fmla="*/ 24 w 38"/>
                <a:gd name="T27" fmla="*/ 11 h 55"/>
                <a:gd name="T28" fmla="*/ 7 w 38"/>
                <a:gd name="T29" fmla="*/ 36 h 55"/>
                <a:gd name="T30" fmla="*/ 24 w 38"/>
                <a:gd name="T3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5">
                  <a:moveTo>
                    <a:pt x="24" y="55"/>
                  </a:moveTo>
                  <a:lnTo>
                    <a:pt x="24" y="42"/>
                  </a:lnTo>
                  <a:lnTo>
                    <a:pt x="0" y="42"/>
                  </a:lnTo>
                  <a:lnTo>
                    <a:pt x="0" y="36"/>
                  </a:lnTo>
                  <a:lnTo>
                    <a:pt x="25" y="0"/>
                  </a:lnTo>
                  <a:lnTo>
                    <a:pt x="31" y="0"/>
                  </a:lnTo>
                  <a:lnTo>
                    <a:pt x="31" y="36"/>
                  </a:lnTo>
                  <a:lnTo>
                    <a:pt x="38" y="36"/>
                  </a:lnTo>
                  <a:lnTo>
                    <a:pt x="38" y="42"/>
                  </a:lnTo>
                  <a:lnTo>
                    <a:pt x="31" y="42"/>
                  </a:lnTo>
                  <a:lnTo>
                    <a:pt x="31" y="55"/>
                  </a:lnTo>
                  <a:lnTo>
                    <a:pt x="24" y="55"/>
                  </a:lnTo>
                  <a:close/>
                  <a:moveTo>
                    <a:pt x="24" y="36"/>
                  </a:moveTo>
                  <a:lnTo>
                    <a:pt x="24" y="11"/>
                  </a:lnTo>
                  <a:lnTo>
                    <a:pt x="7" y="36"/>
                  </a:lnTo>
                  <a:lnTo>
                    <a:pt x="24"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Freeform 1890"/>
            <p:cNvSpPr>
              <a:spLocks noEditPoints="1"/>
            </p:cNvSpPr>
            <p:nvPr/>
          </p:nvSpPr>
          <p:spPr bwMode="auto">
            <a:xfrm>
              <a:off x="2856" y="2140"/>
              <a:ext cx="9" cy="12"/>
            </a:xfrm>
            <a:custGeom>
              <a:avLst/>
              <a:gdLst>
                <a:gd name="T0" fmla="*/ 0 w 41"/>
                <a:gd name="T1" fmla="*/ 55 h 55"/>
                <a:gd name="T2" fmla="*/ 0 w 41"/>
                <a:gd name="T3" fmla="*/ 0 h 55"/>
                <a:gd name="T4" fmla="*/ 20 w 41"/>
                <a:gd name="T5" fmla="*/ 0 h 55"/>
                <a:gd name="T6" fmla="*/ 31 w 41"/>
                <a:gd name="T7" fmla="*/ 2 h 55"/>
                <a:gd name="T8" fmla="*/ 37 w 41"/>
                <a:gd name="T9" fmla="*/ 7 h 55"/>
                <a:gd name="T10" fmla="*/ 39 w 41"/>
                <a:gd name="T11" fmla="*/ 14 h 55"/>
                <a:gd name="T12" fmla="*/ 37 w 41"/>
                <a:gd name="T13" fmla="*/ 21 h 55"/>
                <a:gd name="T14" fmla="*/ 31 w 41"/>
                <a:gd name="T15" fmla="*/ 26 h 55"/>
                <a:gd name="T16" fmla="*/ 39 w 41"/>
                <a:gd name="T17" fmla="*/ 31 h 55"/>
                <a:gd name="T18" fmla="*/ 41 w 41"/>
                <a:gd name="T19" fmla="*/ 39 h 55"/>
                <a:gd name="T20" fmla="*/ 40 w 41"/>
                <a:gd name="T21" fmla="*/ 47 h 55"/>
                <a:gd name="T22" fmla="*/ 36 w 41"/>
                <a:gd name="T23" fmla="*/ 52 h 55"/>
                <a:gd name="T24" fmla="*/ 30 w 41"/>
                <a:gd name="T25" fmla="*/ 55 h 55"/>
                <a:gd name="T26" fmla="*/ 21 w 41"/>
                <a:gd name="T27" fmla="*/ 55 h 55"/>
                <a:gd name="T28" fmla="*/ 0 w 41"/>
                <a:gd name="T29" fmla="*/ 55 h 55"/>
                <a:gd name="T30" fmla="*/ 7 w 41"/>
                <a:gd name="T31" fmla="*/ 23 h 55"/>
                <a:gd name="T32" fmla="*/ 19 w 41"/>
                <a:gd name="T33" fmla="*/ 23 h 55"/>
                <a:gd name="T34" fmla="*/ 26 w 41"/>
                <a:gd name="T35" fmla="*/ 23 h 55"/>
                <a:gd name="T36" fmla="*/ 30 w 41"/>
                <a:gd name="T37" fmla="*/ 20 h 55"/>
                <a:gd name="T38" fmla="*/ 32 w 41"/>
                <a:gd name="T39" fmla="*/ 15 h 55"/>
                <a:gd name="T40" fmla="*/ 30 w 41"/>
                <a:gd name="T41" fmla="*/ 10 h 55"/>
                <a:gd name="T42" fmla="*/ 26 w 41"/>
                <a:gd name="T43" fmla="*/ 8 h 55"/>
                <a:gd name="T44" fmla="*/ 18 w 41"/>
                <a:gd name="T45" fmla="*/ 7 h 55"/>
                <a:gd name="T46" fmla="*/ 7 w 41"/>
                <a:gd name="T47" fmla="*/ 7 h 55"/>
                <a:gd name="T48" fmla="*/ 7 w 41"/>
                <a:gd name="T49" fmla="*/ 23 h 55"/>
                <a:gd name="T50" fmla="*/ 7 w 41"/>
                <a:gd name="T51" fmla="*/ 49 h 55"/>
                <a:gd name="T52" fmla="*/ 21 w 41"/>
                <a:gd name="T53" fmla="*/ 49 h 55"/>
                <a:gd name="T54" fmla="*/ 26 w 41"/>
                <a:gd name="T55" fmla="*/ 49 h 55"/>
                <a:gd name="T56" fmla="*/ 30 w 41"/>
                <a:gd name="T57" fmla="*/ 47 h 55"/>
                <a:gd name="T58" fmla="*/ 33 w 41"/>
                <a:gd name="T59" fmla="*/ 44 h 55"/>
                <a:gd name="T60" fmla="*/ 34 w 41"/>
                <a:gd name="T61" fmla="*/ 39 h 55"/>
                <a:gd name="T62" fmla="*/ 32 w 41"/>
                <a:gd name="T63" fmla="*/ 34 h 55"/>
                <a:gd name="T64" fmla="*/ 28 w 41"/>
                <a:gd name="T65" fmla="*/ 31 h 55"/>
                <a:gd name="T66" fmla="*/ 20 w 41"/>
                <a:gd name="T67" fmla="*/ 30 h 55"/>
                <a:gd name="T68" fmla="*/ 7 w 41"/>
                <a:gd name="T69" fmla="*/ 30 h 55"/>
                <a:gd name="T70" fmla="*/ 7 w 41"/>
                <a:gd name="T71"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55">
                  <a:moveTo>
                    <a:pt x="0" y="55"/>
                  </a:moveTo>
                  <a:lnTo>
                    <a:pt x="0" y="0"/>
                  </a:lnTo>
                  <a:lnTo>
                    <a:pt x="20" y="0"/>
                  </a:lnTo>
                  <a:cubicBezTo>
                    <a:pt x="25" y="0"/>
                    <a:pt x="28" y="1"/>
                    <a:pt x="31" y="2"/>
                  </a:cubicBezTo>
                  <a:cubicBezTo>
                    <a:pt x="33" y="3"/>
                    <a:pt x="35" y="5"/>
                    <a:pt x="37" y="7"/>
                  </a:cubicBezTo>
                  <a:cubicBezTo>
                    <a:pt x="38" y="9"/>
                    <a:pt x="39" y="12"/>
                    <a:pt x="39" y="14"/>
                  </a:cubicBezTo>
                  <a:cubicBezTo>
                    <a:pt x="39" y="17"/>
                    <a:pt x="38" y="19"/>
                    <a:pt x="37" y="21"/>
                  </a:cubicBezTo>
                  <a:cubicBezTo>
                    <a:pt x="36" y="23"/>
                    <a:pt x="34" y="25"/>
                    <a:pt x="31" y="26"/>
                  </a:cubicBezTo>
                  <a:cubicBezTo>
                    <a:pt x="34" y="27"/>
                    <a:pt x="37" y="29"/>
                    <a:pt x="39" y="31"/>
                  </a:cubicBezTo>
                  <a:cubicBezTo>
                    <a:pt x="41" y="33"/>
                    <a:pt x="41" y="36"/>
                    <a:pt x="41" y="39"/>
                  </a:cubicBezTo>
                  <a:cubicBezTo>
                    <a:pt x="41" y="42"/>
                    <a:pt x="41" y="44"/>
                    <a:pt x="40" y="47"/>
                  </a:cubicBezTo>
                  <a:cubicBezTo>
                    <a:pt x="39" y="49"/>
                    <a:pt x="37" y="51"/>
                    <a:pt x="36" y="52"/>
                  </a:cubicBezTo>
                  <a:cubicBezTo>
                    <a:pt x="34" y="53"/>
                    <a:pt x="32" y="54"/>
                    <a:pt x="30" y="55"/>
                  </a:cubicBezTo>
                  <a:cubicBezTo>
                    <a:pt x="27" y="55"/>
                    <a:pt x="24" y="55"/>
                    <a:pt x="21" y="55"/>
                  </a:cubicBezTo>
                  <a:lnTo>
                    <a:pt x="0" y="55"/>
                  </a:lnTo>
                  <a:close/>
                  <a:moveTo>
                    <a:pt x="7" y="23"/>
                  </a:moveTo>
                  <a:lnTo>
                    <a:pt x="19" y="23"/>
                  </a:lnTo>
                  <a:cubicBezTo>
                    <a:pt x="22" y="23"/>
                    <a:pt x="25" y="23"/>
                    <a:pt x="26" y="23"/>
                  </a:cubicBezTo>
                  <a:cubicBezTo>
                    <a:pt x="28" y="22"/>
                    <a:pt x="29" y="21"/>
                    <a:pt x="30" y="20"/>
                  </a:cubicBezTo>
                  <a:cubicBezTo>
                    <a:pt x="31" y="19"/>
                    <a:pt x="32" y="17"/>
                    <a:pt x="32" y="15"/>
                  </a:cubicBezTo>
                  <a:cubicBezTo>
                    <a:pt x="32" y="13"/>
                    <a:pt x="31" y="12"/>
                    <a:pt x="30" y="10"/>
                  </a:cubicBezTo>
                  <a:cubicBezTo>
                    <a:pt x="29" y="9"/>
                    <a:pt x="28" y="8"/>
                    <a:pt x="26" y="8"/>
                  </a:cubicBezTo>
                  <a:cubicBezTo>
                    <a:pt x="25" y="7"/>
                    <a:pt x="22" y="7"/>
                    <a:pt x="18" y="7"/>
                  </a:cubicBezTo>
                  <a:lnTo>
                    <a:pt x="7" y="7"/>
                  </a:lnTo>
                  <a:lnTo>
                    <a:pt x="7" y="23"/>
                  </a:lnTo>
                  <a:close/>
                  <a:moveTo>
                    <a:pt x="7" y="49"/>
                  </a:moveTo>
                  <a:lnTo>
                    <a:pt x="21" y="49"/>
                  </a:lnTo>
                  <a:cubicBezTo>
                    <a:pt x="23" y="49"/>
                    <a:pt x="25" y="49"/>
                    <a:pt x="26" y="49"/>
                  </a:cubicBezTo>
                  <a:cubicBezTo>
                    <a:pt x="27" y="48"/>
                    <a:pt x="29" y="48"/>
                    <a:pt x="30" y="47"/>
                  </a:cubicBezTo>
                  <a:cubicBezTo>
                    <a:pt x="31" y="46"/>
                    <a:pt x="32" y="45"/>
                    <a:pt x="33" y="44"/>
                  </a:cubicBezTo>
                  <a:cubicBezTo>
                    <a:pt x="33" y="43"/>
                    <a:pt x="34" y="41"/>
                    <a:pt x="34" y="39"/>
                  </a:cubicBezTo>
                  <a:cubicBezTo>
                    <a:pt x="34" y="37"/>
                    <a:pt x="33" y="36"/>
                    <a:pt x="32" y="34"/>
                  </a:cubicBezTo>
                  <a:cubicBezTo>
                    <a:pt x="31" y="33"/>
                    <a:pt x="30" y="31"/>
                    <a:pt x="28" y="31"/>
                  </a:cubicBezTo>
                  <a:cubicBezTo>
                    <a:pt x="26" y="30"/>
                    <a:pt x="23" y="30"/>
                    <a:pt x="20" y="30"/>
                  </a:cubicBezTo>
                  <a:lnTo>
                    <a:pt x="7" y="30"/>
                  </a:lnTo>
                  <a:lnTo>
                    <a:pt x="7"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1891"/>
            <p:cNvSpPr>
              <a:spLocks/>
            </p:cNvSpPr>
            <p:nvPr/>
          </p:nvSpPr>
          <p:spPr bwMode="auto">
            <a:xfrm>
              <a:off x="2868" y="2140"/>
              <a:ext cx="4" cy="12"/>
            </a:xfrm>
            <a:custGeom>
              <a:avLst/>
              <a:gdLst>
                <a:gd name="T0" fmla="*/ 20 w 20"/>
                <a:gd name="T1" fmla="*/ 55 h 55"/>
                <a:gd name="T2" fmla="*/ 14 w 20"/>
                <a:gd name="T3" fmla="*/ 55 h 55"/>
                <a:gd name="T4" fmla="*/ 14 w 20"/>
                <a:gd name="T5" fmla="*/ 12 h 55"/>
                <a:gd name="T6" fmla="*/ 7 w 20"/>
                <a:gd name="T7" fmla="*/ 17 h 55"/>
                <a:gd name="T8" fmla="*/ 0 w 20"/>
                <a:gd name="T9" fmla="*/ 20 h 55"/>
                <a:gd name="T10" fmla="*/ 0 w 20"/>
                <a:gd name="T11" fmla="*/ 14 h 55"/>
                <a:gd name="T12" fmla="*/ 10 w 20"/>
                <a:gd name="T13" fmla="*/ 7 h 55"/>
                <a:gd name="T14" fmla="*/ 16 w 20"/>
                <a:gd name="T15" fmla="*/ 0 h 55"/>
                <a:gd name="T16" fmla="*/ 20 w 20"/>
                <a:gd name="T17" fmla="*/ 0 h 55"/>
                <a:gd name="T18" fmla="*/ 20 w 20"/>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5">
                  <a:moveTo>
                    <a:pt x="20" y="55"/>
                  </a:moveTo>
                  <a:lnTo>
                    <a:pt x="14" y="55"/>
                  </a:lnTo>
                  <a:lnTo>
                    <a:pt x="14" y="12"/>
                  </a:lnTo>
                  <a:cubicBezTo>
                    <a:pt x="12" y="14"/>
                    <a:pt x="10" y="15"/>
                    <a:pt x="7" y="17"/>
                  </a:cubicBezTo>
                  <a:cubicBezTo>
                    <a:pt x="4" y="18"/>
                    <a:pt x="2" y="20"/>
                    <a:pt x="0" y="20"/>
                  </a:cubicBezTo>
                  <a:lnTo>
                    <a:pt x="0" y="14"/>
                  </a:lnTo>
                  <a:cubicBezTo>
                    <a:pt x="4" y="12"/>
                    <a:pt x="7" y="10"/>
                    <a:pt x="10" y="7"/>
                  </a:cubicBezTo>
                  <a:cubicBezTo>
                    <a:pt x="13" y="5"/>
                    <a:pt x="15" y="2"/>
                    <a:pt x="16" y="0"/>
                  </a:cubicBezTo>
                  <a:lnTo>
                    <a:pt x="20" y="0"/>
                  </a:lnTo>
                  <a:lnTo>
                    <a:pt x="2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Freeform 1892"/>
            <p:cNvSpPr>
              <a:spLocks/>
            </p:cNvSpPr>
            <p:nvPr/>
          </p:nvSpPr>
          <p:spPr bwMode="auto">
            <a:xfrm>
              <a:off x="3513" y="1726"/>
              <a:ext cx="15" cy="20"/>
            </a:xfrm>
            <a:custGeom>
              <a:avLst/>
              <a:gdLst>
                <a:gd name="T0" fmla="*/ 55 w 66"/>
                <a:gd name="T1" fmla="*/ 0 h 86"/>
                <a:gd name="T2" fmla="*/ 66 w 66"/>
                <a:gd name="T3" fmla="*/ 0 h 86"/>
                <a:gd name="T4" fmla="*/ 66 w 66"/>
                <a:gd name="T5" fmla="*/ 49 h 86"/>
                <a:gd name="T6" fmla="*/ 63 w 66"/>
                <a:gd name="T7" fmla="*/ 69 h 86"/>
                <a:gd name="T8" fmla="*/ 53 w 66"/>
                <a:gd name="T9" fmla="*/ 81 h 86"/>
                <a:gd name="T10" fmla="*/ 33 w 66"/>
                <a:gd name="T11" fmla="*/ 86 h 86"/>
                <a:gd name="T12" fmla="*/ 14 w 66"/>
                <a:gd name="T13" fmla="*/ 82 h 86"/>
                <a:gd name="T14" fmla="*/ 3 w 66"/>
                <a:gd name="T15" fmla="*/ 70 h 86"/>
                <a:gd name="T16" fmla="*/ 0 w 66"/>
                <a:gd name="T17" fmla="*/ 49 h 86"/>
                <a:gd name="T18" fmla="*/ 0 w 66"/>
                <a:gd name="T19" fmla="*/ 0 h 86"/>
                <a:gd name="T20" fmla="*/ 11 w 66"/>
                <a:gd name="T21" fmla="*/ 0 h 86"/>
                <a:gd name="T22" fmla="*/ 11 w 66"/>
                <a:gd name="T23" fmla="*/ 49 h 86"/>
                <a:gd name="T24" fmla="*/ 13 w 66"/>
                <a:gd name="T25" fmla="*/ 65 h 86"/>
                <a:gd name="T26" fmla="*/ 20 w 66"/>
                <a:gd name="T27" fmla="*/ 73 h 86"/>
                <a:gd name="T28" fmla="*/ 32 w 66"/>
                <a:gd name="T29" fmla="*/ 76 h 86"/>
                <a:gd name="T30" fmla="*/ 50 w 66"/>
                <a:gd name="T31" fmla="*/ 70 h 86"/>
                <a:gd name="T32" fmla="*/ 55 w 66"/>
                <a:gd name="T33" fmla="*/ 49 h 86"/>
                <a:gd name="T34" fmla="*/ 55 w 66"/>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6">
                  <a:moveTo>
                    <a:pt x="55" y="0"/>
                  </a:moveTo>
                  <a:lnTo>
                    <a:pt x="66" y="0"/>
                  </a:lnTo>
                  <a:lnTo>
                    <a:pt x="66" y="49"/>
                  </a:lnTo>
                  <a:cubicBezTo>
                    <a:pt x="66" y="57"/>
                    <a:pt x="65" y="64"/>
                    <a:pt x="63" y="69"/>
                  </a:cubicBezTo>
                  <a:cubicBezTo>
                    <a:pt x="61" y="74"/>
                    <a:pt x="58" y="78"/>
                    <a:pt x="53" y="81"/>
                  </a:cubicBezTo>
                  <a:cubicBezTo>
                    <a:pt x="48" y="84"/>
                    <a:pt x="41" y="86"/>
                    <a:pt x="33" y="86"/>
                  </a:cubicBezTo>
                  <a:cubicBezTo>
                    <a:pt x="25" y="86"/>
                    <a:pt x="19" y="85"/>
                    <a:pt x="14" y="82"/>
                  </a:cubicBezTo>
                  <a:cubicBezTo>
                    <a:pt x="9" y="79"/>
                    <a:pt x="5" y="75"/>
                    <a:pt x="3" y="70"/>
                  </a:cubicBezTo>
                  <a:cubicBezTo>
                    <a:pt x="1" y="65"/>
                    <a:pt x="0" y="58"/>
                    <a:pt x="0" y="49"/>
                  </a:cubicBezTo>
                  <a:lnTo>
                    <a:pt x="0" y="0"/>
                  </a:lnTo>
                  <a:lnTo>
                    <a:pt x="11" y="0"/>
                  </a:lnTo>
                  <a:lnTo>
                    <a:pt x="11" y="49"/>
                  </a:lnTo>
                  <a:cubicBezTo>
                    <a:pt x="11" y="56"/>
                    <a:pt x="12" y="62"/>
                    <a:pt x="13" y="65"/>
                  </a:cubicBezTo>
                  <a:cubicBezTo>
                    <a:pt x="14" y="69"/>
                    <a:pt x="17" y="71"/>
                    <a:pt x="20" y="73"/>
                  </a:cubicBezTo>
                  <a:cubicBezTo>
                    <a:pt x="23" y="75"/>
                    <a:pt x="27" y="76"/>
                    <a:pt x="32" y="76"/>
                  </a:cubicBezTo>
                  <a:cubicBezTo>
                    <a:pt x="40" y="76"/>
                    <a:pt x="46" y="74"/>
                    <a:pt x="50" y="70"/>
                  </a:cubicBezTo>
                  <a:cubicBezTo>
                    <a:pt x="53"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Freeform 1893"/>
            <p:cNvSpPr>
              <a:spLocks noEditPoints="1"/>
            </p:cNvSpPr>
            <p:nvPr/>
          </p:nvSpPr>
          <p:spPr bwMode="auto">
            <a:xfrm>
              <a:off x="3531" y="1726"/>
              <a:ext cx="17" cy="19"/>
            </a:xfrm>
            <a:custGeom>
              <a:avLst/>
              <a:gdLst>
                <a:gd name="T0" fmla="*/ 0 w 78"/>
                <a:gd name="T1" fmla="*/ 85 h 85"/>
                <a:gd name="T2" fmla="*/ 32 w 78"/>
                <a:gd name="T3" fmla="*/ 0 h 85"/>
                <a:gd name="T4" fmla="*/ 44 w 78"/>
                <a:gd name="T5" fmla="*/ 0 h 85"/>
                <a:gd name="T6" fmla="*/ 78 w 78"/>
                <a:gd name="T7" fmla="*/ 85 h 85"/>
                <a:gd name="T8" fmla="*/ 66 w 78"/>
                <a:gd name="T9" fmla="*/ 85 h 85"/>
                <a:gd name="T10" fmla="*/ 56 w 78"/>
                <a:gd name="T11" fmla="*/ 59 h 85"/>
                <a:gd name="T12" fmla="*/ 21 w 78"/>
                <a:gd name="T13" fmla="*/ 59 h 85"/>
                <a:gd name="T14" fmla="*/ 11 w 78"/>
                <a:gd name="T15" fmla="*/ 85 h 85"/>
                <a:gd name="T16" fmla="*/ 0 w 78"/>
                <a:gd name="T17" fmla="*/ 85 h 85"/>
                <a:gd name="T18" fmla="*/ 24 w 78"/>
                <a:gd name="T19" fmla="*/ 50 h 85"/>
                <a:gd name="T20" fmla="*/ 52 w 78"/>
                <a:gd name="T21" fmla="*/ 50 h 85"/>
                <a:gd name="T22" fmla="*/ 44 w 78"/>
                <a:gd name="T23" fmla="*/ 27 h 85"/>
                <a:gd name="T24" fmla="*/ 38 w 78"/>
                <a:gd name="T25" fmla="*/ 9 h 85"/>
                <a:gd name="T26" fmla="*/ 33 w 78"/>
                <a:gd name="T27" fmla="*/ 25 h 85"/>
                <a:gd name="T28" fmla="*/ 24 w 78"/>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85">
                  <a:moveTo>
                    <a:pt x="0" y="85"/>
                  </a:moveTo>
                  <a:lnTo>
                    <a:pt x="32" y="0"/>
                  </a:lnTo>
                  <a:lnTo>
                    <a:pt x="44" y="0"/>
                  </a:lnTo>
                  <a:lnTo>
                    <a:pt x="78" y="85"/>
                  </a:lnTo>
                  <a:lnTo>
                    <a:pt x="66" y="85"/>
                  </a:lnTo>
                  <a:lnTo>
                    <a:pt x="56" y="59"/>
                  </a:lnTo>
                  <a:lnTo>
                    <a:pt x="21" y="59"/>
                  </a:lnTo>
                  <a:lnTo>
                    <a:pt x="11" y="85"/>
                  </a:lnTo>
                  <a:lnTo>
                    <a:pt x="0" y="85"/>
                  </a:lnTo>
                  <a:close/>
                  <a:moveTo>
                    <a:pt x="24" y="50"/>
                  </a:moveTo>
                  <a:lnTo>
                    <a:pt x="52" y="50"/>
                  </a:lnTo>
                  <a:lnTo>
                    <a:pt x="44" y="27"/>
                  </a:lnTo>
                  <a:cubicBezTo>
                    <a:pt x="41" y="19"/>
                    <a:pt x="39" y="14"/>
                    <a:pt x="38" y="9"/>
                  </a:cubicBezTo>
                  <a:cubicBezTo>
                    <a:pt x="37" y="14"/>
                    <a:pt x="35" y="20"/>
                    <a:pt x="33"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Freeform 1894"/>
            <p:cNvSpPr>
              <a:spLocks noEditPoints="1"/>
            </p:cNvSpPr>
            <p:nvPr/>
          </p:nvSpPr>
          <p:spPr bwMode="auto">
            <a:xfrm>
              <a:off x="3551" y="1726"/>
              <a:ext cx="17" cy="19"/>
            </a:xfrm>
            <a:custGeom>
              <a:avLst/>
              <a:gdLst>
                <a:gd name="T0" fmla="*/ 0 w 74"/>
                <a:gd name="T1" fmla="*/ 85 h 85"/>
                <a:gd name="T2" fmla="*/ 0 w 74"/>
                <a:gd name="T3" fmla="*/ 0 h 85"/>
                <a:gd name="T4" fmla="*/ 37 w 74"/>
                <a:gd name="T5" fmla="*/ 0 h 85"/>
                <a:gd name="T6" fmla="*/ 54 w 74"/>
                <a:gd name="T7" fmla="*/ 2 h 85"/>
                <a:gd name="T8" fmla="*/ 64 w 74"/>
                <a:gd name="T9" fmla="*/ 10 h 85"/>
                <a:gd name="T10" fmla="*/ 67 w 74"/>
                <a:gd name="T11" fmla="*/ 23 h 85"/>
                <a:gd name="T12" fmla="*/ 61 w 74"/>
                <a:gd name="T13" fmla="*/ 38 h 85"/>
                <a:gd name="T14" fmla="*/ 43 w 74"/>
                <a:gd name="T15" fmla="*/ 46 h 85"/>
                <a:gd name="T16" fmla="*/ 50 w 74"/>
                <a:gd name="T17" fmla="*/ 50 h 85"/>
                <a:gd name="T18" fmla="*/ 59 w 74"/>
                <a:gd name="T19" fmla="*/ 62 h 85"/>
                <a:gd name="T20" fmla="*/ 74 w 74"/>
                <a:gd name="T21" fmla="*/ 85 h 85"/>
                <a:gd name="T22" fmla="*/ 60 w 74"/>
                <a:gd name="T23" fmla="*/ 85 h 85"/>
                <a:gd name="T24" fmla="*/ 49 w 74"/>
                <a:gd name="T25" fmla="*/ 67 h 85"/>
                <a:gd name="T26" fmla="*/ 41 w 74"/>
                <a:gd name="T27" fmla="*/ 55 h 85"/>
                <a:gd name="T28" fmla="*/ 35 w 74"/>
                <a:gd name="T29" fmla="*/ 50 h 85"/>
                <a:gd name="T30" fmla="*/ 30 w 74"/>
                <a:gd name="T31" fmla="*/ 47 h 85"/>
                <a:gd name="T32" fmla="*/ 24 w 74"/>
                <a:gd name="T33" fmla="*/ 47 h 85"/>
                <a:gd name="T34" fmla="*/ 11 w 74"/>
                <a:gd name="T35" fmla="*/ 47 h 85"/>
                <a:gd name="T36" fmla="*/ 11 w 74"/>
                <a:gd name="T37" fmla="*/ 85 h 85"/>
                <a:gd name="T38" fmla="*/ 0 w 74"/>
                <a:gd name="T39" fmla="*/ 85 h 85"/>
                <a:gd name="T40" fmla="*/ 11 w 74"/>
                <a:gd name="T41" fmla="*/ 37 h 85"/>
                <a:gd name="T42" fmla="*/ 35 w 74"/>
                <a:gd name="T43" fmla="*/ 37 h 85"/>
                <a:gd name="T44" fmla="*/ 47 w 74"/>
                <a:gd name="T45" fmla="*/ 36 h 85"/>
                <a:gd name="T46" fmla="*/ 53 w 74"/>
                <a:gd name="T47" fmla="*/ 31 h 85"/>
                <a:gd name="T48" fmla="*/ 56 w 74"/>
                <a:gd name="T49" fmla="*/ 23 h 85"/>
                <a:gd name="T50" fmla="*/ 51 w 74"/>
                <a:gd name="T51" fmla="*/ 13 h 85"/>
                <a:gd name="T52" fmla="*/ 38 w 74"/>
                <a:gd name="T53" fmla="*/ 9 h 85"/>
                <a:gd name="T54" fmla="*/ 11 w 74"/>
                <a:gd name="T55" fmla="*/ 9 h 85"/>
                <a:gd name="T56" fmla="*/ 11 w 74"/>
                <a:gd name="T57" fmla="*/ 3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5" y="0"/>
                    <a:pt x="50" y="1"/>
                    <a:pt x="54" y="2"/>
                  </a:cubicBezTo>
                  <a:cubicBezTo>
                    <a:pt x="58" y="4"/>
                    <a:pt x="61" y="7"/>
                    <a:pt x="64" y="10"/>
                  </a:cubicBezTo>
                  <a:cubicBezTo>
                    <a:pt x="66" y="14"/>
                    <a:pt x="67" y="19"/>
                    <a:pt x="67" y="23"/>
                  </a:cubicBezTo>
                  <a:cubicBezTo>
                    <a:pt x="67" y="29"/>
                    <a:pt x="65" y="34"/>
                    <a:pt x="61" y="38"/>
                  </a:cubicBezTo>
                  <a:cubicBezTo>
                    <a:pt x="57" y="42"/>
                    <a:pt x="51" y="45"/>
                    <a:pt x="43" y="46"/>
                  </a:cubicBezTo>
                  <a:cubicBezTo>
                    <a:pt x="46" y="48"/>
                    <a:pt x="49" y="49"/>
                    <a:pt x="50" y="50"/>
                  </a:cubicBezTo>
                  <a:cubicBezTo>
                    <a:pt x="53" y="53"/>
                    <a:pt x="56" y="57"/>
                    <a:pt x="59" y="62"/>
                  </a:cubicBezTo>
                  <a:lnTo>
                    <a:pt x="74" y="85"/>
                  </a:lnTo>
                  <a:lnTo>
                    <a:pt x="60" y="85"/>
                  </a:lnTo>
                  <a:lnTo>
                    <a:pt x="49" y="67"/>
                  </a:lnTo>
                  <a:cubicBezTo>
                    <a:pt x="46" y="62"/>
                    <a:pt x="43" y="58"/>
                    <a:pt x="41" y="55"/>
                  </a:cubicBezTo>
                  <a:cubicBezTo>
                    <a:pt x="39" y="53"/>
                    <a:pt x="37" y="51"/>
                    <a:pt x="35" y="50"/>
                  </a:cubicBezTo>
                  <a:cubicBezTo>
                    <a:pt x="33" y="49"/>
                    <a:pt x="32" y="48"/>
                    <a:pt x="30" y="47"/>
                  </a:cubicBezTo>
                  <a:cubicBezTo>
                    <a:pt x="29" y="47"/>
                    <a:pt x="27" y="47"/>
                    <a:pt x="24" y="47"/>
                  </a:cubicBezTo>
                  <a:lnTo>
                    <a:pt x="11" y="47"/>
                  </a:lnTo>
                  <a:lnTo>
                    <a:pt x="11" y="85"/>
                  </a:lnTo>
                  <a:lnTo>
                    <a:pt x="0" y="85"/>
                  </a:lnTo>
                  <a:close/>
                  <a:moveTo>
                    <a:pt x="11" y="37"/>
                  </a:moveTo>
                  <a:lnTo>
                    <a:pt x="35" y="37"/>
                  </a:lnTo>
                  <a:cubicBezTo>
                    <a:pt x="40" y="37"/>
                    <a:pt x="44" y="37"/>
                    <a:pt x="47" y="36"/>
                  </a:cubicBezTo>
                  <a:cubicBezTo>
                    <a:pt x="50" y="35"/>
                    <a:pt x="52" y="33"/>
                    <a:pt x="53" y="31"/>
                  </a:cubicBezTo>
                  <a:cubicBezTo>
                    <a:pt x="55" y="28"/>
                    <a:pt x="56" y="26"/>
                    <a:pt x="56" y="23"/>
                  </a:cubicBezTo>
                  <a:cubicBezTo>
                    <a:pt x="56" y="19"/>
                    <a:pt x="54" y="16"/>
                    <a:pt x="51" y="13"/>
                  </a:cubicBezTo>
                  <a:cubicBezTo>
                    <a:pt x="48" y="11"/>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1895"/>
            <p:cNvSpPr>
              <a:spLocks/>
            </p:cNvSpPr>
            <p:nvPr/>
          </p:nvSpPr>
          <p:spPr bwMode="auto">
            <a:xfrm>
              <a:off x="3568" y="1726"/>
              <a:ext cx="16"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Freeform 1896"/>
            <p:cNvSpPr>
              <a:spLocks/>
            </p:cNvSpPr>
            <p:nvPr/>
          </p:nvSpPr>
          <p:spPr bwMode="auto">
            <a:xfrm>
              <a:off x="2911" y="1620"/>
              <a:ext cx="11" cy="20"/>
            </a:xfrm>
            <a:custGeom>
              <a:avLst/>
              <a:gdLst>
                <a:gd name="T0" fmla="*/ 1 w 47"/>
                <a:gd name="T1" fmla="*/ 60 h 86"/>
                <a:gd name="T2" fmla="*/ 11 w 47"/>
                <a:gd name="T3" fmla="*/ 59 h 86"/>
                <a:gd name="T4" fmla="*/ 14 w 47"/>
                <a:gd name="T5" fmla="*/ 72 h 86"/>
                <a:gd name="T6" fmla="*/ 23 w 47"/>
                <a:gd name="T7" fmla="*/ 76 h 86"/>
                <a:gd name="T8" fmla="*/ 30 w 47"/>
                <a:gd name="T9" fmla="*/ 74 h 86"/>
                <a:gd name="T10" fmla="*/ 35 w 47"/>
                <a:gd name="T11" fmla="*/ 69 h 86"/>
                <a:gd name="T12" fmla="*/ 36 w 47"/>
                <a:gd name="T13" fmla="*/ 58 h 86"/>
                <a:gd name="T14" fmla="*/ 36 w 47"/>
                <a:gd name="T15" fmla="*/ 0 h 86"/>
                <a:gd name="T16" fmla="*/ 47 w 47"/>
                <a:gd name="T17" fmla="*/ 0 h 86"/>
                <a:gd name="T18" fmla="*/ 47 w 47"/>
                <a:gd name="T19" fmla="*/ 57 h 86"/>
                <a:gd name="T20" fmla="*/ 44 w 47"/>
                <a:gd name="T21" fmla="*/ 74 h 86"/>
                <a:gd name="T22" fmla="*/ 36 w 47"/>
                <a:gd name="T23" fmla="*/ 83 h 86"/>
                <a:gd name="T24" fmla="*/ 23 w 47"/>
                <a:gd name="T25" fmla="*/ 86 h 86"/>
                <a:gd name="T26" fmla="*/ 6 w 47"/>
                <a:gd name="T27" fmla="*/ 79 h 86"/>
                <a:gd name="T28" fmla="*/ 1 w 47"/>
                <a:gd name="T2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86">
                  <a:moveTo>
                    <a:pt x="1" y="60"/>
                  </a:moveTo>
                  <a:lnTo>
                    <a:pt x="11" y="59"/>
                  </a:lnTo>
                  <a:cubicBezTo>
                    <a:pt x="11" y="65"/>
                    <a:pt x="12" y="70"/>
                    <a:pt x="14" y="72"/>
                  </a:cubicBezTo>
                  <a:cubicBezTo>
                    <a:pt x="16" y="74"/>
                    <a:pt x="19" y="76"/>
                    <a:pt x="23" y="76"/>
                  </a:cubicBezTo>
                  <a:cubicBezTo>
                    <a:pt x="26" y="76"/>
                    <a:pt x="28" y="75"/>
                    <a:pt x="30" y="74"/>
                  </a:cubicBezTo>
                  <a:cubicBezTo>
                    <a:pt x="32" y="72"/>
                    <a:pt x="34" y="71"/>
                    <a:pt x="35" y="69"/>
                  </a:cubicBezTo>
                  <a:cubicBezTo>
                    <a:pt x="35" y="66"/>
                    <a:pt x="36" y="63"/>
                    <a:pt x="36" y="58"/>
                  </a:cubicBezTo>
                  <a:lnTo>
                    <a:pt x="36" y="0"/>
                  </a:lnTo>
                  <a:lnTo>
                    <a:pt x="47" y="0"/>
                  </a:lnTo>
                  <a:lnTo>
                    <a:pt x="47" y="57"/>
                  </a:lnTo>
                  <a:cubicBezTo>
                    <a:pt x="47" y="64"/>
                    <a:pt x="46" y="70"/>
                    <a:pt x="44" y="74"/>
                  </a:cubicBezTo>
                  <a:cubicBezTo>
                    <a:pt x="43" y="78"/>
                    <a:pt x="40" y="81"/>
                    <a:pt x="36" y="83"/>
                  </a:cubicBezTo>
                  <a:cubicBezTo>
                    <a:pt x="33" y="85"/>
                    <a:pt x="28" y="86"/>
                    <a:pt x="23" y="86"/>
                  </a:cubicBezTo>
                  <a:cubicBezTo>
                    <a:pt x="16" y="86"/>
                    <a:pt x="10" y="84"/>
                    <a:pt x="6" y="79"/>
                  </a:cubicBezTo>
                  <a:cubicBezTo>
                    <a:pt x="2" y="75"/>
                    <a:pt x="0" y="69"/>
                    <a:pt x="1" y="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Freeform 1897"/>
            <p:cNvSpPr>
              <a:spLocks/>
            </p:cNvSpPr>
            <p:nvPr/>
          </p:nvSpPr>
          <p:spPr bwMode="auto">
            <a:xfrm>
              <a:off x="2925" y="1620"/>
              <a:ext cx="12" cy="19"/>
            </a:xfrm>
            <a:custGeom>
              <a:avLst/>
              <a:gdLst>
                <a:gd name="T0" fmla="*/ 55 w 55"/>
                <a:gd name="T1" fmla="*/ 75 h 85"/>
                <a:gd name="T2" fmla="*/ 55 w 55"/>
                <a:gd name="T3" fmla="*/ 85 h 85"/>
                <a:gd name="T4" fmla="*/ 0 w 55"/>
                <a:gd name="T5" fmla="*/ 85 h 85"/>
                <a:gd name="T6" fmla="*/ 1 w 55"/>
                <a:gd name="T7" fmla="*/ 78 h 85"/>
                <a:gd name="T8" fmla="*/ 8 w 55"/>
                <a:gd name="T9" fmla="*/ 67 h 85"/>
                <a:gd name="T10" fmla="*/ 21 w 55"/>
                <a:gd name="T11" fmla="*/ 54 h 85"/>
                <a:gd name="T12" fmla="*/ 40 w 55"/>
                <a:gd name="T13" fmla="*/ 36 h 85"/>
                <a:gd name="T14" fmla="*/ 45 w 55"/>
                <a:gd name="T15" fmla="*/ 24 h 85"/>
                <a:gd name="T16" fmla="*/ 40 w 55"/>
                <a:gd name="T17" fmla="*/ 13 h 85"/>
                <a:gd name="T18" fmla="*/ 29 w 55"/>
                <a:gd name="T19" fmla="*/ 9 h 85"/>
                <a:gd name="T20" fmla="*/ 17 w 55"/>
                <a:gd name="T21" fmla="*/ 14 h 85"/>
                <a:gd name="T22" fmla="*/ 12 w 55"/>
                <a:gd name="T23" fmla="*/ 26 h 85"/>
                <a:gd name="T24" fmla="*/ 2 w 55"/>
                <a:gd name="T25" fmla="*/ 25 h 85"/>
                <a:gd name="T26" fmla="*/ 10 w 55"/>
                <a:gd name="T27" fmla="*/ 7 h 85"/>
                <a:gd name="T28" fmla="*/ 29 w 55"/>
                <a:gd name="T29" fmla="*/ 0 h 85"/>
                <a:gd name="T30" fmla="*/ 48 w 55"/>
                <a:gd name="T31" fmla="*/ 7 h 85"/>
                <a:gd name="T32" fmla="*/ 55 w 55"/>
                <a:gd name="T33" fmla="*/ 24 h 85"/>
                <a:gd name="T34" fmla="*/ 53 w 55"/>
                <a:gd name="T35" fmla="*/ 34 h 85"/>
                <a:gd name="T36" fmla="*/ 46 w 55"/>
                <a:gd name="T37" fmla="*/ 44 h 85"/>
                <a:gd name="T38" fmla="*/ 30 w 55"/>
                <a:gd name="T39" fmla="*/ 59 h 85"/>
                <a:gd name="T40" fmla="*/ 18 w 55"/>
                <a:gd name="T41" fmla="*/ 70 h 85"/>
                <a:gd name="T42" fmla="*/ 14 w 55"/>
                <a:gd name="T43" fmla="*/ 75 h 85"/>
                <a:gd name="T44" fmla="*/ 55 w 55"/>
                <a:gd name="T45"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85">
                  <a:moveTo>
                    <a:pt x="55" y="75"/>
                  </a:moveTo>
                  <a:lnTo>
                    <a:pt x="55" y="85"/>
                  </a:lnTo>
                  <a:lnTo>
                    <a:pt x="0" y="85"/>
                  </a:lnTo>
                  <a:cubicBezTo>
                    <a:pt x="0" y="83"/>
                    <a:pt x="0" y="80"/>
                    <a:pt x="1" y="78"/>
                  </a:cubicBezTo>
                  <a:cubicBezTo>
                    <a:pt x="2" y="74"/>
                    <a:pt x="5" y="70"/>
                    <a:pt x="8" y="67"/>
                  </a:cubicBezTo>
                  <a:cubicBezTo>
                    <a:pt x="11" y="63"/>
                    <a:pt x="15" y="59"/>
                    <a:pt x="21" y="54"/>
                  </a:cubicBezTo>
                  <a:cubicBezTo>
                    <a:pt x="30" y="46"/>
                    <a:pt x="37" y="41"/>
                    <a:pt x="40" y="36"/>
                  </a:cubicBezTo>
                  <a:cubicBezTo>
                    <a:pt x="43" y="32"/>
                    <a:pt x="45" y="28"/>
                    <a:pt x="45" y="24"/>
                  </a:cubicBezTo>
                  <a:cubicBezTo>
                    <a:pt x="45" y="20"/>
                    <a:pt x="43" y="16"/>
                    <a:pt x="40" y="13"/>
                  </a:cubicBezTo>
                  <a:cubicBezTo>
                    <a:pt x="37" y="10"/>
                    <a:pt x="33" y="9"/>
                    <a:pt x="29" y="9"/>
                  </a:cubicBezTo>
                  <a:cubicBezTo>
                    <a:pt x="24" y="9"/>
                    <a:pt x="20" y="11"/>
                    <a:pt x="17" y="14"/>
                  </a:cubicBezTo>
                  <a:cubicBezTo>
                    <a:pt x="14" y="17"/>
                    <a:pt x="12" y="21"/>
                    <a:pt x="12" y="26"/>
                  </a:cubicBezTo>
                  <a:lnTo>
                    <a:pt x="2" y="25"/>
                  </a:lnTo>
                  <a:cubicBezTo>
                    <a:pt x="2" y="17"/>
                    <a:pt x="5" y="11"/>
                    <a:pt x="10" y="7"/>
                  </a:cubicBezTo>
                  <a:cubicBezTo>
                    <a:pt x="15" y="3"/>
                    <a:pt x="21" y="0"/>
                    <a:pt x="29" y="0"/>
                  </a:cubicBezTo>
                  <a:cubicBezTo>
                    <a:pt x="37" y="0"/>
                    <a:pt x="43" y="3"/>
                    <a:pt x="48" y="7"/>
                  </a:cubicBezTo>
                  <a:cubicBezTo>
                    <a:pt x="53" y="12"/>
                    <a:pt x="55" y="17"/>
                    <a:pt x="55" y="24"/>
                  </a:cubicBezTo>
                  <a:cubicBezTo>
                    <a:pt x="55" y="27"/>
                    <a:pt x="55" y="31"/>
                    <a:pt x="53" y="34"/>
                  </a:cubicBezTo>
                  <a:cubicBezTo>
                    <a:pt x="52" y="37"/>
                    <a:pt x="50" y="41"/>
                    <a:pt x="46" y="44"/>
                  </a:cubicBezTo>
                  <a:cubicBezTo>
                    <a:pt x="43" y="48"/>
                    <a:pt x="38" y="53"/>
                    <a:pt x="30" y="59"/>
                  </a:cubicBezTo>
                  <a:cubicBezTo>
                    <a:pt x="24" y="64"/>
                    <a:pt x="20" y="68"/>
                    <a:pt x="18" y="70"/>
                  </a:cubicBezTo>
                  <a:cubicBezTo>
                    <a:pt x="17" y="71"/>
                    <a:pt x="15" y="73"/>
                    <a:pt x="14" y="75"/>
                  </a:cubicBezTo>
                  <a:lnTo>
                    <a:pt x="5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Freeform 1898"/>
            <p:cNvSpPr>
              <a:spLocks/>
            </p:cNvSpPr>
            <p:nvPr/>
          </p:nvSpPr>
          <p:spPr bwMode="auto">
            <a:xfrm>
              <a:off x="3645" y="1439"/>
              <a:ext cx="19" cy="15"/>
            </a:xfrm>
            <a:custGeom>
              <a:avLst/>
              <a:gdLst>
                <a:gd name="T0" fmla="*/ 0 w 85"/>
                <a:gd name="T1" fmla="*/ 11 h 66"/>
                <a:gd name="T2" fmla="*/ 0 w 85"/>
                <a:gd name="T3" fmla="*/ 0 h 66"/>
                <a:gd name="T4" fmla="*/ 48 w 85"/>
                <a:gd name="T5" fmla="*/ 0 h 66"/>
                <a:gd name="T6" fmla="*/ 69 w 85"/>
                <a:gd name="T7" fmla="*/ 2 h 66"/>
                <a:gd name="T8" fmla="*/ 81 w 85"/>
                <a:gd name="T9" fmla="*/ 13 h 66"/>
                <a:gd name="T10" fmla="*/ 85 w 85"/>
                <a:gd name="T11" fmla="*/ 32 h 66"/>
                <a:gd name="T12" fmla="*/ 81 w 85"/>
                <a:gd name="T13" fmla="*/ 52 h 66"/>
                <a:gd name="T14" fmla="*/ 69 w 85"/>
                <a:gd name="T15" fmla="*/ 63 h 66"/>
                <a:gd name="T16" fmla="*/ 48 w 85"/>
                <a:gd name="T17" fmla="*/ 66 h 66"/>
                <a:gd name="T18" fmla="*/ 0 w 85"/>
                <a:gd name="T19" fmla="*/ 66 h 66"/>
                <a:gd name="T20" fmla="*/ 0 w 85"/>
                <a:gd name="T21" fmla="*/ 55 h 66"/>
                <a:gd name="T22" fmla="*/ 48 w 85"/>
                <a:gd name="T23" fmla="*/ 55 h 66"/>
                <a:gd name="T24" fmla="*/ 64 w 85"/>
                <a:gd name="T25" fmla="*/ 53 h 66"/>
                <a:gd name="T26" fmla="*/ 73 w 85"/>
                <a:gd name="T27" fmla="*/ 46 h 66"/>
                <a:gd name="T28" fmla="*/ 75 w 85"/>
                <a:gd name="T29" fmla="*/ 33 h 66"/>
                <a:gd name="T30" fmla="*/ 70 w 85"/>
                <a:gd name="T31" fmla="*/ 16 h 66"/>
                <a:gd name="T32" fmla="*/ 48 w 85"/>
                <a:gd name="T33" fmla="*/ 11 h 66"/>
                <a:gd name="T34" fmla="*/ 0 w 85"/>
                <a:gd name="T35" fmla="*/ 1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6">
                  <a:moveTo>
                    <a:pt x="0" y="11"/>
                  </a:moveTo>
                  <a:lnTo>
                    <a:pt x="0" y="0"/>
                  </a:lnTo>
                  <a:lnTo>
                    <a:pt x="48" y="0"/>
                  </a:lnTo>
                  <a:cubicBezTo>
                    <a:pt x="57" y="0"/>
                    <a:pt x="64" y="0"/>
                    <a:pt x="69" y="2"/>
                  </a:cubicBezTo>
                  <a:cubicBezTo>
                    <a:pt x="74" y="4"/>
                    <a:pt x="78" y="8"/>
                    <a:pt x="81" y="13"/>
                  </a:cubicBezTo>
                  <a:cubicBezTo>
                    <a:pt x="84" y="18"/>
                    <a:pt x="85" y="24"/>
                    <a:pt x="85" y="32"/>
                  </a:cubicBezTo>
                  <a:cubicBezTo>
                    <a:pt x="85" y="40"/>
                    <a:pt x="84" y="47"/>
                    <a:pt x="81" y="52"/>
                  </a:cubicBezTo>
                  <a:cubicBezTo>
                    <a:pt x="79" y="57"/>
                    <a:pt x="75" y="61"/>
                    <a:pt x="69" y="63"/>
                  </a:cubicBezTo>
                  <a:cubicBezTo>
                    <a:pt x="64" y="65"/>
                    <a:pt x="57" y="66"/>
                    <a:pt x="48" y="66"/>
                  </a:cubicBezTo>
                  <a:lnTo>
                    <a:pt x="0" y="66"/>
                  </a:lnTo>
                  <a:lnTo>
                    <a:pt x="0" y="55"/>
                  </a:lnTo>
                  <a:lnTo>
                    <a:pt x="48" y="55"/>
                  </a:lnTo>
                  <a:cubicBezTo>
                    <a:pt x="56" y="55"/>
                    <a:pt x="61" y="54"/>
                    <a:pt x="64" y="53"/>
                  </a:cubicBezTo>
                  <a:cubicBezTo>
                    <a:pt x="68" y="51"/>
                    <a:pt x="71" y="49"/>
                    <a:pt x="73" y="46"/>
                  </a:cubicBezTo>
                  <a:cubicBezTo>
                    <a:pt x="74" y="42"/>
                    <a:pt x="75" y="38"/>
                    <a:pt x="75" y="33"/>
                  </a:cubicBezTo>
                  <a:cubicBezTo>
                    <a:pt x="75" y="25"/>
                    <a:pt x="73" y="19"/>
                    <a:pt x="70" y="16"/>
                  </a:cubicBezTo>
                  <a:cubicBezTo>
                    <a:pt x="66" y="12"/>
                    <a:pt x="59" y="11"/>
                    <a:pt x="48" y="11"/>
                  </a:cubicBezTo>
                  <a:lnTo>
                    <a:pt x="0" y="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1899"/>
            <p:cNvSpPr>
              <a:spLocks/>
            </p:cNvSpPr>
            <p:nvPr/>
          </p:nvSpPr>
          <p:spPr bwMode="auto">
            <a:xfrm>
              <a:off x="3644" y="1421"/>
              <a:ext cx="20" cy="15"/>
            </a:xfrm>
            <a:custGeom>
              <a:avLst/>
              <a:gdLst>
                <a:gd name="T0" fmla="*/ 59 w 87"/>
                <a:gd name="T1" fmla="*/ 67 h 67"/>
                <a:gd name="T2" fmla="*/ 58 w 87"/>
                <a:gd name="T3" fmla="*/ 56 h 67"/>
                <a:gd name="T4" fmla="*/ 68 w 87"/>
                <a:gd name="T5" fmla="*/ 53 h 67"/>
                <a:gd name="T6" fmla="*/ 75 w 87"/>
                <a:gd name="T7" fmla="*/ 44 h 67"/>
                <a:gd name="T8" fmla="*/ 77 w 87"/>
                <a:gd name="T9" fmla="*/ 31 h 67"/>
                <a:gd name="T10" fmla="*/ 75 w 87"/>
                <a:gd name="T11" fmla="*/ 20 h 67"/>
                <a:gd name="T12" fmla="*/ 70 w 87"/>
                <a:gd name="T13" fmla="*/ 13 h 67"/>
                <a:gd name="T14" fmla="*/ 63 w 87"/>
                <a:gd name="T15" fmla="*/ 10 h 67"/>
                <a:gd name="T16" fmla="*/ 56 w 87"/>
                <a:gd name="T17" fmla="*/ 13 h 67"/>
                <a:gd name="T18" fmla="*/ 51 w 87"/>
                <a:gd name="T19" fmla="*/ 20 h 67"/>
                <a:gd name="T20" fmla="*/ 47 w 87"/>
                <a:gd name="T21" fmla="*/ 35 h 67"/>
                <a:gd name="T22" fmla="*/ 42 w 87"/>
                <a:gd name="T23" fmla="*/ 51 h 67"/>
                <a:gd name="T24" fmla="*/ 34 w 87"/>
                <a:gd name="T25" fmla="*/ 60 h 67"/>
                <a:gd name="T26" fmla="*/ 23 w 87"/>
                <a:gd name="T27" fmla="*/ 63 h 67"/>
                <a:gd name="T28" fmla="*/ 11 w 87"/>
                <a:gd name="T29" fmla="*/ 60 h 67"/>
                <a:gd name="T30" fmla="*/ 3 w 87"/>
                <a:gd name="T31" fmla="*/ 49 h 67"/>
                <a:gd name="T32" fmla="*/ 0 w 87"/>
                <a:gd name="T33" fmla="*/ 34 h 67"/>
                <a:gd name="T34" fmla="*/ 3 w 87"/>
                <a:gd name="T35" fmla="*/ 17 h 67"/>
                <a:gd name="T36" fmla="*/ 12 w 87"/>
                <a:gd name="T37" fmla="*/ 6 h 67"/>
                <a:gd name="T38" fmla="*/ 25 w 87"/>
                <a:gd name="T39" fmla="*/ 2 h 67"/>
                <a:gd name="T40" fmla="*/ 26 w 87"/>
                <a:gd name="T41" fmla="*/ 13 h 67"/>
                <a:gd name="T42" fmla="*/ 14 w 87"/>
                <a:gd name="T43" fmla="*/ 19 h 67"/>
                <a:gd name="T44" fmla="*/ 10 w 87"/>
                <a:gd name="T45" fmla="*/ 33 h 67"/>
                <a:gd name="T46" fmla="*/ 14 w 87"/>
                <a:gd name="T47" fmla="*/ 48 h 67"/>
                <a:gd name="T48" fmla="*/ 23 w 87"/>
                <a:gd name="T49" fmla="*/ 53 h 67"/>
                <a:gd name="T50" fmla="*/ 30 w 87"/>
                <a:gd name="T51" fmla="*/ 49 h 67"/>
                <a:gd name="T52" fmla="*/ 36 w 87"/>
                <a:gd name="T53" fmla="*/ 33 h 67"/>
                <a:gd name="T54" fmla="*/ 42 w 87"/>
                <a:gd name="T55" fmla="*/ 14 h 67"/>
                <a:gd name="T56" fmla="*/ 50 w 87"/>
                <a:gd name="T57" fmla="*/ 3 h 67"/>
                <a:gd name="T58" fmla="*/ 62 w 87"/>
                <a:gd name="T59" fmla="*/ 0 h 67"/>
                <a:gd name="T60" fmla="*/ 75 w 87"/>
                <a:gd name="T61" fmla="*/ 3 h 67"/>
                <a:gd name="T62" fmla="*/ 84 w 87"/>
                <a:gd name="T63" fmla="*/ 14 h 67"/>
                <a:gd name="T64" fmla="*/ 87 w 87"/>
                <a:gd name="T65" fmla="*/ 31 h 67"/>
                <a:gd name="T66" fmla="*/ 84 w 87"/>
                <a:gd name="T67" fmla="*/ 50 h 67"/>
                <a:gd name="T68" fmla="*/ 74 w 87"/>
                <a:gd name="T69" fmla="*/ 62 h 67"/>
                <a:gd name="T70" fmla="*/ 59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9" y="67"/>
                  </a:moveTo>
                  <a:lnTo>
                    <a:pt x="58" y="56"/>
                  </a:lnTo>
                  <a:cubicBezTo>
                    <a:pt x="62" y="56"/>
                    <a:pt x="66" y="54"/>
                    <a:pt x="68" y="53"/>
                  </a:cubicBezTo>
                  <a:cubicBezTo>
                    <a:pt x="71" y="51"/>
                    <a:pt x="73" y="48"/>
                    <a:pt x="75" y="44"/>
                  </a:cubicBezTo>
                  <a:cubicBezTo>
                    <a:pt x="77" y="40"/>
                    <a:pt x="77" y="36"/>
                    <a:pt x="77" y="31"/>
                  </a:cubicBezTo>
                  <a:cubicBezTo>
                    <a:pt x="77" y="27"/>
                    <a:pt x="77" y="23"/>
                    <a:pt x="75" y="20"/>
                  </a:cubicBezTo>
                  <a:cubicBezTo>
                    <a:pt x="74" y="17"/>
                    <a:pt x="72" y="14"/>
                    <a:pt x="70" y="13"/>
                  </a:cubicBezTo>
                  <a:cubicBezTo>
                    <a:pt x="68" y="11"/>
                    <a:pt x="66" y="10"/>
                    <a:pt x="63" y="10"/>
                  </a:cubicBezTo>
                  <a:cubicBezTo>
                    <a:pt x="60" y="10"/>
                    <a:pt x="58" y="11"/>
                    <a:pt x="56" y="13"/>
                  </a:cubicBezTo>
                  <a:cubicBezTo>
                    <a:pt x="54" y="14"/>
                    <a:pt x="52" y="17"/>
                    <a:pt x="51" y="20"/>
                  </a:cubicBezTo>
                  <a:cubicBezTo>
                    <a:pt x="50" y="22"/>
                    <a:pt x="49" y="27"/>
                    <a:pt x="47" y="35"/>
                  </a:cubicBezTo>
                  <a:cubicBezTo>
                    <a:pt x="45" y="43"/>
                    <a:pt x="43" y="48"/>
                    <a:pt x="42" y="51"/>
                  </a:cubicBezTo>
                  <a:cubicBezTo>
                    <a:pt x="40" y="56"/>
                    <a:pt x="37" y="59"/>
                    <a:pt x="34" y="60"/>
                  </a:cubicBezTo>
                  <a:cubicBezTo>
                    <a:pt x="31" y="62"/>
                    <a:pt x="27" y="63"/>
                    <a:pt x="23" y="63"/>
                  </a:cubicBezTo>
                  <a:cubicBezTo>
                    <a:pt x="19" y="63"/>
                    <a:pt x="15" y="62"/>
                    <a:pt x="11" y="60"/>
                  </a:cubicBezTo>
                  <a:cubicBezTo>
                    <a:pt x="8" y="57"/>
                    <a:pt x="5" y="54"/>
                    <a:pt x="3" y="49"/>
                  </a:cubicBezTo>
                  <a:cubicBezTo>
                    <a:pt x="1" y="45"/>
                    <a:pt x="0" y="39"/>
                    <a:pt x="0" y="34"/>
                  </a:cubicBezTo>
                  <a:cubicBezTo>
                    <a:pt x="0" y="28"/>
                    <a:pt x="1" y="22"/>
                    <a:pt x="3" y="17"/>
                  </a:cubicBezTo>
                  <a:cubicBezTo>
                    <a:pt x="5" y="12"/>
                    <a:pt x="8" y="9"/>
                    <a:pt x="12" y="6"/>
                  </a:cubicBezTo>
                  <a:cubicBezTo>
                    <a:pt x="16" y="4"/>
                    <a:pt x="20" y="2"/>
                    <a:pt x="25" y="2"/>
                  </a:cubicBezTo>
                  <a:lnTo>
                    <a:pt x="26" y="13"/>
                  </a:lnTo>
                  <a:cubicBezTo>
                    <a:pt x="21" y="13"/>
                    <a:pt x="17" y="15"/>
                    <a:pt x="14" y="19"/>
                  </a:cubicBezTo>
                  <a:cubicBezTo>
                    <a:pt x="11" y="22"/>
                    <a:pt x="10" y="27"/>
                    <a:pt x="10" y="33"/>
                  </a:cubicBezTo>
                  <a:cubicBezTo>
                    <a:pt x="10" y="40"/>
                    <a:pt x="11" y="45"/>
                    <a:pt x="14" y="48"/>
                  </a:cubicBezTo>
                  <a:cubicBezTo>
                    <a:pt x="16" y="51"/>
                    <a:pt x="19" y="53"/>
                    <a:pt x="23" y="53"/>
                  </a:cubicBezTo>
                  <a:cubicBezTo>
                    <a:pt x="26" y="53"/>
                    <a:pt x="28" y="52"/>
                    <a:pt x="30" y="49"/>
                  </a:cubicBezTo>
                  <a:cubicBezTo>
                    <a:pt x="32" y="47"/>
                    <a:pt x="34" y="42"/>
                    <a:pt x="36" y="33"/>
                  </a:cubicBezTo>
                  <a:cubicBezTo>
                    <a:pt x="38" y="24"/>
                    <a:pt x="40" y="17"/>
                    <a:pt x="42" y="14"/>
                  </a:cubicBezTo>
                  <a:cubicBezTo>
                    <a:pt x="44" y="9"/>
                    <a:pt x="47" y="5"/>
                    <a:pt x="50" y="3"/>
                  </a:cubicBezTo>
                  <a:cubicBezTo>
                    <a:pt x="54" y="1"/>
                    <a:pt x="58" y="0"/>
                    <a:pt x="62" y="0"/>
                  </a:cubicBezTo>
                  <a:cubicBezTo>
                    <a:pt x="67" y="0"/>
                    <a:pt x="71" y="1"/>
                    <a:pt x="75" y="3"/>
                  </a:cubicBezTo>
                  <a:cubicBezTo>
                    <a:pt x="79" y="6"/>
                    <a:pt x="82" y="10"/>
                    <a:pt x="84" y="14"/>
                  </a:cubicBezTo>
                  <a:cubicBezTo>
                    <a:pt x="86" y="19"/>
                    <a:pt x="87" y="25"/>
                    <a:pt x="87" y="31"/>
                  </a:cubicBezTo>
                  <a:cubicBezTo>
                    <a:pt x="87" y="38"/>
                    <a:pt x="86" y="45"/>
                    <a:pt x="84" y="50"/>
                  </a:cubicBezTo>
                  <a:cubicBezTo>
                    <a:pt x="82" y="55"/>
                    <a:pt x="78" y="59"/>
                    <a:pt x="74" y="62"/>
                  </a:cubicBezTo>
                  <a:cubicBezTo>
                    <a:pt x="70" y="65"/>
                    <a:pt x="65" y="67"/>
                    <a:pt x="59"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Freeform 1900"/>
            <p:cNvSpPr>
              <a:spLocks noEditPoints="1"/>
            </p:cNvSpPr>
            <p:nvPr/>
          </p:nvSpPr>
          <p:spPr bwMode="auto">
            <a:xfrm>
              <a:off x="3645" y="1403"/>
              <a:ext cx="19" cy="14"/>
            </a:xfrm>
            <a:custGeom>
              <a:avLst/>
              <a:gdLst>
                <a:gd name="T0" fmla="*/ 84 w 84"/>
                <a:gd name="T1" fmla="*/ 64 h 64"/>
                <a:gd name="T2" fmla="*/ 0 w 84"/>
                <a:gd name="T3" fmla="*/ 64 h 64"/>
                <a:gd name="T4" fmla="*/ 0 w 84"/>
                <a:gd name="T5" fmla="*/ 32 h 64"/>
                <a:gd name="T6" fmla="*/ 2 w 84"/>
                <a:gd name="T7" fmla="*/ 16 h 64"/>
                <a:gd name="T8" fmla="*/ 10 w 84"/>
                <a:gd name="T9" fmla="*/ 7 h 64"/>
                <a:gd name="T10" fmla="*/ 21 w 84"/>
                <a:gd name="T11" fmla="*/ 4 h 64"/>
                <a:gd name="T12" fmla="*/ 31 w 84"/>
                <a:gd name="T13" fmla="*/ 7 h 64"/>
                <a:gd name="T14" fmla="*/ 39 w 84"/>
                <a:gd name="T15" fmla="*/ 16 h 64"/>
                <a:gd name="T16" fmla="*/ 47 w 84"/>
                <a:gd name="T17" fmla="*/ 4 h 64"/>
                <a:gd name="T18" fmla="*/ 60 w 84"/>
                <a:gd name="T19" fmla="*/ 0 h 64"/>
                <a:gd name="T20" fmla="*/ 71 w 84"/>
                <a:gd name="T21" fmla="*/ 2 h 64"/>
                <a:gd name="T22" fmla="*/ 78 w 84"/>
                <a:gd name="T23" fmla="*/ 9 h 64"/>
                <a:gd name="T24" fmla="*/ 83 w 84"/>
                <a:gd name="T25" fmla="*/ 18 h 64"/>
                <a:gd name="T26" fmla="*/ 84 w 84"/>
                <a:gd name="T27" fmla="*/ 31 h 64"/>
                <a:gd name="T28" fmla="*/ 84 w 84"/>
                <a:gd name="T29" fmla="*/ 64 h 64"/>
                <a:gd name="T30" fmla="*/ 35 w 84"/>
                <a:gd name="T31" fmla="*/ 52 h 64"/>
                <a:gd name="T32" fmla="*/ 35 w 84"/>
                <a:gd name="T33" fmla="*/ 34 h 64"/>
                <a:gd name="T34" fmla="*/ 34 w 84"/>
                <a:gd name="T35" fmla="*/ 24 h 64"/>
                <a:gd name="T36" fmla="*/ 30 w 84"/>
                <a:gd name="T37" fmla="*/ 17 h 64"/>
                <a:gd name="T38" fmla="*/ 23 w 84"/>
                <a:gd name="T39" fmla="*/ 15 h 64"/>
                <a:gd name="T40" fmla="*/ 15 w 84"/>
                <a:gd name="T41" fmla="*/ 17 h 64"/>
                <a:gd name="T42" fmla="*/ 11 w 84"/>
                <a:gd name="T43" fmla="*/ 23 h 64"/>
                <a:gd name="T44" fmla="*/ 10 w 84"/>
                <a:gd name="T45" fmla="*/ 36 h 64"/>
                <a:gd name="T46" fmla="*/ 10 w 84"/>
                <a:gd name="T47" fmla="*/ 52 h 64"/>
                <a:gd name="T48" fmla="*/ 35 w 84"/>
                <a:gd name="T49" fmla="*/ 52 h 64"/>
                <a:gd name="T50" fmla="*/ 74 w 84"/>
                <a:gd name="T51" fmla="*/ 52 h 64"/>
                <a:gd name="T52" fmla="*/ 74 w 84"/>
                <a:gd name="T53" fmla="*/ 31 h 64"/>
                <a:gd name="T54" fmla="*/ 74 w 84"/>
                <a:gd name="T55" fmla="*/ 24 h 64"/>
                <a:gd name="T56" fmla="*/ 71 w 84"/>
                <a:gd name="T57" fmla="*/ 17 h 64"/>
                <a:gd name="T58" fmla="*/ 67 w 84"/>
                <a:gd name="T59" fmla="*/ 13 h 64"/>
                <a:gd name="T60" fmla="*/ 60 w 84"/>
                <a:gd name="T61" fmla="*/ 11 h 64"/>
                <a:gd name="T62" fmla="*/ 51 w 84"/>
                <a:gd name="T63" fmla="*/ 14 h 64"/>
                <a:gd name="T64" fmla="*/ 46 w 84"/>
                <a:gd name="T65" fmla="*/ 21 h 64"/>
                <a:gd name="T66" fmla="*/ 45 w 84"/>
                <a:gd name="T67" fmla="*/ 33 h 64"/>
                <a:gd name="T68" fmla="*/ 45 w 84"/>
                <a:gd name="T69" fmla="*/ 52 h 64"/>
                <a:gd name="T70" fmla="*/ 74 w 84"/>
                <a:gd name="T7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64">
                  <a:moveTo>
                    <a:pt x="84" y="64"/>
                  </a:moveTo>
                  <a:lnTo>
                    <a:pt x="0" y="64"/>
                  </a:lnTo>
                  <a:lnTo>
                    <a:pt x="0" y="32"/>
                  </a:lnTo>
                  <a:cubicBezTo>
                    <a:pt x="0" y="26"/>
                    <a:pt x="0" y="20"/>
                    <a:pt x="2" y="16"/>
                  </a:cubicBezTo>
                  <a:cubicBezTo>
                    <a:pt x="4" y="13"/>
                    <a:pt x="7" y="10"/>
                    <a:pt x="10" y="7"/>
                  </a:cubicBezTo>
                  <a:cubicBezTo>
                    <a:pt x="14" y="5"/>
                    <a:pt x="17" y="4"/>
                    <a:pt x="21" y="4"/>
                  </a:cubicBezTo>
                  <a:cubicBezTo>
                    <a:pt x="25" y="4"/>
                    <a:pt x="28" y="5"/>
                    <a:pt x="31" y="7"/>
                  </a:cubicBezTo>
                  <a:cubicBezTo>
                    <a:pt x="35" y="9"/>
                    <a:pt x="37" y="12"/>
                    <a:pt x="39" y="16"/>
                  </a:cubicBezTo>
                  <a:cubicBezTo>
                    <a:pt x="41" y="11"/>
                    <a:pt x="43" y="7"/>
                    <a:pt x="47" y="4"/>
                  </a:cubicBezTo>
                  <a:cubicBezTo>
                    <a:pt x="50" y="1"/>
                    <a:pt x="55" y="0"/>
                    <a:pt x="60" y="0"/>
                  </a:cubicBezTo>
                  <a:cubicBezTo>
                    <a:pt x="63" y="0"/>
                    <a:pt x="67" y="1"/>
                    <a:pt x="71" y="2"/>
                  </a:cubicBezTo>
                  <a:cubicBezTo>
                    <a:pt x="74" y="4"/>
                    <a:pt x="77" y="6"/>
                    <a:pt x="78" y="9"/>
                  </a:cubicBezTo>
                  <a:cubicBezTo>
                    <a:pt x="80" y="11"/>
                    <a:pt x="82" y="14"/>
                    <a:pt x="83" y="18"/>
                  </a:cubicBezTo>
                  <a:cubicBezTo>
                    <a:pt x="83" y="22"/>
                    <a:pt x="84" y="26"/>
                    <a:pt x="84" y="31"/>
                  </a:cubicBezTo>
                  <a:lnTo>
                    <a:pt x="84" y="64"/>
                  </a:lnTo>
                  <a:close/>
                  <a:moveTo>
                    <a:pt x="35" y="52"/>
                  </a:moveTo>
                  <a:lnTo>
                    <a:pt x="35" y="34"/>
                  </a:lnTo>
                  <a:cubicBezTo>
                    <a:pt x="35" y="29"/>
                    <a:pt x="35" y="26"/>
                    <a:pt x="34" y="24"/>
                  </a:cubicBezTo>
                  <a:cubicBezTo>
                    <a:pt x="33" y="21"/>
                    <a:pt x="32" y="19"/>
                    <a:pt x="30" y="17"/>
                  </a:cubicBezTo>
                  <a:cubicBezTo>
                    <a:pt x="28" y="16"/>
                    <a:pt x="25" y="15"/>
                    <a:pt x="23" y="15"/>
                  </a:cubicBezTo>
                  <a:cubicBezTo>
                    <a:pt x="20" y="15"/>
                    <a:pt x="17" y="16"/>
                    <a:pt x="15" y="17"/>
                  </a:cubicBezTo>
                  <a:cubicBezTo>
                    <a:pt x="13" y="18"/>
                    <a:pt x="12" y="20"/>
                    <a:pt x="11" y="23"/>
                  </a:cubicBezTo>
                  <a:cubicBezTo>
                    <a:pt x="10" y="25"/>
                    <a:pt x="10" y="30"/>
                    <a:pt x="10" y="36"/>
                  </a:cubicBezTo>
                  <a:lnTo>
                    <a:pt x="10" y="52"/>
                  </a:lnTo>
                  <a:lnTo>
                    <a:pt x="35" y="52"/>
                  </a:lnTo>
                  <a:close/>
                  <a:moveTo>
                    <a:pt x="74" y="52"/>
                  </a:moveTo>
                  <a:lnTo>
                    <a:pt x="74" y="31"/>
                  </a:lnTo>
                  <a:cubicBezTo>
                    <a:pt x="74" y="28"/>
                    <a:pt x="74" y="25"/>
                    <a:pt x="74" y="24"/>
                  </a:cubicBezTo>
                  <a:cubicBezTo>
                    <a:pt x="73" y="21"/>
                    <a:pt x="72" y="19"/>
                    <a:pt x="71" y="17"/>
                  </a:cubicBezTo>
                  <a:cubicBezTo>
                    <a:pt x="70" y="16"/>
                    <a:pt x="69" y="14"/>
                    <a:pt x="67" y="13"/>
                  </a:cubicBezTo>
                  <a:cubicBezTo>
                    <a:pt x="65" y="12"/>
                    <a:pt x="62" y="11"/>
                    <a:pt x="60" y="11"/>
                  </a:cubicBezTo>
                  <a:cubicBezTo>
                    <a:pt x="56" y="11"/>
                    <a:pt x="54" y="12"/>
                    <a:pt x="51" y="14"/>
                  </a:cubicBezTo>
                  <a:cubicBezTo>
                    <a:pt x="49" y="16"/>
                    <a:pt x="47" y="18"/>
                    <a:pt x="46" y="21"/>
                  </a:cubicBezTo>
                  <a:cubicBezTo>
                    <a:pt x="45" y="23"/>
                    <a:pt x="45" y="28"/>
                    <a:pt x="45" y="33"/>
                  </a:cubicBezTo>
                  <a:lnTo>
                    <a:pt x="45" y="52"/>
                  </a:lnTo>
                  <a:lnTo>
                    <a:pt x="74"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Freeform 1901"/>
            <p:cNvSpPr>
              <a:spLocks/>
            </p:cNvSpPr>
            <p:nvPr/>
          </p:nvSpPr>
          <p:spPr bwMode="auto">
            <a:xfrm>
              <a:off x="3677" y="1496"/>
              <a:ext cx="19" cy="17"/>
            </a:xfrm>
            <a:custGeom>
              <a:avLst/>
              <a:gdLst>
                <a:gd name="T0" fmla="*/ 56 w 87"/>
                <a:gd name="T1" fmla="*/ 11 h 75"/>
                <a:gd name="T2" fmla="*/ 59 w 87"/>
                <a:gd name="T3" fmla="*/ 0 h 75"/>
                <a:gd name="T4" fmla="*/ 80 w 87"/>
                <a:gd name="T5" fmla="*/ 13 h 75"/>
                <a:gd name="T6" fmla="*/ 87 w 87"/>
                <a:gd name="T7" fmla="*/ 35 h 75"/>
                <a:gd name="T8" fmla="*/ 81 w 87"/>
                <a:gd name="T9" fmla="*/ 57 h 75"/>
                <a:gd name="T10" fmla="*/ 65 w 87"/>
                <a:gd name="T11" fmla="*/ 70 h 75"/>
                <a:gd name="T12" fmla="*/ 43 w 87"/>
                <a:gd name="T13" fmla="*/ 75 h 75"/>
                <a:gd name="T14" fmla="*/ 20 w 87"/>
                <a:gd name="T15" fmla="*/ 70 h 75"/>
                <a:gd name="T16" fmla="*/ 5 w 87"/>
                <a:gd name="T17" fmla="*/ 56 h 75"/>
                <a:gd name="T18" fmla="*/ 0 w 87"/>
                <a:gd name="T19" fmla="*/ 35 h 75"/>
                <a:gd name="T20" fmla="*/ 6 w 87"/>
                <a:gd name="T21" fmla="*/ 14 h 75"/>
                <a:gd name="T22" fmla="*/ 24 w 87"/>
                <a:gd name="T23" fmla="*/ 2 h 75"/>
                <a:gd name="T24" fmla="*/ 27 w 87"/>
                <a:gd name="T25" fmla="*/ 13 h 75"/>
                <a:gd name="T26" fmla="*/ 13 w 87"/>
                <a:gd name="T27" fmla="*/ 21 h 75"/>
                <a:gd name="T28" fmla="*/ 9 w 87"/>
                <a:gd name="T29" fmla="*/ 35 h 75"/>
                <a:gd name="T30" fmla="*/ 14 w 87"/>
                <a:gd name="T31" fmla="*/ 52 h 75"/>
                <a:gd name="T32" fmla="*/ 26 w 87"/>
                <a:gd name="T33" fmla="*/ 61 h 75"/>
                <a:gd name="T34" fmla="*/ 43 w 87"/>
                <a:gd name="T35" fmla="*/ 63 h 75"/>
                <a:gd name="T36" fmla="*/ 61 w 87"/>
                <a:gd name="T37" fmla="*/ 60 h 75"/>
                <a:gd name="T38" fmla="*/ 73 w 87"/>
                <a:gd name="T39" fmla="*/ 50 h 75"/>
                <a:gd name="T40" fmla="*/ 77 w 87"/>
                <a:gd name="T41" fmla="*/ 36 h 75"/>
                <a:gd name="T42" fmla="*/ 72 w 87"/>
                <a:gd name="T43" fmla="*/ 20 h 75"/>
                <a:gd name="T44" fmla="*/ 56 w 87"/>
                <a:gd name="T45"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75">
                  <a:moveTo>
                    <a:pt x="56" y="11"/>
                  </a:moveTo>
                  <a:lnTo>
                    <a:pt x="59" y="0"/>
                  </a:lnTo>
                  <a:cubicBezTo>
                    <a:pt x="68" y="3"/>
                    <a:pt x="75" y="7"/>
                    <a:pt x="80" y="13"/>
                  </a:cubicBezTo>
                  <a:cubicBezTo>
                    <a:pt x="84" y="19"/>
                    <a:pt x="87" y="26"/>
                    <a:pt x="87" y="35"/>
                  </a:cubicBezTo>
                  <a:cubicBezTo>
                    <a:pt x="87" y="44"/>
                    <a:pt x="85" y="52"/>
                    <a:pt x="81" y="57"/>
                  </a:cubicBezTo>
                  <a:cubicBezTo>
                    <a:pt x="78" y="63"/>
                    <a:pt x="72" y="67"/>
                    <a:pt x="65" y="70"/>
                  </a:cubicBezTo>
                  <a:cubicBezTo>
                    <a:pt x="58" y="73"/>
                    <a:pt x="51" y="75"/>
                    <a:pt x="43" y="75"/>
                  </a:cubicBezTo>
                  <a:cubicBezTo>
                    <a:pt x="34" y="75"/>
                    <a:pt x="26" y="73"/>
                    <a:pt x="20" y="70"/>
                  </a:cubicBezTo>
                  <a:cubicBezTo>
                    <a:pt x="13" y="66"/>
                    <a:pt x="8" y="62"/>
                    <a:pt x="5" y="56"/>
                  </a:cubicBezTo>
                  <a:cubicBezTo>
                    <a:pt x="1" y="49"/>
                    <a:pt x="0" y="43"/>
                    <a:pt x="0" y="35"/>
                  </a:cubicBezTo>
                  <a:cubicBezTo>
                    <a:pt x="0" y="27"/>
                    <a:pt x="2" y="20"/>
                    <a:pt x="6" y="14"/>
                  </a:cubicBezTo>
                  <a:cubicBezTo>
                    <a:pt x="10" y="8"/>
                    <a:pt x="16" y="4"/>
                    <a:pt x="24" y="2"/>
                  </a:cubicBezTo>
                  <a:lnTo>
                    <a:pt x="27" y="13"/>
                  </a:lnTo>
                  <a:cubicBezTo>
                    <a:pt x="21" y="15"/>
                    <a:pt x="16" y="18"/>
                    <a:pt x="13" y="21"/>
                  </a:cubicBezTo>
                  <a:cubicBezTo>
                    <a:pt x="11" y="25"/>
                    <a:pt x="9" y="30"/>
                    <a:pt x="9" y="35"/>
                  </a:cubicBezTo>
                  <a:cubicBezTo>
                    <a:pt x="9" y="42"/>
                    <a:pt x="11" y="47"/>
                    <a:pt x="14" y="52"/>
                  </a:cubicBezTo>
                  <a:cubicBezTo>
                    <a:pt x="17" y="56"/>
                    <a:pt x="21" y="59"/>
                    <a:pt x="26" y="61"/>
                  </a:cubicBezTo>
                  <a:cubicBezTo>
                    <a:pt x="32" y="62"/>
                    <a:pt x="37" y="63"/>
                    <a:pt x="43" y="63"/>
                  </a:cubicBezTo>
                  <a:cubicBezTo>
                    <a:pt x="50" y="63"/>
                    <a:pt x="56" y="62"/>
                    <a:pt x="61" y="60"/>
                  </a:cubicBezTo>
                  <a:cubicBezTo>
                    <a:pt x="67" y="58"/>
                    <a:pt x="71" y="55"/>
                    <a:pt x="73" y="50"/>
                  </a:cubicBezTo>
                  <a:cubicBezTo>
                    <a:pt x="76" y="46"/>
                    <a:pt x="77" y="41"/>
                    <a:pt x="77" y="36"/>
                  </a:cubicBezTo>
                  <a:cubicBezTo>
                    <a:pt x="77" y="30"/>
                    <a:pt x="75" y="25"/>
                    <a:pt x="72" y="20"/>
                  </a:cubicBezTo>
                  <a:cubicBezTo>
                    <a:pt x="68" y="16"/>
                    <a:pt x="63" y="13"/>
                    <a:pt x="56" y="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Freeform 1902"/>
            <p:cNvSpPr>
              <a:spLocks/>
            </p:cNvSpPr>
            <p:nvPr/>
          </p:nvSpPr>
          <p:spPr bwMode="auto">
            <a:xfrm>
              <a:off x="3677" y="1481"/>
              <a:ext cx="19" cy="12"/>
            </a:xfrm>
            <a:custGeom>
              <a:avLst/>
              <a:gdLst>
                <a:gd name="T0" fmla="*/ 84 w 84"/>
                <a:gd name="T1" fmla="*/ 53 h 53"/>
                <a:gd name="T2" fmla="*/ 0 w 84"/>
                <a:gd name="T3" fmla="*/ 53 h 53"/>
                <a:gd name="T4" fmla="*/ 0 w 84"/>
                <a:gd name="T5" fmla="*/ 42 h 53"/>
                <a:gd name="T6" fmla="*/ 74 w 84"/>
                <a:gd name="T7" fmla="*/ 42 h 53"/>
                <a:gd name="T8" fmla="*/ 74 w 84"/>
                <a:gd name="T9" fmla="*/ 0 h 53"/>
                <a:gd name="T10" fmla="*/ 84 w 84"/>
                <a:gd name="T11" fmla="*/ 0 h 53"/>
                <a:gd name="T12" fmla="*/ 84 w 8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84" y="53"/>
                  </a:moveTo>
                  <a:lnTo>
                    <a:pt x="0" y="53"/>
                  </a:lnTo>
                  <a:lnTo>
                    <a:pt x="0" y="42"/>
                  </a:lnTo>
                  <a:lnTo>
                    <a:pt x="74" y="42"/>
                  </a:lnTo>
                  <a:lnTo>
                    <a:pt x="74" y="0"/>
                  </a:lnTo>
                  <a:lnTo>
                    <a:pt x="84" y="0"/>
                  </a:lnTo>
                  <a:lnTo>
                    <a:pt x="84"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Rectangle 1903"/>
            <p:cNvSpPr>
              <a:spLocks noChangeArrowheads="1"/>
            </p:cNvSpPr>
            <p:nvPr/>
          </p:nvSpPr>
          <p:spPr bwMode="auto">
            <a:xfrm>
              <a:off x="3677" y="1475"/>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6" name="Freeform 1904"/>
            <p:cNvSpPr>
              <a:spLocks/>
            </p:cNvSpPr>
            <p:nvPr/>
          </p:nvSpPr>
          <p:spPr bwMode="auto">
            <a:xfrm>
              <a:off x="3677" y="1456"/>
              <a:ext cx="19" cy="15"/>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Freeform 1905"/>
            <p:cNvSpPr>
              <a:spLocks/>
            </p:cNvSpPr>
            <p:nvPr/>
          </p:nvSpPr>
          <p:spPr bwMode="auto">
            <a:xfrm>
              <a:off x="3677" y="1438"/>
              <a:ext cx="19" cy="15"/>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Freeform 1906"/>
            <p:cNvSpPr>
              <a:spLocks/>
            </p:cNvSpPr>
            <p:nvPr/>
          </p:nvSpPr>
          <p:spPr bwMode="auto">
            <a:xfrm>
              <a:off x="3677" y="1420"/>
              <a:ext cx="19" cy="15"/>
            </a:xfrm>
            <a:custGeom>
              <a:avLst/>
              <a:gdLst>
                <a:gd name="T0" fmla="*/ 84 w 84"/>
                <a:gd name="T1" fmla="*/ 39 h 67"/>
                <a:gd name="T2" fmla="*/ 10 w 84"/>
                <a:gd name="T3" fmla="*/ 39 h 67"/>
                <a:gd name="T4" fmla="*/ 10 w 84"/>
                <a:gd name="T5" fmla="*/ 67 h 67"/>
                <a:gd name="T6" fmla="*/ 0 w 84"/>
                <a:gd name="T7" fmla="*/ 67 h 67"/>
                <a:gd name="T8" fmla="*/ 0 w 84"/>
                <a:gd name="T9" fmla="*/ 0 h 67"/>
                <a:gd name="T10" fmla="*/ 10 w 84"/>
                <a:gd name="T11" fmla="*/ 0 h 67"/>
                <a:gd name="T12" fmla="*/ 10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10" y="39"/>
                  </a:lnTo>
                  <a:lnTo>
                    <a:pt x="10" y="67"/>
                  </a:lnTo>
                  <a:lnTo>
                    <a:pt x="0" y="67"/>
                  </a:lnTo>
                  <a:lnTo>
                    <a:pt x="0" y="0"/>
                  </a:lnTo>
                  <a:lnTo>
                    <a:pt x="10" y="0"/>
                  </a:lnTo>
                  <a:lnTo>
                    <a:pt x="10"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1907"/>
            <p:cNvSpPr>
              <a:spLocks/>
            </p:cNvSpPr>
            <p:nvPr/>
          </p:nvSpPr>
          <p:spPr bwMode="auto">
            <a:xfrm>
              <a:off x="3965" y="1402"/>
              <a:ext cx="15" cy="20"/>
            </a:xfrm>
            <a:custGeom>
              <a:avLst/>
              <a:gdLst>
                <a:gd name="T0" fmla="*/ 55 w 67"/>
                <a:gd name="T1" fmla="*/ 0 h 86"/>
                <a:gd name="T2" fmla="*/ 67 w 67"/>
                <a:gd name="T3" fmla="*/ 0 h 86"/>
                <a:gd name="T4" fmla="*/ 67 w 67"/>
                <a:gd name="T5" fmla="*/ 49 h 86"/>
                <a:gd name="T6" fmla="*/ 64 w 67"/>
                <a:gd name="T7" fmla="*/ 69 h 86"/>
                <a:gd name="T8" fmla="*/ 53 w 67"/>
                <a:gd name="T9" fmla="*/ 81 h 86"/>
                <a:gd name="T10" fmla="*/ 34 w 67"/>
                <a:gd name="T11" fmla="*/ 86 h 86"/>
                <a:gd name="T12" fmla="*/ 14 w 67"/>
                <a:gd name="T13" fmla="*/ 82 h 86"/>
                <a:gd name="T14" fmla="*/ 3 w 67"/>
                <a:gd name="T15" fmla="*/ 70 h 86"/>
                <a:gd name="T16" fmla="*/ 0 w 67"/>
                <a:gd name="T17" fmla="*/ 49 h 86"/>
                <a:gd name="T18" fmla="*/ 0 w 67"/>
                <a:gd name="T19" fmla="*/ 0 h 86"/>
                <a:gd name="T20" fmla="*/ 11 w 67"/>
                <a:gd name="T21" fmla="*/ 0 h 86"/>
                <a:gd name="T22" fmla="*/ 11 w 67"/>
                <a:gd name="T23" fmla="*/ 49 h 86"/>
                <a:gd name="T24" fmla="*/ 13 w 67"/>
                <a:gd name="T25" fmla="*/ 65 h 86"/>
                <a:gd name="T26" fmla="*/ 20 w 67"/>
                <a:gd name="T27" fmla="*/ 73 h 86"/>
                <a:gd name="T28" fmla="*/ 33 w 67"/>
                <a:gd name="T29" fmla="*/ 76 h 86"/>
                <a:gd name="T30" fmla="*/ 50 w 67"/>
                <a:gd name="T31" fmla="*/ 70 h 86"/>
                <a:gd name="T32" fmla="*/ 55 w 67"/>
                <a:gd name="T33" fmla="*/ 49 h 86"/>
                <a:gd name="T34" fmla="*/ 55 w 67"/>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86">
                  <a:moveTo>
                    <a:pt x="55" y="0"/>
                  </a:moveTo>
                  <a:lnTo>
                    <a:pt x="67" y="0"/>
                  </a:lnTo>
                  <a:lnTo>
                    <a:pt x="67" y="49"/>
                  </a:lnTo>
                  <a:cubicBezTo>
                    <a:pt x="67" y="57"/>
                    <a:pt x="66" y="64"/>
                    <a:pt x="64" y="69"/>
                  </a:cubicBezTo>
                  <a:cubicBezTo>
                    <a:pt x="62" y="74"/>
                    <a:pt x="58" y="78"/>
                    <a:pt x="53" y="81"/>
                  </a:cubicBezTo>
                  <a:cubicBezTo>
                    <a:pt x="48" y="84"/>
                    <a:pt x="42" y="86"/>
                    <a:pt x="34" y="86"/>
                  </a:cubicBezTo>
                  <a:cubicBezTo>
                    <a:pt x="26" y="86"/>
                    <a:pt x="19" y="85"/>
                    <a:pt x="14" y="82"/>
                  </a:cubicBezTo>
                  <a:cubicBezTo>
                    <a:pt x="9" y="79"/>
                    <a:pt x="6" y="75"/>
                    <a:pt x="3" y="70"/>
                  </a:cubicBezTo>
                  <a:cubicBezTo>
                    <a:pt x="1" y="65"/>
                    <a:pt x="0" y="58"/>
                    <a:pt x="0" y="49"/>
                  </a:cubicBezTo>
                  <a:lnTo>
                    <a:pt x="0" y="0"/>
                  </a:lnTo>
                  <a:lnTo>
                    <a:pt x="11" y="0"/>
                  </a:lnTo>
                  <a:lnTo>
                    <a:pt x="11" y="49"/>
                  </a:lnTo>
                  <a:cubicBezTo>
                    <a:pt x="11" y="56"/>
                    <a:pt x="12" y="62"/>
                    <a:pt x="13" y="65"/>
                  </a:cubicBezTo>
                  <a:cubicBezTo>
                    <a:pt x="15" y="69"/>
                    <a:pt x="17" y="71"/>
                    <a:pt x="20" y="73"/>
                  </a:cubicBezTo>
                  <a:cubicBezTo>
                    <a:pt x="24" y="75"/>
                    <a:pt x="28" y="76"/>
                    <a:pt x="33" y="76"/>
                  </a:cubicBezTo>
                  <a:cubicBezTo>
                    <a:pt x="41" y="76"/>
                    <a:pt x="47" y="74"/>
                    <a:pt x="50" y="70"/>
                  </a:cubicBezTo>
                  <a:cubicBezTo>
                    <a:pt x="54"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Freeform 1908"/>
            <p:cNvSpPr>
              <a:spLocks/>
            </p:cNvSpPr>
            <p:nvPr/>
          </p:nvSpPr>
          <p:spPr bwMode="auto">
            <a:xfrm>
              <a:off x="3983" y="1402"/>
              <a:ext cx="16" cy="20"/>
            </a:xfrm>
            <a:custGeom>
              <a:avLst/>
              <a:gdLst>
                <a:gd name="T0" fmla="*/ 0 w 68"/>
                <a:gd name="T1" fmla="*/ 58 h 87"/>
                <a:gd name="T2" fmla="*/ 11 w 68"/>
                <a:gd name="T3" fmla="*/ 58 h 87"/>
                <a:gd name="T4" fmla="*/ 14 w 68"/>
                <a:gd name="T5" fmla="*/ 68 h 87"/>
                <a:gd name="T6" fmla="*/ 23 w 68"/>
                <a:gd name="T7" fmla="*/ 74 h 87"/>
                <a:gd name="T8" fmla="*/ 36 w 68"/>
                <a:gd name="T9" fmla="*/ 77 h 87"/>
                <a:gd name="T10" fmla="*/ 47 w 68"/>
                <a:gd name="T11" fmla="*/ 75 h 87"/>
                <a:gd name="T12" fmla="*/ 54 w 68"/>
                <a:gd name="T13" fmla="*/ 70 h 87"/>
                <a:gd name="T14" fmla="*/ 57 w 68"/>
                <a:gd name="T15" fmla="*/ 63 h 87"/>
                <a:gd name="T16" fmla="*/ 54 w 68"/>
                <a:gd name="T17" fmla="*/ 56 h 87"/>
                <a:gd name="T18" fmla="*/ 47 w 68"/>
                <a:gd name="T19" fmla="*/ 51 h 87"/>
                <a:gd name="T20" fmla="*/ 32 w 68"/>
                <a:gd name="T21" fmla="*/ 47 h 87"/>
                <a:gd name="T22" fmla="*/ 16 w 68"/>
                <a:gd name="T23" fmla="*/ 41 h 87"/>
                <a:gd name="T24" fmla="*/ 7 w 68"/>
                <a:gd name="T25" fmla="*/ 34 h 87"/>
                <a:gd name="T26" fmla="*/ 4 w 68"/>
                <a:gd name="T27" fmla="*/ 23 h 87"/>
                <a:gd name="T28" fmla="*/ 7 w 68"/>
                <a:gd name="T29" fmla="*/ 11 h 87"/>
                <a:gd name="T30" fmla="*/ 18 w 68"/>
                <a:gd name="T31" fmla="*/ 3 h 87"/>
                <a:gd name="T32" fmla="*/ 33 w 68"/>
                <a:gd name="T33" fmla="*/ 0 h 87"/>
                <a:gd name="T34" fmla="*/ 50 w 68"/>
                <a:gd name="T35" fmla="*/ 3 h 87"/>
                <a:gd name="T36" fmla="*/ 61 w 68"/>
                <a:gd name="T37" fmla="*/ 12 h 87"/>
                <a:gd name="T38" fmla="*/ 65 w 68"/>
                <a:gd name="T39" fmla="*/ 25 h 87"/>
                <a:gd name="T40" fmla="*/ 54 w 68"/>
                <a:gd name="T41" fmla="*/ 26 h 87"/>
                <a:gd name="T42" fmla="*/ 48 w 68"/>
                <a:gd name="T43" fmla="*/ 14 h 87"/>
                <a:gd name="T44" fmla="*/ 34 w 68"/>
                <a:gd name="T45" fmla="*/ 10 h 87"/>
                <a:gd name="T46" fmla="*/ 19 w 68"/>
                <a:gd name="T47" fmla="*/ 13 h 87"/>
                <a:gd name="T48" fmla="*/ 14 w 68"/>
                <a:gd name="T49" fmla="*/ 22 h 87"/>
                <a:gd name="T50" fmla="*/ 18 w 68"/>
                <a:gd name="T51" fmla="*/ 30 h 87"/>
                <a:gd name="T52" fmla="*/ 34 w 68"/>
                <a:gd name="T53" fmla="*/ 36 h 87"/>
                <a:gd name="T54" fmla="*/ 53 w 68"/>
                <a:gd name="T55" fmla="*/ 41 h 87"/>
                <a:gd name="T56" fmla="*/ 64 w 68"/>
                <a:gd name="T57" fmla="*/ 50 h 87"/>
                <a:gd name="T58" fmla="*/ 68 w 68"/>
                <a:gd name="T59" fmla="*/ 62 h 87"/>
                <a:gd name="T60" fmla="*/ 64 w 68"/>
                <a:gd name="T61" fmla="*/ 74 h 87"/>
                <a:gd name="T62" fmla="*/ 53 w 68"/>
                <a:gd name="T63" fmla="*/ 84 h 87"/>
                <a:gd name="T64" fmla="*/ 36 w 68"/>
                <a:gd name="T65" fmla="*/ 87 h 87"/>
                <a:gd name="T66" fmla="*/ 17 w 68"/>
                <a:gd name="T67" fmla="*/ 84 h 87"/>
                <a:gd name="T68" fmla="*/ 5 w 68"/>
                <a:gd name="T69" fmla="*/ 74 h 87"/>
                <a:gd name="T70" fmla="*/ 0 w 68"/>
                <a:gd name="T71" fmla="*/ 5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7">
                  <a:moveTo>
                    <a:pt x="0" y="58"/>
                  </a:moveTo>
                  <a:lnTo>
                    <a:pt x="11" y="58"/>
                  </a:lnTo>
                  <a:cubicBezTo>
                    <a:pt x="11" y="62"/>
                    <a:pt x="13" y="65"/>
                    <a:pt x="14" y="68"/>
                  </a:cubicBezTo>
                  <a:cubicBezTo>
                    <a:pt x="16" y="71"/>
                    <a:pt x="19" y="73"/>
                    <a:pt x="23" y="74"/>
                  </a:cubicBezTo>
                  <a:cubicBezTo>
                    <a:pt x="27" y="76"/>
                    <a:pt x="31" y="77"/>
                    <a:pt x="36" y="77"/>
                  </a:cubicBezTo>
                  <a:cubicBezTo>
                    <a:pt x="40" y="77"/>
                    <a:pt x="44" y="76"/>
                    <a:pt x="47" y="75"/>
                  </a:cubicBezTo>
                  <a:cubicBezTo>
                    <a:pt x="50" y="74"/>
                    <a:pt x="53" y="72"/>
                    <a:pt x="54" y="70"/>
                  </a:cubicBezTo>
                  <a:cubicBezTo>
                    <a:pt x="56" y="68"/>
                    <a:pt x="57" y="65"/>
                    <a:pt x="57" y="63"/>
                  </a:cubicBezTo>
                  <a:cubicBezTo>
                    <a:pt x="57" y="60"/>
                    <a:pt x="56" y="58"/>
                    <a:pt x="54" y="56"/>
                  </a:cubicBezTo>
                  <a:cubicBezTo>
                    <a:pt x="53" y="54"/>
                    <a:pt x="50" y="52"/>
                    <a:pt x="47" y="51"/>
                  </a:cubicBezTo>
                  <a:cubicBezTo>
                    <a:pt x="45" y="50"/>
                    <a:pt x="40" y="48"/>
                    <a:pt x="32" y="47"/>
                  </a:cubicBezTo>
                  <a:cubicBezTo>
                    <a:pt x="24" y="45"/>
                    <a:pt x="19" y="43"/>
                    <a:pt x="16" y="41"/>
                  </a:cubicBezTo>
                  <a:cubicBezTo>
                    <a:pt x="12" y="39"/>
                    <a:pt x="9" y="37"/>
                    <a:pt x="7" y="34"/>
                  </a:cubicBezTo>
                  <a:cubicBezTo>
                    <a:pt x="5" y="30"/>
                    <a:pt x="4" y="27"/>
                    <a:pt x="4" y="23"/>
                  </a:cubicBezTo>
                  <a:cubicBezTo>
                    <a:pt x="4" y="19"/>
                    <a:pt x="5" y="15"/>
                    <a:pt x="7" y="11"/>
                  </a:cubicBezTo>
                  <a:cubicBezTo>
                    <a:pt x="10" y="7"/>
                    <a:pt x="13" y="5"/>
                    <a:pt x="18" y="3"/>
                  </a:cubicBezTo>
                  <a:cubicBezTo>
                    <a:pt x="22" y="1"/>
                    <a:pt x="28" y="0"/>
                    <a:pt x="33" y="0"/>
                  </a:cubicBezTo>
                  <a:cubicBezTo>
                    <a:pt x="40" y="0"/>
                    <a:pt x="45" y="1"/>
                    <a:pt x="50" y="3"/>
                  </a:cubicBezTo>
                  <a:cubicBezTo>
                    <a:pt x="55" y="5"/>
                    <a:pt x="58" y="8"/>
                    <a:pt x="61" y="12"/>
                  </a:cubicBezTo>
                  <a:cubicBezTo>
                    <a:pt x="63" y="16"/>
                    <a:pt x="65" y="20"/>
                    <a:pt x="65" y="25"/>
                  </a:cubicBezTo>
                  <a:lnTo>
                    <a:pt x="54" y="26"/>
                  </a:lnTo>
                  <a:cubicBezTo>
                    <a:pt x="54" y="20"/>
                    <a:pt x="52" y="16"/>
                    <a:pt x="48" y="14"/>
                  </a:cubicBezTo>
                  <a:cubicBezTo>
                    <a:pt x="45" y="11"/>
                    <a:pt x="40" y="10"/>
                    <a:pt x="34" y="10"/>
                  </a:cubicBezTo>
                  <a:cubicBezTo>
                    <a:pt x="27" y="10"/>
                    <a:pt x="22" y="11"/>
                    <a:pt x="19" y="13"/>
                  </a:cubicBezTo>
                  <a:cubicBezTo>
                    <a:pt x="16" y="16"/>
                    <a:pt x="14" y="19"/>
                    <a:pt x="14" y="22"/>
                  </a:cubicBezTo>
                  <a:cubicBezTo>
                    <a:pt x="14" y="25"/>
                    <a:pt x="15" y="28"/>
                    <a:pt x="18" y="30"/>
                  </a:cubicBezTo>
                  <a:cubicBezTo>
                    <a:pt x="20" y="32"/>
                    <a:pt x="25" y="34"/>
                    <a:pt x="34" y="36"/>
                  </a:cubicBezTo>
                  <a:cubicBezTo>
                    <a:pt x="44" y="38"/>
                    <a:pt x="50" y="40"/>
                    <a:pt x="53" y="41"/>
                  </a:cubicBezTo>
                  <a:cubicBezTo>
                    <a:pt x="58" y="43"/>
                    <a:pt x="62" y="46"/>
                    <a:pt x="64" y="50"/>
                  </a:cubicBezTo>
                  <a:cubicBezTo>
                    <a:pt x="66" y="53"/>
                    <a:pt x="68" y="57"/>
                    <a:pt x="68" y="62"/>
                  </a:cubicBezTo>
                  <a:cubicBezTo>
                    <a:pt x="68" y="66"/>
                    <a:pt x="66" y="70"/>
                    <a:pt x="64" y="74"/>
                  </a:cubicBezTo>
                  <a:cubicBezTo>
                    <a:pt x="61" y="78"/>
                    <a:pt x="57" y="81"/>
                    <a:pt x="53" y="84"/>
                  </a:cubicBezTo>
                  <a:cubicBezTo>
                    <a:pt x="48" y="86"/>
                    <a:pt x="42" y="87"/>
                    <a:pt x="36" y="87"/>
                  </a:cubicBezTo>
                  <a:cubicBezTo>
                    <a:pt x="29" y="87"/>
                    <a:pt x="22" y="86"/>
                    <a:pt x="17" y="84"/>
                  </a:cubicBezTo>
                  <a:cubicBezTo>
                    <a:pt x="12" y="81"/>
                    <a:pt x="8" y="78"/>
                    <a:pt x="5" y="74"/>
                  </a:cubicBezTo>
                  <a:cubicBezTo>
                    <a:pt x="2" y="69"/>
                    <a:pt x="1" y="64"/>
                    <a:pt x="0" y="5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Freeform 1909"/>
            <p:cNvSpPr>
              <a:spLocks noEditPoints="1"/>
            </p:cNvSpPr>
            <p:nvPr/>
          </p:nvSpPr>
          <p:spPr bwMode="auto">
            <a:xfrm>
              <a:off x="4002" y="1402"/>
              <a:ext cx="15" cy="19"/>
            </a:xfrm>
            <a:custGeom>
              <a:avLst/>
              <a:gdLst>
                <a:gd name="T0" fmla="*/ 0 w 64"/>
                <a:gd name="T1" fmla="*/ 85 h 85"/>
                <a:gd name="T2" fmla="*/ 0 w 64"/>
                <a:gd name="T3" fmla="*/ 0 h 85"/>
                <a:gd name="T4" fmla="*/ 32 w 64"/>
                <a:gd name="T5" fmla="*/ 0 h 85"/>
                <a:gd name="T6" fmla="*/ 48 w 64"/>
                <a:gd name="T7" fmla="*/ 3 h 85"/>
                <a:gd name="T8" fmla="*/ 57 w 64"/>
                <a:gd name="T9" fmla="*/ 11 h 85"/>
                <a:gd name="T10" fmla="*/ 60 w 64"/>
                <a:gd name="T11" fmla="*/ 22 h 85"/>
                <a:gd name="T12" fmla="*/ 57 w 64"/>
                <a:gd name="T13" fmla="*/ 32 h 85"/>
                <a:gd name="T14" fmla="*/ 48 w 64"/>
                <a:gd name="T15" fmla="*/ 40 h 85"/>
                <a:gd name="T16" fmla="*/ 60 w 64"/>
                <a:gd name="T17" fmla="*/ 47 h 85"/>
                <a:gd name="T18" fmla="*/ 64 w 64"/>
                <a:gd name="T19" fmla="*/ 60 h 85"/>
                <a:gd name="T20" fmla="*/ 62 w 64"/>
                <a:gd name="T21" fmla="*/ 71 h 85"/>
                <a:gd name="T22" fmla="*/ 55 w 64"/>
                <a:gd name="T23" fmla="*/ 79 h 85"/>
                <a:gd name="T24" fmla="*/ 46 w 64"/>
                <a:gd name="T25" fmla="*/ 83 h 85"/>
                <a:gd name="T26" fmla="*/ 33 w 64"/>
                <a:gd name="T27" fmla="*/ 85 h 85"/>
                <a:gd name="T28" fmla="*/ 0 w 64"/>
                <a:gd name="T29" fmla="*/ 85 h 85"/>
                <a:gd name="T30" fmla="*/ 12 w 64"/>
                <a:gd name="T31" fmla="*/ 36 h 85"/>
                <a:gd name="T32" fmla="*/ 30 w 64"/>
                <a:gd name="T33" fmla="*/ 36 h 85"/>
                <a:gd name="T34" fmla="*/ 40 w 64"/>
                <a:gd name="T35" fmla="*/ 35 h 85"/>
                <a:gd name="T36" fmla="*/ 47 w 64"/>
                <a:gd name="T37" fmla="*/ 30 h 85"/>
                <a:gd name="T38" fmla="*/ 49 w 64"/>
                <a:gd name="T39" fmla="*/ 23 h 85"/>
                <a:gd name="T40" fmla="*/ 47 w 64"/>
                <a:gd name="T41" fmla="*/ 16 h 85"/>
                <a:gd name="T42" fmla="*/ 41 w 64"/>
                <a:gd name="T43" fmla="*/ 11 h 85"/>
                <a:gd name="T44" fmla="*/ 28 w 64"/>
                <a:gd name="T45" fmla="*/ 10 h 85"/>
                <a:gd name="T46" fmla="*/ 12 w 64"/>
                <a:gd name="T47" fmla="*/ 10 h 85"/>
                <a:gd name="T48" fmla="*/ 12 w 64"/>
                <a:gd name="T49" fmla="*/ 36 h 85"/>
                <a:gd name="T50" fmla="*/ 12 w 64"/>
                <a:gd name="T51" fmla="*/ 75 h 85"/>
                <a:gd name="T52" fmla="*/ 33 w 64"/>
                <a:gd name="T53" fmla="*/ 75 h 85"/>
                <a:gd name="T54" fmla="*/ 40 w 64"/>
                <a:gd name="T55" fmla="*/ 74 h 85"/>
                <a:gd name="T56" fmla="*/ 47 w 64"/>
                <a:gd name="T57" fmla="*/ 72 h 85"/>
                <a:gd name="T58" fmla="*/ 51 w 64"/>
                <a:gd name="T59" fmla="*/ 67 h 85"/>
                <a:gd name="T60" fmla="*/ 53 w 64"/>
                <a:gd name="T61" fmla="*/ 60 h 85"/>
                <a:gd name="T62" fmla="*/ 50 w 64"/>
                <a:gd name="T63" fmla="*/ 52 h 85"/>
                <a:gd name="T64" fmla="*/ 43 w 64"/>
                <a:gd name="T65" fmla="*/ 47 h 85"/>
                <a:gd name="T66" fmla="*/ 31 w 64"/>
                <a:gd name="T67" fmla="*/ 46 h 85"/>
                <a:gd name="T68" fmla="*/ 12 w 64"/>
                <a:gd name="T69" fmla="*/ 46 h 85"/>
                <a:gd name="T70" fmla="*/ 12 w 64"/>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85">
                  <a:moveTo>
                    <a:pt x="0" y="85"/>
                  </a:moveTo>
                  <a:lnTo>
                    <a:pt x="0" y="0"/>
                  </a:lnTo>
                  <a:lnTo>
                    <a:pt x="32" y="0"/>
                  </a:lnTo>
                  <a:cubicBezTo>
                    <a:pt x="39" y="0"/>
                    <a:pt x="44" y="1"/>
                    <a:pt x="48" y="3"/>
                  </a:cubicBezTo>
                  <a:cubicBezTo>
                    <a:pt x="51" y="4"/>
                    <a:pt x="55" y="7"/>
                    <a:pt x="57" y="11"/>
                  </a:cubicBezTo>
                  <a:cubicBezTo>
                    <a:pt x="59" y="14"/>
                    <a:pt x="60" y="18"/>
                    <a:pt x="60" y="22"/>
                  </a:cubicBezTo>
                  <a:cubicBezTo>
                    <a:pt x="60" y="25"/>
                    <a:pt x="59" y="29"/>
                    <a:pt x="57" y="32"/>
                  </a:cubicBezTo>
                  <a:cubicBezTo>
                    <a:pt x="55" y="35"/>
                    <a:pt x="52" y="38"/>
                    <a:pt x="48" y="40"/>
                  </a:cubicBezTo>
                  <a:cubicBezTo>
                    <a:pt x="53" y="41"/>
                    <a:pt x="57" y="44"/>
                    <a:pt x="60" y="47"/>
                  </a:cubicBezTo>
                  <a:cubicBezTo>
                    <a:pt x="63" y="51"/>
                    <a:pt x="64" y="55"/>
                    <a:pt x="64" y="60"/>
                  </a:cubicBezTo>
                  <a:cubicBezTo>
                    <a:pt x="64" y="64"/>
                    <a:pt x="63" y="68"/>
                    <a:pt x="62" y="71"/>
                  </a:cubicBezTo>
                  <a:cubicBezTo>
                    <a:pt x="60" y="75"/>
                    <a:pt x="58" y="77"/>
                    <a:pt x="55" y="79"/>
                  </a:cubicBezTo>
                  <a:cubicBezTo>
                    <a:pt x="53" y="81"/>
                    <a:pt x="50" y="82"/>
                    <a:pt x="46" y="83"/>
                  </a:cubicBezTo>
                  <a:cubicBezTo>
                    <a:pt x="42" y="84"/>
                    <a:pt x="38" y="85"/>
                    <a:pt x="33" y="85"/>
                  </a:cubicBezTo>
                  <a:lnTo>
                    <a:pt x="0" y="85"/>
                  </a:lnTo>
                  <a:close/>
                  <a:moveTo>
                    <a:pt x="12" y="36"/>
                  </a:moveTo>
                  <a:lnTo>
                    <a:pt x="30" y="36"/>
                  </a:lnTo>
                  <a:cubicBezTo>
                    <a:pt x="35" y="36"/>
                    <a:pt x="38" y="35"/>
                    <a:pt x="40" y="35"/>
                  </a:cubicBezTo>
                  <a:cubicBezTo>
                    <a:pt x="43" y="34"/>
                    <a:pt x="45" y="32"/>
                    <a:pt x="47" y="30"/>
                  </a:cubicBezTo>
                  <a:cubicBezTo>
                    <a:pt x="48" y="29"/>
                    <a:pt x="49" y="26"/>
                    <a:pt x="49" y="23"/>
                  </a:cubicBezTo>
                  <a:cubicBezTo>
                    <a:pt x="49" y="20"/>
                    <a:pt x="48" y="18"/>
                    <a:pt x="47" y="16"/>
                  </a:cubicBezTo>
                  <a:cubicBezTo>
                    <a:pt x="46" y="14"/>
                    <a:pt x="44" y="12"/>
                    <a:pt x="41" y="11"/>
                  </a:cubicBezTo>
                  <a:cubicBezTo>
                    <a:pt x="39" y="11"/>
                    <a:pt x="35" y="10"/>
                    <a:pt x="28" y="10"/>
                  </a:cubicBezTo>
                  <a:lnTo>
                    <a:pt x="12" y="10"/>
                  </a:lnTo>
                  <a:lnTo>
                    <a:pt x="12" y="36"/>
                  </a:lnTo>
                  <a:close/>
                  <a:moveTo>
                    <a:pt x="12" y="75"/>
                  </a:moveTo>
                  <a:lnTo>
                    <a:pt x="33" y="75"/>
                  </a:lnTo>
                  <a:cubicBezTo>
                    <a:pt x="36" y="75"/>
                    <a:pt x="39" y="74"/>
                    <a:pt x="40" y="74"/>
                  </a:cubicBezTo>
                  <a:cubicBezTo>
                    <a:pt x="43" y="74"/>
                    <a:pt x="45" y="73"/>
                    <a:pt x="47" y="72"/>
                  </a:cubicBezTo>
                  <a:cubicBezTo>
                    <a:pt x="48" y="71"/>
                    <a:pt x="50" y="69"/>
                    <a:pt x="51" y="67"/>
                  </a:cubicBezTo>
                  <a:cubicBezTo>
                    <a:pt x="52" y="65"/>
                    <a:pt x="53" y="63"/>
                    <a:pt x="53" y="60"/>
                  </a:cubicBezTo>
                  <a:cubicBezTo>
                    <a:pt x="53" y="57"/>
                    <a:pt x="52" y="54"/>
                    <a:pt x="50" y="52"/>
                  </a:cubicBezTo>
                  <a:cubicBezTo>
                    <a:pt x="49" y="50"/>
                    <a:pt x="46" y="48"/>
                    <a:pt x="43" y="47"/>
                  </a:cubicBezTo>
                  <a:cubicBezTo>
                    <a:pt x="41" y="46"/>
                    <a:pt x="36" y="46"/>
                    <a:pt x="31" y="46"/>
                  </a:cubicBezTo>
                  <a:lnTo>
                    <a:pt x="12" y="46"/>
                  </a:lnTo>
                  <a:lnTo>
                    <a:pt x="12"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Freeform 1910"/>
            <p:cNvSpPr>
              <a:spLocks/>
            </p:cNvSpPr>
            <p:nvPr/>
          </p:nvSpPr>
          <p:spPr bwMode="auto">
            <a:xfrm>
              <a:off x="3946" y="1434"/>
              <a:ext cx="15" cy="19"/>
            </a:xfrm>
            <a:custGeom>
              <a:avLst/>
              <a:gdLst>
                <a:gd name="T0" fmla="*/ 0 w 66"/>
                <a:gd name="T1" fmla="*/ 84 h 84"/>
                <a:gd name="T2" fmla="*/ 0 w 66"/>
                <a:gd name="T3" fmla="*/ 0 h 84"/>
                <a:gd name="T4" fmla="*/ 11 w 66"/>
                <a:gd name="T5" fmla="*/ 0 h 84"/>
                <a:gd name="T6" fmla="*/ 11 w 66"/>
                <a:gd name="T7" fmla="*/ 34 h 84"/>
                <a:gd name="T8" fmla="*/ 55 w 66"/>
                <a:gd name="T9" fmla="*/ 34 h 84"/>
                <a:gd name="T10" fmla="*/ 55 w 66"/>
                <a:gd name="T11" fmla="*/ 0 h 84"/>
                <a:gd name="T12" fmla="*/ 66 w 66"/>
                <a:gd name="T13" fmla="*/ 0 h 84"/>
                <a:gd name="T14" fmla="*/ 66 w 66"/>
                <a:gd name="T15" fmla="*/ 84 h 84"/>
                <a:gd name="T16" fmla="*/ 55 w 66"/>
                <a:gd name="T17" fmla="*/ 84 h 84"/>
                <a:gd name="T18" fmla="*/ 55 w 66"/>
                <a:gd name="T19" fmla="*/ 44 h 84"/>
                <a:gd name="T20" fmla="*/ 11 w 66"/>
                <a:gd name="T21" fmla="*/ 44 h 84"/>
                <a:gd name="T22" fmla="*/ 11 w 66"/>
                <a:gd name="T23" fmla="*/ 84 h 84"/>
                <a:gd name="T24" fmla="*/ 0 w 66"/>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84">
                  <a:moveTo>
                    <a:pt x="0" y="84"/>
                  </a:moveTo>
                  <a:lnTo>
                    <a:pt x="0" y="0"/>
                  </a:lnTo>
                  <a:lnTo>
                    <a:pt x="11" y="0"/>
                  </a:lnTo>
                  <a:lnTo>
                    <a:pt x="11" y="34"/>
                  </a:lnTo>
                  <a:lnTo>
                    <a:pt x="55" y="34"/>
                  </a:lnTo>
                  <a:lnTo>
                    <a:pt x="55" y="0"/>
                  </a:lnTo>
                  <a:lnTo>
                    <a:pt x="66" y="0"/>
                  </a:lnTo>
                  <a:lnTo>
                    <a:pt x="66" y="84"/>
                  </a:lnTo>
                  <a:lnTo>
                    <a:pt x="55" y="84"/>
                  </a:lnTo>
                  <a:lnTo>
                    <a:pt x="55" y="44"/>
                  </a:lnTo>
                  <a:lnTo>
                    <a:pt x="11" y="44"/>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1911"/>
            <p:cNvSpPr>
              <a:spLocks noEditPoints="1"/>
            </p:cNvSpPr>
            <p:nvPr/>
          </p:nvSpPr>
          <p:spPr bwMode="auto">
            <a:xfrm>
              <a:off x="3964" y="1434"/>
              <a:ext cx="19" cy="20"/>
            </a:xfrm>
            <a:custGeom>
              <a:avLst/>
              <a:gdLst>
                <a:gd name="T0" fmla="*/ 0 w 80"/>
                <a:gd name="T1" fmla="*/ 45 h 87"/>
                <a:gd name="T2" fmla="*/ 11 w 80"/>
                <a:gd name="T3" fmla="*/ 12 h 87"/>
                <a:gd name="T4" fmla="*/ 40 w 80"/>
                <a:gd name="T5" fmla="*/ 0 h 87"/>
                <a:gd name="T6" fmla="*/ 61 w 80"/>
                <a:gd name="T7" fmla="*/ 6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2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10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6"/>
                  </a:cubicBezTo>
                  <a:cubicBezTo>
                    <a:pt x="67" y="9"/>
                    <a:pt x="72" y="15"/>
                    <a:pt x="75" y="21"/>
                  </a:cubicBezTo>
                  <a:cubicBezTo>
                    <a:pt x="79" y="28"/>
                    <a:pt x="80" y="35"/>
                    <a:pt x="80" y="44"/>
                  </a:cubicBezTo>
                  <a:cubicBezTo>
                    <a:pt x="80" y="52"/>
                    <a:pt x="79" y="60"/>
                    <a:pt x="75" y="67"/>
                  </a:cubicBezTo>
                  <a:cubicBezTo>
                    <a:pt x="72" y="74"/>
                    <a:pt x="67" y="79"/>
                    <a:pt x="60" y="82"/>
                  </a:cubicBezTo>
                  <a:cubicBezTo>
                    <a:pt x="54" y="86"/>
                    <a:pt x="47" y="87"/>
                    <a:pt x="40" y="87"/>
                  </a:cubicBezTo>
                  <a:cubicBezTo>
                    <a:pt x="32" y="87"/>
                    <a:pt x="25" y="86"/>
                    <a:pt x="19" y="82"/>
                  </a:cubicBezTo>
                  <a:cubicBezTo>
                    <a:pt x="12" y="78"/>
                    <a:pt x="8" y="73"/>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5"/>
                    <a:pt x="69" y="44"/>
                  </a:cubicBezTo>
                  <a:cubicBezTo>
                    <a:pt x="69" y="37"/>
                    <a:pt x="68" y="31"/>
                    <a:pt x="65" y="26"/>
                  </a:cubicBezTo>
                  <a:cubicBezTo>
                    <a:pt x="63" y="21"/>
                    <a:pt x="60" y="17"/>
                    <a:pt x="55" y="14"/>
                  </a:cubicBezTo>
                  <a:cubicBezTo>
                    <a:pt x="51" y="11"/>
                    <a:pt x="46" y="10"/>
                    <a:pt x="40" y="10"/>
                  </a:cubicBezTo>
                  <a:cubicBezTo>
                    <a:pt x="32" y="10"/>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Freeform 1912"/>
            <p:cNvSpPr>
              <a:spLocks/>
            </p:cNvSpPr>
            <p:nvPr/>
          </p:nvSpPr>
          <p:spPr bwMode="auto">
            <a:xfrm>
              <a:off x="3985" y="1434"/>
              <a:ext cx="15" cy="20"/>
            </a:xfrm>
            <a:custGeom>
              <a:avLst/>
              <a:gdLst>
                <a:gd name="T0" fmla="*/ 0 w 67"/>
                <a:gd name="T1" fmla="*/ 59 h 87"/>
                <a:gd name="T2" fmla="*/ 10 w 67"/>
                <a:gd name="T3" fmla="*/ 58 h 87"/>
                <a:gd name="T4" fmla="*/ 14 w 67"/>
                <a:gd name="T5" fmla="*/ 68 h 87"/>
                <a:gd name="T6" fmla="*/ 22 w 67"/>
                <a:gd name="T7" fmla="*/ 75 h 87"/>
                <a:gd name="T8" fmla="*/ 35 w 67"/>
                <a:gd name="T9" fmla="*/ 77 h 87"/>
                <a:gd name="T10" fmla="*/ 47 w 67"/>
                <a:gd name="T11" fmla="*/ 76 h 87"/>
                <a:gd name="T12" fmla="*/ 54 w 67"/>
                <a:gd name="T13" fmla="*/ 70 h 87"/>
                <a:gd name="T14" fmla="*/ 56 w 67"/>
                <a:gd name="T15" fmla="*/ 63 h 87"/>
                <a:gd name="T16" fmla="*/ 54 w 67"/>
                <a:gd name="T17" fmla="*/ 56 h 87"/>
                <a:gd name="T18" fmla="*/ 46 w 67"/>
                <a:gd name="T19" fmla="*/ 51 h 87"/>
                <a:gd name="T20" fmla="*/ 31 w 67"/>
                <a:gd name="T21" fmla="*/ 47 h 87"/>
                <a:gd name="T22" fmla="*/ 15 w 67"/>
                <a:gd name="T23" fmla="*/ 42 h 87"/>
                <a:gd name="T24" fmla="*/ 6 w 67"/>
                <a:gd name="T25" fmla="*/ 34 h 87"/>
                <a:gd name="T26" fmla="*/ 3 w 67"/>
                <a:gd name="T27" fmla="*/ 23 h 87"/>
                <a:gd name="T28" fmla="*/ 7 w 67"/>
                <a:gd name="T29" fmla="*/ 11 h 87"/>
                <a:gd name="T30" fmla="*/ 17 w 67"/>
                <a:gd name="T31" fmla="*/ 3 h 87"/>
                <a:gd name="T32" fmla="*/ 33 w 67"/>
                <a:gd name="T33" fmla="*/ 0 h 87"/>
                <a:gd name="T34" fmla="*/ 49 w 67"/>
                <a:gd name="T35" fmla="*/ 3 h 87"/>
                <a:gd name="T36" fmla="*/ 60 w 67"/>
                <a:gd name="T37" fmla="*/ 12 h 87"/>
                <a:gd name="T38" fmla="*/ 64 w 67"/>
                <a:gd name="T39" fmla="*/ 25 h 87"/>
                <a:gd name="T40" fmla="*/ 54 w 67"/>
                <a:gd name="T41" fmla="*/ 26 h 87"/>
                <a:gd name="T42" fmla="*/ 48 w 67"/>
                <a:gd name="T43" fmla="*/ 14 h 87"/>
                <a:gd name="T44" fmla="*/ 33 w 67"/>
                <a:gd name="T45" fmla="*/ 10 h 87"/>
                <a:gd name="T46" fmla="*/ 18 w 67"/>
                <a:gd name="T47" fmla="*/ 14 h 87"/>
                <a:gd name="T48" fmla="*/ 14 w 67"/>
                <a:gd name="T49" fmla="*/ 23 h 87"/>
                <a:gd name="T50" fmla="*/ 17 w 67"/>
                <a:gd name="T51" fmla="*/ 30 h 87"/>
                <a:gd name="T52" fmla="*/ 34 w 67"/>
                <a:gd name="T53" fmla="*/ 36 h 87"/>
                <a:gd name="T54" fmla="*/ 53 w 67"/>
                <a:gd name="T55" fmla="*/ 42 h 87"/>
                <a:gd name="T56" fmla="*/ 63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4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0" y="58"/>
                  </a:lnTo>
                  <a:cubicBezTo>
                    <a:pt x="11" y="62"/>
                    <a:pt x="12" y="66"/>
                    <a:pt x="14" y="68"/>
                  </a:cubicBezTo>
                  <a:cubicBezTo>
                    <a:pt x="16" y="71"/>
                    <a:pt x="18" y="73"/>
                    <a:pt x="22" y="75"/>
                  </a:cubicBezTo>
                  <a:cubicBezTo>
                    <a:pt x="26" y="77"/>
                    <a:pt x="30" y="77"/>
                    <a:pt x="35" y="77"/>
                  </a:cubicBezTo>
                  <a:cubicBezTo>
                    <a:pt x="39" y="77"/>
                    <a:pt x="43" y="77"/>
                    <a:pt x="47" y="76"/>
                  </a:cubicBezTo>
                  <a:cubicBezTo>
                    <a:pt x="50" y="74"/>
                    <a:pt x="52" y="73"/>
                    <a:pt x="54" y="70"/>
                  </a:cubicBezTo>
                  <a:cubicBezTo>
                    <a:pt x="55" y="68"/>
                    <a:pt x="56" y="66"/>
                    <a:pt x="56" y="63"/>
                  </a:cubicBezTo>
                  <a:cubicBezTo>
                    <a:pt x="56" y="60"/>
                    <a:pt x="55" y="58"/>
                    <a:pt x="54" y="56"/>
                  </a:cubicBezTo>
                  <a:cubicBezTo>
                    <a:pt x="52" y="54"/>
                    <a:pt x="50" y="53"/>
                    <a:pt x="46" y="51"/>
                  </a:cubicBezTo>
                  <a:cubicBezTo>
                    <a:pt x="44" y="50"/>
                    <a:pt x="39" y="49"/>
                    <a:pt x="31" y="47"/>
                  </a:cubicBezTo>
                  <a:cubicBezTo>
                    <a:pt x="24" y="45"/>
                    <a:pt x="18" y="43"/>
                    <a:pt x="15" y="42"/>
                  </a:cubicBezTo>
                  <a:cubicBezTo>
                    <a:pt x="11" y="40"/>
                    <a:pt x="8" y="37"/>
                    <a:pt x="6" y="34"/>
                  </a:cubicBezTo>
                  <a:cubicBezTo>
                    <a:pt x="4" y="31"/>
                    <a:pt x="3" y="27"/>
                    <a:pt x="3" y="23"/>
                  </a:cubicBezTo>
                  <a:cubicBezTo>
                    <a:pt x="3" y="19"/>
                    <a:pt x="4" y="15"/>
                    <a:pt x="7" y="11"/>
                  </a:cubicBezTo>
                  <a:cubicBezTo>
                    <a:pt x="9" y="8"/>
                    <a:pt x="13" y="5"/>
                    <a:pt x="17" y="3"/>
                  </a:cubicBezTo>
                  <a:cubicBezTo>
                    <a:pt x="22" y="1"/>
                    <a:pt x="27" y="0"/>
                    <a:pt x="33" y="0"/>
                  </a:cubicBezTo>
                  <a:cubicBezTo>
                    <a:pt x="39" y="0"/>
                    <a:pt x="44" y="1"/>
                    <a:pt x="49" y="3"/>
                  </a:cubicBezTo>
                  <a:cubicBezTo>
                    <a:pt x="54" y="5"/>
                    <a:pt x="58" y="8"/>
                    <a:pt x="60" y="12"/>
                  </a:cubicBezTo>
                  <a:cubicBezTo>
                    <a:pt x="63" y="16"/>
                    <a:pt x="64" y="20"/>
                    <a:pt x="64" y="25"/>
                  </a:cubicBezTo>
                  <a:lnTo>
                    <a:pt x="54" y="26"/>
                  </a:lnTo>
                  <a:cubicBezTo>
                    <a:pt x="53" y="21"/>
                    <a:pt x="51" y="17"/>
                    <a:pt x="48" y="14"/>
                  </a:cubicBezTo>
                  <a:cubicBezTo>
                    <a:pt x="45" y="11"/>
                    <a:pt x="40" y="10"/>
                    <a:pt x="33" y="10"/>
                  </a:cubicBezTo>
                  <a:cubicBezTo>
                    <a:pt x="26" y="10"/>
                    <a:pt x="21" y="11"/>
                    <a:pt x="18" y="14"/>
                  </a:cubicBezTo>
                  <a:cubicBezTo>
                    <a:pt x="15" y="16"/>
                    <a:pt x="14" y="19"/>
                    <a:pt x="14" y="23"/>
                  </a:cubicBezTo>
                  <a:cubicBezTo>
                    <a:pt x="14" y="26"/>
                    <a:pt x="15" y="28"/>
                    <a:pt x="17" y="30"/>
                  </a:cubicBezTo>
                  <a:cubicBezTo>
                    <a:pt x="19" y="32"/>
                    <a:pt x="25" y="34"/>
                    <a:pt x="34" y="36"/>
                  </a:cubicBezTo>
                  <a:cubicBezTo>
                    <a:pt x="43" y="38"/>
                    <a:pt x="49" y="40"/>
                    <a:pt x="53" y="42"/>
                  </a:cubicBezTo>
                  <a:cubicBezTo>
                    <a:pt x="57" y="44"/>
                    <a:pt x="61" y="47"/>
                    <a:pt x="63"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Freeform 1913"/>
            <p:cNvSpPr>
              <a:spLocks/>
            </p:cNvSpPr>
            <p:nvPr/>
          </p:nvSpPr>
          <p:spPr bwMode="auto">
            <a:xfrm>
              <a:off x="4002" y="1434"/>
              <a:ext cx="16" cy="19"/>
            </a:xfrm>
            <a:custGeom>
              <a:avLst/>
              <a:gdLst>
                <a:gd name="T0" fmla="*/ 28 w 67"/>
                <a:gd name="T1" fmla="*/ 84 h 84"/>
                <a:gd name="T2" fmla="*/ 28 w 67"/>
                <a:gd name="T3" fmla="*/ 10 h 84"/>
                <a:gd name="T4" fmla="*/ 0 w 67"/>
                <a:gd name="T5" fmla="*/ 10 h 84"/>
                <a:gd name="T6" fmla="*/ 0 w 67"/>
                <a:gd name="T7" fmla="*/ 0 h 84"/>
                <a:gd name="T8" fmla="*/ 67 w 67"/>
                <a:gd name="T9" fmla="*/ 0 h 84"/>
                <a:gd name="T10" fmla="*/ 67 w 67"/>
                <a:gd name="T11" fmla="*/ 10 h 84"/>
                <a:gd name="T12" fmla="*/ 39 w 67"/>
                <a:gd name="T13" fmla="*/ 10 h 84"/>
                <a:gd name="T14" fmla="*/ 39 w 67"/>
                <a:gd name="T15" fmla="*/ 84 h 84"/>
                <a:gd name="T16" fmla="*/ 28 w 6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4">
                  <a:moveTo>
                    <a:pt x="28" y="84"/>
                  </a:moveTo>
                  <a:lnTo>
                    <a:pt x="28" y="10"/>
                  </a:lnTo>
                  <a:lnTo>
                    <a:pt x="0" y="10"/>
                  </a:lnTo>
                  <a:lnTo>
                    <a:pt x="0" y="0"/>
                  </a:lnTo>
                  <a:lnTo>
                    <a:pt x="67" y="0"/>
                  </a:lnTo>
                  <a:lnTo>
                    <a:pt x="67" y="10"/>
                  </a:lnTo>
                  <a:lnTo>
                    <a:pt x="39" y="10"/>
                  </a:lnTo>
                  <a:lnTo>
                    <a:pt x="39" y="84"/>
                  </a:lnTo>
                  <a:lnTo>
                    <a:pt x="28"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Freeform 1914"/>
            <p:cNvSpPr>
              <a:spLocks/>
            </p:cNvSpPr>
            <p:nvPr/>
          </p:nvSpPr>
          <p:spPr bwMode="auto">
            <a:xfrm>
              <a:off x="2791" y="2456"/>
              <a:ext cx="16" cy="20"/>
            </a:xfrm>
            <a:custGeom>
              <a:avLst/>
              <a:gdLst>
                <a:gd name="T0" fmla="*/ 0 w 67"/>
                <a:gd name="T1" fmla="*/ 59 h 87"/>
                <a:gd name="T2" fmla="*/ 11 w 67"/>
                <a:gd name="T3" fmla="*/ 58 h 87"/>
                <a:gd name="T4" fmla="*/ 14 w 67"/>
                <a:gd name="T5" fmla="*/ 68 h 87"/>
                <a:gd name="T6" fmla="*/ 23 w 67"/>
                <a:gd name="T7" fmla="*/ 75 h 87"/>
                <a:gd name="T8" fmla="*/ 36 w 67"/>
                <a:gd name="T9" fmla="*/ 77 h 87"/>
                <a:gd name="T10" fmla="*/ 47 w 67"/>
                <a:gd name="T11" fmla="*/ 75 h 87"/>
                <a:gd name="T12" fmla="*/ 54 w 67"/>
                <a:gd name="T13" fmla="*/ 70 h 87"/>
                <a:gd name="T14" fmla="*/ 56 w 67"/>
                <a:gd name="T15" fmla="*/ 63 h 87"/>
                <a:gd name="T16" fmla="*/ 54 w 67"/>
                <a:gd name="T17" fmla="*/ 56 h 87"/>
                <a:gd name="T18" fmla="*/ 47 w 67"/>
                <a:gd name="T19" fmla="*/ 51 h 87"/>
                <a:gd name="T20" fmla="*/ 32 w 67"/>
                <a:gd name="T21" fmla="*/ 47 h 87"/>
                <a:gd name="T22" fmla="*/ 15 w 67"/>
                <a:gd name="T23" fmla="*/ 42 h 87"/>
                <a:gd name="T24" fmla="*/ 6 w 67"/>
                <a:gd name="T25" fmla="*/ 34 h 87"/>
                <a:gd name="T26" fmla="*/ 3 w 67"/>
                <a:gd name="T27" fmla="*/ 23 h 87"/>
                <a:gd name="T28" fmla="*/ 7 w 67"/>
                <a:gd name="T29" fmla="*/ 11 h 87"/>
                <a:gd name="T30" fmla="*/ 18 w 67"/>
                <a:gd name="T31" fmla="*/ 3 h 87"/>
                <a:gd name="T32" fmla="*/ 33 w 67"/>
                <a:gd name="T33" fmla="*/ 0 h 87"/>
                <a:gd name="T34" fmla="*/ 50 w 67"/>
                <a:gd name="T35" fmla="*/ 3 h 87"/>
                <a:gd name="T36" fmla="*/ 61 w 67"/>
                <a:gd name="T37" fmla="*/ 12 h 87"/>
                <a:gd name="T38" fmla="*/ 65 w 67"/>
                <a:gd name="T39" fmla="*/ 25 h 87"/>
                <a:gd name="T40" fmla="*/ 54 w 67"/>
                <a:gd name="T41" fmla="*/ 26 h 87"/>
                <a:gd name="T42" fmla="*/ 48 w 67"/>
                <a:gd name="T43" fmla="*/ 14 h 87"/>
                <a:gd name="T44" fmla="*/ 33 w 67"/>
                <a:gd name="T45" fmla="*/ 10 h 87"/>
                <a:gd name="T46" fmla="*/ 19 w 67"/>
                <a:gd name="T47" fmla="*/ 14 h 87"/>
                <a:gd name="T48" fmla="*/ 14 w 67"/>
                <a:gd name="T49" fmla="*/ 23 h 87"/>
                <a:gd name="T50" fmla="*/ 17 w 67"/>
                <a:gd name="T51" fmla="*/ 30 h 87"/>
                <a:gd name="T52" fmla="*/ 34 w 67"/>
                <a:gd name="T53" fmla="*/ 36 h 87"/>
                <a:gd name="T54" fmla="*/ 53 w 67"/>
                <a:gd name="T55" fmla="*/ 42 h 87"/>
                <a:gd name="T56" fmla="*/ 64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5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1" y="58"/>
                  </a:lnTo>
                  <a:cubicBezTo>
                    <a:pt x="11" y="62"/>
                    <a:pt x="12" y="66"/>
                    <a:pt x="14" y="68"/>
                  </a:cubicBezTo>
                  <a:cubicBezTo>
                    <a:pt x="16" y="71"/>
                    <a:pt x="19" y="73"/>
                    <a:pt x="23" y="75"/>
                  </a:cubicBezTo>
                  <a:cubicBezTo>
                    <a:pt x="26" y="77"/>
                    <a:pt x="31" y="77"/>
                    <a:pt x="36" y="77"/>
                  </a:cubicBezTo>
                  <a:cubicBezTo>
                    <a:pt x="40" y="77"/>
                    <a:pt x="44" y="77"/>
                    <a:pt x="47" y="75"/>
                  </a:cubicBezTo>
                  <a:cubicBezTo>
                    <a:pt x="50" y="74"/>
                    <a:pt x="53" y="72"/>
                    <a:pt x="54" y="70"/>
                  </a:cubicBezTo>
                  <a:cubicBezTo>
                    <a:pt x="56" y="68"/>
                    <a:pt x="56" y="66"/>
                    <a:pt x="56" y="63"/>
                  </a:cubicBezTo>
                  <a:cubicBezTo>
                    <a:pt x="56" y="60"/>
                    <a:pt x="56" y="58"/>
                    <a:pt x="54" y="56"/>
                  </a:cubicBezTo>
                  <a:cubicBezTo>
                    <a:pt x="53" y="54"/>
                    <a:pt x="50" y="52"/>
                    <a:pt x="47" y="51"/>
                  </a:cubicBezTo>
                  <a:cubicBezTo>
                    <a:pt x="44" y="50"/>
                    <a:pt x="39" y="49"/>
                    <a:pt x="32" y="47"/>
                  </a:cubicBezTo>
                  <a:cubicBezTo>
                    <a:pt x="24" y="45"/>
                    <a:pt x="18" y="43"/>
                    <a:pt x="15" y="42"/>
                  </a:cubicBezTo>
                  <a:cubicBezTo>
                    <a:pt x="11" y="40"/>
                    <a:pt x="8" y="37"/>
                    <a:pt x="6" y="34"/>
                  </a:cubicBezTo>
                  <a:cubicBezTo>
                    <a:pt x="4" y="31"/>
                    <a:pt x="3" y="27"/>
                    <a:pt x="3" y="23"/>
                  </a:cubicBezTo>
                  <a:cubicBezTo>
                    <a:pt x="3" y="19"/>
                    <a:pt x="5" y="15"/>
                    <a:pt x="7" y="11"/>
                  </a:cubicBezTo>
                  <a:cubicBezTo>
                    <a:pt x="9" y="8"/>
                    <a:pt x="13" y="5"/>
                    <a:pt x="18" y="3"/>
                  </a:cubicBezTo>
                  <a:cubicBezTo>
                    <a:pt x="22" y="1"/>
                    <a:pt x="27" y="0"/>
                    <a:pt x="33" y="0"/>
                  </a:cubicBezTo>
                  <a:cubicBezTo>
                    <a:pt x="39" y="0"/>
                    <a:pt x="45" y="1"/>
                    <a:pt x="50" y="3"/>
                  </a:cubicBezTo>
                  <a:cubicBezTo>
                    <a:pt x="54" y="5"/>
                    <a:pt x="58" y="8"/>
                    <a:pt x="61" y="12"/>
                  </a:cubicBezTo>
                  <a:cubicBezTo>
                    <a:pt x="63" y="16"/>
                    <a:pt x="65" y="20"/>
                    <a:pt x="65" y="25"/>
                  </a:cubicBezTo>
                  <a:lnTo>
                    <a:pt x="54" y="26"/>
                  </a:lnTo>
                  <a:cubicBezTo>
                    <a:pt x="53" y="21"/>
                    <a:pt x="51" y="17"/>
                    <a:pt x="48" y="14"/>
                  </a:cubicBezTo>
                  <a:cubicBezTo>
                    <a:pt x="45" y="11"/>
                    <a:pt x="40" y="10"/>
                    <a:pt x="33" y="10"/>
                  </a:cubicBezTo>
                  <a:cubicBezTo>
                    <a:pt x="27" y="10"/>
                    <a:pt x="22" y="11"/>
                    <a:pt x="19" y="14"/>
                  </a:cubicBezTo>
                  <a:cubicBezTo>
                    <a:pt x="16" y="16"/>
                    <a:pt x="14" y="19"/>
                    <a:pt x="14" y="23"/>
                  </a:cubicBezTo>
                  <a:cubicBezTo>
                    <a:pt x="14" y="26"/>
                    <a:pt x="15" y="28"/>
                    <a:pt x="17" y="30"/>
                  </a:cubicBezTo>
                  <a:cubicBezTo>
                    <a:pt x="19" y="32"/>
                    <a:pt x="25" y="34"/>
                    <a:pt x="34" y="36"/>
                  </a:cubicBezTo>
                  <a:cubicBezTo>
                    <a:pt x="43" y="38"/>
                    <a:pt x="49" y="40"/>
                    <a:pt x="53" y="42"/>
                  </a:cubicBezTo>
                  <a:cubicBezTo>
                    <a:pt x="58" y="44"/>
                    <a:pt x="61" y="47"/>
                    <a:pt x="64"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2" y="82"/>
                    <a:pt x="8" y="78"/>
                    <a:pt x="5" y="74"/>
                  </a:cubicBezTo>
                  <a:cubicBezTo>
                    <a:pt x="2" y="70"/>
                    <a:pt x="0" y="64"/>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1915"/>
            <p:cNvSpPr>
              <a:spLocks noEditPoints="1"/>
            </p:cNvSpPr>
            <p:nvPr/>
          </p:nvSpPr>
          <p:spPr bwMode="auto">
            <a:xfrm>
              <a:off x="2810" y="2457"/>
              <a:ext cx="16" cy="19"/>
            </a:xfrm>
            <a:custGeom>
              <a:avLst/>
              <a:gdLst>
                <a:gd name="T0" fmla="*/ 0 w 69"/>
                <a:gd name="T1" fmla="*/ 84 h 84"/>
                <a:gd name="T2" fmla="*/ 0 w 69"/>
                <a:gd name="T3" fmla="*/ 0 h 84"/>
                <a:gd name="T4" fmla="*/ 29 w 69"/>
                <a:gd name="T5" fmla="*/ 0 h 84"/>
                <a:gd name="T6" fmla="*/ 44 w 69"/>
                <a:gd name="T7" fmla="*/ 1 h 84"/>
                <a:gd name="T8" fmla="*/ 56 w 69"/>
                <a:gd name="T9" fmla="*/ 7 h 84"/>
                <a:gd name="T10" fmla="*/ 66 w 69"/>
                <a:gd name="T11" fmla="*/ 21 h 84"/>
                <a:gd name="T12" fmla="*/ 69 w 69"/>
                <a:gd name="T13" fmla="*/ 41 h 84"/>
                <a:gd name="T14" fmla="*/ 67 w 69"/>
                <a:gd name="T15" fmla="*/ 58 h 84"/>
                <a:gd name="T16" fmla="*/ 61 w 69"/>
                <a:gd name="T17" fmla="*/ 71 h 84"/>
                <a:gd name="T18" fmla="*/ 54 w 69"/>
                <a:gd name="T19" fmla="*/ 78 h 84"/>
                <a:gd name="T20" fmla="*/ 44 w 69"/>
                <a:gd name="T21" fmla="*/ 83 h 84"/>
                <a:gd name="T22" fmla="*/ 30 w 69"/>
                <a:gd name="T23" fmla="*/ 84 h 84"/>
                <a:gd name="T24" fmla="*/ 0 w 69"/>
                <a:gd name="T25" fmla="*/ 84 h 84"/>
                <a:gd name="T26" fmla="*/ 11 w 69"/>
                <a:gd name="T27" fmla="*/ 74 h 84"/>
                <a:gd name="T28" fmla="*/ 29 w 69"/>
                <a:gd name="T29" fmla="*/ 74 h 84"/>
                <a:gd name="T30" fmla="*/ 42 w 69"/>
                <a:gd name="T31" fmla="*/ 72 h 84"/>
                <a:gd name="T32" fmla="*/ 49 w 69"/>
                <a:gd name="T33" fmla="*/ 68 h 84"/>
                <a:gd name="T34" fmla="*/ 56 w 69"/>
                <a:gd name="T35" fmla="*/ 57 h 84"/>
                <a:gd name="T36" fmla="*/ 58 w 69"/>
                <a:gd name="T37" fmla="*/ 41 h 84"/>
                <a:gd name="T38" fmla="*/ 54 w 69"/>
                <a:gd name="T39" fmla="*/ 21 h 84"/>
                <a:gd name="T40" fmla="*/ 43 w 69"/>
                <a:gd name="T41" fmla="*/ 11 h 84"/>
                <a:gd name="T42" fmla="*/ 28 w 69"/>
                <a:gd name="T43" fmla="*/ 10 h 84"/>
                <a:gd name="T44" fmla="*/ 11 w 69"/>
                <a:gd name="T45" fmla="*/ 10 h 84"/>
                <a:gd name="T46" fmla="*/ 11 w 69"/>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4">
                  <a:moveTo>
                    <a:pt x="0" y="84"/>
                  </a:moveTo>
                  <a:lnTo>
                    <a:pt x="0" y="0"/>
                  </a:lnTo>
                  <a:lnTo>
                    <a:pt x="29" y="0"/>
                  </a:lnTo>
                  <a:cubicBezTo>
                    <a:pt x="35" y="0"/>
                    <a:pt x="40" y="0"/>
                    <a:pt x="44" y="1"/>
                  </a:cubicBezTo>
                  <a:cubicBezTo>
                    <a:pt x="49" y="2"/>
                    <a:pt x="53" y="4"/>
                    <a:pt x="56" y="7"/>
                  </a:cubicBezTo>
                  <a:cubicBezTo>
                    <a:pt x="61" y="11"/>
                    <a:pt x="64" y="15"/>
                    <a:pt x="66" y="21"/>
                  </a:cubicBezTo>
                  <a:cubicBezTo>
                    <a:pt x="68" y="27"/>
                    <a:pt x="69" y="34"/>
                    <a:pt x="69" y="41"/>
                  </a:cubicBezTo>
                  <a:cubicBezTo>
                    <a:pt x="69" y="48"/>
                    <a:pt x="69" y="53"/>
                    <a:pt x="67" y="58"/>
                  </a:cubicBezTo>
                  <a:cubicBezTo>
                    <a:pt x="66" y="63"/>
                    <a:pt x="64" y="67"/>
                    <a:pt x="61" y="71"/>
                  </a:cubicBezTo>
                  <a:cubicBezTo>
                    <a:pt x="59" y="74"/>
                    <a:pt x="56" y="76"/>
                    <a:pt x="54" y="78"/>
                  </a:cubicBezTo>
                  <a:cubicBezTo>
                    <a:pt x="51" y="80"/>
                    <a:pt x="48" y="82"/>
                    <a:pt x="44" y="83"/>
                  </a:cubicBezTo>
                  <a:cubicBezTo>
                    <a:pt x="40" y="83"/>
                    <a:pt x="35" y="84"/>
                    <a:pt x="30" y="84"/>
                  </a:cubicBezTo>
                  <a:lnTo>
                    <a:pt x="0" y="84"/>
                  </a:lnTo>
                  <a:close/>
                  <a:moveTo>
                    <a:pt x="11" y="74"/>
                  </a:moveTo>
                  <a:lnTo>
                    <a:pt x="29" y="74"/>
                  </a:lnTo>
                  <a:cubicBezTo>
                    <a:pt x="34" y="74"/>
                    <a:pt x="39" y="73"/>
                    <a:pt x="42" y="72"/>
                  </a:cubicBezTo>
                  <a:cubicBezTo>
                    <a:pt x="45" y="71"/>
                    <a:pt x="48" y="70"/>
                    <a:pt x="49" y="68"/>
                  </a:cubicBezTo>
                  <a:cubicBezTo>
                    <a:pt x="52" y="65"/>
                    <a:pt x="54" y="62"/>
                    <a:pt x="56" y="57"/>
                  </a:cubicBezTo>
                  <a:cubicBezTo>
                    <a:pt x="57" y="53"/>
                    <a:pt x="58" y="48"/>
                    <a:pt x="58" y="41"/>
                  </a:cubicBezTo>
                  <a:cubicBezTo>
                    <a:pt x="58" y="32"/>
                    <a:pt x="56" y="26"/>
                    <a:pt x="54" y="21"/>
                  </a:cubicBezTo>
                  <a:cubicBezTo>
                    <a:pt x="51" y="16"/>
                    <a:pt x="47" y="13"/>
                    <a:pt x="43" y="11"/>
                  </a:cubicBezTo>
                  <a:cubicBezTo>
                    <a:pt x="40" y="10"/>
                    <a:pt x="35" y="10"/>
                    <a:pt x="28" y="10"/>
                  </a:cubicBezTo>
                  <a:lnTo>
                    <a:pt x="11" y="10"/>
                  </a:lnTo>
                  <a:lnTo>
                    <a:pt x="11"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Rectangle 1916"/>
            <p:cNvSpPr>
              <a:spLocks noChangeArrowheads="1"/>
            </p:cNvSpPr>
            <p:nvPr/>
          </p:nvSpPr>
          <p:spPr bwMode="auto">
            <a:xfrm>
              <a:off x="2830" y="2457"/>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19" name="Freeform 1917"/>
            <p:cNvSpPr>
              <a:spLocks noEditPoints="1"/>
            </p:cNvSpPr>
            <p:nvPr/>
          </p:nvSpPr>
          <p:spPr bwMode="auto">
            <a:xfrm>
              <a:off x="2836" y="2456"/>
              <a:ext cx="19" cy="20"/>
            </a:xfrm>
            <a:custGeom>
              <a:avLst/>
              <a:gdLst>
                <a:gd name="T0" fmla="*/ 0 w 81"/>
                <a:gd name="T1" fmla="*/ 45 h 87"/>
                <a:gd name="T2" fmla="*/ 11 w 81"/>
                <a:gd name="T3" fmla="*/ 12 h 87"/>
                <a:gd name="T4" fmla="*/ 40 w 81"/>
                <a:gd name="T5" fmla="*/ 0 h 87"/>
                <a:gd name="T6" fmla="*/ 62 w 81"/>
                <a:gd name="T7" fmla="*/ 6 h 87"/>
                <a:gd name="T8" fmla="*/ 76 w 81"/>
                <a:gd name="T9" fmla="*/ 21 h 87"/>
                <a:gd name="T10" fmla="*/ 81 w 81"/>
                <a:gd name="T11" fmla="*/ 44 h 87"/>
                <a:gd name="T12" fmla="*/ 76 w 81"/>
                <a:gd name="T13" fmla="*/ 67 h 87"/>
                <a:gd name="T14" fmla="*/ 61 w 81"/>
                <a:gd name="T15" fmla="*/ 82 h 87"/>
                <a:gd name="T16" fmla="*/ 40 w 81"/>
                <a:gd name="T17" fmla="*/ 87 h 87"/>
                <a:gd name="T18" fmla="*/ 19 w 81"/>
                <a:gd name="T19" fmla="*/ 82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10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0" y="0"/>
                  </a:cubicBezTo>
                  <a:cubicBezTo>
                    <a:pt x="48" y="0"/>
                    <a:pt x="55" y="2"/>
                    <a:pt x="62" y="6"/>
                  </a:cubicBezTo>
                  <a:cubicBezTo>
                    <a:pt x="68" y="9"/>
                    <a:pt x="73" y="15"/>
                    <a:pt x="76" y="21"/>
                  </a:cubicBezTo>
                  <a:cubicBezTo>
                    <a:pt x="79" y="28"/>
                    <a:pt x="81" y="35"/>
                    <a:pt x="81" y="44"/>
                  </a:cubicBezTo>
                  <a:cubicBezTo>
                    <a:pt x="81" y="52"/>
                    <a:pt x="79" y="60"/>
                    <a:pt x="76" y="67"/>
                  </a:cubicBezTo>
                  <a:cubicBezTo>
                    <a:pt x="72" y="74"/>
                    <a:pt x="67" y="79"/>
                    <a:pt x="61" y="82"/>
                  </a:cubicBezTo>
                  <a:cubicBezTo>
                    <a:pt x="55" y="86"/>
                    <a:pt x="48" y="87"/>
                    <a:pt x="40" y="87"/>
                  </a:cubicBezTo>
                  <a:cubicBezTo>
                    <a:pt x="32" y="87"/>
                    <a:pt x="25" y="85"/>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3" y="21"/>
                    <a:pt x="60" y="17"/>
                    <a:pt x="56" y="14"/>
                  </a:cubicBezTo>
                  <a:cubicBezTo>
                    <a:pt x="51" y="11"/>
                    <a:pt x="46" y="10"/>
                    <a:pt x="41" y="10"/>
                  </a:cubicBezTo>
                  <a:cubicBezTo>
                    <a:pt x="33" y="10"/>
                    <a:pt x="26" y="12"/>
                    <a:pt x="20" y="18"/>
                  </a:cubicBezTo>
                  <a:cubicBezTo>
                    <a:pt x="14"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Freeform 1918"/>
            <p:cNvSpPr>
              <a:spLocks/>
            </p:cNvSpPr>
            <p:nvPr/>
          </p:nvSpPr>
          <p:spPr bwMode="auto">
            <a:xfrm>
              <a:off x="4644" y="1837"/>
              <a:ext cx="20" cy="7"/>
            </a:xfrm>
            <a:custGeom>
              <a:avLst/>
              <a:gdLst>
                <a:gd name="T0" fmla="*/ 90 w 91"/>
                <a:gd name="T1" fmla="*/ 0 h 34"/>
                <a:gd name="T2" fmla="*/ 70 w 91"/>
                <a:gd name="T3" fmla="*/ 26 h 34"/>
                <a:gd name="T4" fmla="*/ 44 w 91"/>
                <a:gd name="T5" fmla="*/ 19 h 34"/>
                <a:gd name="T6" fmla="*/ 23 w 91"/>
                <a:gd name="T7" fmla="*/ 11 h 34"/>
                <a:gd name="T8" fmla="*/ 0 w 91"/>
                <a:gd name="T9" fmla="*/ 34 h 34"/>
              </a:gdLst>
              <a:ahLst/>
              <a:cxnLst>
                <a:cxn ang="0">
                  <a:pos x="T0" y="T1"/>
                </a:cxn>
                <a:cxn ang="0">
                  <a:pos x="T2" y="T3"/>
                </a:cxn>
                <a:cxn ang="0">
                  <a:pos x="T4" y="T5"/>
                </a:cxn>
                <a:cxn ang="0">
                  <a:pos x="T6" y="T7"/>
                </a:cxn>
                <a:cxn ang="0">
                  <a:pos x="T8" y="T9"/>
                </a:cxn>
              </a:cxnLst>
              <a:rect l="0" t="0" r="r" b="b"/>
              <a:pathLst>
                <a:path w="91" h="34">
                  <a:moveTo>
                    <a:pt x="90" y="0"/>
                  </a:moveTo>
                  <a:cubicBezTo>
                    <a:pt x="91" y="20"/>
                    <a:pt x="81" y="26"/>
                    <a:pt x="70" y="26"/>
                  </a:cubicBezTo>
                  <a:cubicBezTo>
                    <a:pt x="63" y="26"/>
                    <a:pt x="56" y="24"/>
                    <a:pt x="44" y="19"/>
                  </a:cubicBezTo>
                  <a:cubicBezTo>
                    <a:pt x="36" y="15"/>
                    <a:pt x="29" y="11"/>
                    <a:pt x="23" y="11"/>
                  </a:cubicBezTo>
                  <a:cubicBezTo>
                    <a:pt x="9" y="11"/>
                    <a:pt x="1" y="23"/>
                    <a:pt x="0" y="34"/>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919"/>
            <p:cNvSpPr>
              <a:spLocks/>
            </p:cNvSpPr>
            <p:nvPr/>
          </p:nvSpPr>
          <p:spPr bwMode="auto">
            <a:xfrm>
              <a:off x="4410" y="1722"/>
              <a:ext cx="7" cy="20"/>
            </a:xfrm>
            <a:custGeom>
              <a:avLst/>
              <a:gdLst>
                <a:gd name="T0" fmla="*/ 0 w 33"/>
                <a:gd name="T1" fmla="*/ 0 h 90"/>
                <a:gd name="T2" fmla="*/ 26 w 33"/>
                <a:gd name="T3" fmla="*/ 21 h 90"/>
                <a:gd name="T4" fmla="*/ 18 w 33"/>
                <a:gd name="T5" fmla="*/ 46 h 90"/>
                <a:gd name="T6" fmla="*/ 11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0"/>
                  </a:moveTo>
                  <a:cubicBezTo>
                    <a:pt x="19" y="0"/>
                    <a:pt x="26" y="10"/>
                    <a:pt x="26" y="21"/>
                  </a:cubicBezTo>
                  <a:cubicBezTo>
                    <a:pt x="26" y="28"/>
                    <a:pt x="24" y="34"/>
                    <a:pt x="18" y="46"/>
                  </a:cubicBezTo>
                  <a:cubicBezTo>
                    <a:pt x="14" y="55"/>
                    <a:pt x="11" y="61"/>
                    <a:pt x="11" y="68"/>
                  </a:cubicBezTo>
                  <a:cubicBezTo>
                    <a:pt x="11"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920"/>
            <p:cNvSpPr>
              <a:spLocks/>
            </p:cNvSpPr>
            <p:nvPr/>
          </p:nvSpPr>
          <p:spPr bwMode="auto">
            <a:xfrm>
              <a:off x="4790" y="1722"/>
              <a:ext cx="8" cy="20"/>
            </a:xfrm>
            <a:custGeom>
              <a:avLst/>
              <a:gdLst>
                <a:gd name="T0" fmla="*/ 0 w 34"/>
                <a:gd name="T1" fmla="*/ 0 h 90"/>
                <a:gd name="T2" fmla="*/ 27 w 34"/>
                <a:gd name="T3" fmla="*/ 21 h 90"/>
                <a:gd name="T4" fmla="*/ 19 w 34"/>
                <a:gd name="T5" fmla="*/ 46 h 90"/>
                <a:gd name="T6" fmla="*/ 11 w 34"/>
                <a:gd name="T7" fmla="*/ 68 h 90"/>
                <a:gd name="T8" fmla="*/ 34 w 34"/>
                <a:gd name="T9" fmla="*/ 90 h 90"/>
              </a:gdLst>
              <a:ahLst/>
              <a:cxnLst>
                <a:cxn ang="0">
                  <a:pos x="T0" y="T1"/>
                </a:cxn>
                <a:cxn ang="0">
                  <a:pos x="T2" y="T3"/>
                </a:cxn>
                <a:cxn ang="0">
                  <a:pos x="T4" y="T5"/>
                </a:cxn>
                <a:cxn ang="0">
                  <a:pos x="T6" y="T7"/>
                </a:cxn>
                <a:cxn ang="0">
                  <a:pos x="T8" y="T9"/>
                </a:cxn>
              </a:cxnLst>
              <a:rect l="0" t="0" r="r" b="b"/>
              <a:pathLst>
                <a:path w="34" h="90">
                  <a:moveTo>
                    <a:pt x="0" y="0"/>
                  </a:moveTo>
                  <a:cubicBezTo>
                    <a:pt x="20" y="0"/>
                    <a:pt x="27" y="10"/>
                    <a:pt x="27" y="21"/>
                  </a:cubicBezTo>
                  <a:cubicBezTo>
                    <a:pt x="27" y="28"/>
                    <a:pt x="24" y="34"/>
                    <a:pt x="19" y="46"/>
                  </a:cubicBezTo>
                  <a:cubicBezTo>
                    <a:pt x="15" y="55"/>
                    <a:pt x="11" y="61"/>
                    <a:pt x="11" y="68"/>
                  </a:cubicBezTo>
                  <a:cubicBezTo>
                    <a:pt x="11" y="82"/>
                    <a:pt x="23" y="90"/>
                    <a:pt x="34"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921"/>
            <p:cNvSpPr>
              <a:spLocks/>
            </p:cNvSpPr>
            <p:nvPr/>
          </p:nvSpPr>
          <p:spPr bwMode="auto">
            <a:xfrm>
              <a:off x="4675"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922"/>
            <p:cNvSpPr>
              <a:spLocks/>
            </p:cNvSpPr>
            <p:nvPr/>
          </p:nvSpPr>
          <p:spPr bwMode="auto">
            <a:xfrm>
              <a:off x="4617"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923"/>
            <p:cNvSpPr>
              <a:spLocks/>
            </p:cNvSpPr>
            <p:nvPr/>
          </p:nvSpPr>
          <p:spPr bwMode="auto">
            <a:xfrm>
              <a:off x="4352" y="1748"/>
              <a:ext cx="7"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924"/>
            <p:cNvSpPr>
              <a:spLocks/>
            </p:cNvSpPr>
            <p:nvPr/>
          </p:nvSpPr>
          <p:spPr bwMode="auto">
            <a:xfrm>
              <a:off x="4294" y="1748"/>
              <a:ext cx="8"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925"/>
            <p:cNvSpPr>
              <a:spLocks/>
            </p:cNvSpPr>
            <p:nvPr/>
          </p:nvSpPr>
          <p:spPr bwMode="auto">
            <a:xfrm>
              <a:off x="4179" y="1748"/>
              <a:ext cx="7" cy="21"/>
            </a:xfrm>
            <a:custGeom>
              <a:avLst/>
              <a:gdLst>
                <a:gd name="T0" fmla="*/ 0 w 33"/>
                <a:gd name="T1" fmla="*/ 1 h 90"/>
                <a:gd name="T2" fmla="*/ 26 w 33"/>
                <a:gd name="T3" fmla="*/ 21 h 90"/>
                <a:gd name="T4" fmla="*/ 19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20" y="0"/>
                    <a:pt x="26" y="10"/>
                    <a:pt x="26" y="21"/>
                  </a:cubicBezTo>
                  <a:cubicBezTo>
                    <a:pt x="26" y="28"/>
                    <a:pt x="24" y="34"/>
                    <a:pt x="19" y="47"/>
                  </a:cubicBezTo>
                  <a:cubicBezTo>
                    <a:pt x="15"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926"/>
            <p:cNvSpPr>
              <a:spLocks/>
            </p:cNvSpPr>
            <p:nvPr/>
          </p:nvSpPr>
          <p:spPr bwMode="auto">
            <a:xfrm>
              <a:off x="4715" y="1725"/>
              <a:ext cx="281" cy="113"/>
            </a:xfrm>
            <a:custGeom>
              <a:avLst/>
              <a:gdLst>
                <a:gd name="T0" fmla="*/ 1239 w 1239"/>
                <a:gd name="T1" fmla="*/ 0 h 499"/>
                <a:gd name="T2" fmla="*/ 1239 w 1239"/>
                <a:gd name="T3" fmla="*/ 402 h 499"/>
                <a:gd name="T4" fmla="*/ 96 w 1239"/>
                <a:gd name="T5" fmla="*/ 402 h 499"/>
                <a:gd name="T6" fmla="*/ 0 w 1239"/>
                <a:gd name="T7" fmla="*/ 499 h 499"/>
              </a:gdLst>
              <a:ahLst/>
              <a:cxnLst>
                <a:cxn ang="0">
                  <a:pos x="T0" y="T1"/>
                </a:cxn>
                <a:cxn ang="0">
                  <a:pos x="T2" y="T3"/>
                </a:cxn>
                <a:cxn ang="0">
                  <a:pos x="T4" y="T5"/>
                </a:cxn>
                <a:cxn ang="0">
                  <a:pos x="T6" y="T7"/>
                </a:cxn>
              </a:cxnLst>
              <a:rect l="0" t="0" r="r" b="b"/>
              <a:pathLst>
                <a:path w="1239" h="499">
                  <a:moveTo>
                    <a:pt x="1239" y="0"/>
                  </a:moveTo>
                  <a:lnTo>
                    <a:pt x="1239" y="402"/>
                  </a:lnTo>
                  <a:lnTo>
                    <a:pt x="96" y="402"/>
                  </a:lnTo>
                  <a:lnTo>
                    <a:pt x="0" y="499"/>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927"/>
            <p:cNvSpPr>
              <a:spLocks/>
            </p:cNvSpPr>
            <p:nvPr/>
          </p:nvSpPr>
          <p:spPr bwMode="auto">
            <a:xfrm>
              <a:off x="4183" y="1797"/>
              <a:ext cx="204" cy="44"/>
            </a:xfrm>
            <a:custGeom>
              <a:avLst/>
              <a:gdLst>
                <a:gd name="T0" fmla="*/ 0 w 898"/>
                <a:gd name="T1" fmla="*/ 0 h 194"/>
                <a:gd name="T2" fmla="*/ 0 w 898"/>
                <a:gd name="T3" fmla="*/ 85 h 194"/>
                <a:gd name="T4" fmla="*/ 790 w 898"/>
                <a:gd name="T5" fmla="*/ 85 h 194"/>
                <a:gd name="T6" fmla="*/ 898 w 898"/>
                <a:gd name="T7" fmla="*/ 194 h 194"/>
              </a:gdLst>
              <a:ahLst/>
              <a:cxnLst>
                <a:cxn ang="0">
                  <a:pos x="T0" y="T1"/>
                </a:cxn>
                <a:cxn ang="0">
                  <a:pos x="T2" y="T3"/>
                </a:cxn>
                <a:cxn ang="0">
                  <a:pos x="T4" y="T5"/>
                </a:cxn>
                <a:cxn ang="0">
                  <a:pos x="T6" y="T7"/>
                </a:cxn>
              </a:cxnLst>
              <a:rect l="0" t="0" r="r" b="b"/>
              <a:pathLst>
                <a:path w="898" h="194">
                  <a:moveTo>
                    <a:pt x="0" y="0"/>
                  </a:moveTo>
                  <a:lnTo>
                    <a:pt x="0" y="85"/>
                  </a:lnTo>
                  <a:lnTo>
                    <a:pt x="790" y="85"/>
                  </a:lnTo>
                  <a:lnTo>
                    <a:pt x="898" y="194"/>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928"/>
            <p:cNvSpPr>
              <a:spLocks/>
            </p:cNvSpPr>
            <p:nvPr/>
          </p:nvSpPr>
          <p:spPr bwMode="auto">
            <a:xfrm>
              <a:off x="3525" y="2558"/>
              <a:ext cx="14" cy="28"/>
            </a:xfrm>
            <a:custGeom>
              <a:avLst/>
              <a:gdLst>
                <a:gd name="T0" fmla="*/ 61 w 61"/>
                <a:gd name="T1" fmla="*/ 122 h 122"/>
                <a:gd name="T2" fmla="*/ 61 w 61"/>
                <a:gd name="T3" fmla="*/ 0 h 122"/>
                <a:gd name="T4" fmla="*/ 0 w 61"/>
                <a:gd name="T5" fmla="*/ 0 h 122"/>
              </a:gdLst>
              <a:ahLst/>
              <a:cxnLst>
                <a:cxn ang="0">
                  <a:pos x="T0" y="T1"/>
                </a:cxn>
                <a:cxn ang="0">
                  <a:pos x="T2" y="T3"/>
                </a:cxn>
                <a:cxn ang="0">
                  <a:pos x="T4" y="T5"/>
                </a:cxn>
              </a:cxnLst>
              <a:rect l="0" t="0" r="r" b="b"/>
              <a:pathLst>
                <a:path w="61" h="122">
                  <a:moveTo>
                    <a:pt x="61" y="122"/>
                  </a:moveTo>
                  <a:lnTo>
                    <a:pt x="61" y="0"/>
                  </a:lnTo>
                  <a:lnTo>
                    <a:pt x="0"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1" name="Line 1929"/>
            <p:cNvSpPr>
              <a:spLocks noChangeShapeType="1"/>
            </p:cNvSpPr>
            <p:nvPr/>
          </p:nvSpPr>
          <p:spPr bwMode="auto">
            <a:xfrm flipV="1">
              <a:off x="3525"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Line 1930"/>
            <p:cNvSpPr>
              <a:spLocks noChangeShapeType="1"/>
            </p:cNvSpPr>
            <p:nvPr/>
          </p:nvSpPr>
          <p:spPr bwMode="auto">
            <a:xfrm flipV="1">
              <a:off x="3511"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3" name="Line 1931"/>
            <p:cNvSpPr>
              <a:spLocks noChangeShapeType="1"/>
            </p:cNvSpPr>
            <p:nvPr/>
          </p:nvSpPr>
          <p:spPr bwMode="auto">
            <a:xfrm flipV="1">
              <a:off x="3498"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Line 1932"/>
            <p:cNvSpPr>
              <a:spLocks noChangeShapeType="1"/>
            </p:cNvSpPr>
            <p:nvPr/>
          </p:nvSpPr>
          <p:spPr bwMode="auto">
            <a:xfrm flipV="1">
              <a:off x="3486"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933"/>
            <p:cNvSpPr>
              <a:spLocks/>
            </p:cNvSpPr>
            <p:nvPr/>
          </p:nvSpPr>
          <p:spPr bwMode="auto">
            <a:xfrm>
              <a:off x="3471" y="2557"/>
              <a:ext cx="15" cy="29"/>
            </a:xfrm>
            <a:custGeom>
              <a:avLst/>
              <a:gdLst>
                <a:gd name="T0" fmla="*/ 62 w 62"/>
                <a:gd name="T1" fmla="*/ 0 h 126"/>
                <a:gd name="T2" fmla="*/ 0 w 62"/>
                <a:gd name="T3" fmla="*/ 0 h 126"/>
                <a:gd name="T4" fmla="*/ 0 w 62"/>
                <a:gd name="T5" fmla="*/ 126 h 126"/>
              </a:gdLst>
              <a:ahLst/>
              <a:cxnLst>
                <a:cxn ang="0">
                  <a:pos x="T0" y="T1"/>
                </a:cxn>
                <a:cxn ang="0">
                  <a:pos x="T2" y="T3"/>
                </a:cxn>
                <a:cxn ang="0">
                  <a:pos x="T4" y="T5"/>
                </a:cxn>
              </a:cxnLst>
              <a:rect l="0" t="0" r="r" b="b"/>
              <a:pathLst>
                <a:path w="62" h="126">
                  <a:moveTo>
                    <a:pt x="62" y="0"/>
                  </a:moveTo>
                  <a:lnTo>
                    <a:pt x="0" y="0"/>
                  </a:lnTo>
                  <a:lnTo>
                    <a:pt x="0" y="126"/>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934"/>
            <p:cNvSpPr>
              <a:spLocks/>
            </p:cNvSpPr>
            <p:nvPr/>
          </p:nvSpPr>
          <p:spPr bwMode="auto">
            <a:xfrm>
              <a:off x="3531" y="2535"/>
              <a:ext cx="12" cy="12"/>
            </a:xfrm>
            <a:custGeom>
              <a:avLst/>
              <a:gdLst>
                <a:gd name="T0" fmla="*/ 23 w 56"/>
                <a:gd name="T1" fmla="*/ 56 h 56"/>
                <a:gd name="T2" fmla="*/ 23 w 56"/>
                <a:gd name="T3" fmla="*/ 32 h 56"/>
                <a:gd name="T4" fmla="*/ 0 w 56"/>
                <a:gd name="T5" fmla="*/ 32 h 56"/>
                <a:gd name="T6" fmla="*/ 0 w 56"/>
                <a:gd name="T7" fmla="*/ 23 h 56"/>
                <a:gd name="T8" fmla="*/ 23 w 56"/>
                <a:gd name="T9" fmla="*/ 23 h 56"/>
                <a:gd name="T10" fmla="*/ 23 w 56"/>
                <a:gd name="T11" fmla="*/ 0 h 56"/>
                <a:gd name="T12" fmla="*/ 33 w 56"/>
                <a:gd name="T13" fmla="*/ 0 h 56"/>
                <a:gd name="T14" fmla="*/ 33 w 56"/>
                <a:gd name="T15" fmla="*/ 23 h 56"/>
                <a:gd name="T16" fmla="*/ 56 w 56"/>
                <a:gd name="T17" fmla="*/ 23 h 56"/>
                <a:gd name="T18" fmla="*/ 56 w 56"/>
                <a:gd name="T19" fmla="*/ 32 h 56"/>
                <a:gd name="T20" fmla="*/ 33 w 56"/>
                <a:gd name="T21" fmla="*/ 32 h 56"/>
                <a:gd name="T22" fmla="*/ 33 w 56"/>
                <a:gd name="T23" fmla="*/ 56 h 56"/>
                <a:gd name="T24" fmla="*/ 23 w 56"/>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23" y="56"/>
                  </a:moveTo>
                  <a:lnTo>
                    <a:pt x="23" y="32"/>
                  </a:lnTo>
                  <a:lnTo>
                    <a:pt x="0" y="32"/>
                  </a:lnTo>
                  <a:lnTo>
                    <a:pt x="0" y="23"/>
                  </a:lnTo>
                  <a:lnTo>
                    <a:pt x="23" y="23"/>
                  </a:lnTo>
                  <a:lnTo>
                    <a:pt x="23" y="0"/>
                  </a:lnTo>
                  <a:lnTo>
                    <a:pt x="33" y="0"/>
                  </a:lnTo>
                  <a:lnTo>
                    <a:pt x="33" y="23"/>
                  </a:lnTo>
                  <a:lnTo>
                    <a:pt x="56" y="23"/>
                  </a:lnTo>
                  <a:lnTo>
                    <a:pt x="56" y="32"/>
                  </a:lnTo>
                  <a:lnTo>
                    <a:pt x="33" y="32"/>
                  </a:lnTo>
                  <a:lnTo>
                    <a:pt x="33" y="56"/>
                  </a:lnTo>
                  <a:lnTo>
                    <a:pt x="23" y="5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Rectangle 1935"/>
            <p:cNvSpPr>
              <a:spLocks noChangeArrowheads="1"/>
            </p:cNvSpPr>
            <p:nvPr/>
          </p:nvSpPr>
          <p:spPr bwMode="auto">
            <a:xfrm>
              <a:off x="3464" y="2542"/>
              <a:ext cx="7"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8" name="Freeform 1936"/>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Freeform 1937"/>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Rectangle 1938"/>
            <p:cNvSpPr>
              <a:spLocks noChangeArrowheads="1"/>
            </p:cNvSpPr>
            <p:nvPr/>
          </p:nvSpPr>
          <p:spPr bwMode="auto">
            <a:xfrm>
              <a:off x="3467" y="260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1" name="Rectangle 1939"/>
            <p:cNvSpPr>
              <a:spLocks noChangeArrowheads="1"/>
            </p:cNvSpPr>
            <p:nvPr/>
          </p:nvSpPr>
          <p:spPr bwMode="auto">
            <a:xfrm>
              <a:off x="3525" y="260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2" name="Rectangle 1940"/>
            <p:cNvSpPr>
              <a:spLocks noChangeArrowheads="1"/>
            </p:cNvSpPr>
            <p:nvPr/>
          </p:nvSpPr>
          <p:spPr bwMode="auto">
            <a:xfrm>
              <a:off x="3529"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3" name="Freeform 1941"/>
            <p:cNvSpPr>
              <a:spLocks/>
            </p:cNvSpPr>
            <p:nvPr/>
          </p:nvSpPr>
          <p:spPr bwMode="auto">
            <a:xfrm>
              <a:off x="3525" y="2604"/>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Freeform 1942"/>
            <p:cNvSpPr>
              <a:spLocks/>
            </p:cNvSpPr>
            <p:nvPr/>
          </p:nvSpPr>
          <p:spPr bwMode="auto">
            <a:xfrm>
              <a:off x="3539" y="2604"/>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943"/>
            <p:cNvSpPr>
              <a:spLocks/>
            </p:cNvSpPr>
            <p:nvPr/>
          </p:nvSpPr>
          <p:spPr bwMode="auto">
            <a:xfrm>
              <a:off x="3525" y="2618"/>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944"/>
            <p:cNvSpPr>
              <a:spLocks/>
            </p:cNvSpPr>
            <p:nvPr/>
          </p:nvSpPr>
          <p:spPr bwMode="auto">
            <a:xfrm>
              <a:off x="3525" y="2604"/>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Rectangle 1945"/>
            <p:cNvSpPr>
              <a:spLocks noChangeArrowheads="1"/>
            </p:cNvSpPr>
            <p:nvPr/>
          </p:nvSpPr>
          <p:spPr bwMode="auto">
            <a:xfrm>
              <a:off x="3471"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946"/>
            <p:cNvSpPr>
              <a:spLocks/>
            </p:cNvSpPr>
            <p:nvPr/>
          </p:nvSpPr>
          <p:spPr bwMode="auto">
            <a:xfrm>
              <a:off x="3467" y="2604"/>
              <a:ext cx="19" cy="4"/>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947"/>
            <p:cNvSpPr>
              <a:spLocks/>
            </p:cNvSpPr>
            <p:nvPr/>
          </p:nvSpPr>
          <p:spPr bwMode="auto">
            <a:xfrm>
              <a:off x="3481" y="2604"/>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0" name="Freeform 1948"/>
            <p:cNvSpPr>
              <a:spLocks/>
            </p:cNvSpPr>
            <p:nvPr/>
          </p:nvSpPr>
          <p:spPr bwMode="auto">
            <a:xfrm>
              <a:off x="3467" y="2618"/>
              <a:ext cx="19"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949"/>
            <p:cNvSpPr>
              <a:spLocks/>
            </p:cNvSpPr>
            <p:nvPr/>
          </p:nvSpPr>
          <p:spPr bwMode="auto">
            <a:xfrm>
              <a:off x="3467" y="2604"/>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950"/>
            <p:cNvSpPr>
              <a:spLocks/>
            </p:cNvSpPr>
            <p:nvPr/>
          </p:nvSpPr>
          <p:spPr bwMode="auto">
            <a:xfrm>
              <a:off x="4996" y="2690"/>
              <a:ext cx="26" cy="32"/>
            </a:xfrm>
            <a:custGeom>
              <a:avLst/>
              <a:gdLst>
                <a:gd name="T0" fmla="*/ 0 w 116"/>
                <a:gd name="T1" fmla="*/ 141 h 141"/>
                <a:gd name="T2" fmla="*/ 116 w 116"/>
                <a:gd name="T3" fmla="*/ 26 h 141"/>
                <a:gd name="T4" fmla="*/ 116 w 116"/>
                <a:gd name="T5" fmla="*/ 0 h 141"/>
              </a:gdLst>
              <a:ahLst/>
              <a:cxnLst>
                <a:cxn ang="0">
                  <a:pos x="T0" y="T1"/>
                </a:cxn>
                <a:cxn ang="0">
                  <a:pos x="T2" y="T3"/>
                </a:cxn>
                <a:cxn ang="0">
                  <a:pos x="T4" y="T5"/>
                </a:cxn>
              </a:cxnLst>
              <a:rect l="0" t="0" r="r" b="b"/>
              <a:pathLst>
                <a:path w="116" h="141">
                  <a:moveTo>
                    <a:pt x="0" y="141"/>
                  </a:moveTo>
                  <a:lnTo>
                    <a:pt x="116" y="26"/>
                  </a:lnTo>
                  <a:lnTo>
                    <a:pt x="116"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1951"/>
            <p:cNvSpPr>
              <a:spLocks noChangeArrowheads="1"/>
            </p:cNvSpPr>
            <p:nvPr/>
          </p:nvSpPr>
          <p:spPr bwMode="auto">
            <a:xfrm>
              <a:off x="3818" y="2112"/>
              <a:ext cx="334" cy="335"/>
            </a:xfrm>
            <a:prstGeom prst="rect">
              <a:avLst/>
            </a:prstGeom>
            <a:solidFill>
              <a:srgbClr val="1D55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4" name="Rectangle 1952"/>
            <p:cNvSpPr>
              <a:spLocks noChangeArrowheads="1"/>
            </p:cNvSpPr>
            <p:nvPr/>
          </p:nvSpPr>
          <p:spPr bwMode="auto">
            <a:xfrm>
              <a:off x="3826" y="2121"/>
              <a:ext cx="318" cy="318"/>
            </a:xfrm>
            <a:prstGeom prst="rect">
              <a:avLst/>
            </a:prstGeom>
            <a:solidFill>
              <a:srgbClr val="2C39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5" name="Freeform 1953"/>
            <p:cNvSpPr>
              <a:spLocks/>
            </p:cNvSpPr>
            <p:nvPr/>
          </p:nvSpPr>
          <p:spPr bwMode="auto">
            <a:xfrm>
              <a:off x="3905" y="2213"/>
              <a:ext cx="159" cy="159"/>
            </a:xfrm>
            <a:custGeom>
              <a:avLst/>
              <a:gdLst>
                <a:gd name="T0" fmla="*/ 700 w 700"/>
                <a:gd name="T1" fmla="*/ 650 h 700"/>
                <a:gd name="T2" fmla="*/ 650 w 700"/>
                <a:gd name="T3" fmla="*/ 700 h 700"/>
                <a:gd name="T4" fmla="*/ 50 w 700"/>
                <a:gd name="T5" fmla="*/ 700 h 700"/>
                <a:gd name="T6" fmla="*/ 0 w 700"/>
                <a:gd name="T7" fmla="*/ 650 h 700"/>
                <a:gd name="T8" fmla="*/ 0 w 700"/>
                <a:gd name="T9" fmla="*/ 50 h 700"/>
                <a:gd name="T10" fmla="*/ 50 w 700"/>
                <a:gd name="T11" fmla="*/ 0 h 700"/>
                <a:gd name="T12" fmla="*/ 650 w 700"/>
                <a:gd name="T13" fmla="*/ 0 h 700"/>
                <a:gd name="T14" fmla="*/ 700 w 700"/>
                <a:gd name="T15" fmla="*/ 50 h 700"/>
                <a:gd name="T16" fmla="*/ 700 w 700"/>
                <a:gd name="T17" fmla="*/ 65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700">
                  <a:moveTo>
                    <a:pt x="700" y="650"/>
                  </a:moveTo>
                  <a:cubicBezTo>
                    <a:pt x="700" y="678"/>
                    <a:pt x="678" y="700"/>
                    <a:pt x="650" y="700"/>
                  </a:cubicBezTo>
                  <a:lnTo>
                    <a:pt x="50" y="700"/>
                  </a:lnTo>
                  <a:cubicBezTo>
                    <a:pt x="23" y="700"/>
                    <a:pt x="0" y="678"/>
                    <a:pt x="0" y="650"/>
                  </a:cubicBezTo>
                  <a:lnTo>
                    <a:pt x="0" y="50"/>
                  </a:lnTo>
                  <a:cubicBezTo>
                    <a:pt x="0" y="23"/>
                    <a:pt x="23" y="0"/>
                    <a:pt x="50" y="0"/>
                  </a:cubicBezTo>
                  <a:lnTo>
                    <a:pt x="650" y="0"/>
                  </a:lnTo>
                  <a:cubicBezTo>
                    <a:pt x="678" y="0"/>
                    <a:pt x="700" y="23"/>
                    <a:pt x="700" y="50"/>
                  </a:cubicBezTo>
                  <a:lnTo>
                    <a:pt x="700" y="65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6" name="Rectangle 1954"/>
            <p:cNvSpPr>
              <a:spLocks noChangeArrowheads="1"/>
            </p:cNvSpPr>
            <p:nvPr/>
          </p:nvSpPr>
          <p:spPr bwMode="auto">
            <a:xfrm>
              <a:off x="3916" y="2224"/>
              <a:ext cx="137" cy="13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7" name="Oval 1955"/>
            <p:cNvSpPr>
              <a:spLocks noChangeArrowheads="1"/>
            </p:cNvSpPr>
            <p:nvPr/>
          </p:nvSpPr>
          <p:spPr bwMode="auto">
            <a:xfrm>
              <a:off x="3829" y="2125"/>
              <a:ext cx="23" cy="23"/>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Oval 1956"/>
            <p:cNvSpPr>
              <a:spLocks noChangeArrowheads="1"/>
            </p:cNvSpPr>
            <p:nvPr/>
          </p:nvSpPr>
          <p:spPr bwMode="auto">
            <a:xfrm>
              <a:off x="4129" y="2125"/>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Oval 1957"/>
            <p:cNvSpPr>
              <a:spLocks noChangeArrowheads="1"/>
            </p:cNvSpPr>
            <p:nvPr/>
          </p:nvSpPr>
          <p:spPr bwMode="auto">
            <a:xfrm>
              <a:off x="4129" y="2424"/>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Freeform 1958"/>
            <p:cNvSpPr>
              <a:spLocks/>
            </p:cNvSpPr>
            <p:nvPr/>
          </p:nvSpPr>
          <p:spPr bwMode="auto">
            <a:xfrm>
              <a:off x="3826" y="2428"/>
              <a:ext cx="11" cy="11"/>
            </a:xfrm>
            <a:custGeom>
              <a:avLst/>
              <a:gdLst>
                <a:gd name="T0" fmla="*/ 0 w 47"/>
                <a:gd name="T1" fmla="*/ 0 h 47"/>
                <a:gd name="T2" fmla="*/ 47 w 47"/>
                <a:gd name="T3" fmla="*/ 47 h 47"/>
                <a:gd name="T4" fmla="*/ 0 w 47"/>
                <a:gd name="T5" fmla="*/ 47 h 47"/>
                <a:gd name="T6" fmla="*/ 0 w 47"/>
                <a:gd name="T7" fmla="*/ 0 h 47"/>
              </a:gdLst>
              <a:ahLst/>
              <a:cxnLst>
                <a:cxn ang="0">
                  <a:pos x="T0" y="T1"/>
                </a:cxn>
                <a:cxn ang="0">
                  <a:pos x="T2" y="T3"/>
                </a:cxn>
                <a:cxn ang="0">
                  <a:pos x="T4" y="T5"/>
                </a:cxn>
                <a:cxn ang="0">
                  <a:pos x="T6" y="T7"/>
                </a:cxn>
              </a:cxnLst>
              <a:rect l="0" t="0" r="r" b="b"/>
              <a:pathLst>
                <a:path w="47" h="47">
                  <a:moveTo>
                    <a:pt x="0" y="0"/>
                  </a:moveTo>
                  <a:lnTo>
                    <a:pt x="47" y="47"/>
                  </a:lnTo>
                  <a:lnTo>
                    <a:pt x="0" y="47"/>
                  </a:lnTo>
                  <a:lnTo>
                    <a:pt x="0" y="0"/>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Rectangle 1959"/>
            <p:cNvSpPr>
              <a:spLocks noChangeArrowheads="1"/>
            </p:cNvSpPr>
            <p:nvPr/>
          </p:nvSpPr>
          <p:spPr bwMode="auto">
            <a:xfrm>
              <a:off x="3905" y="2121"/>
              <a:ext cx="203" cy="15"/>
            </a:xfrm>
            <a:prstGeom prst="rect">
              <a:avLst/>
            </a:prstGeom>
            <a:solidFill>
              <a:srgbClr val="16403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960"/>
            <p:cNvSpPr>
              <a:spLocks noEditPoints="1"/>
            </p:cNvSpPr>
            <p:nvPr/>
          </p:nvSpPr>
          <p:spPr bwMode="auto">
            <a:xfrm>
              <a:off x="4270" y="1868"/>
              <a:ext cx="241" cy="171"/>
            </a:xfrm>
            <a:custGeom>
              <a:avLst/>
              <a:gdLst>
                <a:gd name="T0" fmla="*/ 504 w 1062"/>
                <a:gd name="T1" fmla="*/ 658 h 753"/>
                <a:gd name="T2" fmla="*/ 62 w 1062"/>
                <a:gd name="T3" fmla="*/ 490 h 753"/>
                <a:gd name="T4" fmla="*/ 130 w 1062"/>
                <a:gd name="T5" fmla="*/ 278 h 753"/>
                <a:gd name="T6" fmla="*/ 130 w 1062"/>
                <a:gd name="T7" fmla="*/ 251 h 753"/>
                <a:gd name="T8" fmla="*/ 26 w 1062"/>
                <a:gd name="T9" fmla="*/ 530 h 753"/>
                <a:gd name="T10" fmla="*/ 516 w 1062"/>
                <a:gd name="T11" fmla="*/ 726 h 753"/>
                <a:gd name="T12" fmla="*/ 867 w 1062"/>
                <a:gd name="T13" fmla="*/ 626 h 753"/>
                <a:gd name="T14" fmla="*/ 867 w 1062"/>
                <a:gd name="T15" fmla="*/ 548 h 753"/>
                <a:gd name="T16" fmla="*/ 504 w 1062"/>
                <a:gd name="T17" fmla="*/ 658 h 753"/>
                <a:gd name="T18" fmla="*/ 1036 w 1062"/>
                <a:gd name="T19" fmla="*/ 249 h 753"/>
                <a:gd name="T20" fmla="*/ 241 w 1062"/>
                <a:gd name="T21" fmla="*/ 178 h 753"/>
                <a:gd name="T22" fmla="*/ 241 w 1062"/>
                <a:gd name="T23" fmla="*/ 198 h 753"/>
                <a:gd name="T24" fmla="*/ 986 w 1062"/>
                <a:gd name="T25" fmla="*/ 264 h 753"/>
                <a:gd name="T26" fmla="*/ 887 w 1062"/>
                <a:gd name="T27" fmla="*/ 452 h 753"/>
                <a:gd name="T28" fmla="*/ 887 w 1062"/>
                <a:gd name="T29" fmla="*/ 508 h 753"/>
                <a:gd name="T30" fmla="*/ 1036 w 1062"/>
                <a:gd name="T31" fmla="*/ 249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2" h="753">
                  <a:moveTo>
                    <a:pt x="504" y="658"/>
                  </a:moveTo>
                  <a:cubicBezTo>
                    <a:pt x="302" y="677"/>
                    <a:pt x="92" y="647"/>
                    <a:pt x="62" y="490"/>
                  </a:cubicBezTo>
                  <a:cubicBezTo>
                    <a:pt x="48" y="412"/>
                    <a:pt x="83" y="329"/>
                    <a:pt x="130" y="278"/>
                  </a:cubicBezTo>
                  <a:lnTo>
                    <a:pt x="130" y="251"/>
                  </a:lnTo>
                  <a:cubicBezTo>
                    <a:pt x="46" y="325"/>
                    <a:pt x="0" y="419"/>
                    <a:pt x="26" y="530"/>
                  </a:cubicBezTo>
                  <a:cubicBezTo>
                    <a:pt x="60" y="672"/>
                    <a:pt x="240" y="753"/>
                    <a:pt x="516" y="726"/>
                  </a:cubicBezTo>
                  <a:cubicBezTo>
                    <a:pt x="625" y="716"/>
                    <a:pt x="768" y="680"/>
                    <a:pt x="867" y="626"/>
                  </a:cubicBezTo>
                  <a:lnTo>
                    <a:pt x="867" y="548"/>
                  </a:lnTo>
                  <a:cubicBezTo>
                    <a:pt x="777" y="602"/>
                    <a:pt x="628" y="647"/>
                    <a:pt x="504" y="658"/>
                  </a:cubicBezTo>
                  <a:moveTo>
                    <a:pt x="1036" y="249"/>
                  </a:moveTo>
                  <a:cubicBezTo>
                    <a:pt x="988" y="15"/>
                    <a:pt x="534" y="0"/>
                    <a:pt x="241" y="178"/>
                  </a:cubicBezTo>
                  <a:lnTo>
                    <a:pt x="241" y="198"/>
                  </a:lnTo>
                  <a:cubicBezTo>
                    <a:pt x="534" y="47"/>
                    <a:pt x="948" y="48"/>
                    <a:pt x="986" y="264"/>
                  </a:cubicBezTo>
                  <a:cubicBezTo>
                    <a:pt x="999" y="335"/>
                    <a:pt x="959" y="409"/>
                    <a:pt x="887" y="452"/>
                  </a:cubicBezTo>
                  <a:lnTo>
                    <a:pt x="887" y="508"/>
                  </a:lnTo>
                  <a:cubicBezTo>
                    <a:pt x="973" y="476"/>
                    <a:pt x="1062" y="374"/>
                    <a:pt x="1036"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961"/>
            <p:cNvSpPr>
              <a:spLocks/>
            </p:cNvSpPr>
            <p:nvPr/>
          </p:nvSpPr>
          <p:spPr bwMode="auto">
            <a:xfrm>
              <a:off x="4451" y="1917"/>
              <a:ext cx="12" cy="66"/>
            </a:xfrm>
            <a:custGeom>
              <a:avLst/>
              <a:gdLst>
                <a:gd name="T0" fmla="*/ 53 w 53"/>
                <a:gd name="T1" fmla="*/ 0 h 291"/>
                <a:gd name="T2" fmla="*/ 0 w 53"/>
                <a:gd name="T3" fmla="*/ 0 h 291"/>
                <a:gd name="T4" fmla="*/ 0 w 53"/>
                <a:gd name="T5" fmla="*/ 235 h 291"/>
                <a:gd name="T6" fmla="*/ 53 w 53"/>
                <a:gd name="T7" fmla="*/ 291 h 291"/>
                <a:gd name="T8" fmla="*/ 53 w 53"/>
                <a:gd name="T9" fmla="*/ 0 h 291"/>
              </a:gdLst>
              <a:ahLst/>
              <a:cxnLst>
                <a:cxn ang="0">
                  <a:pos x="T0" y="T1"/>
                </a:cxn>
                <a:cxn ang="0">
                  <a:pos x="T2" y="T3"/>
                </a:cxn>
                <a:cxn ang="0">
                  <a:pos x="T4" y="T5"/>
                </a:cxn>
                <a:cxn ang="0">
                  <a:pos x="T6" y="T7"/>
                </a:cxn>
                <a:cxn ang="0">
                  <a:pos x="T8" y="T9"/>
                </a:cxn>
              </a:cxnLst>
              <a:rect l="0" t="0" r="r" b="b"/>
              <a:pathLst>
                <a:path w="53" h="291">
                  <a:moveTo>
                    <a:pt x="53" y="0"/>
                  </a:moveTo>
                  <a:lnTo>
                    <a:pt x="0" y="0"/>
                  </a:lnTo>
                  <a:lnTo>
                    <a:pt x="0" y="235"/>
                  </a:lnTo>
                  <a:cubicBezTo>
                    <a:pt x="0" y="263"/>
                    <a:pt x="13" y="287"/>
                    <a:pt x="53" y="291"/>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962"/>
            <p:cNvSpPr>
              <a:spLocks/>
            </p:cNvSpPr>
            <p:nvPr/>
          </p:nvSpPr>
          <p:spPr bwMode="auto">
            <a:xfrm>
              <a:off x="4308" y="1936"/>
              <a:ext cx="12" cy="48"/>
            </a:xfrm>
            <a:custGeom>
              <a:avLst/>
              <a:gdLst>
                <a:gd name="T0" fmla="*/ 53 w 53"/>
                <a:gd name="T1" fmla="*/ 0 h 209"/>
                <a:gd name="T2" fmla="*/ 0 w 53"/>
                <a:gd name="T3" fmla="*/ 0 h 209"/>
                <a:gd name="T4" fmla="*/ 0 w 53"/>
                <a:gd name="T5" fmla="*/ 154 h 209"/>
                <a:gd name="T6" fmla="*/ 53 w 53"/>
                <a:gd name="T7" fmla="*/ 209 h 209"/>
                <a:gd name="T8" fmla="*/ 53 w 53"/>
                <a:gd name="T9" fmla="*/ 0 h 209"/>
              </a:gdLst>
              <a:ahLst/>
              <a:cxnLst>
                <a:cxn ang="0">
                  <a:pos x="T0" y="T1"/>
                </a:cxn>
                <a:cxn ang="0">
                  <a:pos x="T2" y="T3"/>
                </a:cxn>
                <a:cxn ang="0">
                  <a:pos x="T4" y="T5"/>
                </a:cxn>
                <a:cxn ang="0">
                  <a:pos x="T6" y="T7"/>
                </a:cxn>
                <a:cxn ang="0">
                  <a:pos x="T8" y="T9"/>
                </a:cxn>
              </a:cxnLst>
              <a:rect l="0" t="0" r="r" b="b"/>
              <a:pathLst>
                <a:path w="53" h="209">
                  <a:moveTo>
                    <a:pt x="53" y="0"/>
                  </a:moveTo>
                  <a:lnTo>
                    <a:pt x="0" y="0"/>
                  </a:lnTo>
                  <a:lnTo>
                    <a:pt x="0" y="154"/>
                  </a:lnTo>
                  <a:cubicBezTo>
                    <a:pt x="0" y="182"/>
                    <a:pt x="14" y="206"/>
                    <a:pt x="53" y="209"/>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963"/>
            <p:cNvSpPr>
              <a:spLocks noChangeArrowheads="1"/>
            </p:cNvSpPr>
            <p:nvPr/>
          </p:nvSpPr>
          <p:spPr bwMode="auto">
            <a:xfrm>
              <a:off x="4308" y="1918"/>
              <a:ext cx="12" cy="1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964"/>
            <p:cNvSpPr>
              <a:spLocks/>
            </p:cNvSpPr>
            <p:nvPr/>
          </p:nvSpPr>
          <p:spPr bwMode="auto">
            <a:xfrm>
              <a:off x="4378" y="1923"/>
              <a:ext cx="21" cy="60"/>
            </a:xfrm>
            <a:custGeom>
              <a:avLst/>
              <a:gdLst>
                <a:gd name="T0" fmla="*/ 61 w 92"/>
                <a:gd name="T1" fmla="*/ 264 h 264"/>
                <a:gd name="T2" fmla="*/ 0 w 92"/>
                <a:gd name="T3" fmla="*/ 205 h 264"/>
                <a:gd name="T4" fmla="*/ 0 w 92"/>
                <a:gd name="T5" fmla="*/ 0 h 264"/>
                <a:gd name="T6" fmla="*/ 52 w 92"/>
                <a:gd name="T7" fmla="*/ 0 h 264"/>
                <a:gd name="T8" fmla="*/ 52 w 92"/>
                <a:gd name="T9" fmla="*/ 57 h 264"/>
                <a:gd name="T10" fmla="*/ 92 w 92"/>
                <a:gd name="T11" fmla="*/ 57 h 264"/>
                <a:gd name="T12" fmla="*/ 92 w 92"/>
                <a:gd name="T13" fmla="*/ 99 h 264"/>
                <a:gd name="T14" fmla="*/ 52 w 92"/>
                <a:gd name="T15" fmla="*/ 99 h 264"/>
                <a:gd name="T16" fmla="*/ 52 w 92"/>
                <a:gd name="T17" fmla="*/ 202 h 264"/>
                <a:gd name="T18" fmla="*/ 70 w 92"/>
                <a:gd name="T19" fmla="*/ 220 h 264"/>
                <a:gd name="T20" fmla="*/ 92 w 92"/>
                <a:gd name="T21" fmla="*/ 220 h 264"/>
                <a:gd name="T22" fmla="*/ 92 w 92"/>
                <a:gd name="T23" fmla="*/ 264 h 264"/>
                <a:gd name="T24" fmla="*/ 61 w 92"/>
                <a:gd name="T2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264">
                  <a:moveTo>
                    <a:pt x="61" y="264"/>
                  </a:moveTo>
                  <a:cubicBezTo>
                    <a:pt x="18" y="264"/>
                    <a:pt x="0" y="234"/>
                    <a:pt x="0" y="205"/>
                  </a:cubicBezTo>
                  <a:lnTo>
                    <a:pt x="0" y="0"/>
                  </a:lnTo>
                  <a:lnTo>
                    <a:pt x="52" y="0"/>
                  </a:lnTo>
                  <a:lnTo>
                    <a:pt x="52" y="57"/>
                  </a:lnTo>
                  <a:lnTo>
                    <a:pt x="92" y="57"/>
                  </a:lnTo>
                  <a:lnTo>
                    <a:pt x="92" y="99"/>
                  </a:lnTo>
                  <a:lnTo>
                    <a:pt x="52" y="99"/>
                  </a:lnTo>
                  <a:lnTo>
                    <a:pt x="52" y="202"/>
                  </a:lnTo>
                  <a:cubicBezTo>
                    <a:pt x="52" y="213"/>
                    <a:pt x="58" y="220"/>
                    <a:pt x="70" y="220"/>
                  </a:cubicBezTo>
                  <a:lnTo>
                    <a:pt x="92" y="220"/>
                  </a:lnTo>
                  <a:lnTo>
                    <a:pt x="92" y="264"/>
                  </a:lnTo>
                  <a:lnTo>
                    <a:pt x="61" y="264"/>
                  </a:ln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965"/>
            <p:cNvSpPr>
              <a:spLocks noEditPoints="1"/>
            </p:cNvSpPr>
            <p:nvPr/>
          </p:nvSpPr>
          <p:spPr bwMode="auto">
            <a:xfrm>
              <a:off x="4402" y="1935"/>
              <a:ext cx="42" cy="49"/>
            </a:xfrm>
            <a:custGeom>
              <a:avLst/>
              <a:gdLst>
                <a:gd name="T0" fmla="*/ 52 w 185"/>
                <a:gd name="T1" fmla="*/ 124 h 214"/>
                <a:gd name="T2" fmla="*/ 99 w 185"/>
                <a:gd name="T3" fmla="*/ 170 h 214"/>
                <a:gd name="T4" fmla="*/ 147 w 185"/>
                <a:gd name="T5" fmla="*/ 151 h 214"/>
                <a:gd name="T6" fmla="*/ 179 w 185"/>
                <a:gd name="T7" fmla="*/ 181 h 214"/>
                <a:gd name="T8" fmla="*/ 98 w 185"/>
                <a:gd name="T9" fmla="*/ 214 h 214"/>
                <a:gd name="T10" fmla="*/ 0 w 185"/>
                <a:gd name="T11" fmla="*/ 107 h 214"/>
                <a:gd name="T12" fmla="*/ 97 w 185"/>
                <a:gd name="T13" fmla="*/ 0 h 214"/>
                <a:gd name="T14" fmla="*/ 185 w 185"/>
                <a:gd name="T15" fmla="*/ 105 h 214"/>
                <a:gd name="T16" fmla="*/ 185 w 185"/>
                <a:gd name="T17" fmla="*/ 124 h 214"/>
                <a:gd name="T18" fmla="*/ 52 w 185"/>
                <a:gd name="T19" fmla="*/ 124 h 214"/>
                <a:gd name="T20" fmla="*/ 95 w 185"/>
                <a:gd name="T21" fmla="*/ 44 h 214"/>
                <a:gd name="T22" fmla="*/ 57 w 185"/>
                <a:gd name="T23" fmla="*/ 65 h 214"/>
                <a:gd name="T24" fmla="*/ 52 w 185"/>
                <a:gd name="T25" fmla="*/ 88 h 214"/>
                <a:gd name="T26" fmla="*/ 133 w 185"/>
                <a:gd name="T27" fmla="*/ 88 h 214"/>
                <a:gd name="T28" fmla="*/ 95 w 185"/>
                <a:gd name="T29"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 h="214">
                  <a:moveTo>
                    <a:pt x="52" y="124"/>
                  </a:moveTo>
                  <a:cubicBezTo>
                    <a:pt x="52" y="151"/>
                    <a:pt x="69" y="170"/>
                    <a:pt x="99" y="170"/>
                  </a:cubicBezTo>
                  <a:cubicBezTo>
                    <a:pt x="122" y="170"/>
                    <a:pt x="133" y="164"/>
                    <a:pt x="147" y="151"/>
                  </a:cubicBezTo>
                  <a:lnTo>
                    <a:pt x="179" y="181"/>
                  </a:lnTo>
                  <a:cubicBezTo>
                    <a:pt x="159" y="202"/>
                    <a:pt x="137" y="214"/>
                    <a:pt x="98" y="214"/>
                  </a:cubicBezTo>
                  <a:cubicBezTo>
                    <a:pt x="48" y="214"/>
                    <a:pt x="0" y="187"/>
                    <a:pt x="0" y="107"/>
                  </a:cubicBezTo>
                  <a:cubicBezTo>
                    <a:pt x="0" y="39"/>
                    <a:pt x="42" y="0"/>
                    <a:pt x="97" y="0"/>
                  </a:cubicBezTo>
                  <a:cubicBezTo>
                    <a:pt x="153" y="0"/>
                    <a:pt x="185" y="45"/>
                    <a:pt x="185" y="105"/>
                  </a:cubicBezTo>
                  <a:lnTo>
                    <a:pt x="185" y="124"/>
                  </a:lnTo>
                  <a:lnTo>
                    <a:pt x="52" y="124"/>
                  </a:lnTo>
                  <a:moveTo>
                    <a:pt x="95" y="44"/>
                  </a:moveTo>
                  <a:cubicBezTo>
                    <a:pt x="77" y="44"/>
                    <a:pt x="63" y="53"/>
                    <a:pt x="57" y="65"/>
                  </a:cubicBezTo>
                  <a:cubicBezTo>
                    <a:pt x="54" y="73"/>
                    <a:pt x="53" y="79"/>
                    <a:pt x="52" y="88"/>
                  </a:cubicBezTo>
                  <a:lnTo>
                    <a:pt x="133" y="88"/>
                  </a:lnTo>
                  <a:cubicBezTo>
                    <a:pt x="132" y="65"/>
                    <a:pt x="122" y="44"/>
                    <a:pt x="95" y="44"/>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966"/>
            <p:cNvSpPr>
              <a:spLocks/>
            </p:cNvSpPr>
            <p:nvPr/>
          </p:nvSpPr>
          <p:spPr bwMode="auto">
            <a:xfrm>
              <a:off x="4330" y="1936"/>
              <a:ext cx="39" cy="47"/>
            </a:xfrm>
            <a:custGeom>
              <a:avLst/>
              <a:gdLst>
                <a:gd name="T0" fmla="*/ 96 w 170"/>
                <a:gd name="T1" fmla="*/ 42 h 207"/>
                <a:gd name="T2" fmla="*/ 118 w 170"/>
                <a:gd name="T3" fmla="*/ 62 h 207"/>
                <a:gd name="T4" fmla="*/ 118 w 170"/>
                <a:gd name="T5" fmla="*/ 207 h 207"/>
                <a:gd name="T6" fmla="*/ 170 w 170"/>
                <a:gd name="T7" fmla="*/ 207 h 207"/>
                <a:gd name="T8" fmla="*/ 170 w 170"/>
                <a:gd name="T9" fmla="*/ 62 h 207"/>
                <a:gd name="T10" fmla="*/ 109 w 170"/>
                <a:gd name="T11" fmla="*/ 0 h 207"/>
                <a:gd name="T12" fmla="*/ 0 w 170"/>
                <a:gd name="T13" fmla="*/ 0 h 207"/>
                <a:gd name="T14" fmla="*/ 0 w 170"/>
                <a:gd name="T15" fmla="*/ 207 h 207"/>
                <a:gd name="T16" fmla="*/ 53 w 170"/>
                <a:gd name="T17" fmla="*/ 207 h 207"/>
                <a:gd name="T18" fmla="*/ 53 w 170"/>
                <a:gd name="T19" fmla="*/ 42 h 207"/>
                <a:gd name="T20" fmla="*/ 96 w 170"/>
                <a:gd name="T21" fmla="*/ 42 h 207"/>
                <a:gd name="T22" fmla="*/ 96 w 170"/>
                <a:gd name="T23" fmla="*/ 4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07">
                  <a:moveTo>
                    <a:pt x="96" y="42"/>
                  </a:moveTo>
                  <a:cubicBezTo>
                    <a:pt x="111" y="42"/>
                    <a:pt x="118" y="50"/>
                    <a:pt x="118" y="62"/>
                  </a:cubicBezTo>
                  <a:lnTo>
                    <a:pt x="118" y="207"/>
                  </a:lnTo>
                  <a:lnTo>
                    <a:pt x="170" y="207"/>
                  </a:lnTo>
                  <a:lnTo>
                    <a:pt x="170" y="62"/>
                  </a:lnTo>
                  <a:cubicBezTo>
                    <a:pt x="170" y="32"/>
                    <a:pt x="155" y="0"/>
                    <a:pt x="109" y="0"/>
                  </a:cubicBezTo>
                  <a:lnTo>
                    <a:pt x="0" y="0"/>
                  </a:lnTo>
                  <a:lnTo>
                    <a:pt x="0" y="207"/>
                  </a:lnTo>
                  <a:lnTo>
                    <a:pt x="53" y="207"/>
                  </a:lnTo>
                  <a:lnTo>
                    <a:pt x="53" y="42"/>
                  </a:lnTo>
                  <a:lnTo>
                    <a:pt x="96" y="42"/>
                  </a:lnTo>
                  <a:lnTo>
                    <a:pt x="96"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967"/>
            <p:cNvSpPr>
              <a:spLocks noEditPoints="1"/>
            </p:cNvSpPr>
            <p:nvPr/>
          </p:nvSpPr>
          <p:spPr bwMode="auto">
            <a:xfrm>
              <a:off x="4471" y="1917"/>
              <a:ext cx="10" cy="9"/>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3 h 42"/>
                <a:gd name="T12" fmla="*/ 4 w 42"/>
                <a:gd name="T13" fmla="*/ 21 h 42"/>
                <a:gd name="T14" fmla="*/ 21 w 42"/>
                <a:gd name="T15" fmla="*/ 38 h 42"/>
                <a:gd name="T16" fmla="*/ 39 w 42"/>
                <a:gd name="T17" fmla="*/ 21 h 42"/>
                <a:gd name="T18" fmla="*/ 21 w 42"/>
                <a:gd name="T19" fmla="*/ 3 h 42"/>
                <a:gd name="T20" fmla="*/ 30 w 42"/>
                <a:gd name="T21" fmla="*/ 33 h 42"/>
                <a:gd name="T22" fmla="*/ 26 w 42"/>
                <a:gd name="T23" fmla="*/ 33 h 42"/>
                <a:gd name="T24" fmla="*/ 26 w 42"/>
                <a:gd name="T25" fmla="*/ 33 h 42"/>
                <a:gd name="T26" fmla="*/ 20 w 42"/>
                <a:gd name="T27" fmla="*/ 24 h 42"/>
                <a:gd name="T28" fmla="*/ 20 w 42"/>
                <a:gd name="T29" fmla="*/ 23 h 42"/>
                <a:gd name="T30" fmla="*/ 18 w 42"/>
                <a:gd name="T31" fmla="*/ 23 h 42"/>
                <a:gd name="T32" fmla="*/ 17 w 42"/>
                <a:gd name="T33" fmla="*/ 23 h 42"/>
                <a:gd name="T34" fmla="*/ 17 w 42"/>
                <a:gd name="T35" fmla="*/ 32 h 42"/>
                <a:gd name="T36" fmla="*/ 16 w 42"/>
                <a:gd name="T37" fmla="*/ 33 h 42"/>
                <a:gd name="T38" fmla="*/ 13 w 42"/>
                <a:gd name="T39" fmla="*/ 33 h 42"/>
                <a:gd name="T40" fmla="*/ 12 w 42"/>
                <a:gd name="T41" fmla="*/ 32 h 42"/>
                <a:gd name="T42" fmla="*/ 12 w 42"/>
                <a:gd name="T43" fmla="*/ 10 h 42"/>
                <a:gd name="T44" fmla="*/ 14 w 42"/>
                <a:gd name="T45" fmla="*/ 7 h 42"/>
                <a:gd name="T46" fmla="*/ 20 w 42"/>
                <a:gd name="T47" fmla="*/ 7 h 42"/>
                <a:gd name="T48" fmla="*/ 30 w 42"/>
                <a:gd name="T49" fmla="*/ 15 h 42"/>
                <a:gd name="T50" fmla="*/ 30 w 42"/>
                <a:gd name="T51" fmla="*/ 16 h 42"/>
                <a:gd name="T52" fmla="*/ 26 w 42"/>
                <a:gd name="T53" fmla="*/ 22 h 42"/>
                <a:gd name="T54" fmla="*/ 31 w 42"/>
                <a:gd name="T55" fmla="*/ 32 h 42"/>
                <a:gd name="T56" fmla="*/ 31 w 42"/>
                <a:gd name="T57" fmla="*/ 33 h 42"/>
                <a:gd name="T58" fmla="*/ 30 w 42"/>
                <a:gd name="T59" fmla="*/ 33 h 42"/>
                <a:gd name="T60" fmla="*/ 25 w 42"/>
                <a:gd name="T61" fmla="*/ 15 h 42"/>
                <a:gd name="T62" fmla="*/ 20 w 42"/>
                <a:gd name="T63" fmla="*/ 12 h 42"/>
                <a:gd name="T64" fmla="*/ 18 w 42"/>
                <a:gd name="T65" fmla="*/ 12 h 42"/>
                <a:gd name="T66" fmla="*/ 17 w 42"/>
                <a:gd name="T67" fmla="*/ 12 h 42"/>
                <a:gd name="T68" fmla="*/ 17 w 42"/>
                <a:gd name="T69" fmla="*/ 19 h 42"/>
                <a:gd name="T70" fmla="*/ 20 w 42"/>
                <a:gd name="T71" fmla="*/ 19 h 42"/>
                <a:gd name="T72" fmla="*/ 25 w 42"/>
                <a:gd name="T73" fmla="*/ 16 h 42"/>
                <a:gd name="T74" fmla="*/ 25 w 42"/>
                <a:gd name="T75" fmla="*/ 15 h 42"/>
                <a:gd name="T76" fmla="*/ 25 w 42"/>
                <a:gd name="T7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42">
                  <a:moveTo>
                    <a:pt x="21" y="42"/>
                  </a:moveTo>
                  <a:cubicBezTo>
                    <a:pt x="9" y="42"/>
                    <a:pt x="0" y="32"/>
                    <a:pt x="0" y="21"/>
                  </a:cubicBezTo>
                  <a:cubicBezTo>
                    <a:pt x="0" y="9"/>
                    <a:pt x="9" y="0"/>
                    <a:pt x="21" y="0"/>
                  </a:cubicBezTo>
                  <a:cubicBezTo>
                    <a:pt x="33" y="0"/>
                    <a:pt x="42" y="9"/>
                    <a:pt x="42" y="21"/>
                  </a:cubicBezTo>
                  <a:cubicBezTo>
                    <a:pt x="42" y="32"/>
                    <a:pt x="33" y="42"/>
                    <a:pt x="21" y="42"/>
                  </a:cubicBezTo>
                  <a:moveTo>
                    <a:pt x="21" y="3"/>
                  </a:moveTo>
                  <a:cubicBezTo>
                    <a:pt x="11" y="3"/>
                    <a:pt x="4" y="11"/>
                    <a:pt x="4" y="21"/>
                  </a:cubicBezTo>
                  <a:cubicBezTo>
                    <a:pt x="4" y="30"/>
                    <a:pt x="11" y="38"/>
                    <a:pt x="21" y="38"/>
                  </a:cubicBezTo>
                  <a:cubicBezTo>
                    <a:pt x="31" y="38"/>
                    <a:pt x="39" y="30"/>
                    <a:pt x="39" y="21"/>
                  </a:cubicBezTo>
                  <a:cubicBezTo>
                    <a:pt x="39" y="11"/>
                    <a:pt x="31" y="3"/>
                    <a:pt x="21" y="3"/>
                  </a:cubicBezTo>
                  <a:moveTo>
                    <a:pt x="30" y="33"/>
                  </a:moveTo>
                  <a:lnTo>
                    <a:pt x="26" y="33"/>
                  </a:lnTo>
                  <a:cubicBezTo>
                    <a:pt x="26" y="33"/>
                    <a:pt x="26" y="33"/>
                    <a:pt x="26" y="33"/>
                  </a:cubicBezTo>
                  <a:lnTo>
                    <a:pt x="20" y="24"/>
                  </a:lnTo>
                  <a:cubicBezTo>
                    <a:pt x="20" y="24"/>
                    <a:pt x="20" y="23"/>
                    <a:pt x="20" y="23"/>
                  </a:cubicBezTo>
                  <a:lnTo>
                    <a:pt x="18" y="23"/>
                  </a:lnTo>
                  <a:lnTo>
                    <a:pt x="17" y="23"/>
                  </a:lnTo>
                  <a:lnTo>
                    <a:pt x="17" y="32"/>
                  </a:lnTo>
                  <a:cubicBezTo>
                    <a:pt x="17" y="33"/>
                    <a:pt x="17" y="33"/>
                    <a:pt x="16" y="33"/>
                  </a:cubicBezTo>
                  <a:lnTo>
                    <a:pt x="13" y="33"/>
                  </a:lnTo>
                  <a:cubicBezTo>
                    <a:pt x="12" y="33"/>
                    <a:pt x="12" y="33"/>
                    <a:pt x="12" y="32"/>
                  </a:cubicBezTo>
                  <a:lnTo>
                    <a:pt x="12" y="10"/>
                  </a:lnTo>
                  <a:cubicBezTo>
                    <a:pt x="12" y="8"/>
                    <a:pt x="12" y="8"/>
                    <a:pt x="14" y="7"/>
                  </a:cubicBezTo>
                  <a:cubicBezTo>
                    <a:pt x="15" y="7"/>
                    <a:pt x="18" y="7"/>
                    <a:pt x="20" y="7"/>
                  </a:cubicBezTo>
                  <a:cubicBezTo>
                    <a:pt x="27" y="7"/>
                    <a:pt x="30" y="9"/>
                    <a:pt x="30" y="15"/>
                  </a:cubicBezTo>
                  <a:lnTo>
                    <a:pt x="30" y="16"/>
                  </a:lnTo>
                  <a:cubicBezTo>
                    <a:pt x="30" y="19"/>
                    <a:pt x="29" y="22"/>
                    <a:pt x="26" y="22"/>
                  </a:cubicBezTo>
                  <a:lnTo>
                    <a:pt x="31" y="32"/>
                  </a:lnTo>
                  <a:cubicBezTo>
                    <a:pt x="31" y="32"/>
                    <a:pt x="31" y="32"/>
                    <a:pt x="31" y="33"/>
                  </a:cubicBezTo>
                  <a:cubicBezTo>
                    <a:pt x="31" y="33"/>
                    <a:pt x="31" y="33"/>
                    <a:pt x="30" y="33"/>
                  </a:cubicBezTo>
                  <a:moveTo>
                    <a:pt x="25" y="15"/>
                  </a:moveTo>
                  <a:cubicBezTo>
                    <a:pt x="25" y="13"/>
                    <a:pt x="24" y="12"/>
                    <a:pt x="20" y="12"/>
                  </a:cubicBezTo>
                  <a:lnTo>
                    <a:pt x="18" y="12"/>
                  </a:lnTo>
                  <a:lnTo>
                    <a:pt x="17" y="12"/>
                  </a:lnTo>
                  <a:lnTo>
                    <a:pt x="17" y="19"/>
                  </a:lnTo>
                  <a:cubicBezTo>
                    <a:pt x="17" y="19"/>
                    <a:pt x="20" y="19"/>
                    <a:pt x="20" y="19"/>
                  </a:cubicBezTo>
                  <a:cubicBezTo>
                    <a:pt x="24" y="19"/>
                    <a:pt x="25" y="18"/>
                    <a:pt x="25" y="16"/>
                  </a:cubicBezTo>
                  <a:lnTo>
                    <a:pt x="25" y="15"/>
                  </a:lnTo>
                  <a:lnTo>
                    <a:pt x="25" y="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Freeform 1968"/>
            <p:cNvSpPr>
              <a:spLocks/>
            </p:cNvSpPr>
            <p:nvPr/>
          </p:nvSpPr>
          <p:spPr bwMode="auto">
            <a:xfrm>
              <a:off x="4534" y="1907"/>
              <a:ext cx="52" cy="86"/>
            </a:xfrm>
            <a:custGeom>
              <a:avLst/>
              <a:gdLst>
                <a:gd name="T0" fmla="*/ 125 w 228"/>
                <a:gd name="T1" fmla="*/ 21 h 377"/>
                <a:gd name="T2" fmla="*/ 51 w 228"/>
                <a:gd name="T3" fmla="*/ 52 h 377"/>
                <a:gd name="T4" fmla="*/ 22 w 228"/>
                <a:gd name="T5" fmla="*/ 158 h 377"/>
                <a:gd name="T6" fmla="*/ 22 w 228"/>
                <a:gd name="T7" fmla="*/ 220 h 377"/>
                <a:gd name="T8" fmla="*/ 49 w 228"/>
                <a:gd name="T9" fmla="*/ 322 h 377"/>
                <a:gd name="T10" fmla="*/ 125 w 228"/>
                <a:gd name="T11" fmla="*/ 356 h 377"/>
                <a:gd name="T12" fmla="*/ 171 w 228"/>
                <a:gd name="T13" fmla="*/ 354 h 377"/>
                <a:gd name="T14" fmla="*/ 201 w 228"/>
                <a:gd name="T15" fmla="*/ 352 h 377"/>
                <a:gd name="T16" fmla="*/ 201 w 228"/>
                <a:gd name="T17" fmla="*/ 193 h 377"/>
                <a:gd name="T18" fmla="*/ 210 w 228"/>
                <a:gd name="T19" fmla="*/ 183 h 377"/>
                <a:gd name="T20" fmla="*/ 215 w 228"/>
                <a:gd name="T21" fmla="*/ 183 h 377"/>
                <a:gd name="T22" fmla="*/ 223 w 228"/>
                <a:gd name="T23" fmla="*/ 193 h 377"/>
                <a:gd name="T24" fmla="*/ 223 w 228"/>
                <a:gd name="T25" fmla="*/ 361 h 377"/>
                <a:gd name="T26" fmla="*/ 221 w 228"/>
                <a:gd name="T27" fmla="*/ 368 h 377"/>
                <a:gd name="T28" fmla="*/ 215 w 228"/>
                <a:gd name="T29" fmla="*/ 371 h 377"/>
                <a:gd name="T30" fmla="*/ 171 w 228"/>
                <a:gd name="T31" fmla="*/ 375 h 377"/>
                <a:gd name="T32" fmla="*/ 125 w 228"/>
                <a:gd name="T33" fmla="*/ 377 h 377"/>
                <a:gd name="T34" fmla="*/ 60 w 228"/>
                <a:gd name="T35" fmla="*/ 360 h 377"/>
                <a:gd name="T36" fmla="*/ 16 w 228"/>
                <a:gd name="T37" fmla="*/ 308 h 377"/>
                <a:gd name="T38" fmla="*/ 0 w 228"/>
                <a:gd name="T39" fmla="*/ 220 h 377"/>
                <a:gd name="T40" fmla="*/ 0 w 228"/>
                <a:gd name="T41" fmla="*/ 158 h 377"/>
                <a:gd name="T42" fmla="*/ 18 w 228"/>
                <a:gd name="T43" fmla="*/ 64 h 377"/>
                <a:gd name="T44" fmla="*/ 64 w 228"/>
                <a:gd name="T45" fmla="*/ 14 h 377"/>
                <a:gd name="T46" fmla="*/ 125 w 228"/>
                <a:gd name="T47" fmla="*/ 0 h 377"/>
                <a:gd name="T48" fmla="*/ 180 w 228"/>
                <a:gd name="T49" fmla="*/ 7 h 377"/>
                <a:gd name="T50" fmla="*/ 219 w 228"/>
                <a:gd name="T51" fmla="*/ 20 h 377"/>
                <a:gd name="T52" fmla="*/ 226 w 228"/>
                <a:gd name="T53" fmla="*/ 24 h 377"/>
                <a:gd name="T54" fmla="*/ 228 w 228"/>
                <a:gd name="T55" fmla="*/ 30 h 377"/>
                <a:gd name="T56" fmla="*/ 228 w 228"/>
                <a:gd name="T57" fmla="*/ 35 h 377"/>
                <a:gd name="T58" fmla="*/ 226 w 228"/>
                <a:gd name="T59" fmla="*/ 41 h 377"/>
                <a:gd name="T60" fmla="*/ 219 w 228"/>
                <a:gd name="T61" fmla="*/ 41 h 377"/>
                <a:gd name="T62" fmla="*/ 174 w 228"/>
                <a:gd name="T63" fmla="*/ 27 h 377"/>
                <a:gd name="T64" fmla="*/ 125 w 228"/>
                <a:gd name="T65" fmla="*/ 2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377">
                  <a:moveTo>
                    <a:pt x="125" y="21"/>
                  </a:moveTo>
                  <a:cubicBezTo>
                    <a:pt x="96" y="21"/>
                    <a:pt x="71" y="31"/>
                    <a:pt x="51" y="52"/>
                  </a:cubicBezTo>
                  <a:cubicBezTo>
                    <a:pt x="31" y="73"/>
                    <a:pt x="22" y="108"/>
                    <a:pt x="22" y="158"/>
                  </a:cubicBezTo>
                  <a:lnTo>
                    <a:pt x="22" y="220"/>
                  </a:lnTo>
                  <a:cubicBezTo>
                    <a:pt x="22" y="265"/>
                    <a:pt x="31" y="300"/>
                    <a:pt x="49" y="322"/>
                  </a:cubicBezTo>
                  <a:cubicBezTo>
                    <a:pt x="67" y="345"/>
                    <a:pt x="92" y="356"/>
                    <a:pt x="125" y="356"/>
                  </a:cubicBezTo>
                  <a:cubicBezTo>
                    <a:pt x="142" y="356"/>
                    <a:pt x="157" y="355"/>
                    <a:pt x="171" y="354"/>
                  </a:cubicBezTo>
                  <a:cubicBezTo>
                    <a:pt x="184" y="353"/>
                    <a:pt x="194" y="352"/>
                    <a:pt x="201" y="352"/>
                  </a:cubicBezTo>
                  <a:lnTo>
                    <a:pt x="201" y="193"/>
                  </a:lnTo>
                  <a:cubicBezTo>
                    <a:pt x="201" y="186"/>
                    <a:pt x="204" y="183"/>
                    <a:pt x="210" y="183"/>
                  </a:cubicBezTo>
                  <a:lnTo>
                    <a:pt x="215" y="183"/>
                  </a:lnTo>
                  <a:cubicBezTo>
                    <a:pt x="220" y="183"/>
                    <a:pt x="223" y="186"/>
                    <a:pt x="223" y="193"/>
                  </a:cubicBezTo>
                  <a:lnTo>
                    <a:pt x="223" y="361"/>
                  </a:lnTo>
                  <a:cubicBezTo>
                    <a:pt x="223" y="364"/>
                    <a:pt x="222" y="366"/>
                    <a:pt x="221" y="368"/>
                  </a:cubicBezTo>
                  <a:cubicBezTo>
                    <a:pt x="219" y="369"/>
                    <a:pt x="217" y="370"/>
                    <a:pt x="215" y="371"/>
                  </a:cubicBezTo>
                  <a:cubicBezTo>
                    <a:pt x="198" y="373"/>
                    <a:pt x="184" y="374"/>
                    <a:pt x="171" y="375"/>
                  </a:cubicBezTo>
                  <a:cubicBezTo>
                    <a:pt x="158" y="377"/>
                    <a:pt x="143" y="377"/>
                    <a:pt x="125" y="377"/>
                  </a:cubicBezTo>
                  <a:cubicBezTo>
                    <a:pt x="101" y="377"/>
                    <a:pt x="79" y="372"/>
                    <a:pt x="60" y="360"/>
                  </a:cubicBezTo>
                  <a:cubicBezTo>
                    <a:pt x="42" y="349"/>
                    <a:pt x="27" y="332"/>
                    <a:pt x="16" y="308"/>
                  </a:cubicBezTo>
                  <a:cubicBezTo>
                    <a:pt x="5" y="284"/>
                    <a:pt x="0" y="255"/>
                    <a:pt x="0" y="220"/>
                  </a:cubicBezTo>
                  <a:lnTo>
                    <a:pt x="0" y="158"/>
                  </a:lnTo>
                  <a:cubicBezTo>
                    <a:pt x="0" y="119"/>
                    <a:pt x="6" y="87"/>
                    <a:pt x="18" y="64"/>
                  </a:cubicBezTo>
                  <a:cubicBezTo>
                    <a:pt x="30" y="40"/>
                    <a:pt x="45" y="24"/>
                    <a:pt x="64" y="14"/>
                  </a:cubicBezTo>
                  <a:cubicBezTo>
                    <a:pt x="83" y="5"/>
                    <a:pt x="103" y="0"/>
                    <a:pt x="125" y="0"/>
                  </a:cubicBezTo>
                  <a:cubicBezTo>
                    <a:pt x="143" y="0"/>
                    <a:pt x="161" y="3"/>
                    <a:pt x="180" y="7"/>
                  </a:cubicBezTo>
                  <a:cubicBezTo>
                    <a:pt x="198" y="12"/>
                    <a:pt x="211" y="16"/>
                    <a:pt x="219" y="20"/>
                  </a:cubicBezTo>
                  <a:cubicBezTo>
                    <a:pt x="222" y="22"/>
                    <a:pt x="224" y="23"/>
                    <a:pt x="226" y="24"/>
                  </a:cubicBezTo>
                  <a:cubicBezTo>
                    <a:pt x="228" y="26"/>
                    <a:pt x="228" y="28"/>
                    <a:pt x="228" y="30"/>
                  </a:cubicBezTo>
                  <a:lnTo>
                    <a:pt x="228" y="35"/>
                  </a:lnTo>
                  <a:cubicBezTo>
                    <a:pt x="228" y="38"/>
                    <a:pt x="228" y="40"/>
                    <a:pt x="226" y="41"/>
                  </a:cubicBezTo>
                  <a:cubicBezTo>
                    <a:pt x="225" y="42"/>
                    <a:pt x="222" y="42"/>
                    <a:pt x="219" y="41"/>
                  </a:cubicBezTo>
                  <a:cubicBezTo>
                    <a:pt x="204" y="35"/>
                    <a:pt x="189" y="30"/>
                    <a:pt x="174" y="27"/>
                  </a:cubicBezTo>
                  <a:cubicBezTo>
                    <a:pt x="159" y="23"/>
                    <a:pt x="142" y="21"/>
                    <a:pt x="125" y="21"/>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969"/>
            <p:cNvSpPr>
              <a:spLocks noEditPoints="1"/>
            </p:cNvSpPr>
            <p:nvPr/>
          </p:nvSpPr>
          <p:spPr bwMode="auto">
            <a:xfrm>
              <a:off x="4598" y="1930"/>
              <a:ext cx="41" cy="63"/>
            </a:xfrm>
            <a:custGeom>
              <a:avLst/>
              <a:gdLst>
                <a:gd name="T0" fmla="*/ 92 w 183"/>
                <a:gd name="T1" fmla="*/ 19 h 274"/>
                <a:gd name="T2" fmla="*/ 58 w 183"/>
                <a:gd name="T3" fmla="*/ 23 h 274"/>
                <a:gd name="T4" fmla="*/ 27 w 183"/>
                <a:gd name="T5" fmla="*/ 32 h 274"/>
                <a:gd name="T6" fmla="*/ 16 w 183"/>
                <a:gd name="T7" fmla="*/ 27 h 274"/>
                <a:gd name="T8" fmla="*/ 16 w 183"/>
                <a:gd name="T9" fmla="*/ 24 h 274"/>
                <a:gd name="T10" fmla="*/ 25 w 183"/>
                <a:gd name="T11" fmla="*/ 13 h 274"/>
                <a:gd name="T12" fmla="*/ 56 w 183"/>
                <a:gd name="T13" fmla="*/ 4 h 274"/>
                <a:gd name="T14" fmla="*/ 93 w 183"/>
                <a:gd name="T15" fmla="*/ 0 h 274"/>
                <a:gd name="T16" fmla="*/ 146 w 183"/>
                <a:gd name="T17" fmla="*/ 10 h 274"/>
                <a:gd name="T18" fmla="*/ 174 w 183"/>
                <a:gd name="T19" fmla="*/ 40 h 274"/>
                <a:gd name="T20" fmla="*/ 183 w 183"/>
                <a:gd name="T21" fmla="*/ 92 h 274"/>
                <a:gd name="T22" fmla="*/ 183 w 183"/>
                <a:gd name="T23" fmla="*/ 253 h 274"/>
                <a:gd name="T24" fmla="*/ 182 w 183"/>
                <a:gd name="T25" fmla="*/ 260 h 274"/>
                <a:gd name="T26" fmla="*/ 176 w 183"/>
                <a:gd name="T27" fmla="*/ 264 h 274"/>
                <a:gd name="T28" fmla="*/ 101 w 183"/>
                <a:gd name="T29" fmla="*/ 274 h 274"/>
                <a:gd name="T30" fmla="*/ 41 w 183"/>
                <a:gd name="T31" fmla="*/ 266 h 274"/>
                <a:gd name="T32" fmla="*/ 9 w 183"/>
                <a:gd name="T33" fmla="*/ 240 h 274"/>
                <a:gd name="T34" fmla="*/ 0 w 183"/>
                <a:gd name="T35" fmla="*/ 194 h 274"/>
                <a:gd name="T36" fmla="*/ 0 w 183"/>
                <a:gd name="T37" fmla="*/ 187 h 274"/>
                <a:gd name="T38" fmla="*/ 28 w 183"/>
                <a:gd name="T39" fmla="*/ 129 h 274"/>
                <a:gd name="T40" fmla="*/ 123 w 183"/>
                <a:gd name="T41" fmla="*/ 111 h 274"/>
                <a:gd name="T42" fmla="*/ 161 w 183"/>
                <a:gd name="T43" fmla="*/ 111 h 274"/>
                <a:gd name="T44" fmla="*/ 161 w 183"/>
                <a:gd name="T45" fmla="*/ 92 h 274"/>
                <a:gd name="T46" fmla="*/ 154 w 183"/>
                <a:gd name="T47" fmla="*/ 47 h 274"/>
                <a:gd name="T48" fmla="*/ 132 w 183"/>
                <a:gd name="T49" fmla="*/ 25 h 274"/>
                <a:gd name="T50" fmla="*/ 92 w 183"/>
                <a:gd name="T51" fmla="*/ 19 h 274"/>
                <a:gd name="T52" fmla="*/ 161 w 183"/>
                <a:gd name="T53" fmla="*/ 249 h 274"/>
                <a:gd name="T54" fmla="*/ 161 w 183"/>
                <a:gd name="T55" fmla="*/ 130 h 274"/>
                <a:gd name="T56" fmla="*/ 123 w 183"/>
                <a:gd name="T57" fmla="*/ 130 h 274"/>
                <a:gd name="T58" fmla="*/ 44 w 183"/>
                <a:gd name="T59" fmla="*/ 143 h 274"/>
                <a:gd name="T60" fmla="*/ 22 w 183"/>
                <a:gd name="T61" fmla="*/ 187 h 274"/>
                <a:gd name="T62" fmla="*/ 22 w 183"/>
                <a:gd name="T63" fmla="*/ 194 h 274"/>
                <a:gd name="T64" fmla="*/ 29 w 183"/>
                <a:gd name="T65" fmla="*/ 228 h 274"/>
                <a:gd name="T66" fmla="*/ 52 w 183"/>
                <a:gd name="T67" fmla="*/ 248 h 274"/>
                <a:gd name="T68" fmla="*/ 101 w 183"/>
                <a:gd name="T69" fmla="*/ 255 h 274"/>
                <a:gd name="T70" fmla="*/ 134 w 183"/>
                <a:gd name="T71" fmla="*/ 253 h 274"/>
                <a:gd name="T72" fmla="*/ 161 w 183"/>
                <a:gd name="T73" fmla="*/ 2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274">
                  <a:moveTo>
                    <a:pt x="92" y="19"/>
                  </a:moveTo>
                  <a:cubicBezTo>
                    <a:pt x="81" y="19"/>
                    <a:pt x="69" y="21"/>
                    <a:pt x="58" y="23"/>
                  </a:cubicBezTo>
                  <a:cubicBezTo>
                    <a:pt x="46" y="26"/>
                    <a:pt x="36" y="29"/>
                    <a:pt x="27" y="32"/>
                  </a:cubicBezTo>
                  <a:cubicBezTo>
                    <a:pt x="20" y="35"/>
                    <a:pt x="16" y="33"/>
                    <a:pt x="16" y="27"/>
                  </a:cubicBezTo>
                  <a:lnTo>
                    <a:pt x="16" y="24"/>
                  </a:lnTo>
                  <a:cubicBezTo>
                    <a:pt x="16" y="19"/>
                    <a:pt x="19" y="15"/>
                    <a:pt x="25" y="13"/>
                  </a:cubicBezTo>
                  <a:cubicBezTo>
                    <a:pt x="34" y="10"/>
                    <a:pt x="44" y="7"/>
                    <a:pt x="56" y="4"/>
                  </a:cubicBezTo>
                  <a:cubicBezTo>
                    <a:pt x="68" y="2"/>
                    <a:pt x="80" y="0"/>
                    <a:pt x="93" y="0"/>
                  </a:cubicBezTo>
                  <a:cubicBezTo>
                    <a:pt x="115" y="0"/>
                    <a:pt x="132" y="3"/>
                    <a:pt x="146" y="10"/>
                  </a:cubicBezTo>
                  <a:cubicBezTo>
                    <a:pt x="159" y="16"/>
                    <a:pt x="169" y="26"/>
                    <a:pt x="174" y="40"/>
                  </a:cubicBezTo>
                  <a:cubicBezTo>
                    <a:pt x="180" y="53"/>
                    <a:pt x="183" y="71"/>
                    <a:pt x="183" y="92"/>
                  </a:cubicBezTo>
                  <a:lnTo>
                    <a:pt x="183" y="253"/>
                  </a:lnTo>
                  <a:cubicBezTo>
                    <a:pt x="183" y="256"/>
                    <a:pt x="183" y="259"/>
                    <a:pt x="182" y="260"/>
                  </a:cubicBezTo>
                  <a:cubicBezTo>
                    <a:pt x="181" y="262"/>
                    <a:pt x="179" y="263"/>
                    <a:pt x="176" y="264"/>
                  </a:cubicBezTo>
                  <a:cubicBezTo>
                    <a:pt x="150" y="271"/>
                    <a:pt x="125" y="274"/>
                    <a:pt x="101" y="274"/>
                  </a:cubicBezTo>
                  <a:cubicBezTo>
                    <a:pt x="76" y="274"/>
                    <a:pt x="56" y="271"/>
                    <a:pt x="41" y="266"/>
                  </a:cubicBezTo>
                  <a:cubicBezTo>
                    <a:pt x="26" y="260"/>
                    <a:pt x="15" y="251"/>
                    <a:pt x="9" y="240"/>
                  </a:cubicBezTo>
                  <a:cubicBezTo>
                    <a:pt x="3" y="228"/>
                    <a:pt x="0" y="213"/>
                    <a:pt x="0" y="194"/>
                  </a:cubicBezTo>
                  <a:lnTo>
                    <a:pt x="0" y="187"/>
                  </a:lnTo>
                  <a:cubicBezTo>
                    <a:pt x="0" y="161"/>
                    <a:pt x="9" y="141"/>
                    <a:pt x="28" y="129"/>
                  </a:cubicBezTo>
                  <a:cubicBezTo>
                    <a:pt x="47" y="117"/>
                    <a:pt x="78" y="111"/>
                    <a:pt x="123" y="111"/>
                  </a:cubicBezTo>
                  <a:lnTo>
                    <a:pt x="161" y="111"/>
                  </a:lnTo>
                  <a:lnTo>
                    <a:pt x="161" y="92"/>
                  </a:lnTo>
                  <a:cubicBezTo>
                    <a:pt x="161" y="73"/>
                    <a:pt x="159" y="58"/>
                    <a:pt x="154" y="47"/>
                  </a:cubicBezTo>
                  <a:cubicBezTo>
                    <a:pt x="149" y="36"/>
                    <a:pt x="142" y="29"/>
                    <a:pt x="132" y="25"/>
                  </a:cubicBezTo>
                  <a:cubicBezTo>
                    <a:pt x="122" y="21"/>
                    <a:pt x="109" y="19"/>
                    <a:pt x="92" y="19"/>
                  </a:cubicBezTo>
                  <a:moveTo>
                    <a:pt x="161" y="249"/>
                  </a:moveTo>
                  <a:lnTo>
                    <a:pt x="161" y="130"/>
                  </a:lnTo>
                  <a:lnTo>
                    <a:pt x="123" y="130"/>
                  </a:lnTo>
                  <a:cubicBezTo>
                    <a:pt x="85" y="130"/>
                    <a:pt x="59" y="134"/>
                    <a:pt x="44" y="143"/>
                  </a:cubicBezTo>
                  <a:cubicBezTo>
                    <a:pt x="30" y="151"/>
                    <a:pt x="22" y="166"/>
                    <a:pt x="22" y="187"/>
                  </a:cubicBezTo>
                  <a:lnTo>
                    <a:pt x="22" y="194"/>
                  </a:lnTo>
                  <a:cubicBezTo>
                    <a:pt x="22" y="208"/>
                    <a:pt x="24" y="220"/>
                    <a:pt x="29" y="228"/>
                  </a:cubicBezTo>
                  <a:cubicBezTo>
                    <a:pt x="33" y="237"/>
                    <a:pt x="40" y="243"/>
                    <a:pt x="52" y="248"/>
                  </a:cubicBezTo>
                  <a:cubicBezTo>
                    <a:pt x="63" y="252"/>
                    <a:pt x="79" y="255"/>
                    <a:pt x="101" y="255"/>
                  </a:cubicBezTo>
                  <a:cubicBezTo>
                    <a:pt x="112" y="255"/>
                    <a:pt x="123" y="254"/>
                    <a:pt x="134" y="253"/>
                  </a:cubicBezTo>
                  <a:cubicBezTo>
                    <a:pt x="146" y="251"/>
                    <a:pt x="155" y="250"/>
                    <a:pt x="161"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970"/>
            <p:cNvSpPr>
              <a:spLocks/>
            </p:cNvSpPr>
            <p:nvPr/>
          </p:nvSpPr>
          <p:spPr bwMode="auto">
            <a:xfrm>
              <a:off x="4654"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7" y="371"/>
                    <a:pt x="5" y="370"/>
                    <a:pt x="3" y="368"/>
                  </a:cubicBezTo>
                  <a:cubicBezTo>
                    <a:pt x="1" y="366"/>
                    <a:pt x="0" y="364"/>
                    <a:pt x="0" y="362"/>
                  </a:cubicBezTo>
                  <a:lnTo>
                    <a:pt x="0" y="9"/>
                  </a:lnTo>
                  <a:cubicBezTo>
                    <a:pt x="0" y="7"/>
                    <a:pt x="1" y="4"/>
                    <a:pt x="3" y="2"/>
                  </a:cubicBezTo>
                  <a:cubicBezTo>
                    <a:pt x="5" y="0"/>
                    <a:pt x="7"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971"/>
            <p:cNvSpPr>
              <a:spLocks noEditPoints="1"/>
            </p:cNvSpPr>
            <p:nvPr/>
          </p:nvSpPr>
          <p:spPr bwMode="auto">
            <a:xfrm>
              <a:off x="4675" y="1907"/>
              <a:ext cx="5" cy="85"/>
            </a:xfrm>
            <a:custGeom>
              <a:avLst/>
              <a:gdLst>
                <a:gd name="T0" fmla="*/ 22 w 22"/>
                <a:gd name="T1" fmla="*/ 47 h 374"/>
                <a:gd name="T2" fmla="*/ 20 w 22"/>
                <a:gd name="T3" fmla="*/ 53 h 374"/>
                <a:gd name="T4" fmla="*/ 13 w 22"/>
                <a:gd name="T5" fmla="*/ 56 h 374"/>
                <a:gd name="T6" fmla="*/ 10 w 22"/>
                <a:gd name="T7" fmla="*/ 56 h 374"/>
                <a:gd name="T8" fmla="*/ 3 w 22"/>
                <a:gd name="T9" fmla="*/ 53 h 374"/>
                <a:gd name="T10" fmla="*/ 0 w 22"/>
                <a:gd name="T11" fmla="*/ 47 h 374"/>
                <a:gd name="T12" fmla="*/ 0 w 22"/>
                <a:gd name="T13" fmla="*/ 10 h 374"/>
                <a:gd name="T14" fmla="*/ 3 w 22"/>
                <a:gd name="T15" fmla="*/ 3 h 374"/>
                <a:gd name="T16" fmla="*/ 10 w 22"/>
                <a:gd name="T17" fmla="*/ 0 h 374"/>
                <a:gd name="T18" fmla="*/ 13 w 22"/>
                <a:gd name="T19" fmla="*/ 0 h 374"/>
                <a:gd name="T20" fmla="*/ 20 w 22"/>
                <a:gd name="T21" fmla="*/ 3 h 374"/>
                <a:gd name="T22" fmla="*/ 22 w 22"/>
                <a:gd name="T23" fmla="*/ 10 h 374"/>
                <a:gd name="T24" fmla="*/ 22 w 22"/>
                <a:gd name="T25" fmla="*/ 47 h 374"/>
                <a:gd name="T26" fmla="*/ 22 w 22"/>
                <a:gd name="T27" fmla="*/ 47 h 374"/>
                <a:gd name="T28" fmla="*/ 22 w 22"/>
                <a:gd name="T29" fmla="*/ 47 h 374"/>
                <a:gd name="T30" fmla="*/ 22 w 22"/>
                <a:gd name="T31" fmla="*/ 365 h 374"/>
                <a:gd name="T32" fmla="*/ 20 w 22"/>
                <a:gd name="T33" fmla="*/ 371 h 374"/>
                <a:gd name="T34" fmla="*/ 13 w 22"/>
                <a:gd name="T35" fmla="*/ 374 h 374"/>
                <a:gd name="T36" fmla="*/ 10 w 22"/>
                <a:gd name="T37" fmla="*/ 374 h 374"/>
                <a:gd name="T38" fmla="*/ 3 w 22"/>
                <a:gd name="T39" fmla="*/ 371 h 374"/>
                <a:gd name="T40" fmla="*/ 0 w 22"/>
                <a:gd name="T41" fmla="*/ 365 h 374"/>
                <a:gd name="T42" fmla="*/ 0 w 22"/>
                <a:gd name="T43" fmla="*/ 115 h 374"/>
                <a:gd name="T44" fmla="*/ 3 w 22"/>
                <a:gd name="T45" fmla="*/ 108 h 374"/>
                <a:gd name="T46" fmla="*/ 10 w 22"/>
                <a:gd name="T47" fmla="*/ 106 h 374"/>
                <a:gd name="T48" fmla="*/ 13 w 22"/>
                <a:gd name="T49" fmla="*/ 106 h 374"/>
                <a:gd name="T50" fmla="*/ 20 w 22"/>
                <a:gd name="T51" fmla="*/ 108 h 374"/>
                <a:gd name="T52" fmla="*/ 22 w 22"/>
                <a:gd name="T53" fmla="*/ 115 h 374"/>
                <a:gd name="T54" fmla="*/ 22 w 22"/>
                <a:gd name="T55" fmla="*/ 36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74">
                  <a:moveTo>
                    <a:pt x="22" y="47"/>
                  </a:moveTo>
                  <a:cubicBezTo>
                    <a:pt x="22" y="49"/>
                    <a:pt x="21" y="52"/>
                    <a:pt x="20" y="53"/>
                  </a:cubicBezTo>
                  <a:cubicBezTo>
                    <a:pt x="18" y="55"/>
                    <a:pt x="16" y="56"/>
                    <a:pt x="13" y="56"/>
                  </a:cubicBezTo>
                  <a:lnTo>
                    <a:pt x="10" y="56"/>
                  </a:lnTo>
                  <a:cubicBezTo>
                    <a:pt x="7" y="56"/>
                    <a:pt x="5" y="55"/>
                    <a:pt x="3" y="53"/>
                  </a:cubicBezTo>
                  <a:cubicBezTo>
                    <a:pt x="1" y="51"/>
                    <a:pt x="0" y="49"/>
                    <a:pt x="0" y="47"/>
                  </a:cubicBezTo>
                  <a:lnTo>
                    <a:pt x="0" y="10"/>
                  </a:lnTo>
                  <a:cubicBezTo>
                    <a:pt x="0" y="7"/>
                    <a:pt x="1" y="5"/>
                    <a:pt x="3" y="3"/>
                  </a:cubicBezTo>
                  <a:cubicBezTo>
                    <a:pt x="5" y="1"/>
                    <a:pt x="7" y="0"/>
                    <a:pt x="10" y="0"/>
                  </a:cubicBezTo>
                  <a:lnTo>
                    <a:pt x="13" y="0"/>
                  </a:lnTo>
                  <a:cubicBezTo>
                    <a:pt x="16" y="0"/>
                    <a:pt x="18" y="1"/>
                    <a:pt x="20" y="3"/>
                  </a:cubicBezTo>
                  <a:cubicBezTo>
                    <a:pt x="22" y="5"/>
                    <a:pt x="22" y="7"/>
                    <a:pt x="22" y="10"/>
                  </a:cubicBezTo>
                  <a:lnTo>
                    <a:pt x="22" y="47"/>
                  </a:lnTo>
                  <a:lnTo>
                    <a:pt x="22" y="47"/>
                  </a:lnTo>
                  <a:lnTo>
                    <a:pt x="22" y="47"/>
                  </a:lnTo>
                  <a:close/>
                  <a:moveTo>
                    <a:pt x="22" y="365"/>
                  </a:moveTo>
                  <a:cubicBezTo>
                    <a:pt x="22" y="367"/>
                    <a:pt x="21" y="369"/>
                    <a:pt x="20" y="371"/>
                  </a:cubicBezTo>
                  <a:cubicBezTo>
                    <a:pt x="18" y="373"/>
                    <a:pt x="16" y="374"/>
                    <a:pt x="13" y="374"/>
                  </a:cubicBezTo>
                  <a:lnTo>
                    <a:pt x="10" y="374"/>
                  </a:lnTo>
                  <a:cubicBezTo>
                    <a:pt x="7" y="374"/>
                    <a:pt x="5" y="373"/>
                    <a:pt x="3" y="371"/>
                  </a:cubicBezTo>
                  <a:cubicBezTo>
                    <a:pt x="1" y="369"/>
                    <a:pt x="0" y="367"/>
                    <a:pt x="0" y="365"/>
                  </a:cubicBezTo>
                  <a:lnTo>
                    <a:pt x="0" y="115"/>
                  </a:lnTo>
                  <a:cubicBezTo>
                    <a:pt x="0" y="113"/>
                    <a:pt x="1" y="110"/>
                    <a:pt x="3" y="108"/>
                  </a:cubicBezTo>
                  <a:cubicBezTo>
                    <a:pt x="5" y="107"/>
                    <a:pt x="7" y="106"/>
                    <a:pt x="10" y="106"/>
                  </a:cubicBezTo>
                  <a:lnTo>
                    <a:pt x="13" y="106"/>
                  </a:lnTo>
                  <a:cubicBezTo>
                    <a:pt x="15" y="106"/>
                    <a:pt x="18" y="107"/>
                    <a:pt x="20" y="108"/>
                  </a:cubicBezTo>
                  <a:cubicBezTo>
                    <a:pt x="21" y="110"/>
                    <a:pt x="22" y="113"/>
                    <a:pt x="22" y="115"/>
                  </a:cubicBezTo>
                  <a:lnTo>
                    <a:pt x="22" y="3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972"/>
            <p:cNvSpPr>
              <a:spLocks/>
            </p:cNvSpPr>
            <p:nvPr/>
          </p:nvSpPr>
          <p:spPr bwMode="auto">
            <a:xfrm>
              <a:off x="4696"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6" y="371"/>
                    <a:pt x="4" y="370"/>
                    <a:pt x="3" y="368"/>
                  </a:cubicBezTo>
                  <a:cubicBezTo>
                    <a:pt x="1" y="366"/>
                    <a:pt x="0" y="364"/>
                    <a:pt x="0" y="362"/>
                  </a:cubicBezTo>
                  <a:lnTo>
                    <a:pt x="0" y="9"/>
                  </a:lnTo>
                  <a:cubicBezTo>
                    <a:pt x="0" y="7"/>
                    <a:pt x="1" y="4"/>
                    <a:pt x="3" y="2"/>
                  </a:cubicBezTo>
                  <a:cubicBezTo>
                    <a:pt x="4" y="0"/>
                    <a:pt x="6"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Freeform 1973"/>
            <p:cNvSpPr>
              <a:spLocks noEditPoints="1"/>
            </p:cNvSpPr>
            <p:nvPr/>
          </p:nvSpPr>
          <p:spPr bwMode="auto">
            <a:xfrm>
              <a:off x="4714" y="1930"/>
              <a:ext cx="45" cy="63"/>
            </a:xfrm>
            <a:custGeom>
              <a:avLst/>
              <a:gdLst>
                <a:gd name="T0" fmla="*/ 200 w 200"/>
                <a:gd name="T1" fmla="*/ 133 h 274"/>
                <a:gd name="T2" fmla="*/ 198 w 200"/>
                <a:gd name="T3" fmla="*/ 140 h 274"/>
                <a:gd name="T4" fmla="*/ 191 w 200"/>
                <a:gd name="T5" fmla="*/ 142 h 274"/>
                <a:gd name="T6" fmla="*/ 22 w 200"/>
                <a:gd name="T7" fmla="*/ 142 h 274"/>
                <a:gd name="T8" fmla="*/ 22 w 200"/>
                <a:gd name="T9" fmla="*/ 153 h 274"/>
                <a:gd name="T10" fmla="*/ 45 w 200"/>
                <a:gd name="T11" fmla="*/ 232 h 274"/>
                <a:gd name="T12" fmla="*/ 109 w 200"/>
                <a:gd name="T13" fmla="*/ 255 h 274"/>
                <a:gd name="T14" fmla="*/ 187 w 200"/>
                <a:gd name="T15" fmla="*/ 237 h 274"/>
                <a:gd name="T16" fmla="*/ 193 w 200"/>
                <a:gd name="T17" fmla="*/ 237 h 274"/>
                <a:gd name="T18" fmla="*/ 196 w 200"/>
                <a:gd name="T19" fmla="*/ 241 h 274"/>
                <a:gd name="T20" fmla="*/ 196 w 200"/>
                <a:gd name="T21" fmla="*/ 247 h 274"/>
                <a:gd name="T22" fmla="*/ 194 w 200"/>
                <a:gd name="T23" fmla="*/ 253 h 274"/>
                <a:gd name="T24" fmla="*/ 186 w 200"/>
                <a:gd name="T25" fmla="*/ 258 h 274"/>
                <a:gd name="T26" fmla="*/ 165 w 200"/>
                <a:gd name="T27" fmla="*/ 265 h 274"/>
                <a:gd name="T28" fmla="*/ 136 w 200"/>
                <a:gd name="T29" fmla="*/ 272 h 274"/>
                <a:gd name="T30" fmla="*/ 109 w 200"/>
                <a:gd name="T31" fmla="*/ 274 h 274"/>
                <a:gd name="T32" fmla="*/ 30 w 200"/>
                <a:gd name="T33" fmla="*/ 246 h 274"/>
                <a:gd name="T34" fmla="*/ 0 w 200"/>
                <a:gd name="T35" fmla="*/ 153 h 274"/>
                <a:gd name="T36" fmla="*/ 0 w 200"/>
                <a:gd name="T37" fmla="*/ 120 h 274"/>
                <a:gd name="T38" fmla="*/ 12 w 200"/>
                <a:gd name="T39" fmla="*/ 58 h 274"/>
                <a:gd name="T40" fmla="*/ 46 w 200"/>
                <a:gd name="T41" fmla="*/ 16 h 274"/>
                <a:gd name="T42" fmla="*/ 101 w 200"/>
                <a:gd name="T43" fmla="*/ 0 h 274"/>
                <a:gd name="T44" fmla="*/ 157 w 200"/>
                <a:gd name="T45" fmla="*/ 15 h 274"/>
                <a:gd name="T46" fmla="*/ 190 w 200"/>
                <a:gd name="T47" fmla="*/ 56 h 274"/>
                <a:gd name="T48" fmla="*/ 200 w 200"/>
                <a:gd name="T49" fmla="*/ 119 h 274"/>
                <a:gd name="T50" fmla="*/ 200 w 200"/>
                <a:gd name="T51" fmla="*/ 133 h 274"/>
                <a:gd name="T52" fmla="*/ 200 w 200"/>
                <a:gd name="T53" fmla="*/ 133 h 274"/>
                <a:gd name="T54" fmla="*/ 178 w 200"/>
                <a:gd name="T55" fmla="*/ 122 h 274"/>
                <a:gd name="T56" fmla="*/ 178 w 200"/>
                <a:gd name="T57" fmla="*/ 119 h 274"/>
                <a:gd name="T58" fmla="*/ 160 w 200"/>
                <a:gd name="T59" fmla="*/ 45 h 274"/>
                <a:gd name="T60" fmla="*/ 101 w 200"/>
                <a:gd name="T61" fmla="*/ 20 h 274"/>
                <a:gd name="T62" fmla="*/ 56 w 200"/>
                <a:gd name="T63" fmla="*/ 32 h 274"/>
                <a:gd name="T64" fmla="*/ 30 w 200"/>
                <a:gd name="T65" fmla="*/ 67 h 274"/>
                <a:gd name="T66" fmla="*/ 22 w 200"/>
                <a:gd name="T67" fmla="*/ 120 h 274"/>
                <a:gd name="T68" fmla="*/ 22 w 200"/>
                <a:gd name="T69" fmla="*/ 122 h 274"/>
                <a:gd name="T70" fmla="*/ 178 w 200"/>
                <a:gd name="T71" fmla="*/ 1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74">
                  <a:moveTo>
                    <a:pt x="200" y="133"/>
                  </a:moveTo>
                  <a:cubicBezTo>
                    <a:pt x="200" y="136"/>
                    <a:pt x="200" y="138"/>
                    <a:pt x="198" y="140"/>
                  </a:cubicBezTo>
                  <a:cubicBezTo>
                    <a:pt x="196" y="141"/>
                    <a:pt x="194" y="142"/>
                    <a:pt x="191" y="142"/>
                  </a:cubicBezTo>
                  <a:lnTo>
                    <a:pt x="22" y="142"/>
                  </a:lnTo>
                  <a:lnTo>
                    <a:pt x="22" y="153"/>
                  </a:lnTo>
                  <a:cubicBezTo>
                    <a:pt x="22" y="191"/>
                    <a:pt x="30" y="218"/>
                    <a:pt x="45" y="232"/>
                  </a:cubicBezTo>
                  <a:cubicBezTo>
                    <a:pt x="61" y="247"/>
                    <a:pt x="82" y="255"/>
                    <a:pt x="109" y="255"/>
                  </a:cubicBezTo>
                  <a:cubicBezTo>
                    <a:pt x="133" y="255"/>
                    <a:pt x="159" y="249"/>
                    <a:pt x="187" y="237"/>
                  </a:cubicBezTo>
                  <a:cubicBezTo>
                    <a:pt x="190" y="236"/>
                    <a:pt x="192" y="236"/>
                    <a:pt x="193" y="237"/>
                  </a:cubicBezTo>
                  <a:cubicBezTo>
                    <a:pt x="195" y="238"/>
                    <a:pt x="196" y="239"/>
                    <a:pt x="196" y="241"/>
                  </a:cubicBezTo>
                  <a:lnTo>
                    <a:pt x="196" y="247"/>
                  </a:lnTo>
                  <a:cubicBezTo>
                    <a:pt x="196" y="249"/>
                    <a:pt x="195" y="251"/>
                    <a:pt x="194" y="253"/>
                  </a:cubicBezTo>
                  <a:cubicBezTo>
                    <a:pt x="192" y="254"/>
                    <a:pt x="190" y="256"/>
                    <a:pt x="186" y="258"/>
                  </a:cubicBezTo>
                  <a:cubicBezTo>
                    <a:pt x="180" y="260"/>
                    <a:pt x="173" y="263"/>
                    <a:pt x="165" y="265"/>
                  </a:cubicBezTo>
                  <a:cubicBezTo>
                    <a:pt x="156" y="268"/>
                    <a:pt x="147" y="270"/>
                    <a:pt x="136" y="272"/>
                  </a:cubicBezTo>
                  <a:cubicBezTo>
                    <a:pt x="126" y="273"/>
                    <a:pt x="117" y="274"/>
                    <a:pt x="109" y="274"/>
                  </a:cubicBezTo>
                  <a:cubicBezTo>
                    <a:pt x="77" y="274"/>
                    <a:pt x="50" y="265"/>
                    <a:pt x="30" y="246"/>
                  </a:cubicBezTo>
                  <a:cubicBezTo>
                    <a:pt x="10" y="228"/>
                    <a:pt x="0" y="196"/>
                    <a:pt x="0" y="153"/>
                  </a:cubicBezTo>
                  <a:lnTo>
                    <a:pt x="0" y="120"/>
                  </a:lnTo>
                  <a:cubicBezTo>
                    <a:pt x="0" y="97"/>
                    <a:pt x="4" y="76"/>
                    <a:pt x="12" y="58"/>
                  </a:cubicBezTo>
                  <a:cubicBezTo>
                    <a:pt x="20" y="40"/>
                    <a:pt x="31" y="26"/>
                    <a:pt x="46" y="16"/>
                  </a:cubicBezTo>
                  <a:cubicBezTo>
                    <a:pt x="62" y="5"/>
                    <a:pt x="80" y="0"/>
                    <a:pt x="101" y="0"/>
                  </a:cubicBezTo>
                  <a:cubicBezTo>
                    <a:pt x="123" y="0"/>
                    <a:pt x="142" y="5"/>
                    <a:pt x="157" y="15"/>
                  </a:cubicBezTo>
                  <a:cubicBezTo>
                    <a:pt x="172" y="25"/>
                    <a:pt x="183" y="39"/>
                    <a:pt x="190" y="56"/>
                  </a:cubicBezTo>
                  <a:cubicBezTo>
                    <a:pt x="197" y="74"/>
                    <a:pt x="200" y="95"/>
                    <a:pt x="200" y="119"/>
                  </a:cubicBezTo>
                  <a:lnTo>
                    <a:pt x="200" y="133"/>
                  </a:lnTo>
                  <a:lnTo>
                    <a:pt x="200" y="133"/>
                  </a:lnTo>
                  <a:close/>
                  <a:moveTo>
                    <a:pt x="178" y="122"/>
                  </a:moveTo>
                  <a:lnTo>
                    <a:pt x="178" y="119"/>
                  </a:lnTo>
                  <a:cubicBezTo>
                    <a:pt x="178" y="86"/>
                    <a:pt x="172" y="61"/>
                    <a:pt x="160" y="45"/>
                  </a:cubicBezTo>
                  <a:cubicBezTo>
                    <a:pt x="148" y="28"/>
                    <a:pt x="129" y="20"/>
                    <a:pt x="101" y="20"/>
                  </a:cubicBezTo>
                  <a:cubicBezTo>
                    <a:pt x="83" y="20"/>
                    <a:pt x="68" y="24"/>
                    <a:pt x="56" y="32"/>
                  </a:cubicBezTo>
                  <a:cubicBezTo>
                    <a:pt x="45" y="40"/>
                    <a:pt x="36" y="52"/>
                    <a:pt x="30" y="67"/>
                  </a:cubicBezTo>
                  <a:cubicBezTo>
                    <a:pt x="25" y="82"/>
                    <a:pt x="22" y="100"/>
                    <a:pt x="22" y="120"/>
                  </a:cubicBezTo>
                  <a:lnTo>
                    <a:pt x="22" y="122"/>
                  </a:lnTo>
                  <a:lnTo>
                    <a:pt x="178"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974"/>
            <p:cNvSpPr>
              <a:spLocks noEditPoints="1"/>
            </p:cNvSpPr>
            <p:nvPr/>
          </p:nvSpPr>
          <p:spPr bwMode="auto">
            <a:xfrm>
              <a:off x="4770" y="1930"/>
              <a:ext cx="46" cy="63"/>
            </a:xfrm>
            <a:custGeom>
              <a:avLst/>
              <a:gdLst>
                <a:gd name="T0" fmla="*/ 206 w 206"/>
                <a:gd name="T1" fmla="*/ 155 h 274"/>
                <a:gd name="T2" fmla="*/ 194 w 206"/>
                <a:gd name="T3" fmla="*/ 219 h 274"/>
                <a:gd name="T4" fmla="*/ 159 w 206"/>
                <a:gd name="T5" fmla="*/ 260 h 274"/>
                <a:gd name="T6" fmla="*/ 103 w 206"/>
                <a:gd name="T7" fmla="*/ 274 h 274"/>
                <a:gd name="T8" fmla="*/ 46 w 206"/>
                <a:gd name="T9" fmla="*/ 260 h 274"/>
                <a:gd name="T10" fmla="*/ 11 w 206"/>
                <a:gd name="T11" fmla="*/ 219 h 274"/>
                <a:gd name="T12" fmla="*/ 0 w 206"/>
                <a:gd name="T13" fmla="*/ 155 h 274"/>
                <a:gd name="T14" fmla="*/ 0 w 206"/>
                <a:gd name="T15" fmla="*/ 120 h 274"/>
                <a:gd name="T16" fmla="*/ 11 w 206"/>
                <a:gd name="T17" fmla="*/ 55 h 274"/>
                <a:gd name="T18" fmla="*/ 46 w 206"/>
                <a:gd name="T19" fmla="*/ 14 h 274"/>
                <a:gd name="T20" fmla="*/ 103 w 206"/>
                <a:gd name="T21" fmla="*/ 0 h 274"/>
                <a:gd name="T22" fmla="*/ 159 w 206"/>
                <a:gd name="T23" fmla="*/ 14 h 274"/>
                <a:gd name="T24" fmla="*/ 194 w 206"/>
                <a:gd name="T25" fmla="*/ 55 h 274"/>
                <a:gd name="T26" fmla="*/ 206 w 206"/>
                <a:gd name="T27" fmla="*/ 120 h 274"/>
                <a:gd name="T28" fmla="*/ 206 w 206"/>
                <a:gd name="T29" fmla="*/ 155 h 274"/>
                <a:gd name="T30" fmla="*/ 184 w 206"/>
                <a:gd name="T31" fmla="*/ 155 h 274"/>
                <a:gd name="T32" fmla="*/ 184 w 206"/>
                <a:gd name="T33" fmla="*/ 120 h 274"/>
                <a:gd name="T34" fmla="*/ 176 w 206"/>
                <a:gd name="T35" fmla="*/ 66 h 274"/>
                <a:gd name="T36" fmla="*/ 149 w 206"/>
                <a:gd name="T37" fmla="*/ 32 h 274"/>
                <a:gd name="T38" fmla="*/ 103 w 206"/>
                <a:gd name="T39" fmla="*/ 20 h 274"/>
                <a:gd name="T40" fmla="*/ 56 w 206"/>
                <a:gd name="T41" fmla="*/ 32 h 274"/>
                <a:gd name="T42" fmla="*/ 30 w 206"/>
                <a:gd name="T43" fmla="*/ 66 h 274"/>
                <a:gd name="T44" fmla="*/ 22 w 206"/>
                <a:gd name="T45" fmla="*/ 120 h 274"/>
                <a:gd name="T46" fmla="*/ 22 w 206"/>
                <a:gd name="T47" fmla="*/ 155 h 274"/>
                <a:gd name="T48" fmla="*/ 41 w 206"/>
                <a:gd name="T49" fmla="*/ 229 h 274"/>
                <a:gd name="T50" fmla="*/ 103 w 206"/>
                <a:gd name="T51" fmla="*/ 255 h 274"/>
                <a:gd name="T52" fmla="*/ 165 w 206"/>
                <a:gd name="T53" fmla="*/ 229 h 274"/>
                <a:gd name="T54" fmla="*/ 184 w 206"/>
                <a:gd name="T55" fmla="*/ 15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74">
                  <a:moveTo>
                    <a:pt x="206" y="155"/>
                  </a:moveTo>
                  <a:cubicBezTo>
                    <a:pt x="206" y="180"/>
                    <a:pt x="202" y="201"/>
                    <a:pt x="194" y="219"/>
                  </a:cubicBezTo>
                  <a:cubicBezTo>
                    <a:pt x="186" y="237"/>
                    <a:pt x="175" y="251"/>
                    <a:pt x="159" y="260"/>
                  </a:cubicBezTo>
                  <a:cubicBezTo>
                    <a:pt x="144" y="269"/>
                    <a:pt x="125" y="274"/>
                    <a:pt x="103" y="274"/>
                  </a:cubicBezTo>
                  <a:cubicBezTo>
                    <a:pt x="80" y="274"/>
                    <a:pt x="61" y="269"/>
                    <a:pt x="46" y="260"/>
                  </a:cubicBezTo>
                  <a:cubicBezTo>
                    <a:pt x="30" y="251"/>
                    <a:pt x="19" y="237"/>
                    <a:pt x="11" y="219"/>
                  </a:cubicBezTo>
                  <a:cubicBezTo>
                    <a:pt x="3" y="201"/>
                    <a:pt x="0" y="180"/>
                    <a:pt x="0" y="155"/>
                  </a:cubicBezTo>
                  <a:lnTo>
                    <a:pt x="0" y="120"/>
                  </a:lnTo>
                  <a:cubicBezTo>
                    <a:pt x="0" y="95"/>
                    <a:pt x="3" y="73"/>
                    <a:pt x="11" y="55"/>
                  </a:cubicBezTo>
                  <a:cubicBezTo>
                    <a:pt x="19" y="37"/>
                    <a:pt x="30" y="24"/>
                    <a:pt x="46" y="14"/>
                  </a:cubicBezTo>
                  <a:cubicBezTo>
                    <a:pt x="61" y="5"/>
                    <a:pt x="80" y="0"/>
                    <a:pt x="103" y="0"/>
                  </a:cubicBezTo>
                  <a:cubicBezTo>
                    <a:pt x="125" y="0"/>
                    <a:pt x="144" y="5"/>
                    <a:pt x="159" y="14"/>
                  </a:cubicBezTo>
                  <a:cubicBezTo>
                    <a:pt x="175" y="24"/>
                    <a:pt x="187" y="37"/>
                    <a:pt x="194" y="55"/>
                  </a:cubicBezTo>
                  <a:cubicBezTo>
                    <a:pt x="202" y="73"/>
                    <a:pt x="206" y="95"/>
                    <a:pt x="206" y="120"/>
                  </a:cubicBezTo>
                  <a:lnTo>
                    <a:pt x="206" y="155"/>
                  </a:lnTo>
                  <a:close/>
                  <a:moveTo>
                    <a:pt x="184" y="155"/>
                  </a:moveTo>
                  <a:lnTo>
                    <a:pt x="184" y="120"/>
                  </a:lnTo>
                  <a:cubicBezTo>
                    <a:pt x="184" y="99"/>
                    <a:pt x="181" y="81"/>
                    <a:pt x="176" y="66"/>
                  </a:cubicBezTo>
                  <a:cubicBezTo>
                    <a:pt x="170" y="51"/>
                    <a:pt x="161" y="40"/>
                    <a:pt x="149" y="32"/>
                  </a:cubicBezTo>
                  <a:cubicBezTo>
                    <a:pt x="137" y="24"/>
                    <a:pt x="122" y="20"/>
                    <a:pt x="103" y="20"/>
                  </a:cubicBezTo>
                  <a:cubicBezTo>
                    <a:pt x="83" y="20"/>
                    <a:pt x="68" y="24"/>
                    <a:pt x="56" y="32"/>
                  </a:cubicBezTo>
                  <a:cubicBezTo>
                    <a:pt x="44" y="40"/>
                    <a:pt x="35" y="51"/>
                    <a:pt x="30" y="66"/>
                  </a:cubicBezTo>
                  <a:cubicBezTo>
                    <a:pt x="24" y="81"/>
                    <a:pt x="22" y="99"/>
                    <a:pt x="22" y="120"/>
                  </a:cubicBezTo>
                  <a:lnTo>
                    <a:pt x="22" y="155"/>
                  </a:lnTo>
                  <a:cubicBezTo>
                    <a:pt x="22" y="187"/>
                    <a:pt x="28" y="211"/>
                    <a:pt x="41" y="229"/>
                  </a:cubicBezTo>
                  <a:cubicBezTo>
                    <a:pt x="54" y="246"/>
                    <a:pt x="74" y="255"/>
                    <a:pt x="103" y="255"/>
                  </a:cubicBezTo>
                  <a:cubicBezTo>
                    <a:pt x="131" y="255"/>
                    <a:pt x="152" y="246"/>
                    <a:pt x="165" y="229"/>
                  </a:cubicBezTo>
                  <a:cubicBezTo>
                    <a:pt x="177" y="211"/>
                    <a:pt x="184" y="187"/>
                    <a:pt x="184" y="155"/>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975"/>
            <p:cNvSpPr>
              <a:spLocks noEditPoints="1"/>
            </p:cNvSpPr>
            <p:nvPr/>
          </p:nvSpPr>
          <p:spPr bwMode="auto">
            <a:xfrm>
              <a:off x="4814" y="1918"/>
              <a:ext cx="20" cy="10"/>
            </a:xfrm>
            <a:custGeom>
              <a:avLst/>
              <a:gdLst>
                <a:gd name="T0" fmla="*/ 20 w 88"/>
                <a:gd name="T1" fmla="*/ 5 h 42"/>
                <a:gd name="T2" fmla="*/ 20 w 88"/>
                <a:gd name="T3" fmla="*/ 42 h 42"/>
                <a:gd name="T4" fmla="*/ 13 w 88"/>
                <a:gd name="T5" fmla="*/ 42 h 42"/>
                <a:gd name="T6" fmla="*/ 13 w 88"/>
                <a:gd name="T7" fmla="*/ 5 h 42"/>
                <a:gd name="T8" fmla="*/ 0 w 88"/>
                <a:gd name="T9" fmla="*/ 5 h 42"/>
                <a:gd name="T10" fmla="*/ 0 w 88"/>
                <a:gd name="T11" fmla="*/ 0 h 42"/>
                <a:gd name="T12" fmla="*/ 33 w 88"/>
                <a:gd name="T13" fmla="*/ 0 h 42"/>
                <a:gd name="T14" fmla="*/ 33 w 88"/>
                <a:gd name="T15" fmla="*/ 5 h 42"/>
                <a:gd name="T16" fmla="*/ 20 w 88"/>
                <a:gd name="T17" fmla="*/ 5 h 42"/>
                <a:gd name="T18" fmla="*/ 81 w 88"/>
                <a:gd name="T19" fmla="*/ 42 h 42"/>
                <a:gd name="T20" fmla="*/ 81 w 88"/>
                <a:gd name="T21" fmla="*/ 7 h 42"/>
                <a:gd name="T22" fmla="*/ 81 w 88"/>
                <a:gd name="T23" fmla="*/ 7 h 42"/>
                <a:gd name="T24" fmla="*/ 67 w 88"/>
                <a:gd name="T25" fmla="*/ 42 h 42"/>
                <a:gd name="T26" fmla="*/ 63 w 88"/>
                <a:gd name="T27" fmla="*/ 42 h 42"/>
                <a:gd name="T28" fmla="*/ 49 w 88"/>
                <a:gd name="T29" fmla="*/ 7 h 42"/>
                <a:gd name="T30" fmla="*/ 49 w 88"/>
                <a:gd name="T31" fmla="*/ 7 h 42"/>
                <a:gd name="T32" fmla="*/ 49 w 88"/>
                <a:gd name="T33" fmla="*/ 42 h 42"/>
                <a:gd name="T34" fmla="*/ 42 w 88"/>
                <a:gd name="T35" fmla="*/ 42 h 42"/>
                <a:gd name="T36" fmla="*/ 42 w 88"/>
                <a:gd name="T37" fmla="*/ 0 h 42"/>
                <a:gd name="T38" fmla="*/ 53 w 88"/>
                <a:gd name="T39" fmla="*/ 0 h 42"/>
                <a:gd name="T40" fmla="*/ 65 w 88"/>
                <a:gd name="T41" fmla="*/ 32 h 42"/>
                <a:gd name="T42" fmla="*/ 77 w 88"/>
                <a:gd name="T43" fmla="*/ 0 h 42"/>
                <a:gd name="T44" fmla="*/ 88 w 88"/>
                <a:gd name="T45" fmla="*/ 0 h 42"/>
                <a:gd name="T46" fmla="*/ 88 w 88"/>
                <a:gd name="T47" fmla="*/ 42 h 42"/>
                <a:gd name="T48" fmla="*/ 81 w 8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42">
                  <a:moveTo>
                    <a:pt x="20" y="5"/>
                  </a:moveTo>
                  <a:lnTo>
                    <a:pt x="20" y="42"/>
                  </a:lnTo>
                  <a:lnTo>
                    <a:pt x="13" y="42"/>
                  </a:lnTo>
                  <a:lnTo>
                    <a:pt x="13" y="5"/>
                  </a:lnTo>
                  <a:lnTo>
                    <a:pt x="0" y="5"/>
                  </a:lnTo>
                  <a:lnTo>
                    <a:pt x="0" y="0"/>
                  </a:lnTo>
                  <a:lnTo>
                    <a:pt x="33" y="0"/>
                  </a:lnTo>
                  <a:lnTo>
                    <a:pt x="33" y="5"/>
                  </a:lnTo>
                  <a:lnTo>
                    <a:pt x="20" y="5"/>
                  </a:lnTo>
                  <a:close/>
                  <a:moveTo>
                    <a:pt x="81" y="42"/>
                  </a:moveTo>
                  <a:lnTo>
                    <a:pt x="81" y="7"/>
                  </a:lnTo>
                  <a:lnTo>
                    <a:pt x="81" y="7"/>
                  </a:lnTo>
                  <a:lnTo>
                    <a:pt x="67" y="42"/>
                  </a:lnTo>
                  <a:lnTo>
                    <a:pt x="63" y="42"/>
                  </a:lnTo>
                  <a:lnTo>
                    <a:pt x="49" y="7"/>
                  </a:lnTo>
                  <a:lnTo>
                    <a:pt x="49" y="7"/>
                  </a:lnTo>
                  <a:lnTo>
                    <a:pt x="49" y="42"/>
                  </a:lnTo>
                  <a:lnTo>
                    <a:pt x="42" y="42"/>
                  </a:lnTo>
                  <a:lnTo>
                    <a:pt x="42" y="0"/>
                  </a:lnTo>
                  <a:lnTo>
                    <a:pt x="53" y="0"/>
                  </a:lnTo>
                  <a:lnTo>
                    <a:pt x="65" y="32"/>
                  </a:lnTo>
                  <a:lnTo>
                    <a:pt x="77" y="0"/>
                  </a:lnTo>
                  <a:lnTo>
                    <a:pt x="88" y="0"/>
                  </a:lnTo>
                  <a:lnTo>
                    <a:pt x="88" y="42"/>
                  </a:lnTo>
                  <a:lnTo>
                    <a:pt x="81"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122" name="Intel and Galileo Logo"/>
          <p:cNvGrpSpPr>
            <a:grpSpLocks noChangeAspect="1"/>
          </p:cNvGrpSpPr>
          <p:nvPr/>
        </p:nvGrpSpPr>
        <p:grpSpPr>
          <a:xfrm>
            <a:off x="5958839" y="2993569"/>
            <a:ext cx="5683885" cy="1557491"/>
            <a:chOff x="123591" y="2993569"/>
            <a:chExt cx="11519134" cy="3156459"/>
          </a:xfrm>
        </p:grpSpPr>
        <p:sp>
          <p:nvSpPr>
            <p:cNvPr id="3120"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21"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43" name="Galileo Board Outline"/>
          <p:cNvSpPr>
            <a:spLocks noChangeAspect="1"/>
          </p:cNvSpPr>
          <p:nvPr/>
        </p:nvSpPr>
        <p:spPr bwMode="auto">
          <a:xfrm>
            <a:off x="5958839" y="1251342"/>
            <a:ext cx="1149569" cy="855893"/>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8" name="Group 3147"/>
          <p:cNvGrpSpPr>
            <a:grpSpLocks noChangeAspect="1"/>
          </p:cNvGrpSpPr>
          <p:nvPr/>
        </p:nvGrpSpPr>
        <p:grpSpPr>
          <a:xfrm>
            <a:off x="7181745" y="1251342"/>
            <a:ext cx="1149569" cy="855893"/>
            <a:chOff x="5163077" y="3941405"/>
            <a:chExt cx="2302724" cy="1714456"/>
          </a:xfrm>
        </p:grpSpPr>
        <p:sp>
          <p:nvSpPr>
            <p:cNvPr id="3144" name="Galileo Board Outline"/>
            <p:cNvSpPr>
              <a:spLocks/>
            </p:cNvSpPr>
            <p:nvPr/>
          </p:nvSpPr>
          <p:spPr bwMode="auto">
            <a:xfrm>
              <a:off x="5163077" y="3941405"/>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5" name="Intel and Galileo Logo"/>
            <p:cNvGrpSpPr/>
            <p:nvPr/>
          </p:nvGrpSpPr>
          <p:grpSpPr>
            <a:xfrm>
              <a:off x="5338251" y="4531139"/>
              <a:ext cx="1952377" cy="534988"/>
              <a:chOff x="123591" y="2993569"/>
              <a:chExt cx="11519134" cy="3156459"/>
            </a:xfrm>
            <a:solidFill>
              <a:schemeClr val="bg1"/>
            </a:solidFill>
          </p:grpSpPr>
          <p:sp>
            <p:nvSpPr>
              <p:cNvPr id="3146"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47"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sp>
        <p:nvSpPr>
          <p:cNvPr id="3155" name="Freeform 3154"/>
          <p:cNvSpPr>
            <a:spLocks noChangeAspect="1"/>
          </p:cNvSpPr>
          <p:nvPr/>
        </p:nvSpPr>
        <p:spPr bwMode="auto">
          <a:xfrm>
            <a:off x="8404651" y="1251342"/>
            <a:ext cx="1149569" cy="85589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1401163 w 2302724"/>
              <a:gd name="connsiteY10" fmla="*/ 866680 h 1714456"/>
              <a:gd name="connsiteX11" fmla="*/ 1431479 w 2302724"/>
              <a:gd name="connsiteY11" fmla="*/ 866680 h 1714456"/>
              <a:gd name="connsiteX12" fmla="*/ 1431479 w 2302724"/>
              <a:gd name="connsiteY12" fmla="*/ 960760 h 1714456"/>
              <a:gd name="connsiteX13" fmla="*/ 1409877 w 2302724"/>
              <a:gd name="connsiteY13" fmla="*/ 963831 h 1714456"/>
              <a:gd name="connsiteX14" fmla="*/ 1383366 w 2302724"/>
              <a:gd name="connsiteY14" fmla="*/ 965427 h 1714456"/>
              <a:gd name="connsiteX15" fmla="*/ 1344458 w 2302724"/>
              <a:gd name="connsiteY15" fmla="*/ 960146 h 1714456"/>
              <a:gd name="connsiteX16" fmla="*/ 1326048 w 2302724"/>
              <a:gd name="connsiteY16" fmla="*/ 944671 h 1714456"/>
              <a:gd name="connsiteX17" fmla="*/ 1320893 w 2302724"/>
              <a:gd name="connsiteY17" fmla="*/ 917282 h 1714456"/>
              <a:gd name="connsiteX18" fmla="*/ 1320893 w 2302724"/>
              <a:gd name="connsiteY18" fmla="*/ 912001 h 1714456"/>
              <a:gd name="connsiteX19" fmla="*/ 1338567 w 2302724"/>
              <a:gd name="connsiteY19" fmla="*/ 876506 h 1714456"/>
              <a:gd name="connsiteX20" fmla="*/ 1401163 w 2302724"/>
              <a:gd name="connsiteY20" fmla="*/ 866680 h 1714456"/>
              <a:gd name="connsiteX21" fmla="*/ 696285 w 2302724"/>
              <a:gd name="connsiteY21" fmla="*/ 814750 h 1714456"/>
              <a:gd name="connsiteX22" fmla="*/ 726528 w 2302724"/>
              <a:gd name="connsiteY22" fmla="*/ 849998 h 1714456"/>
              <a:gd name="connsiteX23" fmla="*/ 662491 w 2302724"/>
              <a:gd name="connsiteY23" fmla="*/ 849998 h 1714456"/>
              <a:gd name="connsiteX24" fmla="*/ 666532 w 2302724"/>
              <a:gd name="connsiteY24" fmla="*/ 832004 h 1714456"/>
              <a:gd name="connsiteX25" fmla="*/ 696285 w 2302724"/>
              <a:gd name="connsiteY25" fmla="*/ 814750 h 1714456"/>
              <a:gd name="connsiteX26" fmla="*/ 371900 w 2302724"/>
              <a:gd name="connsiteY26" fmla="*/ 783000 h 1714456"/>
              <a:gd name="connsiteX27" fmla="*/ 371900 w 2302724"/>
              <a:gd name="connsiteY27" fmla="*/ 947668 h 1714456"/>
              <a:gd name="connsiteX28" fmla="*/ 413444 w 2302724"/>
              <a:gd name="connsiteY28" fmla="*/ 947668 h 1714456"/>
              <a:gd name="connsiteX29" fmla="*/ 413444 w 2302724"/>
              <a:gd name="connsiteY29" fmla="*/ 816548 h 1714456"/>
              <a:gd name="connsiteX30" fmla="*/ 447880 w 2302724"/>
              <a:gd name="connsiteY30" fmla="*/ 816671 h 1714456"/>
              <a:gd name="connsiteX31" fmla="*/ 465159 w 2302724"/>
              <a:gd name="connsiteY31" fmla="*/ 832523 h 1714456"/>
              <a:gd name="connsiteX32" fmla="*/ 465159 w 2302724"/>
              <a:gd name="connsiteY32" fmla="*/ 947668 h 1714456"/>
              <a:gd name="connsiteX33" fmla="*/ 506702 w 2302724"/>
              <a:gd name="connsiteY33" fmla="*/ 947668 h 1714456"/>
              <a:gd name="connsiteX34" fmla="*/ 506702 w 2302724"/>
              <a:gd name="connsiteY34" fmla="*/ 832278 h 1714456"/>
              <a:gd name="connsiteX35" fmla="*/ 457684 w 2302724"/>
              <a:gd name="connsiteY35" fmla="*/ 783000 h 1714456"/>
              <a:gd name="connsiteX36" fmla="*/ 293064 w 2302724"/>
              <a:gd name="connsiteY36" fmla="*/ 783000 h 1714456"/>
              <a:gd name="connsiteX37" fmla="*/ 293064 w 2302724"/>
              <a:gd name="connsiteY37" fmla="*/ 905194 h 1714456"/>
              <a:gd name="connsiteX38" fmla="*/ 335039 w 2302724"/>
              <a:gd name="connsiteY38" fmla="*/ 949283 h 1714456"/>
              <a:gd name="connsiteX39" fmla="*/ 335039 w 2302724"/>
              <a:gd name="connsiteY39" fmla="*/ 783000 h 1714456"/>
              <a:gd name="connsiteX40" fmla="*/ 693957 w 2302724"/>
              <a:gd name="connsiteY40" fmla="*/ 780310 h 1714456"/>
              <a:gd name="connsiteX41" fmla="*/ 621055 w 2302724"/>
              <a:gd name="connsiteY41" fmla="*/ 865077 h 1714456"/>
              <a:gd name="connsiteX42" fmla="*/ 698989 w 2302724"/>
              <a:gd name="connsiteY42" fmla="*/ 950090 h 1714456"/>
              <a:gd name="connsiteX43" fmla="*/ 763178 w 2302724"/>
              <a:gd name="connsiteY43" fmla="*/ 923960 h 1714456"/>
              <a:gd name="connsiteX44" fmla="*/ 737527 w 2302724"/>
              <a:gd name="connsiteY44" fmla="*/ 899426 h 1714456"/>
              <a:gd name="connsiteX45" fmla="*/ 699235 w 2302724"/>
              <a:gd name="connsiteY45" fmla="*/ 915128 h 1714456"/>
              <a:gd name="connsiteX46" fmla="*/ 662415 w 2302724"/>
              <a:gd name="connsiteY46" fmla="*/ 878203 h 1714456"/>
              <a:gd name="connsiteX47" fmla="*/ 767964 w 2302724"/>
              <a:gd name="connsiteY47" fmla="*/ 878203 h 1714456"/>
              <a:gd name="connsiteX48" fmla="*/ 767964 w 2302724"/>
              <a:gd name="connsiteY48" fmla="*/ 863237 h 1714456"/>
              <a:gd name="connsiteX49" fmla="*/ 698130 w 2302724"/>
              <a:gd name="connsiteY49" fmla="*/ 780310 h 1714456"/>
              <a:gd name="connsiteX50" fmla="*/ 693957 w 2302724"/>
              <a:gd name="connsiteY50" fmla="*/ 780310 h 1714456"/>
              <a:gd name="connsiteX51" fmla="*/ 1984812 w 2302724"/>
              <a:gd name="connsiteY51" fmla="*/ 779234 h 1714456"/>
              <a:gd name="connsiteX52" fmla="*/ 2021867 w 2302724"/>
              <a:gd name="connsiteY52" fmla="*/ 788562 h 1714456"/>
              <a:gd name="connsiteX53" fmla="*/ 2042603 w 2302724"/>
              <a:gd name="connsiteY53" fmla="*/ 815933 h 1714456"/>
              <a:gd name="connsiteX54" fmla="*/ 2048984 w 2302724"/>
              <a:gd name="connsiteY54" fmla="*/ 858277 h 1714456"/>
              <a:gd name="connsiteX55" fmla="*/ 2048984 w 2302724"/>
              <a:gd name="connsiteY55" fmla="*/ 886261 h 1714456"/>
              <a:gd name="connsiteX56" fmla="*/ 2033892 w 2302724"/>
              <a:gd name="connsiteY56" fmla="*/ 944930 h 1714456"/>
              <a:gd name="connsiteX57" fmla="*/ 1984934 w 2302724"/>
              <a:gd name="connsiteY57" fmla="*/ 965427 h 1714456"/>
              <a:gd name="connsiteX58" fmla="*/ 1935977 w 2302724"/>
              <a:gd name="connsiteY58" fmla="*/ 944930 h 1714456"/>
              <a:gd name="connsiteX59" fmla="*/ 1920640 w 2302724"/>
              <a:gd name="connsiteY59" fmla="*/ 886261 h 1714456"/>
              <a:gd name="connsiteX60" fmla="*/ 1920640 w 2302724"/>
              <a:gd name="connsiteY60" fmla="*/ 858277 h 1714456"/>
              <a:gd name="connsiteX61" fmla="*/ 1927020 w 2302724"/>
              <a:gd name="connsiteY61" fmla="*/ 815933 h 1714456"/>
              <a:gd name="connsiteX62" fmla="*/ 1947756 w 2302724"/>
              <a:gd name="connsiteY62" fmla="*/ 788562 h 1714456"/>
              <a:gd name="connsiteX63" fmla="*/ 1984812 w 2302724"/>
              <a:gd name="connsiteY63" fmla="*/ 779234 h 1714456"/>
              <a:gd name="connsiteX64" fmla="*/ 1788810 w 2302724"/>
              <a:gd name="connsiteY64" fmla="*/ 779234 h 1714456"/>
              <a:gd name="connsiteX65" fmla="*/ 1835821 w 2302724"/>
              <a:gd name="connsiteY65" fmla="*/ 798873 h 1714456"/>
              <a:gd name="connsiteX66" fmla="*/ 1850145 w 2302724"/>
              <a:gd name="connsiteY66" fmla="*/ 858037 h 1714456"/>
              <a:gd name="connsiteX67" fmla="*/ 1850145 w 2302724"/>
              <a:gd name="connsiteY67" fmla="*/ 860492 h 1714456"/>
              <a:gd name="connsiteX68" fmla="*/ 1726374 w 2302724"/>
              <a:gd name="connsiteY68" fmla="*/ 860492 h 1714456"/>
              <a:gd name="connsiteX69" fmla="*/ 1726374 w 2302724"/>
              <a:gd name="connsiteY69" fmla="*/ 858282 h 1714456"/>
              <a:gd name="connsiteX70" fmla="*/ 1732863 w 2302724"/>
              <a:gd name="connsiteY70" fmla="*/ 816671 h 1714456"/>
              <a:gd name="connsiteX71" fmla="*/ 1753430 w 2302724"/>
              <a:gd name="connsiteY71" fmla="*/ 788931 h 1714456"/>
              <a:gd name="connsiteX72" fmla="*/ 1788810 w 2302724"/>
              <a:gd name="connsiteY72" fmla="*/ 779234 h 1714456"/>
              <a:gd name="connsiteX73" fmla="*/ 1580437 w 2302724"/>
              <a:gd name="connsiteY73" fmla="*/ 765512 h 1714456"/>
              <a:gd name="connsiteX74" fmla="*/ 1575098 w 2302724"/>
              <a:gd name="connsiteY74" fmla="*/ 767845 h 1714456"/>
              <a:gd name="connsiteX75" fmla="*/ 1572738 w 2302724"/>
              <a:gd name="connsiteY75" fmla="*/ 773004 h 1714456"/>
              <a:gd name="connsiteX76" fmla="*/ 1572738 w 2302724"/>
              <a:gd name="connsiteY76" fmla="*/ 970997 h 1714456"/>
              <a:gd name="connsiteX77" fmla="*/ 1575098 w 2302724"/>
              <a:gd name="connsiteY77" fmla="*/ 976278 h 1714456"/>
              <a:gd name="connsiteX78" fmla="*/ 1580437 w 2302724"/>
              <a:gd name="connsiteY78" fmla="*/ 978612 h 1714456"/>
              <a:gd name="connsiteX79" fmla="*/ 1582921 w 2302724"/>
              <a:gd name="connsiteY79" fmla="*/ 978612 h 1714456"/>
              <a:gd name="connsiteX80" fmla="*/ 1588385 w 2302724"/>
              <a:gd name="connsiteY80" fmla="*/ 976278 h 1714456"/>
              <a:gd name="connsiteX81" fmla="*/ 1590496 w 2302724"/>
              <a:gd name="connsiteY81" fmla="*/ 971119 h 1714456"/>
              <a:gd name="connsiteX82" fmla="*/ 1590496 w 2302724"/>
              <a:gd name="connsiteY82" fmla="*/ 773127 h 1714456"/>
              <a:gd name="connsiteX83" fmla="*/ 1588385 w 2302724"/>
              <a:gd name="connsiteY83" fmla="*/ 767722 h 1714456"/>
              <a:gd name="connsiteX84" fmla="*/ 1582921 w 2302724"/>
              <a:gd name="connsiteY84" fmla="*/ 765512 h 1714456"/>
              <a:gd name="connsiteX85" fmla="*/ 1984946 w 2302724"/>
              <a:gd name="connsiteY85" fmla="*/ 763628 h 1714456"/>
              <a:gd name="connsiteX86" fmla="*/ 1939953 w 2302724"/>
              <a:gd name="connsiteY86" fmla="*/ 774689 h 1714456"/>
              <a:gd name="connsiteX87" fmla="*/ 1912614 w 2302724"/>
              <a:gd name="connsiteY87" fmla="*/ 807134 h 1714456"/>
              <a:gd name="connsiteX88" fmla="*/ 1903420 w 2302724"/>
              <a:gd name="connsiteY88" fmla="*/ 858259 h 1714456"/>
              <a:gd name="connsiteX89" fmla="*/ 1903420 w 2302724"/>
              <a:gd name="connsiteY89" fmla="*/ 886279 h 1714456"/>
              <a:gd name="connsiteX90" fmla="*/ 1912614 w 2302724"/>
              <a:gd name="connsiteY90" fmla="*/ 937405 h 1714456"/>
              <a:gd name="connsiteX91" fmla="*/ 1939953 w 2302724"/>
              <a:gd name="connsiteY91" fmla="*/ 969972 h 1714456"/>
              <a:gd name="connsiteX92" fmla="*/ 1984946 w 2302724"/>
              <a:gd name="connsiteY92" fmla="*/ 981033 h 1714456"/>
              <a:gd name="connsiteX93" fmla="*/ 2029939 w 2302724"/>
              <a:gd name="connsiteY93" fmla="*/ 969972 h 1714456"/>
              <a:gd name="connsiteX94" fmla="*/ 2057401 w 2302724"/>
              <a:gd name="connsiteY94" fmla="*/ 937405 h 1714456"/>
              <a:gd name="connsiteX95" fmla="*/ 2066473 w 2302724"/>
              <a:gd name="connsiteY95" fmla="*/ 886279 h 1714456"/>
              <a:gd name="connsiteX96" fmla="*/ 2066473 w 2302724"/>
              <a:gd name="connsiteY96" fmla="*/ 858259 h 1714456"/>
              <a:gd name="connsiteX97" fmla="*/ 2057401 w 2302724"/>
              <a:gd name="connsiteY97" fmla="*/ 807134 h 1714456"/>
              <a:gd name="connsiteX98" fmla="*/ 2029939 w 2302724"/>
              <a:gd name="connsiteY98" fmla="*/ 774689 h 1714456"/>
              <a:gd name="connsiteX99" fmla="*/ 1984946 w 2302724"/>
              <a:gd name="connsiteY99" fmla="*/ 763628 h 1714456"/>
              <a:gd name="connsiteX100" fmla="*/ 1788860 w 2302724"/>
              <a:gd name="connsiteY100" fmla="*/ 763628 h 1714456"/>
              <a:gd name="connsiteX101" fmla="*/ 1745504 w 2302724"/>
              <a:gd name="connsiteY101" fmla="*/ 775788 h 1714456"/>
              <a:gd name="connsiteX102" fmla="*/ 1718071 w 2302724"/>
              <a:gd name="connsiteY102" fmla="*/ 809443 h 1714456"/>
              <a:gd name="connsiteX103" fmla="*/ 1708885 w 2302724"/>
              <a:gd name="connsiteY103" fmla="*/ 858451 h 1714456"/>
              <a:gd name="connsiteX104" fmla="*/ 1708885 w 2302724"/>
              <a:gd name="connsiteY104" fmla="*/ 884736 h 1714456"/>
              <a:gd name="connsiteX105" fmla="*/ 1732645 w 2302724"/>
              <a:gd name="connsiteY105" fmla="*/ 958924 h 1714456"/>
              <a:gd name="connsiteX106" fmla="*/ 1795228 w 2302724"/>
              <a:gd name="connsiteY106" fmla="*/ 981033 h 1714456"/>
              <a:gd name="connsiteX107" fmla="*/ 1816784 w 2302724"/>
              <a:gd name="connsiteY107" fmla="*/ 979068 h 1714456"/>
              <a:gd name="connsiteX108" fmla="*/ 1839074 w 2302724"/>
              <a:gd name="connsiteY108" fmla="*/ 974155 h 1714456"/>
              <a:gd name="connsiteX109" fmla="*/ 1856097 w 2302724"/>
              <a:gd name="connsiteY109" fmla="*/ 968013 h 1714456"/>
              <a:gd name="connsiteX110" fmla="*/ 1862221 w 2302724"/>
              <a:gd name="connsiteY110" fmla="*/ 963837 h 1714456"/>
              <a:gd name="connsiteX111" fmla="*/ 1863568 w 2302724"/>
              <a:gd name="connsiteY111" fmla="*/ 959293 h 1714456"/>
              <a:gd name="connsiteX112" fmla="*/ 1863568 w 2302724"/>
              <a:gd name="connsiteY112" fmla="*/ 954502 h 1714456"/>
              <a:gd name="connsiteX113" fmla="*/ 1861731 w 2302724"/>
              <a:gd name="connsiteY113" fmla="*/ 951432 h 1714456"/>
              <a:gd name="connsiteX114" fmla="*/ 1856832 w 2302724"/>
              <a:gd name="connsiteY114" fmla="*/ 951800 h 1714456"/>
              <a:gd name="connsiteX115" fmla="*/ 1795228 w 2302724"/>
              <a:gd name="connsiteY115" fmla="*/ 965557 h 1714456"/>
              <a:gd name="connsiteX116" fmla="*/ 1744647 w 2302724"/>
              <a:gd name="connsiteY116" fmla="*/ 947992 h 1714456"/>
              <a:gd name="connsiteX117" fmla="*/ 1726276 w 2302724"/>
              <a:gd name="connsiteY117" fmla="*/ 884736 h 1714456"/>
              <a:gd name="connsiteX118" fmla="*/ 1726276 w 2302724"/>
              <a:gd name="connsiteY118" fmla="*/ 876384 h 1714456"/>
              <a:gd name="connsiteX119" fmla="*/ 1859894 w 2302724"/>
              <a:gd name="connsiteY119" fmla="*/ 876384 h 1714456"/>
              <a:gd name="connsiteX120" fmla="*/ 1865283 w 2302724"/>
              <a:gd name="connsiteY120" fmla="*/ 874296 h 1714456"/>
              <a:gd name="connsiteX121" fmla="*/ 1867365 w 2302724"/>
              <a:gd name="connsiteY121" fmla="*/ 868891 h 1714456"/>
              <a:gd name="connsiteX122" fmla="*/ 1867365 w 2302724"/>
              <a:gd name="connsiteY122" fmla="*/ 858083 h 1714456"/>
              <a:gd name="connsiteX123" fmla="*/ 1858914 w 2302724"/>
              <a:gd name="connsiteY123" fmla="*/ 808214 h 1714456"/>
              <a:gd name="connsiteX124" fmla="*/ 1832827 w 2302724"/>
              <a:gd name="connsiteY124" fmla="*/ 775419 h 1714456"/>
              <a:gd name="connsiteX125" fmla="*/ 1788860 w 2302724"/>
              <a:gd name="connsiteY125" fmla="*/ 763628 h 1714456"/>
              <a:gd name="connsiteX126" fmla="*/ 1376788 w 2302724"/>
              <a:gd name="connsiteY126" fmla="*/ 763628 h 1714456"/>
              <a:gd name="connsiteX127" fmla="*/ 1347818 w 2302724"/>
              <a:gd name="connsiteY127" fmla="*/ 766943 h 1714456"/>
              <a:gd name="connsiteX128" fmla="*/ 1323635 w 2302724"/>
              <a:gd name="connsiteY128" fmla="*/ 773817 h 1714456"/>
              <a:gd name="connsiteX129" fmla="*/ 1316269 w 2302724"/>
              <a:gd name="connsiteY129" fmla="*/ 782656 h 1714456"/>
              <a:gd name="connsiteX130" fmla="*/ 1316269 w 2302724"/>
              <a:gd name="connsiteY130" fmla="*/ 785111 h 1714456"/>
              <a:gd name="connsiteX131" fmla="*/ 1324617 w 2302724"/>
              <a:gd name="connsiteY131" fmla="*/ 789039 h 1714456"/>
              <a:gd name="connsiteX132" fmla="*/ 1349045 w 2302724"/>
              <a:gd name="connsiteY132" fmla="*/ 781919 h 1714456"/>
              <a:gd name="connsiteX133" fmla="*/ 1376174 w 2302724"/>
              <a:gd name="connsiteY133" fmla="*/ 778850 h 1714456"/>
              <a:gd name="connsiteX134" fmla="*/ 1407968 w 2302724"/>
              <a:gd name="connsiteY134" fmla="*/ 783515 h 1714456"/>
              <a:gd name="connsiteX135" fmla="*/ 1425644 w 2302724"/>
              <a:gd name="connsiteY135" fmla="*/ 800824 h 1714456"/>
              <a:gd name="connsiteX136" fmla="*/ 1431414 w 2302724"/>
              <a:gd name="connsiteY136" fmla="*/ 836915 h 1714456"/>
              <a:gd name="connsiteX137" fmla="*/ 1431414 w 2302724"/>
              <a:gd name="connsiteY137" fmla="*/ 851277 h 1714456"/>
              <a:gd name="connsiteX138" fmla="*/ 1401093 w 2302724"/>
              <a:gd name="connsiteY138" fmla="*/ 851277 h 1714456"/>
              <a:gd name="connsiteX139" fmla="*/ 1325353 w 2302724"/>
              <a:gd name="connsiteY139" fmla="*/ 865640 h 1714456"/>
              <a:gd name="connsiteX140" fmla="*/ 1303135 w 2302724"/>
              <a:gd name="connsiteY140" fmla="*/ 912166 h 1714456"/>
              <a:gd name="connsiteX141" fmla="*/ 1303135 w 2302724"/>
              <a:gd name="connsiteY141" fmla="*/ 917444 h 1714456"/>
              <a:gd name="connsiteX142" fmla="*/ 1310623 w 2302724"/>
              <a:gd name="connsiteY142" fmla="*/ 953535 h 1714456"/>
              <a:gd name="connsiteX143" fmla="*/ 1335910 w 2302724"/>
              <a:gd name="connsiteY143" fmla="*/ 974159 h 1714456"/>
              <a:gd name="connsiteX144" fmla="*/ 1383048 w 2302724"/>
              <a:gd name="connsiteY144" fmla="*/ 981033 h 1714456"/>
              <a:gd name="connsiteX145" fmla="*/ 1442953 w 2302724"/>
              <a:gd name="connsiteY145" fmla="*/ 972686 h 1714456"/>
              <a:gd name="connsiteX146" fmla="*/ 1447618 w 2302724"/>
              <a:gd name="connsiteY146" fmla="*/ 969985 h 1714456"/>
              <a:gd name="connsiteX147" fmla="*/ 1448968 w 2302724"/>
              <a:gd name="connsiteY147" fmla="*/ 964338 h 1714456"/>
              <a:gd name="connsiteX148" fmla="*/ 1448968 w 2302724"/>
              <a:gd name="connsiteY148" fmla="*/ 836669 h 1714456"/>
              <a:gd name="connsiteX149" fmla="*/ 1441726 w 2302724"/>
              <a:gd name="connsiteY149" fmla="*/ 795054 h 1714456"/>
              <a:gd name="connsiteX150" fmla="*/ 1419016 w 2302724"/>
              <a:gd name="connsiteY150" fmla="*/ 771239 h 1714456"/>
              <a:gd name="connsiteX151" fmla="*/ 1376788 w 2302724"/>
              <a:gd name="connsiteY151" fmla="*/ 763628 h 1714456"/>
              <a:gd name="connsiteX152" fmla="*/ 263460 w 2302724"/>
              <a:gd name="connsiteY152" fmla="*/ 743179 h 1714456"/>
              <a:gd name="connsiteX153" fmla="*/ 181103 w 2302724"/>
              <a:gd name="connsiteY153" fmla="*/ 964859 h 1714456"/>
              <a:gd name="connsiteX154" fmla="*/ 569114 w 2302724"/>
              <a:gd name="connsiteY154" fmla="*/ 1120675 h 1714456"/>
              <a:gd name="connsiteX155" fmla="*/ 847070 w 2302724"/>
              <a:gd name="connsiteY155" fmla="*/ 1041047 h 1714456"/>
              <a:gd name="connsiteX156" fmla="*/ 847070 w 2302724"/>
              <a:gd name="connsiteY156" fmla="*/ 979605 h 1714456"/>
              <a:gd name="connsiteX157" fmla="*/ 559309 w 2302724"/>
              <a:gd name="connsiteY157" fmla="*/ 1066729 h 1714456"/>
              <a:gd name="connsiteX158" fmla="*/ 209414 w 2302724"/>
              <a:gd name="connsiteY158" fmla="*/ 932787 h 1714456"/>
              <a:gd name="connsiteX159" fmla="*/ 263460 w 2302724"/>
              <a:gd name="connsiteY159" fmla="*/ 764806 h 1714456"/>
              <a:gd name="connsiteX160" fmla="*/ 537914 w 2302724"/>
              <a:gd name="connsiteY160" fmla="*/ 738066 h 1714456"/>
              <a:gd name="connsiteX161" fmla="*/ 537914 w 2302724"/>
              <a:gd name="connsiteY161" fmla="*/ 900471 h 1714456"/>
              <a:gd name="connsiteX162" fmla="*/ 586101 w 2302724"/>
              <a:gd name="connsiteY162" fmla="*/ 947399 h 1714456"/>
              <a:gd name="connsiteX163" fmla="*/ 610561 w 2302724"/>
              <a:gd name="connsiteY163" fmla="*/ 947399 h 1714456"/>
              <a:gd name="connsiteX164" fmla="*/ 610561 w 2302724"/>
              <a:gd name="connsiteY164" fmla="*/ 912756 h 1714456"/>
              <a:gd name="connsiteX165" fmla="*/ 593684 w 2302724"/>
              <a:gd name="connsiteY165" fmla="*/ 912756 h 1714456"/>
              <a:gd name="connsiteX166" fmla="*/ 579252 w 2302724"/>
              <a:gd name="connsiteY166" fmla="*/ 897892 h 1714456"/>
              <a:gd name="connsiteX167" fmla="*/ 579252 w 2302724"/>
              <a:gd name="connsiteY167" fmla="*/ 816689 h 1714456"/>
              <a:gd name="connsiteX168" fmla="*/ 610561 w 2302724"/>
              <a:gd name="connsiteY168" fmla="*/ 816689 h 1714456"/>
              <a:gd name="connsiteX169" fmla="*/ 610561 w 2302724"/>
              <a:gd name="connsiteY169" fmla="*/ 783029 h 1714456"/>
              <a:gd name="connsiteX170" fmla="*/ 579252 w 2302724"/>
              <a:gd name="connsiteY170" fmla="*/ 783029 h 1714456"/>
              <a:gd name="connsiteX171" fmla="*/ 579252 w 2302724"/>
              <a:gd name="connsiteY171" fmla="*/ 738066 h 1714456"/>
              <a:gd name="connsiteX172" fmla="*/ 875860 w 2302724"/>
              <a:gd name="connsiteY172" fmla="*/ 724344 h 1714456"/>
              <a:gd name="connsiteX173" fmla="*/ 876593 w 2302724"/>
              <a:gd name="connsiteY173" fmla="*/ 724344 h 1714456"/>
              <a:gd name="connsiteX174" fmla="*/ 878550 w 2302724"/>
              <a:gd name="connsiteY174" fmla="*/ 724344 h 1714456"/>
              <a:gd name="connsiteX175" fmla="*/ 882586 w 2302724"/>
              <a:gd name="connsiteY175" fmla="*/ 727057 h 1714456"/>
              <a:gd name="connsiteX176" fmla="*/ 882586 w 2302724"/>
              <a:gd name="connsiteY176" fmla="*/ 727427 h 1714456"/>
              <a:gd name="connsiteX177" fmla="*/ 878550 w 2302724"/>
              <a:gd name="connsiteY177" fmla="*/ 730263 h 1714456"/>
              <a:gd name="connsiteX178" fmla="*/ 875860 w 2302724"/>
              <a:gd name="connsiteY178" fmla="*/ 730140 h 1714456"/>
              <a:gd name="connsiteX179" fmla="*/ 2091227 w 2302724"/>
              <a:gd name="connsiteY179" fmla="*/ 721116 h 1714456"/>
              <a:gd name="connsiteX180" fmla="*/ 2091227 w 2302724"/>
              <a:gd name="connsiteY180" fmla="*/ 754480 h 1714456"/>
              <a:gd name="connsiteX181" fmla="*/ 2096608 w 2302724"/>
              <a:gd name="connsiteY181" fmla="*/ 754480 h 1714456"/>
              <a:gd name="connsiteX182" fmla="*/ 2096608 w 2302724"/>
              <a:gd name="connsiteY182" fmla="*/ 726766 h 1714456"/>
              <a:gd name="connsiteX183" fmla="*/ 2107640 w 2302724"/>
              <a:gd name="connsiteY183" fmla="*/ 754480 h 1714456"/>
              <a:gd name="connsiteX184" fmla="*/ 2111138 w 2302724"/>
              <a:gd name="connsiteY184" fmla="*/ 754480 h 1714456"/>
              <a:gd name="connsiteX185" fmla="*/ 2121901 w 2302724"/>
              <a:gd name="connsiteY185" fmla="*/ 726766 h 1714456"/>
              <a:gd name="connsiteX186" fmla="*/ 2122170 w 2302724"/>
              <a:gd name="connsiteY186" fmla="*/ 726766 h 1714456"/>
              <a:gd name="connsiteX187" fmla="*/ 2122170 w 2302724"/>
              <a:gd name="connsiteY187" fmla="*/ 754480 h 1714456"/>
              <a:gd name="connsiteX188" fmla="*/ 2127551 w 2302724"/>
              <a:gd name="connsiteY188" fmla="*/ 754480 h 1714456"/>
              <a:gd name="connsiteX189" fmla="*/ 2127551 w 2302724"/>
              <a:gd name="connsiteY189" fmla="*/ 721116 h 1714456"/>
              <a:gd name="connsiteX190" fmla="*/ 2119210 w 2302724"/>
              <a:gd name="connsiteY190" fmla="*/ 721116 h 1714456"/>
              <a:gd name="connsiteX191" fmla="*/ 2109524 w 2302724"/>
              <a:gd name="connsiteY191" fmla="*/ 746408 h 1714456"/>
              <a:gd name="connsiteX192" fmla="*/ 2099568 w 2302724"/>
              <a:gd name="connsiteY192" fmla="*/ 721116 h 1714456"/>
              <a:gd name="connsiteX193" fmla="*/ 2058132 w 2302724"/>
              <a:gd name="connsiteY193" fmla="*/ 721116 h 1714456"/>
              <a:gd name="connsiteX194" fmla="*/ 2058132 w 2302724"/>
              <a:gd name="connsiteY194" fmla="*/ 725421 h 1714456"/>
              <a:gd name="connsiteX195" fmla="*/ 2068356 w 2302724"/>
              <a:gd name="connsiteY195" fmla="*/ 725421 h 1714456"/>
              <a:gd name="connsiteX196" fmla="*/ 2068356 w 2302724"/>
              <a:gd name="connsiteY196" fmla="*/ 754480 h 1714456"/>
              <a:gd name="connsiteX197" fmla="*/ 2074007 w 2302724"/>
              <a:gd name="connsiteY197" fmla="*/ 754480 h 1714456"/>
              <a:gd name="connsiteX198" fmla="*/ 2074007 w 2302724"/>
              <a:gd name="connsiteY198" fmla="*/ 725421 h 1714456"/>
              <a:gd name="connsiteX199" fmla="*/ 2084500 w 2302724"/>
              <a:gd name="connsiteY199" fmla="*/ 725421 h 1714456"/>
              <a:gd name="connsiteX200" fmla="*/ 2084500 w 2302724"/>
              <a:gd name="connsiteY200" fmla="*/ 721116 h 1714456"/>
              <a:gd name="connsiteX201" fmla="*/ 878533 w 2302724"/>
              <a:gd name="connsiteY201" fmla="*/ 720577 h 1714456"/>
              <a:gd name="connsiteX202" fmla="*/ 873331 w 2302724"/>
              <a:gd name="connsiteY202" fmla="*/ 720824 h 1714456"/>
              <a:gd name="connsiteX203" fmla="*/ 872093 w 2302724"/>
              <a:gd name="connsiteY203" fmla="*/ 722552 h 1714456"/>
              <a:gd name="connsiteX204" fmla="*/ 872093 w 2302724"/>
              <a:gd name="connsiteY204" fmla="*/ 740700 h 1714456"/>
              <a:gd name="connsiteX205" fmla="*/ 872836 w 2302724"/>
              <a:gd name="connsiteY205" fmla="*/ 741441 h 1714456"/>
              <a:gd name="connsiteX206" fmla="*/ 875684 w 2302724"/>
              <a:gd name="connsiteY206" fmla="*/ 741441 h 1714456"/>
              <a:gd name="connsiteX207" fmla="*/ 876304 w 2302724"/>
              <a:gd name="connsiteY207" fmla="*/ 740700 h 1714456"/>
              <a:gd name="connsiteX208" fmla="*/ 876304 w 2302724"/>
              <a:gd name="connsiteY208" fmla="*/ 733416 h 1714456"/>
              <a:gd name="connsiteX209" fmla="*/ 876923 w 2302724"/>
              <a:gd name="connsiteY209" fmla="*/ 733416 h 1714456"/>
              <a:gd name="connsiteX210" fmla="*/ 878162 w 2302724"/>
              <a:gd name="connsiteY210" fmla="*/ 733416 h 1714456"/>
              <a:gd name="connsiteX211" fmla="*/ 878781 w 2302724"/>
              <a:gd name="connsiteY211" fmla="*/ 733787 h 1714456"/>
              <a:gd name="connsiteX212" fmla="*/ 882992 w 2302724"/>
              <a:gd name="connsiteY212" fmla="*/ 740947 h 1714456"/>
              <a:gd name="connsiteX213" fmla="*/ 883611 w 2302724"/>
              <a:gd name="connsiteY213" fmla="*/ 741564 h 1714456"/>
              <a:gd name="connsiteX214" fmla="*/ 886708 w 2302724"/>
              <a:gd name="connsiteY214" fmla="*/ 741564 h 1714456"/>
              <a:gd name="connsiteX215" fmla="*/ 887698 w 2302724"/>
              <a:gd name="connsiteY215" fmla="*/ 740823 h 1714456"/>
              <a:gd name="connsiteX216" fmla="*/ 887574 w 2302724"/>
              <a:gd name="connsiteY216" fmla="*/ 740330 h 1714456"/>
              <a:gd name="connsiteX217" fmla="*/ 883116 w 2302724"/>
              <a:gd name="connsiteY217" fmla="*/ 732799 h 1714456"/>
              <a:gd name="connsiteX218" fmla="*/ 886831 w 2302724"/>
              <a:gd name="connsiteY218" fmla="*/ 727491 h 1714456"/>
              <a:gd name="connsiteX219" fmla="*/ 886831 w 2302724"/>
              <a:gd name="connsiteY219" fmla="*/ 726997 h 1714456"/>
              <a:gd name="connsiteX220" fmla="*/ 878533 w 2302724"/>
              <a:gd name="connsiteY220" fmla="*/ 720577 h 1714456"/>
              <a:gd name="connsiteX221" fmla="*/ 293064 w 2302724"/>
              <a:gd name="connsiteY221" fmla="*/ 720308 h 1714456"/>
              <a:gd name="connsiteX222" fmla="*/ 293064 w 2302724"/>
              <a:gd name="connsiteY222" fmla="*/ 760130 h 1714456"/>
              <a:gd name="connsiteX223" fmla="*/ 334770 w 2302724"/>
              <a:gd name="connsiteY223" fmla="*/ 760130 h 1714456"/>
              <a:gd name="connsiteX224" fmla="*/ 334770 w 2302724"/>
              <a:gd name="connsiteY224" fmla="*/ 720308 h 1714456"/>
              <a:gd name="connsiteX225" fmla="*/ 879492 w 2302724"/>
              <a:gd name="connsiteY225" fmla="*/ 717617 h 1714456"/>
              <a:gd name="connsiteX226" fmla="*/ 893349 w 2302724"/>
              <a:gd name="connsiteY226" fmla="*/ 731474 h 1714456"/>
              <a:gd name="connsiteX227" fmla="*/ 879492 w 2302724"/>
              <a:gd name="connsiteY227" fmla="*/ 745331 h 1714456"/>
              <a:gd name="connsiteX228" fmla="*/ 865635 w 2302724"/>
              <a:gd name="connsiteY228" fmla="*/ 731474 h 1714456"/>
              <a:gd name="connsiteX229" fmla="*/ 879492 w 2302724"/>
              <a:gd name="connsiteY229" fmla="*/ 717617 h 1714456"/>
              <a:gd name="connsiteX230" fmla="*/ 877640 w 2302724"/>
              <a:gd name="connsiteY230" fmla="*/ 714780 h 1714456"/>
              <a:gd name="connsiteX231" fmla="*/ 862675 w 2302724"/>
              <a:gd name="connsiteY231" fmla="*/ 731401 h 1714456"/>
              <a:gd name="connsiteX232" fmla="*/ 879357 w 2302724"/>
              <a:gd name="connsiteY232" fmla="*/ 748022 h 1714456"/>
              <a:gd name="connsiteX233" fmla="*/ 896039 w 2302724"/>
              <a:gd name="connsiteY233" fmla="*/ 731401 h 1714456"/>
              <a:gd name="connsiteX234" fmla="*/ 879357 w 2302724"/>
              <a:gd name="connsiteY234" fmla="*/ 714780 h 1714456"/>
              <a:gd name="connsiteX235" fmla="*/ 877640 w 2302724"/>
              <a:gd name="connsiteY235" fmla="*/ 714780 h 1714456"/>
              <a:gd name="connsiteX236" fmla="*/ 792180 w 2302724"/>
              <a:gd name="connsiteY236" fmla="*/ 714658 h 1714456"/>
              <a:gd name="connsiteX237" fmla="*/ 792180 w 2302724"/>
              <a:gd name="connsiteY237" fmla="*/ 901914 h 1714456"/>
              <a:gd name="connsiteX238" fmla="*/ 834154 w 2302724"/>
              <a:gd name="connsiteY238" fmla="*/ 946054 h 1714456"/>
              <a:gd name="connsiteX239" fmla="*/ 834154 w 2302724"/>
              <a:gd name="connsiteY239" fmla="*/ 714658 h 1714456"/>
              <a:gd name="connsiteX240" fmla="*/ 1652641 w 2302724"/>
              <a:gd name="connsiteY240" fmla="*/ 683716 h 1714456"/>
              <a:gd name="connsiteX241" fmla="*/ 1647756 w 2302724"/>
              <a:gd name="connsiteY241" fmla="*/ 686049 h 1714456"/>
              <a:gd name="connsiteX242" fmla="*/ 1645924 w 2302724"/>
              <a:gd name="connsiteY242" fmla="*/ 691331 h 1714456"/>
              <a:gd name="connsiteX243" fmla="*/ 1645924 w 2302724"/>
              <a:gd name="connsiteY243" fmla="*/ 970997 h 1714456"/>
              <a:gd name="connsiteX244" fmla="*/ 1647756 w 2302724"/>
              <a:gd name="connsiteY244" fmla="*/ 976278 h 1714456"/>
              <a:gd name="connsiteX245" fmla="*/ 1652641 w 2302724"/>
              <a:gd name="connsiteY245" fmla="*/ 978612 h 1714456"/>
              <a:gd name="connsiteX246" fmla="*/ 1656671 w 2302724"/>
              <a:gd name="connsiteY246" fmla="*/ 978612 h 1714456"/>
              <a:gd name="connsiteX247" fmla="*/ 1661434 w 2302724"/>
              <a:gd name="connsiteY247" fmla="*/ 976278 h 1714456"/>
              <a:gd name="connsiteX248" fmla="*/ 1663144 w 2302724"/>
              <a:gd name="connsiteY248" fmla="*/ 970997 h 1714456"/>
              <a:gd name="connsiteX249" fmla="*/ 1663144 w 2302724"/>
              <a:gd name="connsiteY249" fmla="*/ 691208 h 1714456"/>
              <a:gd name="connsiteX250" fmla="*/ 1661434 w 2302724"/>
              <a:gd name="connsiteY250" fmla="*/ 685804 h 1714456"/>
              <a:gd name="connsiteX251" fmla="*/ 1656671 w 2302724"/>
              <a:gd name="connsiteY251" fmla="*/ 683716 h 1714456"/>
              <a:gd name="connsiteX252" fmla="*/ 1506864 w 2302724"/>
              <a:gd name="connsiteY252" fmla="*/ 683716 h 1714456"/>
              <a:gd name="connsiteX253" fmla="*/ 1502061 w 2302724"/>
              <a:gd name="connsiteY253" fmla="*/ 686049 h 1714456"/>
              <a:gd name="connsiteX254" fmla="*/ 1500090 w 2302724"/>
              <a:gd name="connsiteY254" fmla="*/ 691331 h 1714456"/>
              <a:gd name="connsiteX255" fmla="*/ 1500090 w 2302724"/>
              <a:gd name="connsiteY255" fmla="*/ 970997 h 1714456"/>
              <a:gd name="connsiteX256" fmla="*/ 1502061 w 2302724"/>
              <a:gd name="connsiteY256" fmla="*/ 976278 h 1714456"/>
              <a:gd name="connsiteX257" fmla="*/ 1506864 w 2302724"/>
              <a:gd name="connsiteY257" fmla="*/ 978612 h 1714456"/>
              <a:gd name="connsiteX258" fmla="*/ 1511052 w 2302724"/>
              <a:gd name="connsiteY258" fmla="*/ 978612 h 1714456"/>
              <a:gd name="connsiteX259" fmla="*/ 1515732 w 2302724"/>
              <a:gd name="connsiteY259" fmla="*/ 976278 h 1714456"/>
              <a:gd name="connsiteX260" fmla="*/ 1517580 w 2302724"/>
              <a:gd name="connsiteY260" fmla="*/ 970997 h 1714456"/>
              <a:gd name="connsiteX261" fmla="*/ 1517580 w 2302724"/>
              <a:gd name="connsiteY261" fmla="*/ 691208 h 1714456"/>
              <a:gd name="connsiteX262" fmla="*/ 1515732 w 2302724"/>
              <a:gd name="connsiteY262" fmla="*/ 685804 h 1714456"/>
              <a:gd name="connsiteX263" fmla="*/ 1511052 w 2302724"/>
              <a:gd name="connsiteY263" fmla="*/ 683716 h 1714456"/>
              <a:gd name="connsiteX264" fmla="*/ 1580643 w 2302724"/>
              <a:gd name="connsiteY264" fmla="*/ 681832 h 1714456"/>
              <a:gd name="connsiteX265" fmla="*/ 1575347 w 2302724"/>
              <a:gd name="connsiteY265" fmla="*/ 684169 h 1714456"/>
              <a:gd name="connsiteX266" fmla="*/ 1573007 w 2302724"/>
              <a:gd name="connsiteY266" fmla="*/ 689457 h 1714456"/>
              <a:gd name="connsiteX267" fmla="*/ 1573007 w 2302724"/>
              <a:gd name="connsiteY267" fmla="*/ 718972 h 1714456"/>
              <a:gd name="connsiteX268" fmla="*/ 1575347 w 2302724"/>
              <a:gd name="connsiteY268" fmla="*/ 724137 h 1714456"/>
              <a:gd name="connsiteX269" fmla="*/ 1580643 w 2302724"/>
              <a:gd name="connsiteY269" fmla="*/ 726228 h 1714456"/>
              <a:gd name="connsiteX270" fmla="*/ 1582984 w 2302724"/>
              <a:gd name="connsiteY270" fmla="*/ 726228 h 1714456"/>
              <a:gd name="connsiteX271" fmla="*/ 1588403 w 2302724"/>
              <a:gd name="connsiteY271" fmla="*/ 724260 h 1714456"/>
              <a:gd name="connsiteX272" fmla="*/ 1590497 w 2302724"/>
              <a:gd name="connsiteY272" fmla="*/ 718972 h 1714456"/>
              <a:gd name="connsiteX273" fmla="*/ 1590497 w 2302724"/>
              <a:gd name="connsiteY273" fmla="*/ 689457 h 1714456"/>
              <a:gd name="connsiteX274" fmla="*/ 1588403 w 2302724"/>
              <a:gd name="connsiteY274" fmla="*/ 684046 h 1714456"/>
              <a:gd name="connsiteX275" fmla="*/ 1583107 w 2302724"/>
              <a:gd name="connsiteY275" fmla="*/ 681832 h 1714456"/>
              <a:gd name="connsiteX276" fmla="*/ 1181349 w 2302724"/>
              <a:gd name="connsiteY276" fmla="*/ 681832 h 1714456"/>
              <a:gd name="connsiteX277" fmla="*/ 1133322 w 2302724"/>
              <a:gd name="connsiteY277" fmla="*/ 693018 h 1714456"/>
              <a:gd name="connsiteX278" fmla="*/ 1096689 w 2302724"/>
              <a:gd name="connsiteY278" fmla="*/ 732355 h 1714456"/>
              <a:gd name="connsiteX279" fmla="*/ 1082232 w 2302724"/>
              <a:gd name="connsiteY279" fmla="*/ 806725 h 1714456"/>
              <a:gd name="connsiteX280" fmla="*/ 1082232 w 2302724"/>
              <a:gd name="connsiteY280" fmla="*/ 856018 h 1714456"/>
              <a:gd name="connsiteX281" fmla="*/ 1095219 w 2302724"/>
              <a:gd name="connsiteY281" fmla="*/ 926208 h 1714456"/>
              <a:gd name="connsiteX282" fmla="*/ 1130259 w 2302724"/>
              <a:gd name="connsiteY282" fmla="*/ 967757 h 1714456"/>
              <a:gd name="connsiteX283" fmla="*/ 1181594 w 2302724"/>
              <a:gd name="connsiteY283" fmla="*/ 981033 h 1714456"/>
              <a:gd name="connsiteX284" fmla="*/ 1217981 w 2302724"/>
              <a:gd name="connsiteY284" fmla="*/ 979681 h 1714456"/>
              <a:gd name="connsiteX285" fmla="*/ 1252531 w 2302724"/>
              <a:gd name="connsiteY285" fmla="*/ 975993 h 1714456"/>
              <a:gd name="connsiteX286" fmla="*/ 1257187 w 2302724"/>
              <a:gd name="connsiteY286" fmla="*/ 973412 h 1714456"/>
              <a:gd name="connsiteX287" fmla="*/ 1259270 w 2302724"/>
              <a:gd name="connsiteY287" fmla="*/ 968372 h 1714456"/>
              <a:gd name="connsiteX288" fmla="*/ 1259270 w 2302724"/>
              <a:gd name="connsiteY288" fmla="*/ 834629 h 1714456"/>
              <a:gd name="connsiteX289" fmla="*/ 1252531 w 2302724"/>
              <a:gd name="connsiteY289" fmla="*/ 827007 h 1714456"/>
              <a:gd name="connsiteX290" fmla="*/ 1248611 w 2302724"/>
              <a:gd name="connsiteY290" fmla="*/ 827007 h 1714456"/>
              <a:gd name="connsiteX291" fmla="*/ 1241872 w 2302724"/>
              <a:gd name="connsiteY291" fmla="*/ 834629 h 1714456"/>
              <a:gd name="connsiteX292" fmla="*/ 1241872 w 2302724"/>
              <a:gd name="connsiteY292" fmla="*/ 960873 h 1714456"/>
              <a:gd name="connsiteX293" fmla="*/ 1217737 w 2302724"/>
              <a:gd name="connsiteY293" fmla="*/ 963086 h 1714456"/>
              <a:gd name="connsiteX294" fmla="*/ 1181594 w 2302724"/>
              <a:gd name="connsiteY294" fmla="*/ 964315 h 1714456"/>
              <a:gd name="connsiteX295" fmla="*/ 1121070 w 2302724"/>
              <a:gd name="connsiteY295" fmla="*/ 937394 h 1714456"/>
              <a:gd name="connsiteX296" fmla="*/ 1099629 w 2302724"/>
              <a:gd name="connsiteY296" fmla="*/ 856018 h 1714456"/>
              <a:gd name="connsiteX297" fmla="*/ 1099629 w 2302724"/>
              <a:gd name="connsiteY297" fmla="*/ 806725 h 1714456"/>
              <a:gd name="connsiteX298" fmla="*/ 1123153 w 2302724"/>
              <a:gd name="connsiteY298" fmla="*/ 722889 h 1714456"/>
              <a:gd name="connsiteX299" fmla="*/ 1181349 w 2302724"/>
              <a:gd name="connsiteY299" fmla="*/ 698058 h 1714456"/>
              <a:gd name="connsiteX300" fmla="*/ 1220064 w 2302724"/>
              <a:gd name="connsiteY300" fmla="*/ 702729 h 1714456"/>
              <a:gd name="connsiteX301" fmla="*/ 1255839 w 2302724"/>
              <a:gd name="connsiteY301" fmla="*/ 713916 h 1714456"/>
              <a:gd name="connsiteX302" fmla="*/ 1261598 w 2302724"/>
              <a:gd name="connsiteY302" fmla="*/ 714161 h 1714456"/>
              <a:gd name="connsiteX303" fmla="*/ 1263313 w 2302724"/>
              <a:gd name="connsiteY303" fmla="*/ 709122 h 1714456"/>
              <a:gd name="connsiteX304" fmla="*/ 1263313 w 2302724"/>
              <a:gd name="connsiteY304" fmla="*/ 705680 h 1714456"/>
              <a:gd name="connsiteX305" fmla="*/ 1261598 w 2302724"/>
              <a:gd name="connsiteY305" fmla="*/ 701009 h 1714456"/>
              <a:gd name="connsiteX306" fmla="*/ 1255839 w 2302724"/>
              <a:gd name="connsiteY306" fmla="*/ 697567 h 1714456"/>
              <a:gd name="connsiteX307" fmla="*/ 1224843 w 2302724"/>
              <a:gd name="connsiteY307" fmla="*/ 687118 h 1714456"/>
              <a:gd name="connsiteX308" fmla="*/ 1181349 w 2302724"/>
              <a:gd name="connsiteY308" fmla="*/ 681832 h 1714456"/>
              <a:gd name="connsiteX309" fmla="*/ 703420 w 2302724"/>
              <a:gd name="connsiteY309" fmla="*/ 589746 h 1714456"/>
              <a:gd name="connsiteX310" fmla="*/ 351452 w 2302724"/>
              <a:gd name="connsiteY310" fmla="*/ 685792 h 1714456"/>
              <a:gd name="connsiteX311" fmla="*/ 351452 w 2302724"/>
              <a:gd name="connsiteY311" fmla="*/ 701390 h 1714456"/>
              <a:gd name="connsiteX312" fmla="*/ 941170 w 2302724"/>
              <a:gd name="connsiteY312" fmla="*/ 753711 h 1714456"/>
              <a:gd name="connsiteX313" fmla="*/ 862614 w 2302724"/>
              <a:gd name="connsiteY313" fmla="*/ 903184 h 1714456"/>
              <a:gd name="connsiteX314" fmla="*/ 862614 w 2302724"/>
              <a:gd name="connsiteY314" fmla="*/ 947399 h 1714456"/>
              <a:gd name="connsiteX315" fmla="*/ 980631 w 2302724"/>
              <a:gd name="connsiteY315" fmla="*/ 741675 h 1714456"/>
              <a:gd name="connsiteX316" fmla="*/ 703420 w 2302724"/>
              <a:gd name="connsiteY316" fmla="*/ 589746 h 1714456"/>
              <a:gd name="connsiteX317" fmla="*/ 2166722 w 2302724"/>
              <a:gd name="connsiteY317" fmla="*/ 110544 h 1714456"/>
              <a:gd name="connsiteX318" fmla="*/ 2117351 w 2302724"/>
              <a:gd name="connsiteY318" fmla="*/ 165304 h 1714456"/>
              <a:gd name="connsiteX319" fmla="*/ 2166722 w 2302724"/>
              <a:gd name="connsiteY319" fmla="*/ 220064 h 1714456"/>
              <a:gd name="connsiteX320" fmla="*/ 2216093 w 2302724"/>
              <a:gd name="connsiteY320" fmla="*/ 165304 h 1714456"/>
              <a:gd name="connsiteX321" fmla="*/ 2166722 w 2302724"/>
              <a:gd name="connsiteY321" fmla="*/ 110544 h 1714456"/>
              <a:gd name="connsiteX322" fmla="*/ 142058 w 2302724"/>
              <a:gd name="connsiteY322" fmla="*/ 110544 h 1714456"/>
              <a:gd name="connsiteX323" fmla="*/ 92221 w 2302724"/>
              <a:gd name="connsiteY323" fmla="*/ 165304 h 1714456"/>
              <a:gd name="connsiteX324" fmla="*/ 142058 w 2302724"/>
              <a:gd name="connsiteY324" fmla="*/ 220064 h 1714456"/>
              <a:gd name="connsiteX325" fmla="*/ 191895 w 2302724"/>
              <a:gd name="connsiteY325" fmla="*/ 165304 h 1714456"/>
              <a:gd name="connsiteX326" fmla="*/ 142058 w 2302724"/>
              <a:gd name="connsiteY326" fmla="*/ 110544 h 1714456"/>
              <a:gd name="connsiteX327" fmla="*/ 363294 w 2302724"/>
              <a:gd name="connsiteY327" fmla="*/ 17400 h 1714456"/>
              <a:gd name="connsiteX328" fmla="*/ 339002 w 2302724"/>
              <a:gd name="connsiteY328" fmla="*/ 52655 h 1714456"/>
              <a:gd name="connsiteX329" fmla="*/ 336280 w 2302724"/>
              <a:gd name="connsiteY329" fmla="*/ 64484 h 1714456"/>
              <a:gd name="connsiteX330" fmla="*/ 363294 w 2302724"/>
              <a:gd name="connsiteY330" fmla="*/ 64484 h 1714456"/>
              <a:gd name="connsiteX331" fmla="*/ 731246 w 2302724"/>
              <a:gd name="connsiteY331" fmla="*/ 16377 h 1714456"/>
              <a:gd name="connsiteX332" fmla="*/ 731246 w 2302724"/>
              <a:gd name="connsiteY332" fmla="*/ 64484 h 1714456"/>
              <a:gd name="connsiteX333" fmla="*/ 759191 w 2302724"/>
              <a:gd name="connsiteY333" fmla="*/ 64484 h 1714456"/>
              <a:gd name="connsiteX334" fmla="*/ 756670 w 2302724"/>
              <a:gd name="connsiteY334" fmla="*/ 52574 h 1714456"/>
              <a:gd name="connsiteX335" fmla="*/ 731246 w 2302724"/>
              <a:gd name="connsiteY335" fmla="*/ 16377 h 1714456"/>
              <a:gd name="connsiteX336" fmla="*/ 363198 w 2302724"/>
              <a:gd name="connsiteY336" fmla="*/ 0 h 1714456"/>
              <a:gd name="connsiteX337" fmla="*/ 731473 w 2302724"/>
              <a:gd name="connsiteY337" fmla="*/ 0 h 1714456"/>
              <a:gd name="connsiteX338" fmla="*/ 731473 w 2302724"/>
              <a:gd name="connsiteY338" fmla="*/ 8355 h 1714456"/>
              <a:gd name="connsiteX339" fmla="*/ 764261 w 2302724"/>
              <a:gd name="connsiteY339" fmla="*/ 49900 h 1714456"/>
              <a:gd name="connsiteX340" fmla="*/ 767222 w 2302724"/>
              <a:gd name="connsiteY340" fmla="*/ 63825 h 1714456"/>
              <a:gd name="connsiteX341" fmla="*/ 814817 w 2302724"/>
              <a:gd name="connsiteY341" fmla="*/ 63825 h 1714456"/>
              <a:gd name="connsiteX342" fmla="*/ 814817 w 2302724"/>
              <a:gd name="connsiteY342" fmla="*/ 23209 h 1714456"/>
              <a:gd name="connsiteX343" fmla="*/ 938350 w 2302724"/>
              <a:gd name="connsiteY343" fmla="*/ 23209 h 1714456"/>
              <a:gd name="connsiteX344" fmla="*/ 938350 w 2302724"/>
              <a:gd name="connsiteY344" fmla="*/ 63825 h 1714456"/>
              <a:gd name="connsiteX345" fmla="*/ 1042212 w 2302724"/>
              <a:gd name="connsiteY345" fmla="*/ 63825 h 1714456"/>
              <a:gd name="connsiteX346" fmla="*/ 1042212 w 2302724"/>
              <a:gd name="connsiteY346" fmla="*/ 61969 h 1714456"/>
              <a:gd name="connsiteX347" fmla="*/ 1033963 w 2302724"/>
              <a:gd name="connsiteY347" fmla="*/ 51292 h 1714456"/>
              <a:gd name="connsiteX348" fmla="*/ 1037135 w 2302724"/>
              <a:gd name="connsiteY348" fmla="*/ 51292 h 1714456"/>
              <a:gd name="connsiteX349" fmla="*/ 1042424 w 2302724"/>
              <a:gd name="connsiteY349" fmla="*/ 55006 h 1714456"/>
              <a:gd name="connsiteX350" fmla="*/ 1206995 w 2302724"/>
              <a:gd name="connsiteY350" fmla="*/ 55006 h 1714456"/>
              <a:gd name="connsiteX351" fmla="*/ 1212494 w 2302724"/>
              <a:gd name="connsiteY351" fmla="*/ 51292 h 1714456"/>
              <a:gd name="connsiteX352" fmla="*/ 1215667 w 2302724"/>
              <a:gd name="connsiteY352" fmla="*/ 51292 h 1714456"/>
              <a:gd name="connsiteX353" fmla="*/ 1206995 w 2302724"/>
              <a:gd name="connsiteY353" fmla="*/ 62201 h 1714456"/>
              <a:gd name="connsiteX354" fmla="*/ 1206995 w 2302724"/>
              <a:gd name="connsiteY354" fmla="*/ 63825 h 1714456"/>
              <a:gd name="connsiteX355" fmla="*/ 1336028 w 2302724"/>
              <a:gd name="connsiteY355" fmla="*/ 63825 h 1714456"/>
              <a:gd name="connsiteX356" fmla="*/ 1336028 w 2302724"/>
              <a:gd name="connsiteY356" fmla="*/ 61969 h 1714456"/>
              <a:gd name="connsiteX357" fmla="*/ 1327779 w 2302724"/>
              <a:gd name="connsiteY357" fmla="*/ 51292 h 1714456"/>
              <a:gd name="connsiteX358" fmla="*/ 1330951 w 2302724"/>
              <a:gd name="connsiteY358" fmla="*/ 51292 h 1714456"/>
              <a:gd name="connsiteX359" fmla="*/ 1336240 w 2302724"/>
              <a:gd name="connsiteY359" fmla="*/ 55006 h 1714456"/>
              <a:gd name="connsiteX360" fmla="*/ 1500811 w 2302724"/>
              <a:gd name="connsiteY360" fmla="*/ 55006 h 1714456"/>
              <a:gd name="connsiteX361" fmla="*/ 1506311 w 2302724"/>
              <a:gd name="connsiteY361" fmla="*/ 51292 h 1714456"/>
              <a:gd name="connsiteX362" fmla="*/ 1509483 w 2302724"/>
              <a:gd name="connsiteY362" fmla="*/ 51292 h 1714456"/>
              <a:gd name="connsiteX363" fmla="*/ 1500811 w 2302724"/>
              <a:gd name="connsiteY363" fmla="*/ 62201 h 1714456"/>
              <a:gd name="connsiteX364" fmla="*/ 1500811 w 2302724"/>
              <a:gd name="connsiteY364" fmla="*/ 63825 h 1714456"/>
              <a:gd name="connsiteX365" fmla="*/ 2254707 w 2302724"/>
              <a:gd name="connsiteY365" fmla="*/ 63825 h 1714456"/>
              <a:gd name="connsiteX366" fmla="*/ 2254707 w 2302724"/>
              <a:gd name="connsiteY366" fmla="*/ 596706 h 1714456"/>
              <a:gd name="connsiteX367" fmla="*/ 2302724 w 2302724"/>
              <a:gd name="connsiteY367" fmla="*/ 649158 h 1714456"/>
              <a:gd name="connsiteX368" fmla="*/ 2302724 w 2302724"/>
              <a:gd name="connsiteY368" fmla="*/ 1413666 h 1714456"/>
              <a:gd name="connsiteX369" fmla="*/ 2254707 w 2302724"/>
              <a:gd name="connsiteY369" fmla="*/ 1466119 h 1714456"/>
              <a:gd name="connsiteX370" fmla="*/ 2254707 w 2302724"/>
              <a:gd name="connsiteY370" fmla="*/ 1714456 h 1714456"/>
              <a:gd name="connsiteX371" fmla="*/ 46114 w 2302724"/>
              <a:gd name="connsiteY371" fmla="*/ 1714456 h 1714456"/>
              <a:gd name="connsiteX372" fmla="*/ 46114 w 2302724"/>
              <a:gd name="connsiteY372" fmla="*/ 1082240 h 1714456"/>
              <a:gd name="connsiteX373" fmla="*/ 0 w 2302724"/>
              <a:gd name="connsiteY373" fmla="*/ 1082240 h 1714456"/>
              <a:gd name="connsiteX374" fmla="*/ 0 w 2302724"/>
              <a:gd name="connsiteY374" fmla="*/ 873359 h 1714456"/>
              <a:gd name="connsiteX375" fmla="*/ 46114 w 2302724"/>
              <a:gd name="connsiteY375" fmla="*/ 873359 h 1714456"/>
              <a:gd name="connsiteX376" fmla="*/ 46114 w 2302724"/>
              <a:gd name="connsiteY376" fmla="*/ 63825 h 1714456"/>
              <a:gd name="connsiteX377" fmla="*/ 328507 w 2302724"/>
              <a:gd name="connsiteY377" fmla="*/ 63825 h 1714456"/>
              <a:gd name="connsiteX378" fmla="*/ 331469 w 2302724"/>
              <a:gd name="connsiteY378" fmla="*/ 49900 h 1714456"/>
              <a:gd name="connsiteX379" fmla="*/ 363198 w 2302724"/>
              <a:gd name="connsiteY379"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302724" h="1714456">
                <a:moveTo>
                  <a:pt x="2166722" y="1565017"/>
                </a:moveTo>
                <a:cubicBezTo>
                  <a:pt x="2139456" y="1565017"/>
                  <a:pt x="2117351" y="1589534"/>
                  <a:pt x="2117351" y="1619777"/>
                </a:cubicBezTo>
                <a:cubicBezTo>
                  <a:pt x="2117351" y="1650020"/>
                  <a:pt x="2139456"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1401163" y="866680"/>
                </a:moveTo>
                <a:lnTo>
                  <a:pt x="1431479" y="866680"/>
                </a:lnTo>
                <a:lnTo>
                  <a:pt x="1431479" y="960760"/>
                </a:lnTo>
                <a:cubicBezTo>
                  <a:pt x="1426201" y="961866"/>
                  <a:pt x="1418837" y="962725"/>
                  <a:pt x="1409877" y="963831"/>
                </a:cubicBezTo>
                <a:cubicBezTo>
                  <a:pt x="1400795" y="964813"/>
                  <a:pt x="1391958" y="965427"/>
                  <a:pt x="1383366" y="965427"/>
                </a:cubicBezTo>
                <a:cubicBezTo>
                  <a:pt x="1366306" y="965427"/>
                  <a:pt x="1353418" y="963708"/>
                  <a:pt x="1344458" y="960146"/>
                </a:cubicBezTo>
                <a:cubicBezTo>
                  <a:pt x="1335499" y="956584"/>
                  <a:pt x="1329239" y="951426"/>
                  <a:pt x="1326048" y="944671"/>
                </a:cubicBezTo>
                <a:cubicBezTo>
                  <a:pt x="1322611" y="937793"/>
                  <a:pt x="1320893" y="928704"/>
                  <a:pt x="1320893" y="917282"/>
                </a:cubicBezTo>
                <a:lnTo>
                  <a:pt x="1320893" y="912001"/>
                </a:lnTo>
                <a:cubicBezTo>
                  <a:pt x="1320893" y="894929"/>
                  <a:pt x="1326784" y="883015"/>
                  <a:pt x="1338567" y="876506"/>
                </a:cubicBezTo>
                <a:cubicBezTo>
                  <a:pt x="1350350" y="869996"/>
                  <a:pt x="1371092" y="866680"/>
                  <a:pt x="1401163" y="866680"/>
                </a:cubicBezTo>
                <a:close/>
                <a:moveTo>
                  <a:pt x="696285" y="814750"/>
                </a:moveTo>
                <a:cubicBezTo>
                  <a:pt x="717590" y="814750"/>
                  <a:pt x="725671" y="832127"/>
                  <a:pt x="726528" y="849998"/>
                </a:cubicBezTo>
                <a:lnTo>
                  <a:pt x="662491" y="849998"/>
                </a:lnTo>
                <a:cubicBezTo>
                  <a:pt x="662858" y="842726"/>
                  <a:pt x="663715" y="837920"/>
                  <a:pt x="666532" y="832004"/>
                </a:cubicBezTo>
                <a:cubicBezTo>
                  <a:pt x="671062" y="822145"/>
                  <a:pt x="681959" y="814750"/>
                  <a:pt x="696285" y="814750"/>
                </a:cubicBezTo>
                <a:close/>
                <a:moveTo>
                  <a:pt x="371900" y="783000"/>
                </a:moveTo>
                <a:lnTo>
                  <a:pt x="371900" y="947668"/>
                </a:lnTo>
                <a:lnTo>
                  <a:pt x="413444" y="947668"/>
                </a:lnTo>
                <a:lnTo>
                  <a:pt x="413444" y="816548"/>
                </a:lnTo>
                <a:lnTo>
                  <a:pt x="447880" y="816671"/>
                </a:lnTo>
                <a:cubicBezTo>
                  <a:pt x="460012" y="816671"/>
                  <a:pt x="465159" y="822693"/>
                  <a:pt x="465159" y="832523"/>
                </a:cubicBezTo>
                <a:lnTo>
                  <a:pt x="465159" y="947668"/>
                </a:lnTo>
                <a:lnTo>
                  <a:pt x="506702" y="947668"/>
                </a:lnTo>
                <a:lnTo>
                  <a:pt x="506702" y="832278"/>
                </a:lnTo>
                <a:cubicBezTo>
                  <a:pt x="506702" y="808929"/>
                  <a:pt x="494202" y="783000"/>
                  <a:pt x="457684" y="783000"/>
                </a:cubicBezTo>
                <a:close/>
                <a:moveTo>
                  <a:pt x="293064" y="783000"/>
                </a:moveTo>
                <a:lnTo>
                  <a:pt x="293064" y="905194"/>
                </a:lnTo>
                <a:cubicBezTo>
                  <a:pt x="293064" y="927300"/>
                  <a:pt x="303588" y="946212"/>
                  <a:pt x="335039" y="949283"/>
                </a:cubicBezTo>
                <a:lnTo>
                  <a:pt x="335039" y="783000"/>
                </a:lnTo>
                <a:close/>
                <a:moveTo>
                  <a:pt x="693957" y="780310"/>
                </a:moveTo>
                <a:cubicBezTo>
                  <a:pt x="652229" y="782150"/>
                  <a:pt x="621055" y="812573"/>
                  <a:pt x="621055" y="865077"/>
                </a:cubicBezTo>
                <a:cubicBezTo>
                  <a:pt x="621055" y="928377"/>
                  <a:pt x="659224" y="950090"/>
                  <a:pt x="698989" y="950090"/>
                </a:cubicBezTo>
                <a:cubicBezTo>
                  <a:pt x="729427" y="950090"/>
                  <a:pt x="746732" y="940153"/>
                  <a:pt x="763178" y="923960"/>
                </a:cubicBezTo>
                <a:lnTo>
                  <a:pt x="737527" y="899426"/>
                </a:lnTo>
                <a:cubicBezTo>
                  <a:pt x="726849" y="909976"/>
                  <a:pt x="717767" y="915128"/>
                  <a:pt x="699235" y="915128"/>
                </a:cubicBezTo>
                <a:cubicBezTo>
                  <a:pt x="675793" y="915128"/>
                  <a:pt x="662415" y="899548"/>
                  <a:pt x="662415" y="878203"/>
                </a:cubicBezTo>
                <a:lnTo>
                  <a:pt x="767964" y="878203"/>
                </a:lnTo>
                <a:lnTo>
                  <a:pt x="767964" y="863237"/>
                </a:lnTo>
                <a:cubicBezTo>
                  <a:pt x="767964" y="816253"/>
                  <a:pt x="742559" y="780310"/>
                  <a:pt x="698130" y="780310"/>
                </a:cubicBezTo>
                <a:cubicBezTo>
                  <a:pt x="696657" y="780310"/>
                  <a:pt x="695307" y="780310"/>
                  <a:pt x="693957" y="780310"/>
                </a:cubicBezTo>
                <a:close/>
                <a:moveTo>
                  <a:pt x="1984812" y="779234"/>
                </a:moveTo>
                <a:cubicBezTo>
                  <a:pt x="1999904" y="779234"/>
                  <a:pt x="2012419" y="782302"/>
                  <a:pt x="2021867" y="788562"/>
                </a:cubicBezTo>
                <a:cubicBezTo>
                  <a:pt x="2031315" y="795067"/>
                  <a:pt x="2038309" y="804027"/>
                  <a:pt x="2042603" y="815933"/>
                </a:cubicBezTo>
                <a:cubicBezTo>
                  <a:pt x="2046898" y="827715"/>
                  <a:pt x="2048984" y="841830"/>
                  <a:pt x="2048984" y="858277"/>
                </a:cubicBezTo>
                <a:lnTo>
                  <a:pt x="2048984" y="886261"/>
                </a:lnTo>
                <a:cubicBezTo>
                  <a:pt x="2048984" y="911668"/>
                  <a:pt x="2043953" y="931306"/>
                  <a:pt x="2033892" y="944930"/>
                </a:cubicBezTo>
                <a:cubicBezTo>
                  <a:pt x="2023708" y="958554"/>
                  <a:pt x="2007388" y="965427"/>
                  <a:pt x="1984934" y="965427"/>
                </a:cubicBezTo>
                <a:cubicBezTo>
                  <a:pt x="1962358" y="965427"/>
                  <a:pt x="1946161" y="958677"/>
                  <a:pt x="1935977" y="944930"/>
                </a:cubicBezTo>
                <a:cubicBezTo>
                  <a:pt x="1925916" y="931306"/>
                  <a:pt x="1920640" y="911668"/>
                  <a:pt x="1920640" y="886261"/>
                </a:cubicBezTo>
                <a:lnTo>
                  <a:pt x="1920640" y="858277"/>
                </a:lnTo>
                <a:cubicBezTo>
                  <a:pt x="1920640" y="841830"/>
                  <a:pt x="1922848" y="827715"/>
                  <a:pt x="1927020" y="815933"/>
                </a:cubicBezTo>
                <a:cubicBezTo>
                  <a:pt x="1931315" y="804027"/>
                  <a:pt x="1938308" y="795067"/>
                  <a:pt x="1947756" y="788562"/>
                </a:cubicBezTo>
                <a:cubicBezTo>
                  <a:pt x="1957327" y="782302"/>
                  <a:pt x="1969474" y="779234"/>
                  <a:pt x="1984812" y="779234"/>
                </a:cubicBezTo>
                <a:close/>
                <a:moveTo>
                  <a:pt x="1788810" y="779234"/>
                </a:moveTo>
                <a:cubicBezTo>
                  <a:pt x="1810602" y="779234"/>
                  <a:pt x="1826272" y="785739"/>
                  <a:pt x="1835821" y="798873"/>
                </a:cubicBezTo>
                <a:cubicBezTo>
                  <a:pt x="1845370" y="812007"/>
                  <a:pt x="1850145" y="831769"/>
                  <a:pt x="1850145" y="858037"/>
                </a:cubicBezTo>
                <a:lnTo>
                  <a:pt x="1850145" y="860492"/>
                </a:lnTo>
                <a:lnTo>
                  <a:pt x="1726374" y="860492"/>
                </a:lnTo>
                <a:lnTo>
                  <a:pt x="1726374" y="858282"/>
                </a:lnTo>
                <a:cubicBezTo>
                  <a:pt x="1726374" y="842448"/>
                  <a:pt x="1728456" y="828578"/>
                  <a:pt x="1732863" y="816671"/>
                </a:cubicBezTo>
                <a:cubicBezTo>
                  <a:pt x="1737270" y="804765"/>
                  <a:pt x="1744248" y="795436"/>
                  <a:pt x="1753430" y="788931"/>
                </a:cubicBezTo>
                <a:cubicBezTo>
                  <a:pt x="1762734" y="782425"/>
                  <a:pt x="1774487" y="779234"/>
                  <a:pt x="1788810" y="779234"/>
                </a:cubicBezTo>
                <a:close/>
                <a:moveTo>
                  <a:pt x="1580437" y="765512"/>
                </a:moveTo>
                <a:cubicBezTo>
                  <a:pt x="1578451" y="765512"/>
                  <a:pt x="1576712" y="766249"/>
                  <a:pt x="1575098" y="767845"/>
                </a:cubicBezTo>
                <a:cubicBezTo>
                  <a:pt x="1573483" y="769442"/>
                  <a:pt x="1572738" y="771039"/>
                  <a:pt x="1572738" y="773004"/>
                </a:cubicBezTo>
                <a:lnTo>
                  <a:pt x="1572738" y="970997"/>
                </a:lnTo>
                <a:cubicBezTo>
                  <a:pt x="1572738" y="972962"/>
                  <a:pt x="1573483" y="974681"/>
                  <a:pt x="1575098" y="976278"/>
                </a:cubicBezTo>
                <a:cubicBezTo>
                  <a:pt x="1576712" y="977875"/>
                  <a:pt x="1578575" y="978612"/>
                  <a:pt x="1580437" y="978612"/>
                </a:cubicBezTo>
                <a:lnTo>
                  <a:pt x="1582921" y="978612"/>
                </a:lnTo>
                <a:cubicBezTo>
                  <a:pt x="1585032" y="978612"/>
                  <a:pt x="1586771" y="977752"/>
                  <a:pt x="1588385" y="976278"/>
                </a:cubicBezTo>
                <a:cubicBezTo>
                  <a:pt x="1589751" y="974804"/>
                  <a:pt x="1590496" y="973084"/>
                  <a:pt x="1590496" y="971119"/>
                </a:cubicBezTo>
                <a:lnTo>
                  <a:pt x="1590496" y="773127"/>
                </a:lnTo>
                <a:cubicBezTo>
                  <a:pt x="1590496" y="771039"/>
                  <a:pt x="1589751" y="769319"/>
                  <a:pt x="1588385" y="767722"/>
                </a:cubicBezTo>
                <a:cubicBezTo>
                  <a:pt x="1586771" y="766249"/>
                  <a:pt x="1584908" y="765512"/>
                  <a:pt x="1582921" y="765512"/>
                </a:cubicBezTo>
                <a:close/>
                <a:moveTo>
                  <a:pt x="1984946" y="763628"/>
                </a:moveTo>
                <a:cubicBezTo>
                  <a:pt x="1967292" y="763628"/>
                  <a:pt x="1952213" y="767315"/>
                  <a:pt x="1939953" y="774689"/>
                </a:cubicBezTo>
                <a:cubicBezTo>
                  <a:pt x="1927694" y="782063"/>
                  <a:pt x="1918622" y="792878"/>
                  <a:pt x="1912614" y="807134"/>
                </a:cubicBezTo>
                <a:cubicBezTo>
                  <a:pt x="1906484" y="821390"/>
                  <a:pt x="1903420" y="838349"/>
                  <a:pt x="1903420" y="858259"/>
                </a:cubicBezTo>
                <a:lnTo>
                  <a:pt x="1903420" y="886279"/>
                </a:lnTo>
                <a:cubicBezTo>
                  <a:pt x="1903420" y="906066"/>
                  <a:pt x="1906484" y="923149"/>
                  <a:pt x="1912614" y="937405"/>
                </a:cubicBezTo>
                <a:cubicBezTo>
                  <a:pt x="1918622" y="951661"/>
                  <a:pt x="1927694" y="962476"/>
                  <a:pt x="1939953" y="969972"/>
                </a:cubicBezTo>
                <a:cubicBezTo>
                  <a:pt x="1952090" y="977346"/>
                  <a:pt x="1967170" y="981033"/>
                  <a:pt x="1984946" y="981033"/>
                </a:cubicBezTo>
                <a:cubicBezTo>
                  <a:pt x="2002723" y="981033"/>
                  <a:pt x="2017680" y="977346"/>
                  <a:pt x="2029939" y="969972"/>
                </a:cubicBezTo>
                <a:cubicBezTo>
                  <a:pt x="2042199" y="962476"/>
                  <a:pt x="2051271" y="951661"/>
                  <a:pt x="2057401" y="937405"/>
                </a:cubicBezTo>
                <a:cubicBezTo>
                  <a:pt x="2063408" y="923149"/>
                  <a:pt x="2066473" y="906066"/>
                  <a:pt x="2066473" y="886279"/>
                </a:cubicBezTo>
                <a:lnTo>
                  <a:pt x="2066473" y="858259"/>
                </a:lnTo>
                <a:cubicBezTo>
                  <a:pt x="2066473" y="838349"/>
                  <a:pt x="2063408" y="821390"/>
                  <a:pt x="2057401" y="807134"/>
                </a:cubicBezTo>
                <a:cubicBezTo>
                  <a:pt x="2051394" y="792878"/>
                  <a:pt x="2042199" y="782186"/>
                  <a:pt x="2029939" y="774689"/>
                </a:cubicBezTo>
                <a:cubicBezTo>
                  <a:pt x="2017680" y="767315"/>
                  <a:pt x="2002723" y="763628"/>
                  <a:pt x="1984946" y="763628"/>
                </a:cubicBezTo>
                <a:close/>
                <a:moveTo>
                  <a:pt x="1788860" y="763628"/>
                </a:moveTo>
                <a:cubicBezTo>
                  <a:pt x="1772081" y="763628"/>
                  <a:pt x="1757629" y="767681"/>
                  <a:pt x="1745504" y="775788"/>
                </a:cubicBezTo>
                <a:cubicBezTo>
                  <a:pt x="1733502" y="783895"/>
                  <a:pt x="1724317" y="795072"/>
                  <a:pt x="1718071" y="809443"/>
                </a:cubicBezTo>
                <a:cubicBezTo>
                  <a:pt x="1711947" y="823814"/>
                  <a:pt x="1708885" y="840150"/>
                  <a:pt x="1708885" y="858451"/>
                </a:cubicBezTo>
                <a:lnTo>
                  <a:pt x="1708885" y="884736"/>
                </a:lnTo>
                <a:cubicBezTo>
                  <a:pt x="1708885" y="919496"/>
                  <a:pt x="1716846" y="944185"/>
                  <a:pt x="1732645" y="958924"/>
                </a:cubicBezTo>
                <a:cubicBezTo>
                  <a:pt x="1748444" y="973541"/>
                  <a:pt x="1769387" y="981033"/>
                  <a:pt x="1795228" y="981033"/>
                </a:cubicBezTo>
                <a:cubicBezTo>
                  <a:pt x="1801474" y="981033"/>
                  <a:pt x="1808823" y="980419"/>
                  <a:pt x="1816784" y="979068"/>
                </a:cubicBezTo>
                <a:cubicBezTo>
                  <a:pt x="1824989" y="977717"/>
                  <a:pt x="1832338" y="976120"/>
                  <a:pt x="1839074" y="974155"/>
                </a:cubicBezTo>
                <a:cubicBezTo>
                  <a:pt x="1845687" y="972190"/>
                  <a:pt x="1851321" y="970224"/>
                  <a:pt x="1856097" y="968013"/>
                </a:cubicBezTo>
                <a:cubicBezTo>
                  <a:pt x="1859159" y="966417"/>
                  <a:pt x="1861119" y="964943"/>
                  <a:pt x="1862221" y="963837"/>
                </a:cubicBezTo>
                <a:cubicBezTo>
                  <a:pt x="1863078" y="962977"/>
                  <a:pt x="1863568" y="961381"/>
                  <a:pt x="1863568" y="959293"/>
                </a:cubicBezTo>
                <a:lnTo>
                  <a:pt x="1863568" y="954502"/>
                </a:lnTo>
                <a:cubicBezTo>
                  <a:pt x="1863568" y="953028"/>
                  <a:pt x="1862956" y="952046"/>
                  <a:pt x="1861731" y="951432"/>
                </a:cubicBezTo>
                <a:cubicBezTo>
                  <a:pt x="1860506" y="950818"/>
                  <a:pt x="1858914" y="950818"/>
                  <a:pt x="1856832" y="951800"/>
                </a:cubicBezTo>
                <a:cubicBezTo>
                  <a:pt x="1834909" y="960889"/>
                  <a:pt x="1814457" y="965557"/>
                  <a:pt x="1795228" y="965557"/>
                </a:cubicBezTo>
                <a:cubicBezTo>
                  <a:pt x="1773918" y="965557"/>
                  <a:pt x="1757017" y="959661"/>
                  <a:pt x="1744647" y="947992"/>
                </a:cubicBezTo>
                <a:cubicBezTo>
                  <a:pt x="1732400" y="936324"/>
                  <a:pt x="1726276" y="915320"/>
                  <a:pt x="1726276" y="884736"/>
                </a:cubicBezTo>
                <a:lnTo>
                  <a:pt x="1726276" y="876384"/>
                </a:lnTo>
                <a:lnTo>
                  <a:pt x="1859894" y="876384"/>
                </a:lnTo>
                <a:cubicBezTo>
                  <a:pt x="1861976" y="876384"/>
                  <a:pt x="1863690" y="875770"/>
                  <a:pt x="1865283" y="874296"/>
                </a:cubicBezTo>
                <a:cubicBezTo>
                  <a:pt x="1866752" y="872945"/>
                  <a:pt x="1867365" y="871102"/>
                  <a:pt x="1867365" y="868891"/>
                </a:cubicBezTo>
                <a:lnTo>
                  <a:pt x="1867365" y="858083"/>
                </a:lnTo>
                <a:cubicBezTo>
                  <a:pt x="1867365" y="839044"/>
                  <a:pt x="1864548" y="822340"/>
                  <a:pt x="1858914" y="808214"/>
                </a:cubicBezTo>
                <a:cubicBezTo>
                  <a:pt x="1853403" y="794089"/>
                  <a:pt x="1844707" y="783035"/>
                  <a:pt x="1832827" y="775419"/>
                </a:cubicBezTo>
                <a:cubicBezTo>
                  <a:pt x="1820948" y="767681"/>
                  <a:pt x="1806251" y="763628"/>
                  <a:pt x="1788860" y="763628"/>
                </a:cubicBezTo>
                <a:close/>
                <a:moveTo>
                  <a:pt x="1376788" y="763628"/>
                </a:moveTo>
                <a:cubicBezTo>
                  <a:pt x="1366845" y="763628"/>
                  <a:pt x="1357147" y="764733"/>
                  <a:pt x="1347818" y="766943"/>
                </a:cubicBezTo>
                <a:cubicBezTo>
                  <a:pt x="1338365" y="769152"/>
                  <a:pt x="1330386" y="771485"/>
                  <a:pt x="1323635" y="773817"/>
                </a:cubicBezTo>
                <a:cubicBezTo>
                  <a:pt x="1318725" y="775658"/>
                  <a:pt x="1316269" y="778605"/>
                  <a:pt x="1316269" y="782656"/>
                </a:cubicBezTo>
                <a:lnTo>
                  <a:pt x="1316269" y="785111"/>
                </a:lnTo>
                <a:cubicBezTo>
                  <a:pt x="1316269" y="789898"/>
                  <a:pt x="1319093" y="791126"/>
                  <a:pt x="1324617" y="789039"/>
                </a:cubicBezTo>
                <a:cubicBezTo>
                  <a:pt x="1331614" y="786216"/>
                  <a:pt x="1339716" y="784006"/>
                  <a:pt x="1349045" y="781919"/>
                </a:cubicBezTo>
                <a:cubicBezTo>
                  <a:pt x="1358375" y="779832"/>
                  <a:pt x="1367458" y="778850"/>
                  <a:pt x="1376174" y="778850"/>
                </a:cubicBezTo>
                <a:cubicBezTo>
                  <a:pt x="1389554" y="778850"/>
                  <a:pt x="1400111" y="780446"/>
                  <a:pt x="1407968" y="783515"/>
                </a:cubicBezTo>
                <a:cubicBezTo>
                  <a:pt x="1415824" y="786584"/>
                  <a:pt x="1421716" y="792354"/>
                  <a:pt x="1425644" y="800824"/>
                </a:cubicBezTo>
                <a:cubicBezTo>
                  <a:pt x="1429573" y="809294"/>
                  <a:pt x="1431414" y="821325"/>
                  <a:pt x="1431414" y="836915"/>
                </a:cubicBezTo>
                <a:lnTo>
                  <a:pt x="1431414" y="851277"/>
                </a:lnTo>
                <a:lnTo>
                  <a:pt x="1401093" y="851277"/>
                </a:lnTo>
                <a:cubicBezTo>
                  <a:pt x="1365617" y="851277"/>
                  <a:pt x="1340329" y="856065"/>
                  <a:pt x="1325353" y="865640"/>
                </a:cubicBezTo>
                <a:cubicBezTo>
                  <a:pt x="1310500" y="875338"/>
                  <a:pt x="1303135" y="890806"/>
                  <a:pt x="1303135" y="912166"/>
                </a:cubicBezTo>
                <a:lnTo>
                  <a:pt x="1303135" y="917444"/>
                </a:lnTo>
                <a:cubicBezTo>
                  <a:pt x="1303135" y="932175"/>
                  <a:pt x="1305590" y="944206"/>
                  <a:pt x="1310623" y="953535"/>
                </a:cubicBezTo>
                <a:cubicBezTo>
                  <a:pt x="1315656" y="962742"/>
                  <a:pt x="1324126" y="969617"/>
                  <a:pt x="1335910" y="974159"/>
                </a:cubicBezTo>
                <a:cubicBezTo>
                  <a:pt x="1347695" y="978701"/>
                  <a:pt x="1363530" y="981033"/>
                  <a:pt x="1383048" y="981033"/>
                </a:cubicBezTo>
                <a:cubicBezTo>
                  <a:pt x="1402812" y="981033"/>
                  <a:pt x="1422821" y="978210"/>
                  <a:pt x="1442953" y="972686"/>
                </a:cubicBezTo>
                <a:cubicBezTo>
                  <a:pt x="1445285" y="972072"/>
                  <a:pt x="1446881" y="971212"/>
                  <a:pt x="1447618" y="969985"/>
                </a:cubicBezTo>
                <a:cubicBezTo>
                  <a:pt x="1448477" y="968635"/>
                  <a:pt x="1448968" y="966670"/>
                  <a:pt x="1448968" y="964338"/>
                </a:cubicBezTo>
                <a:lnTo>
                  <a:pt x="1448968" y="836669"/>
                </a:lnTo>
                <a:cubicBezTo>
                  <a:pt x="1448968" y="819729"/>
                  <a:pt x="1446513" y="805734"/>
                  <a:pt x="1441726" y="795054"/>
                </a:cubicBezTo>
                <a:cubicBezTo>
                  <a:pt x="1437061" y="784374"/>
                  <a:pt x="1429573" y="776395"/>
                  <a:pt x="1419016" y="771239"/>
                </a:cubicBezTo>
                <a:cubicBezTo>
                  <a:pt x="1408459" y="766206"/>
                  <a:pt x="1394465" y="763628"/>
                  <a:pt x="1376788" y="763628"/>
                </a:cubicBezTo>
                <a:close/>
                <a:moveTo>
                  <a:pt x="263460" y="743179"/>
                </a:moveTo>
                <a:cubicBezTo>
                  <a:pt x="196423" y="802162"/>
                  <a:pt x="160146" y="876752"/>
                  <a:pt x="181103" y="964859"/>
                </a:cubicBezTo>
                <a:cubicBezTo>
                  <a:pt x="207820" y="1077911"/>
                  <a:pt x="350597" y="1141933"/>
                  <a:pt x="569114" y="1120675"/>
                </a:cubicBezTo>
                <a:cubicBezTo>
                  <a:pt x="655515" y="1112196"/>
                  <a:pt x="768389" y="1084424"/>
                  <a:pt x="847070" y="1041047"/>
                </a:cubicBezTo>
                <a:lnTo>
                  <a:pt x="847070" y="979605"/>
                </a:lnTo>
                <a:cubicBezTo>
                  <a:pt x="775620" y="1022245"/>
                  <a:pt x="657599" y="1057513"/>
                  <a:pt x="559309" y="1066729"/>
                </a:cubicBezTo>
                <a:cubicBezTo>
                  <a:pt x="399375" y="1081352"/>
                  <a:pt x="232822" y="1058004"/>
                  <a:pt x="209414" y="932787"/>
                </a:cubicBezTo>
                <a:cubicBezTo>
                  <a:pt x="198016" y="870977"/>
                  <a:pt x="226204" y="805603"/>
                  <a:pt x="263460" y="764806"/>
                </a:cubicBezTo>
                <a:close/>
                <a:moveTo>
                  <a:pt x="537914" y="738066"/>
                </a:moveTo>
                <a:lnTo>
                  <a:pt x="537914" y="900471"/>
                </a:lnTo>
                <a:cubicBezTo>
                  <a:pt x="537914" y="923690"/>
                  <a:pt x="552223" y="947399"/>
                  <a:pt x="586101" y="947399"/>
                </a:cubicBezTo>
                <a:lnTo>
                  <a:pt x="610561" y="947399"/>
                </a:lnTo>
                <a:lnTo>
                  <a:pt x="610561" y="912756"/>
                </a:lnTo>
                <a:lnTo>
                  <a:pt x="593684" y="912756"/>
                </a:lnTo>
                <a:cubicBezTo>
                  <a:pt x="583777" y="912756"/>
                  <a:pt x="579252" y="907474"/>
                  <a:pt x="579252" y="897892"/>
                </a:cubicBezTo>
                <a:lnTo>
                  <a:pt x="579252" y="816689"/>
                </a:lnTo>
                <a:lnTo>
                  <a:pt x="610561" y="816689"/>
                </a:lnTo>
                <a:lnTo>
                  <a:pt x="610561" y="783029"/>
                </a:lnTo>
                <a:lnTo>
                  <a:pt x="579252" y="783029"/>
                </a:lnTo>
                <a:lnTo>
                  <a:pt x="579252" y="738066"/>
                </a:lnTo>
                <a:close/>
                <a:moveTo>
                  <a:pt x="875860" y="724344"/>
                </a:moveTo>
                <a:lnTo>
                  <a:pt x="876593" y="724344"/>
                </a:lnTo>
                <a:lnTo>
                  <a:pt x="878550" y="724344"/>
                </a:lnTo>
                <a:cubicBezTo>
                  <a:pt x="881241" y="724344"/>
                  <a:pt x="882586" y="725084"/>
                  <a:pt x="882586" y="727057"/>
                </a:cubicBezTo>
                <a:lnTo>
                  <a:pt x="882586" y="727427"/>
                </a:lnTo>
                <a:cubicBezTo>
                  <a:pt x="882586" y="729277"/>
                  <a:pt x="881241" y="730263"/>
                  <a:pt x="878550" y="730263"/>
                </a:cubicBezTo>
                <a:cubicBezTo>
                  <a:pt x="878183" y="730263"/>
                  <a:pt x="876349" y="730140"/>
                  <a:pt x="875860" y="730140"/>
                </a:cubicBezTo>
                <a:close/>
                <a:moveTo>
                  <a:pt x="2091227" y="721116"/>
                </a:moveTo>
                <a:lnTo>
                  <a:pt x="2091227" y="754480"/>
                </a:lnTo>
                <a:lnTo>
                  <a:pt x="2096608" y="754480"/>
                </a:lnTo>
                <a:lnTo>
                  <a:pt x="2096608" y="726766"/>
                </a:lnTo>
                <a:lnTo>
                  <a:pt x="2107640" y="754480"/>
                </a:lnTo>
                <a:lnTo>
                  <a:pt x="2111138" y="754480"/>
                </a:lnTo>
                <a:lnTo>
                  <a:pt x="2121901" y="726766"/>
                </a:lnTo>
                <a:lnTo>
                  <a:pt x="2122170" y="726766"/>
                </a:lnTo>
                <a:lnTo>
                  <a:pt x="2122170" y="754480"/>
                </a:lnTo>
                <a:lnTo>
                  <a:pt x="2127551" y="754480"/>
                </a:lnTo>
                <a:lnTo>
                  <a:pt x="2127551" y="721116"/>
                </a:lnTo>
                <a:lnTo>
                  <a:pt x="2119210" y="721116"/>
                </a:lnTo>
                <a:lnTo>
                  <a:pt x="2109524" y="746408"/>
                </a:lnTo>
                <a:lnTo>
                  <a:pt x="2099568" y="721116"/>
                </a:lnTo>
                <a:close/>
                <a:moveTo>
                  <a:pt x="2058132" y="721116"/>
                </a:moveTo>
                <a:lnTo>
                  <a:pt x="2058132" y="725421"/>
                </a:lnTo>
                <a:lnTo>
                  <a:pt x="2068356" y="725421"/>
                </a:lnTo>
                <a:lnTo>
                  <a:pt x="2068356" y="754480"/>
                </a:lnTo>
                <a:lnTo>
                  <a:pt x="2074007" y="754480"/>
                </a:lnTo>
                <a:lnTo>
                  <a:pt x="2074007" y="725421"/>
                </a:lnTo>
                <a:lnTo>
                  <a:pt x="2084500" y="725421"/>
                </a:lnTo>
                <a:lnTo>
                  <a:pt x="2084500" y="721116"/>
                </a:lnTo>
                <a:close/>
                <a:moveTo>
                  <a:pt x="878533" y="720577"/>
                </a:moveTo>
                <a:cubicBezTo>
                  <a:pt x="876923" y="720577"/>
                  <a:pt x="874322" y="720701"/>
                  <a:pt x="873331" y="720824"/>
                </a:cubicBezTo>
                <a:cubicBezTo>
                  <a:pt x="872340" y="720947"/>
                  <a:pt x="872093" y="721441"/>
                  <a:pt x="872093" y="722552"/>
                </a:cubicBezTo>
                <a:lnTo>
                  <a:pt x="872093" y="740700"/>
                </a:lnTo>
                <a:cubicBezTo>
                  <a:pt x="872093" y="740947"/>
                  <a:pt x="872216" y="741441"/>
                  <a:pt x="872836" y="741441"/>
                </a:cubicBezTo>
                <a:lnTo>
                  <a:pt x="875684" y="741441"/>
                </a:lnTo>
                <a:cubicBezTo>
                  <a:pt x="875932" y="741441"/>
                  <a:pt x="876304" y="741070"/>
                  <a:pt x="876304" y="740700"/>
                </a:cubicBezTo>
                <a:lnTo>
                  <a:pt x="876304" y="733416"/>
                </a:lnTo>
                <a:lnTo>
                  <a:pt x="876923" y="733416"/>
                </a:lnTo>
                <a:lnTo>
                  <a:pt x="878162" y="733416"/>
                </a:lnTo>
                <a:cubicBezTo>
                  <a:pt x="878162" y="733416"/>
                  <a:pt x="878657" y="733663"/>
                  <a:pt x="878781" y="733787"/>
                </a:cubicBezTo>
                <a:lnTo>
                  <a:pt x="882992" y="740947"/>
                </a:lnTo>
                <a:cubicBezTo>
                  <a:pt x="882992" y="741317"/>
                  <a:pt x="883364" y="741564"/>
                  <a:pt x="883611" y="741564"/>
                </a:cubicBezTo>
                <a:lnTo>
                  <a:pt x="886708" y="741564"/>
                </a:lnTo>
                <a:cubicBezTo>
                  <a:pt x="887203" y="741564"/>
                  <a:pt x="887451" y="741070"/>
                  <a:pt x="887698" y="740823"/>
                </a:cubicBezTo>
                <a:cubicBezTo>
                  <a:pt x="887698" y="740700"/>
                  <a:pt x="887574" y="740453"/>
                  <a:pt x="887574" y="740330"/>
                </a:cubicBezTo>
                <a:lnTo>
                  <a:pt x="883116" y="732799"/>
                </a:lnTo>
                <a:cubicBezTo>
                  <a:pt x="885345" y="732182"/>
                  <a:pt x="886831" y="730453"/>
                  <a:pt x="886831" y="727491"/>
                </a:cubicBezTo>
                <a:lnTo>
                  <a:pt x="886831" y="726997"/>
                </a:lnTo>
                <a:cubicBezTo>
                  <a:pt x="886831" y="722059"/>
                  <a:pt x="883735" y="720577"/>
                  <a:pt x="878533" y="720577"/>
                </a:cubicBezTo>
                <a:close/>
                <a:moveTo>
                  <a:pt x="293064" y="720308"/>
                </a:moveTo>
                <a:lnTo>
                  <a:pt x="293064" y="760130"/>
                </a:lnTo>
                <a:lnTo>
                  <a:pt x="334770" y="760130"/>
                </a:lnTo>
                <a:lnTo>
                  <a:pt x="334770" y="720308"/>
                </a:lnTo>
                <a:close/>
                <a:moveTo>
                  <a:pt x="879492" y="717617"/>
                </a:moveTo>
                <a:cubicBezTo>
                  <a:pt x="887145" y="717617"/>
                  <a:pt x="893349" y="723821"/>
                  <a:pt x="893349" y="731474"/>
                </a:cubicBezTo>
                <a:cubicBezTo>
                  <a:pt x="893349" y="739127"/>
                  <a:pt x="887145" y="745331"/>
                  <a:pt x="879492" y="745331"/>
                </a:cubicBezTo>
                <a:cubicBezTo>
                  <a:pt x="871839" y="745331"/>
                  <a:pt x="865635" y="739127"/>
                  <a:pt x="865635" y="731474"/>
                </a:cubicBezTo>
                <a:cubicBezTo>
                  <a:pt x="865635" y="723821"/>
                  <a:pt x="871839" y="717617"/>
                  <a:pt x="879492" y="717617"/>
                </a:cubicBezTo>
                <a:close/>
                <a:moveTo>
                  <a:pt x="877640" y="714780"/>
                </a:moveTo>
                <a:cubicBezTo>
                  <a:pt x="869176" y="715635"/>
                  <a:pt x="862675" y="722724"/>
                  <a:pt x="862675" y="731401"/>
                </a:cubicBezTo>
                <a:cubicBezTo>
                  <a:pt x="862675" y="740567"/>
                  <a:pt x="870158" y="748022"/>
                  <a:pt x="879357" y="748022"/>
                </a:cubicBezTo>
                <a:cubicBezTo>
                  <a:pt x="888557" y="748022"/>
                  <a:pt x="896039" y="740567"/>
                  <a:pt x="896039" y="731401"/>
                </a:cubicBezTo>
                <a:cubicBezTo>
                  <a:pt x="896039" y="722113"/>
                  <a:pt x="888557" y="714780"/>
                  <a:pt x="879357" y="714780"/>
                </a:cubicBezTo>
                <a:cubicBezTo>
                  <a:pt x="878744" y="714780"/>
                  <a:pt x="878131" y="714658"/>
                  <a:pt x="877640" y="714780"/>
                </a:cubicBezTo>
                <a:close/>
                <a:moveTo>
                  <a:pt x="792180" y="714658"/>
                </a:moveTo>
                <a:lnTo>
                  <a:pt x="792180" y="901914"/>
                </a:lnTo>
                <a:cubicBezTo>
                  <a:pt x="792180" y="923922"/>
                  <a:pt x="802827" y="942980"/>
                  <a:pt x="834154" y="946054"/>
                </a:cubicBezTo>
                <a:lnTo>
                  <a:pt x="834154" y="714658"/>
                </a:lnTo>
                <a:close/>
                <a:moveTo>
                  <a:pt x="1652641" y="683716"/>
                </a:moveTo>
                <a:cubicBezTo>
                  <a:pt x="1650687" y="683716"/>
                  <a:pt x="1649099" y="684453"/>
                  <a:pt x="1647756" y="686049"/>
                </a:cubicBezTo>
                <a:cubicBezTo>
                  <a:pt x="1646412" y="687646"/>
                  <a:pt x="1645924" y="689488"/>
                  <a:pt x="1645924" y="691331"/>
                </a:cubicBezTo>
                <a:lnTo>
                  <a:pt x="1645924" y="970997"/>
                </a:lnTo>
                <a:cubicBezTo>
                  <a:pt x="1645924" y="972962"/>
                  <a:pt x="1646412" y="974681"/>
                  <a:pt x="1647756" y="976278"/>
                </a:cubicBezTo>
                <a:cubicBezTo>
                  <a:pt x="1649099" y="977752"/>
                  <a:pt x="1650687" y="978612"/>
                  <a:pt x="1652641" y="978612"/>
                </a:cubicBezTo>
                <a:lnTo>
                  <a:pt x="1656671" y="978612"/>
                </a:lnTo>
                <a:cubicBezTo>
                  <a:pt x="1658625" y="978612"/>
                  <a:pt x="1660213" y="977752"/>
                  <a:pt x="1661434" y="976278"/>
                </a:cubicBezTo>
                <a:cubicBezTo>
                  <a:pt x="1662533" y="974927"/>
                  <a:pt x="1663144" y="973085"/>
                  <a:pt x="1663144" y="970997"/>
                </a:cubicBezTo>
                <a:lnTo>
                  <a:pt x="1663144" y="691208"/>
                </a:lnTo>
                <a:cubicBezTo>
                  <a:pt x="1663144" y="689120"/>
                  <a:pt x="1662656" y="687277"/>
                  <a:pt x="1661434" y="685804"/>
                </a:cubicBezTo>
                <a:cubicBezTo>
                  <a:pt x="1660213" y="684453"/>
                  <a:pt x="1658625" y="683716"/>
                  <a:pt x="1656671" y="683716"/>
                </a:cubicBezTo>
                <a:close/>
                <a:moveTo>
                  <a:pt x="1506864" y="683716"/>
                </a:moveTo>
                <a:cubicBezTo>
                  <a:pt x="1505017" y="683716"/>
                  <a:pt x="1503416" y="684453"/>
                  <a:pt x="1502061" y="686049"/>
                </a:cubicBezTo>
                <a:cubicBezTo>
                  <a:pt x="1500706" y="687646"/>
                  <a:pt x="1500090" y="689488"/>
                  <a:pt x="1500090" y="691331"/>
                </a:cubicBezTo>
                <a:lnTo>
                  <a:pt x="1500090" y="970997"/>
                </a:lnTo>
                <a:cubicBezTo>
                  <a:pt x="1500090" y="972962"/>
                  <a:pt x="1500706" y="974681"/>
                  <a:pt x="1502061" y="976278"/>
                </a:cubicBezTo>
                <a:cubicBezTo>
                  <a:pt x="1503416" y="977752"/>
                  <a:pt x="1505017" y="978612"/>
                  <a:pt x="1506864" y="978612"/>
                </a:cubicBezTo>
                <a:lnTo>
                  <a:pt x="1511052" y="978612"/>
                </a:lnTo>
                <a:cubicBezTo>
                  <a:pt x="1512899" y="978612"/>
                  <a:pt x="1514501" y="977752"/>
                  <a:pt x="1515732" y="976278"/>
                </a:cubicBezTo>
                <a:cubicBezTo>
                  <a:pt x="1516964" y="974927"/>
                  <a:pt x="1517580" y="973085"/>
                  <a:pt x="1517580" y="970997"/>
                </a:cubicBezTo>
                <a:lnTo>
                  <a:pt x="1517580" y="691208"/>
                </a:lnTo>
                <a:cubicBezTo>
                  <a:pt x="1517580" y="689120"/>
                  <a:pt x="1516964" y="687277"/>
                  <a:pt x="1515732" y="685804"/>
                </a:cubicBezTo>
                <a:cubicBezTo>
                  <a:pt x="1514501" y="684453"/>
                  <a:pt x="1512899" y="683716"/>
                  <a:pt x="1511052" y="683716"/>
                </a:cubicBezTo>
                <a:close/>
                <a:moveTo>
                  <a:pt x="1580643" y="681832"/>
                </a:moveTo>
                <a:cubicBezTo>
                  <a:pt x="1578673" y="681832"/>
                  <a:pt x="1576825" y="682570"/>
                  <a:pt x="1575347" y="684169"/>
                </a:cubicBezTo>
                <a:cubicBezTo>
                  <a:pt x="1573746" y="685767"/>
                  <a:pt x="1573007" y="687489"/>
                  <a:pt x="1573007" y="689457"/>
                </a:cubicBezTo>
                <a:lnTo>
                  <a:pt x="1573007" y="718972"/>
                </a:lnTo>
                <a:cubicBezTo>
                  <a:pt x="1573007" y="720817"/>
                  <a:pt x="1573746" y="722662"/>
                  <a:pt x="1575347" y="724137"/>
                </a:cubicBezTo>
                <a:cubicBezTo>
                  <a:pt x="1576702" y="725613"/>
                  <a:pt x="1578550" y="726228"/>
                  <a:pt x="1580643" y="726228"/>
                </a:cubicBezTo>
                <a:lnTo>
                  <a:pt x="1582984" y="726228"/>
                </a:lnTo>
                <a:cubicBezTo>
                  <a:pt x="1585200" y="726228"/>
                  <a:pt x="1586925" y="725613"/>
                  <a:pt x="1588403" y="724260"/>
                </a:cubicBezTo>
                <a:cubicBezTo>
                  <a:pt x="1589758" y="722785"/>
                  <a:pt x="1590497" y="720940"/>
                  <a:pt x="1590497" y="718972"/>
                </a:cubicBezTo>
                <a:lnTo>
                  <a:pt x="1590497" y="689457"/>
                </a:lnTo>
                <a:cubicBezTo>
                  <a:pt x="1590497" y="687366"/>
                  <a:pt x="1589881" y="685644"/>
                  <a:pt x="1588403" y="684046"/>
                </a:cubicBezTo>
                <a:cubicBezTo>
                  <a:pt x="1586802" y="682570"/>
                  <a:pt x="1585077" y="681832"/>
                  <a:pt x="1583107" y="681832"/>
                </a:cubicBezTo>
                <a:close/>
                <a:moveTo>
                  <a:pt x="1181349" y="681832"/>
                </a:moveTo>
                <a:cubicBezTo>
                  <a:pt x="1164319" y="681832"/>
                  <a:pt x="1148146" y="685520"/>
                  <a:pt x="1133322" y="693018"/>
                </a:cubicBezTo>
                <a:cubicBezTo>
                  <a:pt x="1118375" y="700640"/>
                  <a:pt x="1106123" y="713670"/>
                  <a:pt x="1096689" y="732355"/>
                </a:cubicBezTo>
                <a:cubicBezTo>
                  <a:pt x="1087010" y="750916"/>
                  <a:pt x="1082232" y="775747"/>
                  <a:pt x="1082232" y="806725"/>
                </a:cubicBezTo>
                <a:lnTo>
                  <a:pt x="1082232" y="856018"/>
                </a:lnTo>
                <a:cubicBezTo>
                  <a:pt x="1082232" y="884045"/>
                  <a:pt x="1086520" y="907523"/>
                  <a:pt x="1095219" y="926208"/>
                </a:cubicBezTo>
                <a:cubicBezTo>
                  <a:pt x="1103672" y="945016"/>
                  <a:pt x="1115557" y="958906"/>
                  <a:pt x="1130259" y="967757"/>
                </a:cubicBezTo>
                <a:cubicBezTo>
                  <a:pt x="1145206" y="976608"/>
                  <a:pt x="1162236" y="981033"/>
                  <a:pt x="1181594" y="981033"/>
                </a:cubicBezTo>
                <a:cubicBezTo>
                  <a:pt x="1195561" y="981033"/>
                  <a:pt x="1207813" y="980541"/>
                  <a:pt x="1217981" y="979681"/>
                </a:cubicBezTo>
                <a:cubicBezTo>
                  <a:pt x="1228151" y="978698"/>
                  <a:pt x="1239667" y="977468"/>
                  <a:pt x="1252531" y="975993"/>
                </a:cubicBezTo>
                <a:cubicBezTo>
                  <a:pt x="1254369" y="975747"/>
                  <a:pt x="1255839" y="974887"/>
                  <a:pt x="1257187" y="973412"/>
                </a:cubicBezTo>
                <a:cubicBezTo>
                  <a:pt x="1258657" y="971937"/>
                  <a:pt x="1259270" y="970216"/>
                  <a:pt x="1259270" y="968372"/>
                </a:cubicBezTo>
                <a:lnTo>
                  <a:pt x="1259270" y="834629"/>
                </a:lnTo>
                <a:cubicBezTo>
                  <a:pt x="1259270" y="829589"/>
                  <a:pt x="1256942" y="827007"/>
                  <a:pt x="1252531" y="827007"/>
                </a:cubicBezTo>
                <a:lnTo>
                  <a:pt x="1248611" y="827007"/>
                </a:lnTo>
                <a:cubicBezTo>
                  <a:pt x="1244078" y="827007"/>
                  <a:pt x="1241872" y="829589"/>
                  <a:pt x="1241872" y="834629"/>
                </a:cubicBezTo>
                <a:lnTo>
                  <a:pt x="1241872" y="960873"/>
                </a:lnTo>
                <a:cubicBezTo>
                  <a:pt x="1236359" y="961488"/>
                  <a:pt x="1228273" y="962225"/>
                  <a:pt x="1217737" y="963086"/>
                </a:cubicBezTo>
                <a:cubicBezTo>
                  <a:pt x="1207077" y="963824"/>
                  <a:pt x="1195071" y="964315"/>
                  <a:pt x="1181594" y="964315"/>
                </a:cubicBezTo>
                <a:cubicBezTo>
                  <a:pt x="1155497" y="964315"/>
                  <a:pt x="1135282" y="955342"/>
                  <a:pt x="1121070" y="937394"/>
                </a:cubicBezTo>
                <a:cubicBezTo>
                  <a:pt x="1106736" y="919447"/>
                  <a:pt x="1099629" y="892281"/>
                  <a:pt x="1099629" y="856018"/>
                </a:cubicBezTo>
                <a:lnTo>
                  <a:pt x="1099629" y="806725"/>
                </a:lnTo>
                <a:cubicBezTo>
                  <a:pt x="1099629" y="767388"/>
                  <a:pt x="1107471" y="739361"/>
                  <a:pt x="1123153" y="722889"/>
                </a:cubicBezTo>
                <a:cubicBezTo>
                  <a:pt x="1138835" y="706294"/>
                  <a:pt x="1158193" y="698058"/>
                  <a:pt x="1181349" y="698058"/>
                </a:cubicBezTo>
                <a:cubicBezTo>
                  <a:pt x="1195316" y="698058"/>
                  <a:pt x="1208180" y="699533"/>
                  <a:pt x="1220064" y="702729"/>
                </a:cubicBezTo>
                <a:cubicBezTo>
                  <a:pt x="1231948" y="705803"/>
                  <a:pt x="1243833" y="709613"/>
                  <a:pt x="1255839" y="713916"/>
                </a:cubicBezTo>
                <a:cubicBezTo>
                  <a:pt x="1258535" y="714653"/>
                  <a:pt x="1260373" y="714776"/>
                  <a:pt x="1261598" y="714161"/>
                </a:cubicBezTo>
                <a:cubicBezTo>
                  <a:pt x="1262823" y="713424"/>
                  <a:pt x="1263313" y="711826"/>
                  <a:pt x="1263313" y="709122"/>
                </a:cubicBezTo>
                <a:lnTo>
                  <a:pt x="1263313" y="705680"/>
                </a:lnTo>
                <a:cubicBezTo>
                  <a:pt x="1263313" y="703590"/>
                  <a:pt x="1262823" y="702115"/>
                  <a:pt x="1261598" y="701009"/>
                </a:cubicBezTo>
                <a:cubicBezTo>
                  <a:pt x="1260250" y="699902"/>
                  <a:pt x="1258535" y="698796"/>
                  <a:pt x="1255839" y="697567"/>
                </a:cubicBezTo>
                <a:cubicBezTo>
                  <a:pt x="1249591" y="694248"/>
                  <a:pt x="1239177" y="690806"/>
                  <a:pt x="1224843" y="687118"/>
                </a:cubicBezTo>
                <a:cubicBezTo>
                  <a:pt x="1210263" y="683553"/>
                  <a:pt x="1195928" y="681832"/>
                  <a:pt x="1181349" y="681832"/>
                </a:cubicBezTo>
                <a:close/>
                <a:moveTo>
                  <a:pt x="703420" y="589746"/>
                </a:moveTo>
                <a:cubicBezTo>
                  <a:pt x="587731" y="589009"/>
                  <a:pt x="456478" y="621679"/>
                  <a:pt x="351452" y="685792"/>
                </a:cubicBezTo>
                <a:lnTo>
                  <a:pt x="351452" y="701390"/>
                </a:lnTo>
                <a:cubicBezTo>
                  <a:pt x="582951" y="582008"/>
                  <a:pt x="911390" y="582745"/>
                  <a:pt x="941170" y="753711"/>
                </a:cubicBezTo>
                <a:cubicBezTo>
                  <a:pt x="951219" y="810209"/>
                  <a:pt x="919478" y="869162"/>
                  <a:pt x="862614" y="903184"/>
                </a:cubicBezTo>
                <a:lnTo>
                  <a:pt x="862614" y="947399"/>
                </a:lnTo>
                <a:cubicBezTo>
                  <a:pt x="930998" y="922344"/>
                  <a:pt x="1000975" y="841159"/>
                  <a:pt x="980631" y="741675"/>
                </a:cubicBezTo>
                <a:cubicBezTo>
                  <a:pt x="959920" y="640102"/>
                  <a:pt x="843006" y="590606"/>
                  <a:pt x="703420" y="589746"/>
                </a:cubicBezTo>
                <a:close/>
                <a:moveTo>
                  <a:pt x="2166722" y="110544"/>
                </a:moveTo>
                <a:cubicBezTo>
                  <a:pt x="2139456" y="110544"/>
                  <a:pt x="2117351" y="135061"/>
                  <a:pt x="2117351" y="165304"/>
                </a:cubicBezTo>
                <a:cubicBezTo>
                  <a:pt x="2117351" y="195547"/>
                  <a:pt x="2139456"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7"/>
                  <a:pt x="757721" y="57011"/>
                  <a:pt x="756670" y="52574"/>
                </a:cubicBezTo>
                <a:cubicBezTo>
                  <a:pt x="752678" y="35293"/>
                  <a:pt x="738600" y="22215"/>
                  <a:pt x="731246" y="16377"/>
                </a:cubicBezTo>
                <a:close/>
                <a:moveTo>
                  <a:pt x="363198" y="0"/>
                </a:moveTo>
                <a:lnTo>
                  <a:pt x="731473" y="0"/>
                </a:lnTo>
                <a:lnTo>
                  <a:pt x="731473" y="8355"/>
                </a:lnTo>
                <a:cubicBezTo>
                  <a:pt x="740358" y="14158"/>
                  <a:pt x="759395" y="28780"/>
                  <a:pt x="764261" y="49900"/>
                </a:cubicBezTo>
                <a:cubicBezTo>
                  <a:pt x="765530" y="55006"/>
                  <a:pt x="766376" y="59415"/>
                  <a:pt x="767222" y="63825"/>
                </a:cubicBezTo>
                <a:lnTo>
                  <a:pt x="814817" y="63825"/>
                </a:lnTo>
                <a:lnTo>
                  <a:pt x="814817" y="23209"/>
                </a:lnTo>
                <a:lnTo>
                  <a:pt x="938350" y="23209"/>
                </a:lnTo>
                <a:lnTo>
                  <a:pt x="938350" y="63825"/>
                </a:lnTo>
                <a:lnTo>
                  <a:pt x="1042212" y="63825"/>
                </a:lnTo>
                <a:lnTo>
                  <a:pt x="1042212" y="61969"/>
                </a:lnTo>
                <a:lnTo>
                  <a:pt x="1033963" y="51292"/>
                </a:lnTo>
                <a:lnTo>
                  <a:pt x="1037135" y="51292"/>
                </a:lnTo>
                <a:lnTo>
                  <a:pt x="1042424" y="55006"/>
                </a:lnTo>
                <a:lnTo>
                  <a:pt x="1206995" y="55006"/>
                </a:lnTo>
                <a:lnTo>
                  <a:pt x="1212494"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61" name="Group 3160"/>
          <p:cNvGrpSpPr>
            <a:grpSpLocks noChangeAspect="1"/>
          </p:cNvGrpSpPr>
          <p:nvPr/>
        </p:nvGrpSpPr>
        <p:grpSpPr>
          <a:xfrm>
            <a:off x="9627557" y="1256532"/>
            <a:ext cx="1142598" cy="850703"/>
            <a:chOff x="6408673" y="5061041"/>
            <a:chExt cx="2302724" cy="1714456"/>
          </a:xfrm>
        </p:grpSpPr>
        <p:sp>
          <p:nvSpPr>
            <p:cNvPr id="3156" name="Galileo Board Outline"/>
            <p:cNvSpPr>
              <a:spLocks/>
            </p:cNvSpPr>
            <p:nvPr/>
          </p:nvSpPr>
          <p:spPr bwMode="auto">
            <a:xfrm>
              <a:off x="6408673" y="5061041"/>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57" name="Galileo Logo"/>
            <p:cNvSpPr>
              <a:spLocks/>
            </p:cNvSpPr>
            <p:nvPr/>
          </p:nvSpPr>
          <p:spPr bwMode="auto">
            <a:xfrm>
              <a:off x="6545940" y="5628006"/>
              <a:ext cx="2028191" cy="580527"/>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60" name="Freeform 3159"/>
          <p:cNvSpPr>
            <a:spLocks noChangeAspect="1"/>
          </p:cNvSpPr>
          <p:nvPr/>
        </p:nvSpPr>
        <p:spPr bwMode="auto">
          <a:xfrm>
            <a:off x="10843491" y="1256532"/>
            <a:ext cx="1142598" cy="85070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756076 w 2302724"/>
              <a:gd name="connsiteY10" fmla="*/ 925618 h 1714456"/>
              <a:gd name="connsiteX11" fmla="*/ 814897 w 2302724"/>
              <a:gd name="connsiteY11" fmla="*/ 925618 h 1714456"/>
              <a:gd name="connsiteX12" fmla="*/ 814897 w 2302724"/>
              <a:gd name="connsiteY12" fmla="*/ 1108158 h 1714456"/>
              <a:gd name="connsiteX13" fmla="*/ 772984 w 2302724"/>
              <a:gd name="connsiteY13" fmla="*/ 1114115 h 1714456"/>
              <a:gd name="connsiteX14" fmla="*/ 721545 w 2302724"/>
              <a:gd name="connsiteY14" fmla="*/ 1117213 h 1714456"/>
              <a:gd name="connsiteX15" fmla="*/ 646055 w 2302724"/>
              <a:gd name="connsiteY15" fmla="*/ 1106966 h 1714456"/>
              <a:gd name="connsiteX16" fmla="*/ 610333 w 2302724"/>
              <a:gd name="connsiteY16" fmla="*/ 1076940 h 1714456"/>
              <a:gd name="connsiteX17" fmla="*/ 600331 w 2302724"/>
              <a:gd name="connsiteY17" fmla="*/ 1023799 h 1714456"/>
              <a:gd name="connsiteX18" fmla="*/ 600331 w 2302724"/>
              <a:gd name="connsiteY18" fmla="*/ 1013552 h 1714456"/>
              <a:gd name="connsiteX19" fmla="*/ 634624 w 2302724"/>
              <a:gd name="connsiteY19" fmla="*/ 944683 h 1714456"/>
              <a:gd name="connsiteX20" fmla="*/ 756076 w 2302724"/>
              <a:gd name="connsiteY20" fmla="*/ 925618 h 1714456"/>
              <a:gd name="connsiteX21" fmla="*/ 1888507 w 2302724"/>
              <a:gd name="connsiteY21" fmla="*/ 755950 h 1714456"/>
              <a:gd name="connsiteX22" fmla="*/ 1960404 w 2302724"/>
              <a:gd name="connsiteY22" fmla="*/ 774049 h 1714456"/>
              <a:gd name="connsiteX23" fmla="*/ 2000638 w 2302724"/>
              <a:gd name="connsiteY23" fmla="*/ 827155 h 1714456"/>
              <a:gd name="connsiteX24" fmla="*/ 2013017 w 2302724"/>
              <a:gd name="connsiteY24" fmla="*/ 909314 h 1714456"/>
              <a:gd name="connsiteX25" fmla="*/ 2013017 w 2302724"/>
              <a:gd name="connsiteY25" fmla="*/ 963611 h 1714456"/>
              <a:gd name="connsiteX26" fmla="*/ 1983735 w 2302724"/>
              <a:gd name="connsiteY26" fmla="*/ 1077443 h 1714456"/>
              <a:gd name="connsiteX27" fmla="*/ 1888745 w 2302724"/>
              <a:gd name="connsiteY27" fmla="*/ 1117213 h 1714456"/>
              <a:gd name="connsiteX28" fmla="*/ 1793755 w 2302724"/>
              <a:gd name="connsiteY28" fmla="*/ 1077443 h 1714456"/>
              <a:gd name="connsiteX29" fmla="*/ 1763996 w 2302724"/>
              <a:gd name="connsiteY29" fmla="*/ 963611 h 1714456"/>
              <a:gd name="connsiteX30" fmla="*/ 1763996 w 2302724"/>
              <a:gd name="connsiteY30" fmla="*/ 909314 h 1714456"/>
              <a:gd name="connsiteX31" fmla="*/ 1776376 w 2302724"/>
              <a:gd name="connsiteY31" fmla="*/ 827155 h 1714456"/>
              <a:gd name="connsiteX32" fmla="*/ 1816610 w 2302724"/>
              <a:gd name="connsiteY32" fmla="*/ 774049 h 1714456"/>
              <a:gd name="connsiteX33" fmla="*/ 1888507 w 2302724"/>
              <a:gd name="connsiteY33" fmla="*/ 755950 h 1714456"/>
              <a:gd name="connsiteX34" fmla="*/ 1508213 w 2302724"/>
              <a:gd name="connsiteY34" fmla="*/ 755950 h 1714456"/>
              <a:gd name="connsiteX35" fmla="*/ 1599426 w 2302724"/>
              <a:gd name="connsiteY35" fmla="*/ 794055 h 1714456"/>
              <a:gd name="connsiteX36" fmla="*/ 1627217 w 2302724"/>
              <a:gd name="connsiteY36" fmla="*/ 908848 h 1714456"/>
              <a:gd name="connsiteX37" fmla="*/ 1627217 w 2302724"/>
              <a:gd name="connsiteY37" fmla="*/ 913611 h 1714456"/>
              <a:gd name="connsiteX38" fmla="*/ 1387071 w 2302724"/>
              <a:gd name="connsiteY38" fmla="*/ 913611 h 1714456"/>
              <a:gd name="connsiteX39" fmla="*/ 1387071 w 2302724"/>
              <a:gd name="connsiteY39" fmla="*/ 909324 h 1714456"/>
              <a:gd name="connsiteX40" fmla="*/ 1399660 w 2302724"/>
              <a:gd name="connsiteY40" fmla="*/ 828588 h 1714456"/>
              <a:gd name="connsiteX41" fmla="*/ 1439566 w 2302724"/>
              <a:gd name="connsiteY41" fmla="*/ 774764 h 1714456"/>
              <a:gd name="connsiteX42" fmla="*/ 1508213 w 2302724"/>
              <a:gd name="connsiteY42" fmla="*/ 755950 h 1714456"/>
              <a:gd name="connsiteX43" fmla="*/ 1103915 w 2302724"/>
              <a:gd name="connsiteY43" fmla="*/ 729325 h 1714456"/>
              <a:gd name="connsiteX44" fmla="*/ 1093554 w 2302724"/>
              <a:gd name="connsiteY44" fmla="*/ 733853 h 1714456"/>
              <a:gd name="connsiteX45" fmla="*/ 1088976 w 2302724"/>
              <a:gd name="connsiteY45" fmla="*/ 743862 h 1714456"/>
              <a:gd name="connsiteX46" fmla="*/ 1088976 w 2302724"/>
              <a:gd name="connsiteY46" fmla="*/ 1128019 h 1714456"/>
              <a:gd name="connsiteX47" fmla="*/ 1093554 w 2302724"/>
              <a:gd name="connsiteY47" fmla="*/ 1138266 h 1714456"/>
              <a:gd name="connsiteX48" fmla="*/ 1103915 w 2302724"/>
              <a:gd name="connsiteY48" fmla="*/ 1142794 h 1714456"/>
              <a:gd name="connsiteX49" fmla="*/ 1108734 w 2302724"/>
              <a:gd name="connsiteY49" fmla="*/ 1142794 h 1714456"/>
              <a:gd name="connsiteX50" fmla="*/ 1119336 w 2302724"/>
              <a:gd name="connsiteY50" fmla="*/ 1138266 h 1714456"/>
              <a:gd name="connsiteX51" fmla="*/ 1123432 w 2302724"/>
              <a:gd name="connsiteY51" fmla="*/ 1128257 h 1714456"/>
              <a:gd name="connsiteX52" fmla="*/ 1123432 w 2302724"/>
              <a:gd name="connsiteY52" fmla="*/ 744100 h 1714456"/>
              <a:gd name="connsiteX53" fmla="*/ 1119336 w 2302724"/>
              <a:gd name="connsiteY53" fmla="*/ 733615 h 1714456"/>
              <a:gd name="connsiteX54" fmla="*/ 1108734 w 2302724"/>
              <a:gd name="connsiteY54" fmla="*/ 729325 h 1714456"/>
              <a:gd name="connsiteX55" fmla="*/ 1888767 w 2302724"/>
              <a:gd name="connsiteY55" fmla="*/ 725670 h 1714456"/>
              <a:gd name="connsiteX56" fmla="*/ 1801469 w 2302724"/>
              <a:gd name="connsiteY56" fmla="*/ 747131 h 1714456"/>
              <a:gd name="connsiteX57" fmla="*/ 1748425 w 2302724"/>
              <a:gd name="connsiteY57" fmla="*/ 810083 h 1714456"/>
              <a:gd name="connsiteX58" fmla="*/ 1730585 w 2302724"/>
              <a:gd name="connsiteY58" fmla="*/ 909279 h 1714456"/>
              <a:gd name="connsiteX59" fmla="*/ 1730585 w 2302724"/>
              <a:gd name="connsiteY59" fmla="*/ 963646 h 1714456"/>
              <a:gd name="connsiteX60" fmla="*/ 1748425 w 2302724"/>
              <a:gd name="connsiteY60" fmla="*/ 1062842 h 1714456"/>
              <a:gd name="connsiteX61" fmla="*/ 1801469 w 2302724"/>
              <a:gd name="connsiteY61" fmla="*/ 1126031 h 1714456"/>
              <a:gd name="connsiteX62" fmla="*/ 1888767 w 2302724"/>
              <a:gd name="connsiteY62" fmla="*/ 1147492 h 1714456"/>
              <a:gd name="connsiteX63" fmla="*/ 1976066 w 2302724"/>
              <a:gd name="connsiteY63" fmla="*/ 1126031 h 1714456"/>
              <a:gd name="connsiteX64" fmla="*/ 2029349 w 2302724"/>
              <a:gd name="connsiteY64" fmla="*/ 1062842 h 1714456"/>
              <a:gd name="connsiteX65" fmla="*/ 2046951 w 2302724"/>
              <a:gd name="connsiteY65" fmla="*/ 963646 h 1714456"/>
              <a:gd name="connsiteX66" fmla="*/ 2046951 w 2302724"/>
              <a:gd name="connsiteY66" fmla="*/ 909279 h 1714456"/>
              <a:gd name="connsiteX67" fmla="*/ 2029349 w 2302724"/>
              <a:gd name="connsiteY67" fmla="*/ 810083 h 1714456"/>
              <a:gd name="connsiteX68" fmla="*/ 1976066 w 2302724"/>
              <a:gd name="connsiteY68" fmla="*/ 747131 h 1714456"/>
              <a:gd name="connsiteX69" fmla="*/ 1888767 w 2302724"/>
              <a:gd name="connsiteY69" fmla="*/ 725670 h 1714456"/>
              <a:gd name="connsiteX70" fmla="*/ 1508309 w 2302724"/>
              <a:gd name="connsiteY70" fmla="*/ 725670 h 1714456"/>
              <a:gd name="connsiteX71" fmla="*/ 1424188 w 2302724"/>
              <a:gd name="connsiteY71" fmla="*/ 749264 h 1714456"/>
              <a:gd name="connsiteX72" fmla="*/ 1370959 w 2302724"/>
              <a:gd name="connsiteY72" fmla="*/ 814563 h 1714456"/>
              <a:gd name="connsiteX73" fmla="*/ 1353137 w 2302724"/>
              <a:gd name="connsiteY73" fmla="*/ 909651 h 1714456"/>
              <a:gd name="connsiteX74" fmla="*/ 1353137 w 2302724"/>
              <a:gd name="connsiteY74" fmla="*/ 960652 h 1714456"/>
              <a:gd name="connsiteX75" fmla="*/ 1399237 w 2302724"/>
              <a:gd name="connsiteY75" fmla="*/ 1104595 h 1714456"/>
              <a:gd name="connsiteX76" fmla="*/ 1520665 w 2302724"/>
              <a:gd name="connsiteY76" fmla="*/ 1147492 h 1714456"/>
              <a:gd name="connsiteX77" fmla="*/ 1562488 w 2302724"/>
              <a:gd name="connsiteY77" fmla="*/ 1143679 h 1714456"/>
              <a:gd name="connsiteX78" fmla="*/ 1605737 w 2302724"/>
              <a:gd name="connsiteY78" fmla="*/ 1134147 h 1714456"/>
              <a:gd name="connsiteX79" fmla="*/ 1638767 w 2302724"/>
              <a:gd name="connsiteY79" fmla="*/ 1122231 h 1714456"/>
              <a:gd name="connsiteX80" fmla="*/ 1650649 w 2302724"/>
              <a:gd name="connsiteY80" fmla="*/ 1114128 h 1714456"/>
              <a:gd name="connsiteX81" fmla="*/ 1653263 w 2302724"/>
              <a:gd name="connsiteY81" fmla="*/ 1105310 h 1714456"/>
              <a:gd name="connsiteX82" fmla="*/ 1653263 w 2302724"/>
              <a:gd name="connsiteY82" fmla="*/ 1096016 h 1714456"/>
              <a:gd name="connsiteX83" fmla="*/ 1649698 w 2302724"/>
              <a:gd name="connsiteY83" fmla="*/ 1090058 h 1714456"/>
              <a:gd name="connsiteX84" fmla="*/ 1640193 w 2302724"/>
              <a:gd name="connsiteY84" fmla="*/ 1090773 h 1714456"/>
              <a:gd name="connsiteX85" fmla="*/ 1520665 w 2302724"/>
              <a:gd name="connsiteY85" fmla="*/ 1117464 h 1714456"/>
              <a:gd name="connsiteX86" fmla="*/ 1422525 w 2302724"/>
              <a:gd name="connsiteY86" fmla="*/ 1083385 h 1714456"/>
              <a:gd name="connsiteX87" fmla="*/ 1386881 w 2302724"/>
              <a:gd name="connsiteY87" fmla="*/ 960652 h 1714456"/>
              <a:gd name="connsiteX88" fmla="*/ 1386881 w 2302724"/>
              <a:gd name="connsiteY88" fmla="*/ 944446 h 1714456"/>
              <a:gd name="connsiteX89" fmla="*/ 1646134 w 2302724"/>
              <a:gd name="connsiteY89" fmla="*/ 944446 h 1714456"/>
              <a:gd name="connsiteX90" fmla="*/ 1656589 w 2302724"/>
              <a:gd name="connsiteY90" fmla="*/ 940394 h 1714456"/>
              <a:gd name="connsiteX91" fmla="*/ 1660629 w 2302724"/>
              <a:gd name="connsiteY91" fmla="*/ 929909 h 1714456"/>
              <a:gd name="connsiteX92" fmla="*/ 1660629 w 2302724"/>
              <a:gd name="connsiteY92" fmla="*/ 908937 h 1714456"/>
              <a:gd name="connsiteX93" fmla="*/ 1644233 w 2302724"/>
              <a:gd name="connsiteY93" fmla="*/ 812180 h 1714456"/>
              <a:gd name="connsiteX94" fmla="*/ 1593617 w 2302724"/>
              <a:gd name="connsiteY94" fmla="*/ 748549 h 1714456"/>
              <a:gd name="connsiteX95" fmla="*/ 1508309 w 2302724"/>
              <a:gd name="connsiteY95" fmla="*/ 725670 h 1714456"/>
              <a:gd name="connsiteX96" fmla="*/ 708782 w 2302724"/>
              <a:gd name="connsiteY96" fmla="*/ 725670 h 1714456"/>
              <a:gd name="connsiteX97" fmla="*/ 652572 w 2302724"/>
              <a:gd name="connsiteY97" fmla="*/ 732102 h 1714456"/>
              <a:gd name="connsiteX98" fmla="*/ 605651 w 2302724"/>
              <a:gd name="connsiteY98" fmla="*/ 745440 h 1714456"/>
              <a:gd name="connsiteX99" fmla="*/ 591360 w 2302724"/>
              <a:gd name="connsiteY99" fmla="*/ 762589 h 1714456"/>
              <a:gd name="connsiteX100" fmla="*/ 591360 w 2302724"/>
              <a:gd name="connsiteY100" fmla="*/ 767352 h 1714456"/>
              <a:gd name="connsiteX101" fmla="*/ 607557 w 2302724"/>
              <a:gd name="connsiteY101" fmla="*/ 774974 h 1714456"/>
              <a:gd name="connsiteX102" fmla="*/ 654954 w 2302724"/>
              <a:gd name="connsiteY102" fmla="*/ 761160 h 1714456"/>
              <a:gd name="connsiteX103" fmla="*/ 707591 w 2302724"/>
              <a:gd name="connsiteY103" fmla="*/ 755205 h 1714456"/>
              <a:gd name="connsiteX104" fmla="*/ 769279 w 2302724"/>
              <a:gd name="connsiteY104" fmla="*/ 764256 h 1714456"/>
              <a:gd name="connsiteX105" fmla="*/ 803577 w 2302724"/>
              <a:gd name="connsiteY105" fmla="*/ 797840 h 1714456"/>
              <a:gd name="connsiteX106" fmla="*/ 814771 w 2302724"/>
              <a:gd name="connsiteY106" fmla="*/ 867866 h 1714456"/>
              <a:gd name="connsiteX107" fmla="*/ 814771 w 2302724"/>
              <a:gd name="connsiteY107" fmla="*/ 895733 h 1714456"/>
              <a:gd name="connsiteX108" fmla="*/ 755941 w 2302724"/>
              <a:gd name="connsiteY108" fmla="*/ 895733 h 1714456"/>
              <a:gd name="connsiteX109" fmla="*/ 608986 w 2302724"/>
              <a:gd name="connsiteY109" fmla="*/ 923600 h 1714456"/>
              <a:gd name="connsiteX110" fmla="*/ 565875 w 2302724"/>
              <a:gd name="connsiteY110" fmla="*/ 1013872 h 1714456"/>
              <a:gd name="connsiteX111" fmla="*/ 565875 w 2302724"/>
              <a:gd name="connsiteY111" fmla="*/ 1024114 h 1714456"/>
              <a:gd name="connsiteX112" fmla="*/ 580404 w 2302724"/>
              <a:gd name="connsiteY112" fmla="*/ 1094139 h 1714456"/>
              <a:gd name="connsiteX113" fmla="*/ 629469 w 2302724"/>
              <a:gd name="connsiteY113" fmla="*/ 1134154 h 1714456"/>
              <a:gd name="connsiteX114" fmla="*/ 720929 w 2302724"/>
              <a:gd name="connsiteY114" fmla="*/ 1147492 h 1714456"/>
              <a:gd name="connsiteX115" fmla="*/ 837160 w 2302724"/>
              <a:gd name="connsiteY115" fmla="*/ 1131296 h 1714456"/>
              <a:gd name="connsiteX116" fmla="*/ 846210 w 2302724"/>
              <a:gd name="connsiteY116" fmla="*/ 1126056 h 1714456"/>
              <a:gd name="connsiteX117" fmla="*/ 848830 w 2302724"/>
              <a:gd name="connsiteY117" fmla="*/ 1115099 h 1714456"/>
              <a:gd name="connsiteX118" fmla="*/ 848830 w 2302724"/>
              <a:gd name="connsiteY118" fmla="*/ 867389 h 1714456"/>
              <a:gd name="connsiteX119" fmla="*/ 834778 w 2302724"/>
              <a:gd name="connsiteY119" fmla="*/ 786645 h 1714456"/>
              <a:gd name="connsiteX120" fmla="*/ 790715 w 2302724"/>
              <a:gd name="connsiteY120" fmla="*/ 740438 h 1714456"/>
              <a:gd name="connsiteX121" fmla="*/ 708782 w 2302724"/>
              <a:gd name="connsiteY121" fmla="*/ 725670 h 1714456"/>
              <a:gd name="connsiteX122" fmla="*/ 2094980 w 2302724"/>
              <a:gd name="connsiteY122" fmla="*/ 643186 h 1714456"/>
              <a:gd name="connsiteX123" fmla="*/ 2094980 w 2302724"/>
              <a:gd name="connsiteY123" fmla="*/ 707921 h 1714456"/>
              <a:gd name="connsiteX124" fmla="*/ 2105421 w 2302724"/>
              <a:gd name="connsiteY124" fmla="*/ 707921 h 1714456"/>
              <a:gd name="connsiteX125" fmla="*/ 2105421 w 2302724"/>
              <a:gd name="connsiteY125" fmla="*/ 654149 h 1714456"/>
              <a:gd name="connsiteX126" fmla="*/ 2126826 w 2302724"/>
              <a:gd name="connsiteY126" fmla="*/ 707921 h 1714456"/>
              <a:gd name="connsiteX127" fmla="*/ 2133612 w 2302724"/>
              <a:gd name="connsiteY127" fmla="*/ 707921 h 1714456"/>
              <a:gd name="connsiteX128" fmla="*/ 2154495 w 2302724"/>
              <a:gd name="connsiteY128" fmla="*/ 654149 h 1714456"/>
              <a:gd name="connsiteX129" fmla="*/ 2155017 w 2302724"/>
              <a:gd name="connsiteY129" fmla="*/ 654149 h 1714456"/>
              <a:gd name="connsiteX130" fmla="*/ 2155017 w 2302724"/>
              <a:gd name="connsiteY130" fmla="*/ 707921 h 1714456"/>
              <a:gd name="connsiteX131" fmla="*/ 2165458 w 2302724"/>
              <a:gd name="connsiteY131" fmla="*/ 707921 h 1714456"/>
              <a:gd name="connsiteX132" fmla="*/ 2165458 w 2302724"/>
              <a:gd name="connsiteY132" fmla="*/ 643186 h 1714456"/>
              <a:gd name="connsiteX133" fmla="*/ 2149274 w 2302724"/>
              <a:gd name="connsiteY133" fmla="*/ 643186 h 1714456"/>
              <a:gd name="connsiteX134" fmla="*/ 2130480 w 2302724"/>
              <a:gd name="connsiteY134" fmla="*/ 692259 h 1714456"/>
              <a:gd name="connsiteX135" fmla="*/ 2111164 w 2302724"/>
              <a:gd name="connsiteY135" fmla="*/ 643186 h 1714456"/>
              <a:gd name="connsiteX136" fmla="*/ 2030767 w 2302724"/>
              <a:gd name="connsiteY136" fmla="*/ 643186 h 1714456"/>
              <a:gd name="connsiteX137" fmla="*/ 2030767 w 2302724"/>
              <a:gd name="connsiteY137" fmla="*/ 651538 h 1714456"/>
              <a:gd name="connsiteX138" fmla="*/ 2050605 w 2302724"/>
              <a:gd name="connsiteY138" fmla="*/ 651538 h 1714456"/>
              <a:gd name="connsiteX139" fmla="*/ 2050605 w 2302724"/>
              <a:gd name="connsiteY139" fmla="*/ 707921 h 1714456"/>
              <a:gd name="connsiteX140" fmla="*/ 2061568 w 2302724"/>
              <a:gd name="connsiteY140" fmla="*/ 707921 h 1714456"/>
              <a:gd name="connsiteX141" fmla="*/ 2061568 w 2302724"/>
              <a:gd name="connsiteY141" fmla="*/ 651538 h 1714456"/>
              <a:gd name="connsiteX142" fmla="*/ 2081929 w 2302724"/>
              <a:gd name="connsiteY142" fmla="*/ 651538 h 1714456"/>
              <a:gd name="connsiteX143" fmla="*/ 2081929 w 2302724"/>
              <a:gd name="connsiteY143" fmla="*/ 643186 h 1714456"/>
              <a:gd name="connsiteX144" fmla="*/ 1244009 w 2302724"/>
              <a:gd name="connsiteY144" fmla="*/ 570620 h 1714456"/>
              <a:gd name="connsiteX145" fmla="*/ 1234531 w 2302724"/>
              <a:gd name="connsiteY145" fmla="*/ 575147 h 1714456"/>
              <a:gd name="connsiteX146" fmla="*/ 1230976 w 2302724"/>
              <a:gd name="connsiteY146" fmla="*/ 585395 h 1714456"/>
              <a:gd name="connsiteX147" fmla="*/ 1230976 w 2302724"/>
              <a:gd name="connsiteY147" fmla="*/ 1128019 h 1714456"/>
              <a:gd name="connsiteX148" fmla="*/ 1234531 w 2302724"/>
              <a:gd name="connsiteY148" fmla="*/ 1138266 h 1714456"/>
              <a:gd name="connsiteX149" fmla="*/ 1244009 w 2302724"/>
              <a:gd name="connsiteY149" fmla="*/ 1142794 h 1714456"/>
              <a:gd name="connsiteX150" fmla="*/ 1251829 w 2302724"/>
              <a:gd name="connsiteY150" fmla="*/ 1142794 h 1714456"/>
              <a:gd name="connsiteX151" fmla="*/ 1261070 w 2302724"/>
              <a:gd name="connsiteY151" fmla="*/ 1138266 h 1714456"/>
              <a:gd name="connsiteX152" fmla="*/ 1264387 w 2302724"/>
              <a:gd name="connsiteY152" fmla="*/ 1128019 h 1714456"/>
              <a:gd name="connsiteX153" fmla="*/ 1264387 w 2302724"/>
              <a:gd name="connsiteY153" fmla="*/ 585156 h 1714456"/>
              <a:gd name="connsiteX154" fmla="*/ 1261070 w 2302724"/>
              <a:gd name="connsiteY154" fmla="*/ 574671 h 1714456"/>
              <a:gd name="connsiteX155" fmla="*/ 1251829 w 2302724"/>
              <a:gd name="connsiteY155" fmla="*/ 570620 h 1714456"/>
              <a:gd name="connsiteX156" fmla="*/ 961164 w 2302724"/>
              <a:gd name="connsiteY156" fmla="*/ 570620 h 1714456"/>
              <a:gd name="connsiteX157" fmla="*/ 951845 w 2302724"/>
              <a:gd name="connsiteY157" fmla="*/ 575147 h 1714456"/>
              <a:gd name="connsiteX158" fmla="*/ 948021 w 2302724"/>
              <a:gd name="connsiteY158" fmla="*/ 585395 h 1714456"/>
              <a:gd name="connsiteX159" fmla="*/ 948021 w 2302724"/>
              <a:gd name="connsiteY159" fmla="*/ 1128019 h 1714456"/>
              <a:gd name="connsiteX160" fmla="*/ 951845 w 2302724"/>
              <a:gd name="connsiteY160" fmla="*/ 1138266 h 1714456"/>
              <a:gd name="connsiteX161" fmla="*/ 961164 w 2302724"/>
              <a:gd name="connsiteY161" fmla="*/ 1142794 h 1714456"/>
              <a:gd name="connsiteX162" fmla="*/ 969289 w 2302724"/>
              <a:gd name="connsiteY162" fmla="*/ 1142794 h 1714456"/>
              <a:gd name="connsiteX163" fmla="*/ 978370 w 2302724"/>
              <a:gd name="connsiteY163" fmla="*/ 1138266 h 1714456"/>
              <a:gd name="connsiteX164" fmla="*/ 981955 w 2302724"/>
              <a:gd name="connsiteY164" fmla="*/ 1128019 h 1714456"/>
              <a:gd name="connsiteX165" fmla="*/ 981955 w 2302724"/>
              <a:gd name="connsiteY165" fmla="*/ 585156 h 1714456"/>
              <a:gd name="connsiteX166" fmla="*/ 978370 w 2302724"/>
              <a:gd name="connsiteY166" fmla="*/ 574671 h 1714456"/>
              <a:gd name="connsiteX167" fmla="*/ 969289 w 2302724"/>
              <a:gd name="connsiteY167" fmla="*/ 570620 h 1714456"/>
              <a:gd name="connsiteX168" fmla="*/ 1104315 w 2302724"/>
              <a:gd name="connsiteY168" fmla="*/ 566965 h 1714456"/>
              <a:gd name="connsiteX169" fmla="*/ 1094039 w 2302724"/>
              <a:gd name="connsiteY169" fmla="*/ 571499 h 1714456"/>
              <a:gd name="connsiteX170" fmla="*/ 1089499 w 2302724"/>
              <a:gd name="connsiteY170" fmla="*/ 581759 h 1714456"/>
              <a:gd name="connsiteX171" fmla="*/ 1089499 w 2302724"/>
              <a:gd name="connsiteY171" fmla="*/ 639026 h 1714456"/>
              <a:gd name="connsiteX172" fmla="*/ 1094039 w 2302724"/>
              <a:gd name="connsiteY172" fmla="*/ 649048 h 1714456"/>
              <a:gd name="connsiteX173" fmla="*/ 1104315 w 2302724"/>
              <a:gd name="connsiteY173" fmla="*/ 653105 h 1714456"/>
              <a:gd name="connsiteX174" fmla="*/ 1108855 w 2302724"/>
              <a:gd name="connsiteY174" fmla="*/ 653105 h 1714456"/>
              <a:gd name="connsiteX175" fmla="*/ 1119370 w 2302724"/>
              <a:gd name="connsiteY175" fmla="*/ 649287 h 1714456"/>
              <a:gd name="connsiteX176" fmla="*/ 1123433 w 2302724"/>
              <a:gd name="connsiteY176" fmla="*/ 639026 h 1714456"/>
              <a:gd name="connsiteX177" fmla="*/ 1123433 w 2302724"/>
              <a:gd name="connsiteY177" fmla="*/ 581759 h 1714456"/>
              <a:gd name="connsiteX178" fmla="*/ 1119370 w 2302724"/>
              <a:gd name="connsiteY178" fmla="*/ 571260 h 1714456"/>
              <a:gd name="connsiteX179" fmla="*/ 1109094 w 2302724"/>
              <a:gd name="connsiteY179" fmla="*/ 566965 h 1714456"/>
              <a:gd name="connsiteX180" fmla="*/ 329579 w 2302724"/>
              <a:gd name="connsiteY180" fmla="*/ 566965 h 1714456"/>
              <a:gd name="connsiteX181" fmla="*/ 236395 w 2302724"/>
              <a:gd name="connsiteY181" fmla="*/ 588669 h 1714456"/>
              <a:gd name="connsiteX182" fmla="*/ 165317 w 2302724"/>
              <a:gd name="connsiteY182" fmla="*/ 664992 h 1714456"/>
              <a:gd name="connsiteX183" fmla="*/ 137267 w 2302724"/>
              <a:gd name="connsiteY183" fmla="*/ 809289 h 1714456"/>
              <a:gd name="connsiteX184" fmla="*/ 137267 w 2302724"/>
              <a:gd name="connsiteY184" fmla="*/ 904930 h 1714456"/>
              <a:gd name="connsiteX185" fmla="*/ 162465 w 2302724"/>
              <a:gd name="connsiteY185" fmla="*/ 1041118 h 1714456"/>
              <a:gd name="connsiteX186" fmla="*/ 230452 w 2302724"/>
              <a:gd name="connsiteY186" fmla="*/ 1121733 h 1714456"/>
              <a:gd name="connsiteX187" fmla="*/ 330055 w 2302724"/>
              <a:gd name="connsiteY187" fmla="*/ 1147492 h 1714456"/>
              <a:gd name="connsiteX188" fmla="*/ 400656 w 2302724"/>
              <a:gd name="connsiteY188" fmla="*/ 1144869 h 1714456"/>
              <a:gd name="connsiteX189" fmla="*/ 467692 w 2302724"/>
              <a:gd name="connsiteY189" fmla="*/ 1137713 h 1714456"/>
              <a:gd name="connsiteX190" fmla="*/ 476726 w 2302724"/>
              <a:gd name="connsiteY190" fmla="*/ 1132705 h 1714456"/>
              <a:gd name="connsiteX191" fmla="*/ 480767 w 2302724"/>
              <a:gd name="connsiteY191" fmla="*/ 1122926 h 1714456"/>
              <a:gd name="connsiteX192" fmla="*/ 480767 w 2302724"/>
              <a:gd name="connsiteY192" fmla="*/ 863430 h 1714456"/>
              <a:gd name="connsiteX193" fmla="*/ 467692 w 2302724"/>
              <a:gd name="connsiteY193" fmla="*/ 848643 h 1714456"/>
              <a:gd name="connsiteX194" fmla="*/ 460086 w 2302724"/>
              <a:gd name="connsiteY194" fmla="*/ 848643 h 1714456"/>
              <a:gd name="connsiteX195" fmla="*/ 447011 w 2302724"/>
              <a:gd name="connsiteY195" fmla="*/ 863430 h 1714456"/>
              <a:gd name="connsiteX196" fmla="*/ 447011 w 2302724"/>
              <a:gd name="connsiteY196" fmla="*/ 1108377 h 1714456"/>
              <a:gd name="connsiteX197" fmla="*/ 400181 w 2302724"/>
              <a:gd name="connsiteY197" fmla="*/ 1112670 h 1714456"/>
              <a:gd name="connsiteX198" fmla="*/ 330055 w 2302724"/>
              <a:gd name="connsiteY198" fmla="*/ 1115055 h 1714456"/>
              <a:gd name="connsiteX199" fmla="*/ 212623 w 2302724"/>
              <a:gd name="connsiteY199" fmla="*/ 1062822 h 1714456"/>
              <a:gd name="connsiteX200" fmla="*/ 171023 w 2302724"/>
              <a:gd name="connsiteY200" fmla="*/ 904930 h 1714456"/>
              <a:gd name="connsiteX201" fmla="*/ 171023 w 2302724"/>
              <a:gd name="connsiteY201" fmla="*/ 809289 h 1714456"/>
              <a:gd name="connsiteX202" fmla="*/ 216664 w 2302724"/>
              <a:gd name="connsiteY202" fmla="*/ 646627 h 1714456"/>
              <a:gd name="connsiteX203" fmla="*/ 329579 w 2302724"/>
              <a:gd name="connsiteY203" fmla="*/ 598448 h 1714456"/>
              <a:gd name="connsiteX204" fmla="*/ 404698 w 2302724"/>
              <a:gd name="connsiteY204" fmla="*/ 607511 h 1714456"/>
              <a:gd name="connsiteX205" fmla="*/ 474111 w 2302724"/>
              <a:gd name="connsiteY205" fmla="*/ 629216 h 1714456"/>
              <a:gd name="connsiteX206" fmla="*/ 485283 w 2302724"/>
              <a:gd name="connsiteY206" fmla="*/ 629693 h 1714456"/>
              <a:gd name="connsiteX207" fmla="*/ 488611 w 2302724"/>
              <a:gd name="connsiteY207" fmla="*/ 619914 h 1714456"/>
              <a:gd name="connsiteX208" fmla="*/ 488611 w 2302724"/>
              <a:gd name="connsiteY208" fmla="*/ 613236 h 1714456"/>
              <a:gd name="connsiteX209" fmla="*/ 485283 w 2302724"/>
              <a:gd name="connsiteY209" fmla="*/ 604173 h 1714456"/>
              <a:gd name="connsiteX210" fmla="*/ 474111 w 2302724"/>
              <a:gd name="connsiteY210" fmla="*/ 597494 h 1714456"/>
              <a:gd name="connsiteX211" fmla="*/ 413969 w 2302724"/>
              <a:gd name="connsiteY211" fmla="*/ 577221 h 1714456"/>
              <a:gd name="connsiteX212" fmla="*/ 329579 w 2302724"/>
              <a:gd name="connsiteY212" fmla="*/ 566965 h 1714456"/>
              <a:gd name="connsiteX213" fmla="*/ 2166722 w 2302724"/>
              <a:gd name="connsiteY213" fmla="*/ 110544 h 1714456"/>
              <a:gd name="connsiteX214" fmla="*/ 2117351 w 2302724"/>
              <a:gd name="connsiteY214" fmla="*/ 165304 h 1714456"/>
              <a:gd name="connsiteX215" fmla="*/ 2166722 w 2302724"/>
              <a:gd name="connsiteY215" fmla="*/ 220064 h 1714456"/>
              <a:gd name="connsiteX216" fmla="*/ 2216093 w 2302724"/>
              <a:gd name="connsiteY216" fmla="*/ 165304 h 1714456"/>
              <a:gd name="connsiteX217" fmla="*/ 2166722 w 2302724"/>
              <a:gd name="connsiteY217" fmla="*/ 110544 h 1714456"/>
              <a:gd name="connsiteX218" fmla="*/ 142058 w 2302724"/>
              <a:gd name="connsiteY218" fmla="*/ 110544 h 1714456"/>
              <a:gd name="connsiteX219" fmla="*/ 92221 w 2302724"/>
              <a:gd name="connsiteY219" fmla="*/ 165304 h 1714456"/>
              <a:gd name="connsiteX220" fmla="*/ 142058 w 2302724"/>
              <a:gd name="connsiteY220" fmla="*/ 220064 h 1714456"/>
              <a:gd name="connsiteX221" fmla="*/ 191895 w 2302724"/>
              <a:gd name="connsiteY221" fmla="*/ 165304 h 1714456"/>
              <a:gd name="connsiteX222" fmla="*/ 142058 w 2302724"/>
              <a:gd name="connsiteY222" fmla="*/ 110544 h 1714456"/>
              <a:gd name="connsiteX223" fmla="*/ 363294 w 2302724"/>
              <a:gd name="connsiteY223" fmla="*/ 17400 h 1714456"/>
              <a:gd name="connsiteX224" fmla="*/ 339002 w 2302724"/>
              <a:gd name="connsiteY224" fmla="*/ 52655 h 1714456"/>
              <a:gd name="connsiteX225" fmla="*/ 336280 w 2302724"/>
              <a:gd name="connsiteY225" fmla="*/ 64484 h 1714456"/>
              <a:gd name="connsiteX226" fmla="*/ 363294 w 2302724"/>
              <a:gd name="connsiteY226" fmla="*/ 64484 h 1714456"/>
              <a:gd name="connsiteX227" fmla="*/ 731246 w 2302724"/>
              <a:gd name="connsiteY227" fmla="*/ 16377 h 1714456"/>
              <a:gd name="connsiteX228" fmla="*/ 731246 w 2302724"/>
              <a:gd name="connsiteY228" fmla="*/ 64484 h 1714456"/>
              <a:gd name="connsiteX229" fmla="*/ 759191 w 2302724"/>
              <a:gd name="connsiteY229" fmla="*/ 64484 h 1714456"/>
              <a:gd name="connsiteX230" fmla="*/ 756670 w 2302724"/>
              <a:gd name="connsiteY230" fmla="*/ 52574 h 1714456"/>
              <a:gd name="connsiteX231" fmla="*/ 731246 w 2302724"/>
              <a:gd name="connsiteY231" fmla="*/ 16377 h 1714456"/>
              <a:gd name="connsiteX232" fmla="*/ 363198 w 2302724"/>
              <a:gd name="connsiteY232" fmla="*/ 0 h 1714456"/>
              <a:gd name="connsiteX233" fmla="*/ 731473 w 2302724"/>
              <a:gd name="connsiteY233" fmla="*/ 0 h 1714456"/>
              <a:gd name="connsiteX234" fmla="*/ 731473 w 2302724"/>
              <a:gd name="connsiteY234" fmla="*/ 8356 h 1714456"/>
              <a:gd name="connsiteX235" fmla="*/ 764261 w 2302724"/>
              <a:gd name="connsiteY235" fmla="*/ 49900 h 1714456"/>
              <a:gd name="connsiteX236" fmla="*/ 767222 w 2302724"/>
              <a:gd name="connsiteY236" fmla="*/ 63825 h 1714456"/>
              <a:gd name="connsiteX237" fmla="*/ 814817 w 2302724"/>
              <a:gd name="connsiteY237" fmla="*/ 63825 h 1714456"/>
              <a:gd name="connsiteX238" fmla="*/ 814817 w 2302724"/>
              <a:gd name="connsiteY238" fmla="*/ 23210 h 1714456"/>
              <a:gd name="connsiteX239" fmla="*/ 938351 w 2302724"/>
              <a:gd name="connsiteY239" fmla="*/ 23210 h 1714456"/>
              <a:gd name="connsiteX240" fmla="*/ 938351 w 2302724"/>
              <a:gd name="connsiteY240" fmla="*/ 63825 h 1714456"/>
              <a:gd name="connsiteX241" fmla="*/ 1042212 w 2302724"/>
              <a:gd name="connsiteY241" fmla="*/ 63825 h 1714456"/>
              <a:gd name="connsiteX242" fmla="*/ 1042212 w 2302724"/>
              <a:gd name="connsiteY242" fmla="*/ 61969 h 1714456"/>
              <a:gd name="connsiteX243" fmla="*/ 1033963 w 2302724"/>
              <a:gd name="connsiteY243" fmla="*/ 51292 h 1714456"/>
              <a:gd name="connsiteX244" fmla="*/ 1037135 w 2302724"/>
              <a:gd name="connsiteY244" fmla="*/ 51292 h 1714456"/>
              <a:gd name="connsiteX245" fmla="*/ 1042424 w 2302724"/>
              <a:gd name="connsiteY245" fmla="*/ 55006 h 1714456"/>
              <a:gd name="connsiteX246" fmla="*/ 1206995 w 2302724"/>
              <a:gd name="connsiteY246" fmla="*/ 55006 h 1714456"/>
              <a:gd name="connsiteX247" fmla="*/ 1212495 w 2302724"/>
              <a:gd name="connsiteY247" fmla="*/ 51292 h 1714456"/>
              <a:gd name="connsiteX248" fmla="*/ 1215667 w 2302724"/>
              <a:gd name="connsiteY248" fmla="*/ 51292 h 1714456"/>
              <a:gd name="connsiteX249" fmla="*/ 1206995 w 2302724"/>
              <a:gd name="connsiteY249" fmla="*/ 62201 h 1714456"/>
              <a:gd name="connsiteX250" fmla="*/ 1206995 w 2302724"/>
              <a:gd name="connsiteY250" fmla="*/ 63825 h 1714456"/>
              <a:gd name="connsiteX251" fmla="*/ 1336028 w 2302724"/>
              <a:gd name="connsiteY251" fmla="*/ 63825 h 1714456"/>
              <a:gd name="connsiteX252" fmla="*/ 1336028 w 2302724"/>
              <a:gd name="connsiteY252" fmla="*/ 61969 h 1714456"/>
              <a:gd name="connsiteX253" fmla="*/ 1327779 w 2302724"/>
              <a:gd name="connsiteY253" fmla="*/ 51292 h 1714456"/>
              <a:gd name="connsiteX254" fmla="*/ 1330951 w 2302724"/>
              <a:gd name="connsiteY254" fmla="*/ 51292 h 1714456"/>
              <a:gd name="connsiteX255" fmla="*/ 1336240 w 2302724"/>
              <a:gd name="connsiteY255" fmla="*/ 55006 h 1714456"/>
              <a:gd name="connsiteX256" fmla="*/ 1500811 w 2302724"/>
              <a:gd name="connsiteY256" fmla="*/ 55006 h 1714456"/>
              <a:gd name="connsiteX257" fmla="*/ 1506311 w 2302724"/>
              <a:gd name="connsiteY257" fmla="*/ 51292 h 1714456"/>
              <a:gd name="connsiteX258" fmla="*/ 1509483 w 2302724"/>
              <a:gd name="connsiteY258" fmla="*/ 51292 h 1714456"/>
              <a:gd name="connsiteX259" fmla="*/ 1500811 w 2302724"/>
              <a:gd name="connsiteY259" fmla="*/ 62201 h 1714456"/>
              <a:gd name="connsiteX260" fmla="*/ 1500811 w 2302724"/>
              <a:gd name="connsiteY260" fmla="*/ 63825 h 1714456"/>
              <a:gd name="connsiteX261" fmla="*/ 2254707 w 2302724"/>
              <a:gd name="connsiteY261" fmla="*/ 63825 h 1714456"/>
              <a:gd name="connsiteX262" fmla="*/ 2254707 w 2302724"/>
              <a:gd name="connsiteY262" fmla="*/ 596706 h 1714456"/>
              <a:gd name="connsiteX263" fmla="*/ 2302724 w 2302724"/>
              <a:gd name="connsiteY263" fmla="*/ 649158 h 1714456"/>
              <a:gd name="connsiteX264" fmla="*/ 2302724 w 2302724"/>
              <a:gd name="connsiteY264" fmla="*/ 1413666 h 1714456"/>
              <a:gd name="connsiteX265" fmla="*/ 2254707 w 2302724"/>
              <a:gd name="connsiteY265" fmla="*/ 1466119 h 1714456"/>
              <a:gd name="connsiteX266" fmla="*/ 2254707 w 2302724"/>
              <a:gd name="connsiteY266" fmla="*/ 1714456 h 1714456"/>
              <a:gd name="connsiteX267" fmla="*/ 46114 w 2302724"/>
              <a:gd name="connsiteY267" fmla="*/ 1714456 h 1714456"/>
              <a:gd name="connsiteX268" fmla="*/ 46114 w 2302724"/>
              <a:gd name="connsiteY268" fmla="*/ 1082240 h 1714456"/>
              <a:gd name="connsiteX269" fmla="*/ 0 w 2302724"/>
              <a:gd name="connsiteY269" fmla="*/ 1082240 h 1714456"/>
              <a:gd name="connsiteX270" fmla="*/ 0 w 2302724"/>
              <a:gd name="connsiteY270" fmla="*/ 873359 h 1714456"/>
              <a:gd name="connsiteX271" fmla="*/ 46114 w 2302724"/>
              <a:gd name="connsiteY271" fmla="*/ 873359 h 1714456"/>
              <a:gd name="connsiteX272" fmla="*/ 46114 w 2302724"/>
              <a:gd name="connsiteY272" fmla="*/ 63825 h 1714456"/>
              <a:gd name="connsiteX273" fmla="*/ 328507 w 2302724"/>
              <a:gd name="connsiteY273" fmla="*/ 63825 h 1714456"/>
              <a:gd name="connsiteX274" fmla="*/ 331469 w 2302724"/>
              <a:gd name="connsiteY274" fmla="*/ 49900 h 1714456"/>
              <a:gd name="connsiteX275" fmla="*/ 363198 w 2302724"/>
              <a:gd name="connsiteY275"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2302724" h="1714456">
                <a:moveTo>
                  <a:pt x="2166722" y="1565017"/>
                </a:moveTo>
                <a:cubicBezTo>
                  <a:pt x="2139455" y="1565017"/>
                  <a:pt x="2117351" y="1589534"/>
                  <a:pt x="2117351" y="1619777"/>
                </a:cubicBezTo>
                <a:cubicBezTo>
                  <a:pt x="2117351" y="1650020"/>
                  <a:pt x="2139455"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756076" y="925618"/>
                </a:moveTo>
                <a:lnTo>
                  <a:pt x="814897" y="925618"/>
                </a:lnTo>
                <a:lnTo>
                  <a:pt x="814897" y="1108158"/>
                </a:lnTo>
                <a:cubicBezTo>
                  <a:pt x="804657" y="1110303"/>
                  <a:pt x="790368" y="1111971"/>
                  <a:pt x="772984" y="1114115"/>
                </a:cubicBezTo>
                <a:cubicBezTo>
                  <a:pt x="755362" y="1116022"/>
                  <a:pt x="738215" y="1117213"/>
                  <a:pt x="721545" y="1117213"/>
                </a:cubicBezTo>
                <a:cubicBezTo>
                  <a:pt x="688444" y="1117213"/>
                  <a:pt x="663439" y="1113877"/>
                  <a:pt x="646055" y="1106966"/>
                </a:cubicBezTo>
                <a:cubicBezTo>
                  <a:pt x="628670" y="1100056"/>
                  <a:pt x="616525" y="1090047"/>
                  <a:pt x="610333" y="1076940"/>
                </a:cubicBezTo>
                <a:cubicBezTo>
                  <a:pt x="603665" y="1063596"/>
                  <a:pt x="600331" y="1045961"/>
                  <a:pt x="600331" y="1023799"/>
                </a:cubicBezTo>
                <a:lnTo>
                  <a:pt x="600331" y="1013552"/>
                </a:lnTo>
                <a:cubicBezTo>
                  <a:pt x="600331" y="980428"/>
                  <a:pt x="611762" y="957313"/>
                  <a:pt x="634624" y="944683"/>
                </a:cubicBezTo>
                <a:cubicBezTo>
                  <a:pt x="657485" y="932053"/>
                  <a:pt x="697731" y="925618"/>
                  <a:pt x="756076" y="925618"/>
                </a:cubicBezTo>
                <a:close/>
                <a:moveTo>
                  <a:pt x="1888507" y="755950"/>
                </a:moveTo>
                <a:cubicBezTo>
                  <a:pt x="1917789" y="755950"/>
                  <a:pt x="1942073" y="761903"/>
                  <a:pt x="1960404" y="774049"/>
                </a:cubicBezTo>
                <a:cubicBezTo>
                  <a:pt x="1978735" y="786670"/>
                  <a:pt x="1992305" y="804055"/>
                  <a:pt x="2000638" y="827155"/>
                </a:cubicBezTo>
                <a:cubicBezTo>
                  <a:pt x="2008970" y="850016"/>
                  <a:pt x="2013017" y="877403"/>
                  <a:pt x="2013017" y="909314"/>
                </a:cubicBezTo>
                <a:lnTo>
                  <a:pt x="2013017" y="963611"/>
                </a:lnTo>
                <a:cubicBezTo>
                  <a:pt x="2013017" y="1012906"/>
                  <a:pt x="2003257" y="1051009"/>
                  <a:pt x="1983735" y="1077443"/>
                </a:cubicBezTo>
                <a:cubicBezTo>
                  <a:pt x="1963975" y="1103877"/>
                  <a:pt x="1932311" y="1117213"/>
                  <a:pt x="1888745" y="1117213"/>
                </a:cubicBezTo>
                <a:cubicBezTo>
                  <a:pt x="1844940" y="1117213"/>
                  <a:pt x="1813515" y="1104115"/>
                  <a:pt x="1793755" y="1077443"/>
                </a:cubicBezTo>
                <a:cubicBezTo>
                  <a:pt x="1774233" y="1051009"/>
                  <a:pt x="1763996" y="1012906"/>
                  <a:pt x="1763996" y="963611"/>
                </a:cubicBezTo>
                <a:lnTo>
                  <a:pt x="1763996" y="909314"/>
                </a:lnTo>
                <a:cubicBezTo>
                  <a:pt x="1763996" y="877403"/>
                  <a:pt x="1768281" y="850016"/>
                  <a:pt x="1776376" y="827155"/>
                </a:cubicBezTo>
                <a:cubicBezTo>
                  <a:pt x="1784708" y="804055"/>
                  <a:pt x="1798278" y="786670"/>
                  <a:pt x="1816610" y="774049"/>
                </a:cubicBezTo>
                <a:cubicBezTo>
                  <a:pt x="1835179" y="761903"/>
                  <a:pt x="1858748" y="755950"/>
                  <a:pt x="1888507" y="755950"/>
                </a:cubicBezTo>
                <a:close/>
                <a:moveTo>
                  <a:pt x="1508213" y="755950"/>
                </a:moveTo>
                <a:cubicBezTo>
                  <a:pt x="1550494" y="755950"/>
                  <a:pt x="1580898" y="768572"/>
                  <a:pt x="1599426" y="794055"/>
                </a:cubicBezTo>
                <a:cubicBezTo>
                  <a:pt x="1617953" y="819538"/>
                  <a:pt x="1627217" y="857882"/>
                  <a:pt x="1627217" y="908848"/>
                </a:cubicBezTo>
                <a:lnTo>
                  <a:pt x="1627217" y="913611"/>
                </a:lnTo>
                <a:lnTo>
                  <a:pt x="1387071" y="913611"/>
                </a:lnTo>
                <a:lnTo>
                  <a:pt x="1387071" y="909324"/>
                </a:lnTo>
                <a:cubicBezTo>
                  <a:pt x="1387071" y="878602"/>
                  <a:pt x="1391109" y="851690"/>
                  <a:pt x="1399660" y="828588"/>
                </a:cubicBezTo>
                <a:cubicBezTo>
                  <a:pt x="1408211" y="805487"/>
                  <a:pt x="1421751" y="787387"/>
                  <a:pt x="1439566" y="774764"/>
                </a:cubicBezTo>
                <a:cubicBezTo>
                  <a:pt x="1457618" y="762142"/>
                  <a:pt x="1480422" y="755950"/>
                  <a:pt x="1508213" y="755950"/>
                </a:cubicBezTo>
                <a:close/>
                <a:moveTo>
                  <a:pt x="1103915" y="729325"/>
                </a:moveTo>
                <a:cubicBezTo>
                  <a:pt x="1100060" y="729325"/>
                  <a:pt x="1096687" y="730755"/>
                  <a:pt x="1093554" y="733853"/>
                </a:cubicBezTo>
                <a:cubicBezTo>
                  <a:pt x="1090422" y="736951"/>
                  <a:pt x="1088976" y="740049"/>
                  <a:pt x="1088976" y="743862"/>
                </a:cubicBezTo>
                <a:lnTo>
                  <a:pt x="1088976" y="1128019"/>
                </a:lnTo>
                <a:cubicBezTo>
                  <a:pt x="1088976" y="1131832"/>
                  <a:pt x="1090422" y="1135168"/>
                  <a:pt x="1093554" y="1138266"/>
                </a:cubicBezTo>
                <a:cubicBezTo>
                  <a:pt x="1096687" y="1141364"/>
                  <a:pt x="1100301" y="1142794"/>
                  <a:pt x="1103915" y="1142794"/>
                </a:cubicBezTo>
                <a:lnTo>
                  <a:pt x="1108734" y="1142794"/>
                </a:lnTo>
                <a:cubicBezTo>
                  <a:pt x="1112831" y="1142794"/>
                  <a:pt x="1116204" y="1141126"/>
                  <a:pt x="1119336" y="1138266"/>
                </a:cubicBezTo>
                <a:cubicBezTo>
                  <a:pt x="1121987" y="1135406"/>
                  <a:pt x="1123432" y="1132070"/>
                  <a:pt x="1123432" y="1128257"/>
                </a:cubicBezTo>
                <a:lnTo>
                  <a:pt x="1123432" y="744100"/>
                </a:lnTo>
                <a:cubicBezTo>
                  <a:pt x="1123432" y="740049"/>
                  <a:pt x="1121987" y="736713"/>
                  <a:pt x="1119336" y="733615"/>
                </a:cubicBezTo>
                <a:cubicBezTo>
                  <a:pt x="1116204" y="730755"/>
                  <a:pt x="1112590" y="729325"/>
                  <a:pt x="1108734" y="729325"/>
                </a:cubicBezTo>
                <a:close/>
                <a:moveTo>
                  <a:pt x="1888767" y="725670"/>
                </a:moveTo>
                <a:cubicBezTo>
                  <a:pt x="1854514" y="725670"/>
                  <a:pt x="1825257" y="732824"/>
                  <a:pt x="1801469" y="747131"/>
                </a:cubicBezTo>
                <a:cubicBezTo>
                  <a:pt x="1777683" y="761438"/>
                  <a:pt x="1760081" y="782422"/>
                  <a:pt x="1748425" y="810083"/>
                </a:cubicBezTo>
                <a:cubicBezTo>
                  <a:pt x="1736531" y="837743"/>
                  <a:pt x="1730585" y="870649"/>
                  <a:pt x="1730585" y="909279"/>
                </a:cubicBezTo>
                <a:lnTo>
                  <a:pt x="1730585" y="963646"/>
                </a:lnTo>
                <a:cubicBezTo>
                  <a:pt x="1730585" y="1002037"/>
                  <a:pt x="1736531" y="1035181"/>
                  <a:pt x="1748425" y="1062842"/>
                </a:cubicBezTo>
                <a:cubicBezTo>
                  <a:pt x="1760081" y="1090502"/>
                  <a:pt x="1777683" y="1111486"/>
                  <a:pt x="1801469" y="1126031"/>
                </a:cubicBezTo>
                <a:cubicBezTo>
                  <a:pt x="1825019" y="1140339"/>
                  <a:pt x="1854277" y="1147492"/>
                  <a:pt x="1888767" y="1147492"/>
                </a:cubicBezTo>
                <a:cubicBezTo>
                  <a:pt x="1923259" y="1147492"/>
                  <a:pt x="1952279" y="1140339"/>
                  <a:pt x="1976066" y="1126031"/>
                </a:cubicBezTo>
                <a:cubicBezTo>
                  <a:pt x="1999853" y="1111486"/>
                  <a:pt x="2017455" y="1090502"/>
                  <a:pt x="2029349" y="1062842"/>
                </a:cubicBezTo>
                <a:cubicBezTo>
                  <a:pt x="2041004" y="1035181"/>
                  <a:pt x="2046951" y="1002037"/>
                  <a:pt x="2046951" y="963646"/>
                </a:cubicBezTo>
                <a:lnTo>
                  <a:pt x="2046951" y="909279"/>
                </a:lnTo>
                <a:cubicBezTo>
                  <a:pt x="2046951" y="870649"/>
                  <a:pt x="2041004" y="837743"/>
                  <a:pt x="2029349" y="810083"/>
                </a:cubicBezTo>
                <a:cubicBezTo>
                  <a:pt x="2017693" y="782422"/>
                  <a:pt x="1999853" y="761677"/>
                  <a:pt x="1976066" y="747131"/>
                </a:cubicBezTo>
                <a:cubicBezTo>
                  <a:pt x="1952279" y="732824"/>
                  <a:pt x="1923259" y="725670"/>
                  <a:pt x="1888767" y="725670"/>
                </a:cubicBezTo>
                <a:close/>
                <a:moveTo>
                  <a:pt x="1508309" y="725670"/>
                </a:moveTo>
                <a:cubicBezTo>
                  <a:pt x="1475754" y="725670"/>
                  <a:pt x="1447713" y="733535"/>
                  <a:pt x="1424188" y="749264"/>
                </a:cubicBezTo>
                <a:cubicBezTo>
                  <a:pt x="1400901" y="764993"/>
                  <a:pt x="1383079" y="786680"/>
                  <a:pt x="1370959" y="814563"/>
                </a:cubicBezTo>
                <a:cubicBezTo>
                  <a:pt x="1359078" y="842446"/>
                  <a:pt x="1353137" y="874142"/>
                  <a:pt x="1353137" y="909651"/>
                </a:cubicBezTo>
                <a:lnTo>
                  <a:pt x="1353137" y="960652"/>
                </a:lnTo>
                <a:cubicBezTo>
                  <a:pt x="1353137" y="1028095"/>
                  <a:pt x="1368583" y="1075997"/>
                  <a:pt x="1399237" y="1104595"/>
                </a:cubicBezTo>
                <a:cubicBezTo>
                  <a:pt x="1429891" y="1132955"/>
                  <a:pt x="1470526" y="1147492"/>
                  <a:pt x="1520665" y="1147492"/>
                </a:cubicBezTo>
                <a:cubicBezTo>
                  <a:pt x="1532785" y="1147492"/>
                  <a:pt x="1547043" y="1146301"/>
                  <a:pt x="1562488" y="1143679"/>
                </a:cubicBezTo>
                <a:cubicBezTo>
                  <a:pt x="1578409" y="1141058"/>
                  <a:pt x="1592667" y="1137960"/>
                  <a:pt x="1605737" y="1134147"/>
                </a:cubicBezTo>
                <a:cubicBezTo>
                  <a:pt x="1618569" y="1130334"/>
                  <a:pt x="1629499" y="1126521"/>
                  <a:pt x="1638767" y="1122231"/>
                </a:cubicBezTo>
                <a:cubicBezTo>
                  <a:pt x="1644708" y="1119132"/>
                  <a:pt x="1648510" y="1116273"/>
                  <a:pt x="1650649" y="1114128"/>
                </a:cubicBezTo>
                <a:cubicBezTo>
                  <a:pt x="1652312" y="1112460"/>
                  <a:pt x="1653263" y="1109362"/>
                  <a:pt x="1653263" y="1105310"/>
                </a:cubicBezTo>
                <a:lnTo>
                  <a:pt x="1653263" y="1096016"/>
                </a:lnTo>
                <a:cubicBezTo>
                  <a:pt x="1653263" y="1093156"/>
                  <a:pt x="1652074" y="1091250"/>
                  <a:pt x="1649698" y="1090058"/>
                </a:cubicBezTo>
                <a:cubicBezTo>
                  <a:pt x="1647322" y="1088866"/>
                  <a:pt x="1644233" y="1088866"/>
                  <a:pt x="1640193" y="1090773"/>
                </a:cubicBezTo>
                <a:cubicBezTo>
                  <a:pt x="1597657" y="1108408"/>
                  <a:pt x="1557973" y="1117464"/>
                  <a:pt x="1520665" y="1117464"/>
                </a:cubicBezTo>
                <a:cubicBezTo>
                  <a:pt x="1479318" y="1117464"/>
                  <a:pt x="1446525" y="1106025"/>
                  <a:pt x="1422525" y="1083385"/>
                </a:cubicBezTo>
                <a:cubicBezTo>
                  <a:pt x="1398762" y="1060745"/>
                  <a:pt x="1386881" y="1019992"/>
                  <a:pt x="1386881" y="960652"/>
                </a:cubicBezTo>
                <a:lnTo>
                  <a:pt x="1386881" y="944446"/>
                </a:lnTo>
                <a:lnTo>
                  <a:pt x="1646134" y="944446"/>
                </a:lnTo>
                <a:cubicBezTo>
                  <a:pt x="1650173" y="944446"/>
                  <a:pt x="1653500" y="943254"/>
                  <a:pt x="1656589" y="940394"/>
                </a:cubicBezTo>
                <a:cubicBezTo>
                  <a:pt x="1659441" y="937773"/>
                  <a:pt x="1660629" y="934198"/>
                  <a:pt x="1660629" y="929909"/>
                </a:cubicBezTo>
                <a:lnTo>
                  <a:pt x="1660629" y="908937"/>
                </a:lnTo>
                <a:cubicBezTo>
                  <a:pt x="1660629" y="871997"/>
                  <a:pt x="1655163" y="839586"/>
                  <a:pt x="1644233" y="812180"/>
                </a:cubicBezTo>
                <a:cubicBezTo>
                  <a:pt x="1633539" y="784773"/>
                  <a:pt x="1616668" y="763325"/>
                  <a:pt x="1593617" y="748549"/>
                </a:cubicBezTo>
                <a:cubicBezTo>
                  <a:pt x="1570568" y="733535"/>
                  <a:pt x="1542052" y="725670"/>
                  <a:pt x="1508309" y="725670"/>
                </a:cubicBezTo>
                <a:close/>
                <a:moveTo>
                  <a:pt x="708782" y="725670"/>
                </a:moveTo>
                <a:cubicBezTo>
                  <a:pt x="689490" y="725670"/>
                  <a:pt x="670674" y="727814"/>
                  <a:pt x="652572" y="732102"/>
                </a:cubicBezTo>
                <a:cubicBezTo>
                  <a:pt x="634233" y="736389"/>
                  <a:pt x="618751" y="740914"/>
                  <a:pt x="605651" y="745440"/>
                </a:cubicBezTo>
                <a:cubicBezTo>
                  <a:pt x="596124" y="749013"/>
                  <a:pt x="591360" y="754729"/>
                  <a:pt x="591360" y="762589"/>
                </a:cubicBezTo>
                <a:lnTo>
                  <a:pt x="591360" y="767352"/>
                </a:lnTo>
                <a:cubicBezTo>
                  <a:pt x="591360" y="776642"/>
                  <a:pt x="596839" y="779024"/>
                  <a:pt x="607557" y="774974"/>
                </a:cubicBezTo>
                <a:cubicBezTo>
                  <a:pt x="621133" y="769496"/>
                  <a:pt x="636853" y="765209"/>
                  <a:pt x="654954" y="761160"/>
                </a:cubicBezTo>
                <a:cubicBezTo>
                  <a:pt x="673055" y="757111"/>
                  <a:pt x="690680" y="755205"/>
                  <a:pt x="707591" y="755205"/>
                </a:cubicBezTo>
                <a:cubicBezTo>
                  <a:pt x="733553" y="755205"/>
                  <a:pt x="754036" y="758301"/>
                  <a:pt x="769279" y="764256"/>
                </a:cubicBezTo>
                <a:cubicBezTo>
                  <a:pt x="784522" y="770211"/>
                  <a:pt x="795955" y="781405"/>
                  <a:pt x="803577" y="797840"/>
                </a:cubicBezTo>
                <a:cubicBezTo>
                  <a:pt x="811199" y="814274"/>
                  <a:pt x="814771" y="837617"/>
                  <a:pt x="814771" y="867866"/>
                </a:cubicBezTo>
                <a:lnTo>
                  <a:pt x="814771" y="895733"/>
                </a:lnTo>
                <a:lnTo>
                  <a:pt x="755941" y="895733"/>
                </a:lnTo>
                <a:cubicBezTo>
                  <a:pt x="687108" y="895733"/>
                  <a:pt x="638043" y="905022"/>
                  <a:pt x="608986" y="923600"/>
                </a:cubicBezTo>
                <a:cubicBezTo>
                  <a:pt x="580166" y="942417"/>
                  <a:pt x="565875" y="972428"/>
                  <a:pt x="565875" y="1013872"/>
                </a:cubicBezTo>
                <a:lnTo>
                  <a:pt x="565875" y="1024114"/>
                </a:lnTo>
                <a:cubicBezTo>
                  <a:pt x="565875" y="1052696"/>
                  <a:pt x="570639" y="1076037"/>
                  <a:pt x="580404" y="1094139"/>
                </a:cubicBezTo>
                <a:cubicBezTo>
                  <a:pt x="590170" y="1112003"/>
                  <a:pt x="606604" y="1125341"/>
                  <a:pt x="629469" y="1134154"/>
                </a:cubicBezTo>
                <a:cubicBezTo>
                  <a:pt x="652334" y="1142967"/>
                  <a:pt x="683059" y="1147492"/>
                  <a:pt x="720929" y="1147492"/>
                </a:cubicBezTo>
                <a:cubicBezTo>
                  <a:pt x="759276" y="1147492"/>
                  <a:pt x="798099" y="1142014"/>
                  <a:pt x="837160" y="1131296"/>
                </a:cubicBezTo>
                <a:cubicBezTo>
                  <a:pt x="841685" y="1130105"/>
                  <a:pt x="844781" y="1128438"/>
                  <a:pt x="846210" y="1126056"/>
                </a:cubicBezTo>
                <a:cubicBezTo>
                  <a:pt x="847878" y="1123436"/>
                  <a:pt x="848830" y="1119625"/>
                  <a:pt x="848830" y="1115099"/>
                </a:cubicBezTo>
                <a:lnTo>
                  <a:pt x="848830" y="867389"/>
                </a:lnTo>
                <a:cubicBezTo>
                  <a:pt x="848830" y="834520"/>
                  <a:pt x="844067" y="807367"/>
                  <a:pt x="834778" y="786645"/>
                </a:cubicBezTo>
                <a:cubicBezTo>
                  <a:pt x="825727" y="765923"/>
                  <a:pt x="811199" y="750441"/>
                  <a:pt x="790715" y="740438"/>
                </a:cubicBezTo>
                <a:cubicBezTo>
                  <a:pt x="770232" y="730672"/>
                  <a:pt x="743079" y="725670"/>
                  <a:pt x="708782" y="725670"/>
                </a:cubicBezTo>
                <a:close/>
                <a:moveTo>
                  <a:pt x="2094980" y="643186"/>
                </a:moveTo>
                <a:lnTo>
                  <a:pt x="2094980" y="707921"/>
                </a:lnTo>
                <a:lnTo>
                  <a:pt x="2105421" y="707921"/>
                </a:lnTo>
                <a:lnTo>
                  <a:pt x="2105421" y="654149"/>
                </a:lnTo>
                <a:lnTo>
                  <a:pt x="2126826" y="707921"/>
                </a:lnTo>
                <a:lnTo>
                  <a:pt x="2133612" y="707921"/>
                </a:lnTo>
                <a:lnTo>
                  <a:pt x="2154495" y="654149"/>
                </a:lnTo>
                <a:lnTo>
                  <a:pt x="2155017" y="654149"/>
                </a:lnTo>
                <a:lnTo>
                  <a:pt x="2155017" y="707921"/>
                </a:lnTo>
                <a:lnTo>
                  <a:pt x="2165458" y="707921"/>
                </a:lnTo>
                <a:lnTo>
                  <a:pt x="2165458" y="643186"/>
                </a:lnTo>
                <a:lnTo>
                  <a:pt x="2149274" y="643186"/>
                </a:lnTo>
                <a:lnTo>
                  <a:pt x="2130480" y="692259"/>
                </a:lnTo>
                <a:lnTo>
                  <a:pt x="2111164" y="643186"/>
                </a:lnTo>
                <a:close/>
                <a:moveTo>
                  <a:pt x="2030767" y="643186"/>
                </a:moveTo>
                <a:lnTo>
                  <a:pt x="2030767" y="651538"/>
                </a:lnTo>
                <a:lnTo>
                  <a:pt x="2050605" y="651538"/>
                </a:lnTo>
                <a:lnTo>
                  <a:pt x="2050605" y="707921"/>
                </a:lnTo>
                <a:lnTo>
                  <a:pt x="2061568" y="707921"/>
                </a:lnTo>
                <a:lnTo>
                  <a:pt x="2061568" y="651538"/>
                </a:lnTo>
                <a:lnTo>
                  <a:pt x="2081929" y="651538"/>
                </a:lnTo>
                <a:lnTo>
                  <a:pt x="2081929" y="643186"/>
                </a:lnTo>
                <a:close/>
                <a:moveTo>
                  <a:pt x="1244009" y="570620"/>
                </a:moveTo>
                <a:cubicBezTo>
                  <a:pt x="1240217" y="570620"/>
                  <a:pt x="1237137" y="572050"/>
                  <a:pt x="1234531" y="575147"/>
                </a:cubicBezTo>
                <a:cubicBezTo>
                  <a:pt x="1231924" y="578246"/>
                  <a:pt x="1230976" y="581820"/>
                  <a:pt x="1230976" y="585395"/>
                </a:cubicBezTo>
                <a:lnTo>
                  <a:pt x="1230976" y="1128019"/>
                </a:lnTo>
                <a:cubicBezTo>
                  <a:pt x="1230976" y="1131832"/>
                  <a:pt x="1231924" y="1135168"/>
                  <a:pt x="1234531" y="1138266"/>
                </a:cubicBezTo>
                <a:cubicBezTo>
                  <a:pt x="1237137" y="1141126"/>
                  <a:pt x="1240217" y="1142794"/>
                  <a:pt x="1244009" y="1142794"/>
                </a:cubicBezTo>
                <a:lnTo>
                  <a:pt x="1251829" y="1142794"/>
                </a:lnTo>
                <a:cubicBezTo>
                  <a:pt x="1255620" y="1142794"/>
                  <a:pt x="1258700" y="1141126"/>
                  <a:pt x="1261070" y="1138266"/>
                </a:cubicBezTo>
                <a:cubicBezTo>
                  <a:pt x="1263203" y="1135645"/>
                  <a:pt x="1264387" y="1132070"/>
                  <a:pt x="1264387" y="1128019"/>
                </a:cubicBezTo>
                <a:lnTo>
                  <a:pt x="1264387" y="585156"/>
                </a:lnTo>
                <a:cubicBezTo>
                  <a:pt x="1264387" y="581105"/>
                  <a:pt x="1263440" y="577531"/>
                  <a:pt x="1261070" y="574671"/>
                </a:cubicBezTo>
                <a:cubicBezTo>
                  <a:pt x="1258700" y="572050"/>
                  <a:pt x="1255620" y="570620"/>
                  <a:pt x="1251829" y="570620"/>
                </a:cubicBezTo>
                <a:close/>
                <a:moveTo>
                  <a:pt x="961164" y="570620"/>
                </a:moveTo>
                <a:cubicBezTo>
                  <a:pt x="957580" y="570620"/>
                  <a:pt x="954473" y="572050"/>
                  <a:pt x="951845" y="575147"/>
                </a:cubicBezTo>
                <a:cubicBezTo>
                  <a:pt x="949216" y="578246"/>
                  <a:pt x="948021" y="581820"/>
                  <a:pt x="948021" y="585395"/>
                </a:cubicBezTo>
                <a:lnTo>
                  <a:pt x="948021" y="1128019"/>
                </a:lnTo>
                <a:cubicBezTo>
                  <a:pt x="948021" y="1131832"/>
                  <a:pt x="949216" y="1135168"/>
                  <a:pt x="951845" y="1138266"/>
                </a:cubicBezTo>
                <a:cubicBezTo>
                  <a:pt x="954473" y="1141126"/>
                  <a:pt x="957580" y="1142794"/>
                  <a:pt x="961164" y="1142794"/>
                </a:cubicBezTo>
                <a:lnTo>
                  <a:pt x="969289" y="1142794"/>
                </a:lnTo>
                <a:cubicBezTo>
                  <a:pt x="972874" y="1142794"/>
                  <a:pt x="975981" y="1141126"/>
                  <a:pt x="978370" y="1138266"/>
                </a:cubicBezTo>
                <a:cubicBezTo>
                  <a:pt x="980760" y="1135645"/>
                  <a:pt x="981955" y="1132070"/>
                  <a:pt x="981955" y="1128019"/>
                </a:cubicBezTo>
                <a:lnTo>
                  <a:pt x="981955" y="585156"/>
                </a:lnTo>
                <a:cubicBezTo>
                  <a:pt x="981955" y="581105"/>
                  <a:pt x="980760" y="577531"/>
                  <a:pt x="978370" y="574671"/>
                </a:cubicBezTo>
                <a:cubicBezTo>
                  <a:pt x="975981" y="572050"/>
                  <a:pt x="972874" y="570620"/>
                  <a:pt x="969289" y="570620"/>
                </a:cubicBezTo>
                <a:close/>
                <a:moveTo>
                  <a:pt x="1104315" y="566965"/>
                </a:moveTo>
                <a:cubicBezTo>
                  <a:pt x="1100491" y="566965"/>
                  <a:pt x="1096907" y="568397"/>
                  <a:pt x="1094039" y="571499"/>
                </a:cubicBezTo>
                <a:cubicBezTo>
                  <a:pt x="1090933" y="574601"/>
                  <a:pt x="1089499" y="577941"/>
                  <a:pt x="1089499" y="581759"/>
                </a:cubicBezTo>
                <a:lnTo>
                  <a:pt x="1089499" y="639026"/>
                </a:lnTo>
                <a:cubicBezTo>
                  <a:pt x="1089499" y="642606"/>
                  <a:pt x="1090933" y="646185"/>
                  <a:pt x="1094039" y="649048"/>
                </a:cubicBezTo>
                <a:cubicBezTo>
                  <a:pt x="1096668" y="651912"/>
                  <a:pt x="1100252" y="653105"/>
                  <a:pt x="1104315" y="653105"/>
                </a:cubicBezTo>
                <a:lnTo>
                  <a:pt x="1108855" y="653105"/>
                </a:lnTo>
                <a:cubicBezTo>
                  <a:pt x="1113157" y="653105"/>
                  <a:pt x="1116502" y="651912"/>
                  <a:pt x="1119370" y="649287"/>
                </a:cubicBezTo>
                <a:cubicBezTo>
                  <a:pt x="1121999" y="646424"/>
                  <a:pt x="1123433" y="642844"/>
                  <a:pt x="1123433" y="639026"/>
                </a:cubicBezTo>
                <a:lnTo>
                  <a:pt x="1123433" y="581759"/>
                </a:lnTo>
                <a:cubicBezTo>
                  <a:pt x="1123433" y="577703"/>
                  <a:pt x="1122238" y="574362"/>
                  <a:pt x="1119370" y="571260"/>
                </a:cubicBezTo>
                <a:cubicBezTo>
                  <a:pt x="1116263" y="568397"/>
                  <a:pt x="1112918" y="566965"/>
                  <a:pt x="1109094" y="566965"/>
                </a:cubicBezTo>
                <a:close/>
                <a:moveTo>
                  <a:pt x="329579" y="566965"/>
                </a:moveTo>
                <a:cubicBezTo>
                  <a:pt x="296537" y="566965"/>
                  <a:pt x="265158" y="574120"/>
                  <a:pt x="236395" y="588669"/>
                </a:cubicBezTo>
                <a:cubicBezTo>
                  <a:pt x="207393" y="603457"/>
                  <a:pt x="183622" y="628739"/>
                  <a:pt x="165317" y="664992"/>
                </a:cubicBezTo>
                <a:cubicBezTo>
                  <a:pt x="146538" y="701006"/>
                  <a:pt x="137267" y="749185"/>
                  <a:pt x="137267" y="809289"/>
                </a:cubicBezTo>
                <a:lnTo>
                  <a:pt x="137267" y="904930"/>
                </a:lnTo>
                <a:cubicBezTo>
                  <a:pt x="137267" y="959310"/>
                  <a:pt x="145587" y="1004865"/>
                  <a:pt x="162465" y="1041118"/>
                </a:cubicBezTo>
                <a:cubicBezTo>
                  <a:pt x="178867" y="1077610"/>
                  <a:pt x="201926" y="1104561"/>
                  <a:pt x="230452" y="1121733"/>
                </a:cubicBezTo>
                <a:cubicBezTo>
                  <a:pt x="259453" y="1138906"/>
                  <a:pt x="292496" y="1147492"/>
                  <a:pt x="330055" y="1147492"/>
                </a:cubicBezTo>
                <a:cubicBezTo>
                  <a:pt x="357154" y="1147492"/>
                  <a:pt x="380926" y="1146538"/>
                  <a:pt x="400656" y="1144869"/>
                </a:cubicBezTo>
                <a:cubicBezTo>
                  <a:pt x="420387" y="1142961"/>
                  <a:pt x="442732" y="1140575"/>
                  <a:pt x="467692" y="1137713"/>
                </a:cubicBezTo>
                <a:cubicBezTo>
                  <a:pt x="471258" y="1137237"/>
                  <a:pt x="474111" y="1135567"/>
                  <a:pt x="476726" y="1132705"/>
                </a:cubicBezTo>
                <a:cubicBezTo>
                  <a:pt x="479578" y="1129843"/>
                  <a:pt x="480767" y="1126504"/>
                  <a:pt x="480767" y="1122926"/>
                </a:cubicBezTo>
                <a:lnTo>
                  <a:pt x="480767" y="863430"/>
                </a:lnTo>
                <a:cubicBezTo>
                  <a:pt x="480767" y="853651"/>
                  <a:pt x="476250" y="848643"/>
                  <a:pt x="467692" y="848643"/>
                </a:cubicBezTo>
                <a:lnTo>
                  <a:pt x="460086" y="848643"/>
                </a:lnTo>
                <a:cubicBezTo>
                  <a:pt x="451290" y="848643"/>
                  <a:pt x="447011" y="853651"/>
                  <a:pt x="447011" y="863430"/>
                </a:cubicBezTo>
                <a:lnTo>
                  <a:pt x="447011" y="1108377"/>
                </a:lnTo>
                <a:cubicBezTo>
                  <a:pt x="436314" y="1109570"/>
                  <a:pt x="420625" y="1111001"/>
                  <a:pt x="400181" y="1112670"/>
                </a:cubicBezTo>
                <a:cubicBezTo>
                  <a:pt x="379500" y="1114101"/>
                  <a:pt x="356203" y="1115055"/>
                  <a:pt x="330055" y="1115055"/>
                </a:cubicBezTo>
                <a:cubicBezTo>
                  <a:pt x="279421" y="1115055"/>
                  <a:pt x="240198" y="1097644"/>
                  <a:pt x="212623" y="1062822"/>
                </a:cubicBezTo>
                <a:cubicBezTo>
                  <a:pt x="184810" y="1028000"/>
                  <a:pt x="171023" y="975290"/>
                  <a:pt x="171023" y="904930"/>
                </a:cubicBezTo>
                <a:lnTo>
                  <a:pt x="171023" y="809289"/>
                </a:lnTo>
                <a:cubicBezTo>
                  <a:pt x="171023" y="732966"/>
                  <a:pt x="186236" y="678587"/>
                  <a:pt x="216664" y="646627"/>
                </a:cubicBezTo>
                <a:cubicBezTo>
                  <a:pt x="247092" y="614428"/>
                  <a:pt x="284651" y="598448"/>
                  <a:pt x="329579" y="598448"/>
                </a:cubicBezTo>
                <a:cubicBezTo>
                  <a:pt x="356679" y="598448"/>
                  <a:pt x="381639" y="601310"/>
                  <a:pt x="404698" y="607511"/>
                </a:cubicBezTo>
                <a:cubicBezTo>
                  <a:pt x="427756" y="613474"/>
                  <a:pt x="450815" y="620868"/>
                  <a:pt x="474111" y="629216"/>
                </a:cubicBezTo>
                <a:cubicBezTo>
                  <a:pt x="479340" y="630647"/>
                  <a:pt x="482906" y="630885"/>
                  <a:pt x="485283" y="629693"/>
                </a:cubicBezTo>
                <a:cubicBezTo>
                  <a:pt x="487660" y="628261"/>
                  <a:pt x="488611" y="625161"/>
                  <a:pt x="488611" y="619914"/>
                </a:cubicBezTo>
                <a:lnTo>
                  <a:pt x="488611" y="613236"/>
                </a:lnTo>
                <a:cubicBezTo>
                  <a:pt x="488611" y="609181"/>
                  <a:pt x="487660" y="606319"/>
                  <a:pt x="485283" y="604173"/>
                </a:cubicBezTo>
                <a:cubicBezTo>
                  <a:pt x="482668" y="602026"/>
                  <a:pt x="479340" y="599879"/>
                  <a:pt x="474111" y="597494"/>
                </a:cubicBezTo>
                <a:cubicBezTo>
                  <a:pt x="461987" y="591055"/>
                  <a:pt x="441781" y="584376"/>
                  <a:pt x="413969" y="577221"/>
                </a:cubicBezTo>
                <a:cubicBezTo>
                  <a:pt x="385680" y="570304"/>
                  <a:pt x="357867" y="566965"/>
                  <a:pt x="329579" y="566965"/>
                </a:cubicBezTo>
                <a:close/>
                <a:moveTo>
                  <a:pt x="2166722" y="110544"/>
                </a:moveTo>
                <a:cubicBezTo>
                  <a:pt x="2139455" y="110544"/>
                  <a:pt x="2117351" y="135061"/>
                  <a:pt x="2117351" y="165304"/>
                </a:cubicBezTo>
                <a:cubicBezTo>
                  <a:pt x="2117351" y="195547"/>
                  <a:pt x="2139455"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8"/>
                  <a:pt x="757721" y="57011"/>
                  <a:pt x="756670" y="52574"/>
                </a:cubicBezTo>
                <a:cubicBezTo>
                  <a:pt x="752678" y="35293"/>
                  <a:pt x="738600" y="22215"/>
                  <a:pt x="731246" y="16377"/>
                </a:cubicBezTo>
                <a:close/>
                <a:moveTo>
                  <a:pt x="363198" y="0"/>
                </a:moveTo>
                <a:lnTo>
                  <a:pt x="731473" y="0"/>
                </a:lnTo>
                <a:lnTo>
                  <a:pt x="731473" y="8356"/>
                </a:lnTo>
                <a:cubicBezTo>
                  <a:pt x="740358" y="14158"/>
                  <a:pt x="759395" y="28780"/>
                  <a:pt x="764261" y="49900"/>
                </a:cubicBezTo>
                <a:cubicBezTo>
                  <a:pt x="765530" y="55006"/>
                  <a:pt x="766376" y="59415"/>
                  <a:pt x="767222" y="63825"/>
                </a:cubicBezTo>
                <a:lnTo>
                  <a:pt x="814817" y="63825"/>
                </a:lnTo>
                <a:lnTo>
                  <a:pt x="814817" y="23210"/>
                </a:lnTo>
                <a:lnTo>
                  <a:pt x="938351" y="23210"/>
                </a:lnTo>
                <a:lnTo>
                  <a:pt x="938351" y="63825"/>
                </a:lnTo>
                <a:lnTo>
                  <a:pt x="1042212" y="63825"/>
                </a:lnTo>
                <a:lnTo>
                  <a:pt x="1042212" y="61969"/>
                </a:lnTo>
                <a:lnTo>
                  <a:pt x="1033963" y="51292"/>
                </a:lnTo>
                <a:lnTo>
                  <a:pt x="1037135" y="51292"/>
                </a:lnTo>
                <a:lnTo>
                  <a:pt x="1042424" y="55006"/>
                </a:lnTo>
                <a:lnTo>
                  <a:pt x="1206995" y="55006"/>
                </a:lnTo>
                <a:lnTo>
                  <a:pt x="1212495"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60611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17" name="Group 816"/>
          <p:cNvGrpSpPr/>
          <p:nvPr/>
        </p:nvGrpSpPr>
        <p:grpSpPr>
          <a:xfrm>
            <a:off x="618990" y="2003911"/>
            <a:ext cx="5259296" cy="3515100"/>
            <a:chOff x="4529138" y="2384425"/>
            <a:chExt cx="3125788" cy="2089150"/>
          </a:xfrm>
        </p:grpSpPr>
        <p:grpSp>
          <p:nvGrpSpPr>
            <p:cNvPr id="6" name="Group 205"/>
            <p:cNvGrpSpPr>
              <a:grpSpLocks/>
            </p:cNvGrpSpPr>
            <p:nvPr/>
          </p:nvGrpSpPr>
          <p:grpSpPr bwMode="auto">
            <a:xfrm>
              <a:off x="4529138" y="2384425"/>
              <a:ext cx="3062288" cy="2089150"/>
              <a:chOff x="2853" y="1502"/>
              <a:chExt cx="1929" cy="1316"/>
            </a:xfrm>
          </p:grpSpPr>
          <p:sp>
            <p:nvSpPr>
              <p:cNvPr id="617" name="Freeform 5"/>
              <p:cNvSpPr>
                <a:spLocks noEditPoints="1"/>
              </p:cNvSpPr>
              <p:nvPr/>
            </p:nvSpPr>
            <p:spPr bwMode="auto">
              <a:xfrm>
                <a:off x="2853" y="1502"/>
                <a:ext cx="1929" cy="1271"/>
              </a:xfrm>
              <a:custGeom>
                <a:avLst/>
                <a:gdLst>
                  <a:gd name="T0" fmla="*/ 3874 w 4016"/>
                  <a:gd name="T1" fmla="*/ 0 h 2646"/>
                  <a:gd name="T2" fmla="*/ 142 w 4016"/>
                  <a:gd name="T3" fmla="*/ 0 h 2646"/>
                  <a:gd name="T4" fmla="*/ 0 w 4016"/>
                  <a:gd name="T5" fmla="*/ 142 h 2646"/>
                  <a:gd name="T6" fmla="*/ 0 w 4016"/>
                  <a:gd name="T7" fmla="*/ 2504 h 2646"/>
                  <a:gd name="T8" fmla="*/ 142 w 4016"/>
                  <a:gd name="T9" fmla="*/ 2646 h 2646"/>
                  <a:gd name="T10" fmla="*/ 3874 w 4016"/>
                  <a:gd name="T11" fmla="*/ 2646 h 2646"/>
                  <a:gd name="T12" fmla="*/ 4016 w 4016"/>
                  <a:gd name="T13" fmla="*/ 2504 h 2646"/>
                  <a:gd name="T14" fmla="*/ 4016 w 4016"/>
                  <a:gd name="T15" fmla="*/ 142 h 2646"/>
                  <a:gd name="T16" fmla="*/ 3874 w 4016"/>
                  <a:gd name="T17" fmla="*/ 0 h 2646"/>
                  <a:gd name="T18" fmla="*/ 165 w 4016"/>
                  <a:gd name="T19" fmla="*/ 2545 h 2646"/>
                  <a:gd name="T20" fmla="*/ 100 w 4016"/>
                  <a:gd name="T21" fmla="*/ 2480 h 2646"/>
                  <a:gd name="T22" fmla="*/ 165 w 4016"/>
                  <a:gd name="T23" fmla="*/ 2415 h 2646"/>
                  <a:gd name="T24" fmla="*/ 230 w 4016"/>
                  <a:gd name="T25" fmla="*/ 2480 h 2646"/>
                  <a:gd name="T26" fmla="*/ 165 w 4016"/>
                  <a:gd name="T27" fmla="*/ 2545 h 2646"/>
                  <a:gd name="T28" fmla="*/ 165 w 4016"/>
                  <a:gd name="T29" fmla="*/ 230 h 2646"/>
                  <a:gd name="T30" fmla="*/ 100 w 4016"/>
                  <a:gd name="T31" fmla="*/ 165 h 2646"/>
                  <a:gd name="T32" fmla="*/ 165 w 4016"/>
                  <a:gd name="T33" fmla="*/ 100 h 2646"/>
                  <a:gd name="T34" fmla="*/ 230 w 4016"/>
                  <a:gd name="T35" fmla="*/ 165 h 2646"/>
                  <a:gd name="T36" fmla="*/ 165 w 4016"/>
                  <a:gd name="T37" fmla="*/ 230 h 2646"/>
                  <a:gd name="T38" fmla="*/ 2906 w 4016"/>
                  <a:gd name="T39" fmla="*/ 2545 h 2646"/>
                  <a:gd name="T40" fmla="*/ 2841 w 4016"/>
                  <a:gd name="T41" fmla="*/ 2480 h 2646"/>
                  <a:gd name="T42" fmla="*/ 2906 w 4016"/>
                  <a:gd name="T43" fmla="*/ 2415 h 2646"/>
                  <a:gd name="T44" fmla="*/ 2970 w 4016"/>
                  <a:gd name="T45" fmla="*/ 2480 h 2646"/>
                  <a:gd name="T46" fmla="*/ 2906 w 4016"/>
                  <a:gd name="T47" fmla="*/ 2545 h 2646"/>
                  <a:gd name="T48" fmla="*/ 2906 w 4016"/>
                  <a:gd name="T49" fmla="*/ 230 h 2646"/>
                  <a:gd name="T50" fmla="*/ 2841 w 4016"/>
                  <a:gd name="T51" fmla="*/ 165 h 2646"/>
                  <a:gd name="T52" fmla="*/ 2906 w 4016"/>
                  <a:gd name="T53" fmla="*/ 100 h 2646"/>
                  <a:gd name="T54" fmla="*/ 2970 w 4016"/>
                  <a:gd name="T55" fmla="*/ 165 h 2646"/>
                  <a:gd name="T56" fmla="*/ 2906 w 4016"/>
                  <a:gd name="T57" fmla="*/ 230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16" h="2646">
                    <a:moveTo>
                      <a:pt x="3874" y="0"/>
                    </a:moveTo>
                    <a:lnTo>
                      <a:pt x="142" y="0"/>
                    </a:lnTo>
                    <a:cubicBezTo>
                      <a:pt x="64" y="0"/>
                      <a:pt x="0" y="64"/>
                      <a:pt x="0" y="142"/>
                    </a:cubicBezTo>
                    <a:lnTo>
                      <a:pt x="0" y="2504"/>
                    </a:lnTo>
                    <a:cubicBezTo>
                      <a:pt x="0" y="2582"/>
                      <a:pt x="64" y="2646"/>
                      <a:pt x="142" y="2646"/>
                    </a:cubicBezTo>
                    <a:lnTo>
                      <a:pt x="3874" y="2646"/>
                    </a:lnTo>
                    <a:cubicBezTo>
                      <a:pt x="3952" y="2646"/>
                      <a:pt x="4016" y="2582"/>
                      <a:pt x="4016" y="2504"/>
                    </a:cubicBezTo>
                    <a:lnTo>
                      <a:pt x="4016" y="142"/>
                    </a:lnTo>
                    <a:cubicBezTo>
                      <a:pt x="4016" y="64"/>
                      <a:pt x="3952" y="0"/>
                      <a:pt x="3874" y="0"/>
                    </a:cubicBezTo>
                    <a:close/>
                    <a:moveTo>
                      <a:pt x="165" y="2545"/>
                    </a:moveTo>
                    <a:cubicBezTo>
                      <a:pt x="129" y="2545"/>
                      <a:pt x="100" y="2516"/>
                      <a:pt x="100" y="2480"/>
                    </a:cubicBezTo>
                    <a:cubicBezTo>
                      <a:pt x="100" y="2444"/>
                      <a:pt x="129" y="2415"/>
                      <a:pt x="165" y="2415"/>
                    </a:cubicBezTo>
                    <a:cubicBezTo>
                      <a:pt x="201" y="2415"/>
                      <a:pt x="230" y="2444"/>
                      <a:pt x="230" y="2480"/>
                    </a:cubicBezTo>
                    <a:cubicBezTo>
                      <a:pt x="230" y="2516"/>
                      <a:pt x="201" y="2545"/>
                      <a:pt x="165" y="2545"/>
                    </a:cubicBezTo>
                    <a:close/>
                    <a:moveTo>
                      <a:pt x="165" y="230"/>
                    </a:moveTo>
                    <a:cubicBezTo>
                      <a:pt x="129" y="230"/>
                      <a:pt x="100" y="201"/>
                      <a:pt x="100" y="165"/>
                    </a:cubicBezTo>
                    <a:cubicBezTo>
                      <a:pt x="100" y="129"/>
                      <a:pt x="129" y="100"/>
                      <a:pt x="165" y="100"/>
                    </a:cubicBezTo>
                    <a:cubicBezTo>
                      <a:pt x="201" y="100"/>
                      <a:pt x="230" y="129"/>
                      <a:pt x="230" y="165"/>
                    </a:cubicBezTo>
                    <a:cubicBezTo>
                      <a:pt x="230" y="201"/>
                      <a:pt x="201" y="230"/>
                      <a:pt x="165" y="230"/>
                    </a:cubicBezTo>
                    <a:close/>
                    <a:moveTo>
                      <a:pt x="2906" y="2545"/>
                    </a:moveTo>
                    <a:cubicBezTo>
                      <a:pt x="2870" y="2545"/>
                      <a:pt x="2841" y="2516"/>
                      <a:pt x="2841" y="2480"/>
                    </a:cubicBezTo>
                    <a:cubicBezTo>
                      <a:pt x="2841" y="2444"/>
                      <a:pt x="2870" y="2415"/>
                      <a:pt x="2906" y="2415"/>
                    </a:cubicBezTo>
                    <a:cubicBezTo>
                      <a:pt x="2941" y="2415"/>
                      <a:pt x="2970" y="2444"/>
                      <a:pt x="2970" y="2480"/>
                    </a:cubicBezTo>
                    <a:cubicBezTo>
                      <a:pt x="2970" y="2516"/>
                      <a:pt x="2941" y="2545"/>
                      <a:pt x="2906" y="2545"/>
                    </a:cubicBezTo>
                    <a:close/>
                    <a:moveTo>
                      <a:pt x="2906" y="230"/>
                    </a:moveTo>
                    <a:cubicBezTo>
                      <a:pt x="2870" y="230"/>
                      <a:pt x="2841" y="201"/>
                      <a:pt x="2841" y="165"/>
                    </a:cubicBezTo>
                    <a:cubicBezTo>
                      <a:pt x="2841" y="129"/>
                      <a:pt x="2870" y="100"/>
                      <a:pt x="2906" y="100"/>
                    </a:cubicBezTo>
                    <a:cubicBezTo>
                      <a:pt x="2941" y="100"/>
                      <a:pt x="2970" y="129"/>
                      <a:pt x="2970" y="165"/>
                    </a:cubicBezTo>
                    <a:cubicBezTo>
                      <a:pt x="2970" y="201"/>
                      <a:pt x="2941" y="230"/>
                      <a:pt x="2906" y="230"/>
                    </a:cubicBezTo>
                    <a:close/>
                  </a:path>
                </a:pathLst>
              </a:custGeom>
              <a:solidFill>
                <a:srgbClr val="007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6"/>
              <p:cNvSpPr>
                <a:spLocks/>
              </p:cNvSpPr>
              <p:nvPr/>
            </p:nvSpPr>
            <p:spPr bwMode="auto">
              <a:xfrm>
                <a:off x="3419" y="1951"/>
                <a:ext cx="309" cy="310"/>
              </a:xfrm>
              <a:custGeom>
                <a:avLst/>
                <a:gdLst>
                  <a:gd name="T0" fmla="*/ 0 w 643"/>
                  <a:gd name="T1" fmla="*/ 67 h 645"/>
                  <a:gd name="T2" fmla="*/ 52 w 643"/>
                  <a:gd name="T3" fmla="*/ 0 h 645"/>
                  <a:gd name="T4" fmla="*/ 643 w 643"/>
                  <a:gd name="T5" fmla="*/ 0 h 645"/>
                  <a:gd name="T6" fmla="*/ 643 w 643"/>
                  <a:gd name="T7" fmla="*/ 645 h 645"/>
                  <a:gd name="T8" fmla="*/ 0 w 643"/>
                  <a:gd name="T9" fmla="*/ 645 h 645"/>
                  <a:gd name="T10" fmla="*/ 0 w 643"/>
                  <a:gd name="T11" fmla="*/ 67 h 645"/>
                </a:gdLst>
                <a:ahLst/>
                <a:cxnLst>
                  <a:cxn ang="0">
                    <a:pos x="T0" y="T1"/>
                  </a:cxn>
                  <a:cxn ang="0">
                    <a:pos x="T2" y="T3"/>
                  </a:cxn>
                  <a:cxn ang="0">
                    <a:pos x="T4" y="T5"/>
                  </a:cxn>
                  <a:cxn ang="0">
                    <a:pos x="T6" y="T7"/>
                  </a:cxn>
                  <a:cxn ang="0">
                    <a:pos x="T8" y="T9"/>
                  </a:cxn>
                  <a:cxn ang="0">
                    <a:pos x="T10" y="T11"/>
                  </a:cxn>
                </a:cxnLst>
                <a:rect l="0" t="0" r="r" b="b"/>
                <a:pathLst>
                  <a:path w="643" h="645">
                    <a:moveTo>
                      <a:pt x="0" y="67"/>
                    </a:moveTo>
                    <a:lnTo>
                      <a:pt x="52" y="0"/>
                    </a:lnTo>
                    <a:lnTo>
                      <a:pt x="643" y="0"/>
                    </a:lnTo>
                    <a:lnTo>
                      <a:pt x="643" y="645"/>
                    </a:lnTo>
                    <a:lnTo>
                      <a:pt x="0" y="645"/>
                    </a:lnTo>
                    <a:lnTo>
                      <a:pt x="0" y="67"/>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Rectangle 7"/>
              <p:cNvSpPr>
                <a:spLocks noChangeArrowheads="1"/>
              </p:cNvSpPr>
              <p:nvPr/>
            </p:nvSpPr>
            <p:spPr bwMode="auto">
              <a:xfrm>
                <a:off x="4037" y="1933"/>
                <a:ext cx="213" cy="21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8"/>
              <p:cNvSpPr>
                <a:spLocks noEditPoints="1"/>
              </p:cNvSpPr>
              <p:nvPr/>
            </p:nvSpPr>
            <p:spPr bwMode="auto">
              <a:xfrm>
                <a:off x="3561" y="1707"/>
                <a:ext cx="29" cy="36"/>
              </a:xfrm>
              <a:custGeom>
                <a:avLst/>
                <a:gdLst>
                  <a:gd name="T0" fmla="*/ 61 w 61"/>
                  <a:gd name="T1" fmla="*/ 74 h 74"/>
                  <a:gd name="T2" fmla="*/ 48 w 61"/>
                  <a:gd name="T3" fmla="*/ 74 h 74"/>
                  <a:gd name="T4" fmla="*/ 23 w 61"/>
                  <a:gd name="T5" fmla="*/ 44 h 74"/>
                  <a:gd name="T6" fmla="*/ 10 w 61"/>
                  <a:gd name="T7" fmla="*/ 44 h 74"/>
                  <a:gd name="T8" fmla="*/ 10 w 61"/>
                  <a:gd name="T9" fmla="*/ 74 h 74"/>
                  <a:gd name="T10" fmla="*/ 0 w 61"/>
                  <a:gd name="T11" fmla="*/ 74 h 74"/>
                  <a:gd name="T12" fmla="*/ 0 w 61"/>
                  <a:gd name="T13" fmla="*/ 0 h 74"/>
                  <a:gd name="T14" fmla="*/ 20 w 61"/>
                  <a:gd name="T15" fmla="*/ 0 h 74"/>
                  <a:gd name="T16" fmla="*/ 32 w 61"/>
                  <a:gd name="T17" fmla="*/ 1 h 74"/>
                  <a:gd name="T18" fmla="*/ 40 w 61"/>
                  <a:gd name="T19" fmla="*/ 4 h 74"/>
                  <a:gd name="T20" fmla="*/ 46 w 61"/>
                  <a:gd name="T21" fmla="*/ 10 h 74"/>
                  <a:gd name="T22" fmla="*/ 48 w 61"/>
                  <a:gd name="T23" fmla="*/ 20 h 74"/>
                  <a:gd name="T24" fmla="*/ 44 w 61"/>
                  <a:gd name="T25" fmla="*/ 33 h 74"/>
                  <a:gd name="T26" fmla="*/ 33 w 61"/>
                  <a:gd name="T27" fmla="*/ 41 h 74"/>
                  <a:gd name="T28" fmla="*/ 61 w 61"/>
                  <a:gd name="T29" fmla="*/ 74 h 74"/>
                  <a:gd name="T30" fmla="*/ 38 w 61"/>
                  <a:gd name="T31" fmla="*/ 21 h 74"/>
                  <a:gd name="T32" fmla="*/ 37 w 61"/>
                  <a:gd name="T33" fmla="*/ 15 h 74"/>
                  <a:gd name="T34" fmla="*/ 33 w 61"/>
                  <a:gd name="T35" fmla="*/ 11 h 74"/>
                  <a:gd name="T36" fmla="*/ 28 w 61"/>
                  <a:gd name="T37" fmla="*/ 9 h 74"/>
                  <a:gd name="T38" fmla="*/ 21 w 61"/>
                  <a:gd name="T39" fmla="*/ 8 h 74"/>
                  <a:gd name="T40" fmla="*/ 10 w 61"/>
                  <a:gd name="T41" fmla="*/ 8 h 74"/>
                  <a:gd name="T42" fmla="*/ 10 w 61"/>
                  <a:gd name="T43" fmla="*/ 36 h 74"/>
                  <a:gd name="T44" fmla="*/ 20 w 61"/>
                  <a:gd name="T45" fmla="*/ 36 h 74"/>
                  <a:gd name="T46" fmla="*/ 28 w 61"/>
                  <a:gd name="T47" fmla="*/ 35 h 74"/>
                  <a:gd name="T48" fmla="*/ 34 w 61"/>
                  <a:gd name="T49" fmla="*/ 32 h 74"/>
                  <a:gd name="T50" fmla="*/ 37 w 61"/>
                  <a:gd name="T51" fmla="*/ 27 h 74"/>
                  <a:gd name="T52" fmla="*/ 38 w 61"/>
                  <a:gd name="T53" fmla="*/ 2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4">
                    <a:moveTo>
                      <a:pt x="61" y="74"/>
                    </a:moveTo>
                    <a:lnTo>
                      <a:pt x="48" y="74"/>
                    </a:lnTo>
                    <a:lnTo>
                      <a:pt x="23" y="44"/>
                    </a:lnTo>
                    <a:lnTo>
                      <a:pt x="10" y="44"/>
                    </a:lnTo>
                    <a:lnTo>
                      <a:pt x="10" y="74"/>
                    </a:lnTo>
                    <a:lnTo>
                      <a:pt x="0" y="74"/>
                    </a:lnTo>
                    <a:lnTo>
                      <a:pt x="0" y="0"/>
                    </a:lnTo>
                    <a:lnTo>
                      <a:pt x="20" y="0"/>
                    </a:lnTo>
                    <a:cubicBezTo>
                      <a:pt x="25" y="0"/>
                      <a:pt x="29" y="0"/>
                      <a:pt x="32" y="1"/>
                    </a:cubicBezTo>
                    <a:cubicBezTo>
                      <a:pt x="35" y="1"/>
                      <a:pt x="37" y="2"/>
                      <a:pt x="40" y="4"/>
                    </a:cubicBezTo>
                    <a:cubicBezTo>
                      <a:pt x="42" y="5"/>
                      <a:pt x="44" y="8"/>
                      <a:pt x="46" y="10"/>
                    </a:cubicBezTo>
                    <a:cubicBezTo>
                      <a:pt x="47" y="13"/>
                      <a:pt x="48" y="16"/>
                      <a:pt x="48" y="20"/>
                    </a:cubicBezTo>
                    <a:cubicBezTo>
                      <a:pt x="48" y="25"/>
                      <a:pt x="47" y="30"/>
                      <a:pt x="44" y="33"/>
                    </a:cubicBezTo>
                    <a:cubicBezTo>
                      <a:pt x="41" y="37"/>
                      <a:pt x="38" y="40"/>
                      <a:pt x="33" y="41"/>
                    </a:cubicBezTo>
                    <a:lnTo>
                      <a:pt x="61" y="74"/>
                    </a:lnTo>
                    <a:close/>
                    <a:moveTo>
                      <a:pt x="38" y="21"/>
                    </a:moveTo>
                    <a:cubicBezTo>
                      <a:pt x="38" y="18"/>
                      <a:pt x="38" y="17"/>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5" y="36"/>
                      <a:pt x="28" y="35"/>
                    </a:cubicBezTo>
                    <a:cubicBezTo>
                      <a:pt x="30" y="35"/>
                      <a:pt x="32" y="34"/>
                      <a:pt x="34" y="32"/>
                    </a:cubicBezTo>
                    <a:cubicBezTo>
                      <a:pt x="35" y="31"/>
                      <a:pt x="36" y="29"/>
                      <a:pt x="37" y="27"/>
                    </a:cubicBezTo>
                    <a:cubicBezTo>
                      <a:pt x="38" y="26"/>
                      <a:pt x="38" y="23"/>
                      <a:pt x="38" y="2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9"/>
              <p:cNvSpPr>
                <a:spLocks noEditPoints="1"/>
              </p:cNvSpPr>
              <p:nvPr/>
            </p:nvSpPr>
            <p:spPr bwMode="auto">
              <a:xfrm>
                <a:off x="3592" y="1715"/>
                <a:ext cx="22" cy="28"/>
              </a:xfrm>
              <a:custGeom>
                <a:avLst/>
                <a:gdLst>
                  <a:gd name="T0" fmla="*/ 47 w 47"/>
                  <a:gd name="T1" fmla="*/ 57 h 58"/>
                  <a:gd name="T2" fmla="*/ 37 w 47"/>
                  <a:gd name="T3" fmla="*/ 57 h 58"/>
                  <a:gd name="T4" fmla="*/ 37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1 h 58"/>
                  <a:gd name="T18" fmla="*/ 2 w 47"/>
                  <a:gd name="T19" fmla="*/ 30 h 58"/>
                  <a:gd name="T20" fmla="*/ 10 w 47"/>
                  <a:gd name="T21" fmla="*/ 24 h 58"/>
                  <a:gd name="T22" fmla="*/ 22 w 47"/>
                  <a:gd name="T23" fmla="*/ 21 h 58"/>
                  <a:gd name="T24" fmla="*/ 37 w 47"/>
                  <a:gd name="T25" fmla="*/ 20 h 58"/>
                  <a:gd name="T26" fmla="*/ 37 w 47"/>
                  <a:gd name="T27" fmla="*/ 19 h 58"/>
                  <a:gd name="T28" fmla="*/ 36 w 47"/>
                  <a:gd name="T29" fmla="*/ 13 h 58"/>
                  <a:gd name="T30" fmla="*/ 33 w 47"/>
                  <a:gd name="T31" fmla="*/ 10 h 58"/>
                  <a:gd name="T32" fmla="*/ 28 w 47"/>
                  <a:gd name="T33" fmla="*/ 9 h 58"/>
                  <a:gd name="T34" fmla="*/ 23 w 47"/>
                  <a:gd name="T35" fmla="*/ 8 h 58"/>
                  <a:gd name="T36" fmla="*/ 14 w 47"/>
                  <a:gd name="T37" fmla="*/ 9 h 58"/>
                  <a:gd name="T38" fmla="*/ 5 w 47"/>
                  <a:gd name="T39" fmla="*/ 12 h 58"/>
                  <a:gd name="T40" fmla="*/ 5 w 47"/>
                  <a:gd name="T41" fmla="*/ 12 h 58"/>
                  <a:gd name="T42" fmla="*/ 5 w 47"/>
                  <a:gd name="T43" fmla="*/ 2 h 58"/>
                  <a:gd name="T44" fmla="*/ 12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7 h 58"/>
                  <a:gd name="T58" fmla="*/ 37 w 47"/>
                  <a:gd name="T59" fmla="*/ 43 h 58"/>
                  <a:gd name="T60" fmla="*/ 37 w 47"/>
                  <a:gd name="T61" fmla="*/ 28 h 58"/>
                  <a:gd name="T62" fmla="*/ 27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8 h 58"/>
                  <a:gd name="T76" fmla="*/ 37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7"/>
                    </a:moveTo>
                    <a:lnTo>
                      <a:pt x="37" y="57"/>
                    </a:lnTo>
                    <a:lnTo>
                      <a:pt x="37" y="51"/>
                    </a:lnTo>
                    <a:cubicBezTo>
                      <a:pt x="37" y="51"/>
                      <a:pt x="35" y="52"/>
                      <a:pt x="34" y="53"/>
                    </a:cubicBezTo>
                    <a:cubicBezTo>
                      <a:pt x="33" y="54"/>
                      <a:pt x="31" y="55"/>
                      <a:pt x="30" y="55"/>
                    </a:cubicBezTo>
                    <a:cubicBezTo>
                      <a:pt x="28" y="56"/>
                      <a:pt x="27" y="57"/>
                      <a:pt x="25" y="57"/>
                    </a:cubicBezTo>
                    <a:cubicBezTo>
                      <a:pt x="23" y="58"/>
                      <a:pt x="20" y="58"/>
                      <a:pt x="18" y="58"/>
                    </a:cubicBezTo>
                    <a:cubicBezTo>
                      <a:pt x="13" y="58"/>
                      <a:pt x="8" y="56"/>
                      <a:pt x="5" y="53"/>
                    </a:cubicBezTo>
                    <a:cubicBezTo>
                      <a:pt x="1" y="50"/>
                      <a:pt x="0" y="46"/>
                      <a:pt x="0" y="41"/>
                    </a:cubicBezTo>
                    <a:cubicBezTo>
                      <a:pt x="0" y="36"/>
                      <a:pt x="1" y="33"/>
                      <a:pt x="2" y="30"/>
                    </a:cubicBezTo>
                    <a:cubicBezTo>
                      <a:pt x="4" y="28"/>
                      <a:pt x="7" y="26"/>
                      <a:pt x="10" y="24"/>
                    </a:cubicBezTo>
                    <a:cubicBezTo>
                      <a:pt x="13" y="23"/>
                      <a:pt x="17" y="22"/>
                      <a:pt x="22" y="21"/>
                    </a:cubicBezTo>
                    <a:cubicBezTo>
                      <a:pt x="27" y="21"/>
                      <a:pt x="32" y="20"/>
                      <a:pt x="37" y="20"/>
                    </a:cubicBezTo>
                    <a:lnTo>
                      <a:pt x="37" y="19"/>
                    </a:lnTo>
                    <a:cubicBezTo>
                      <a:pt x="37" y="16"/>
                      <a:pt x="37" y="15"/>
                      <a:pt x="36" y="13"/>
                    </a:cubicBezTo>
                    <a:cubicBezTo>
                      <a:pt x="36" y="12"/>
                      <a:pt x="34" y="11"/>
                      <a:pt x="33" y="10"/>
                    </a:cubicBezTo>
                    <a:cubicBezTo>
                      <a:pt x="32" y="9"/>
                      <a:pt x="30" y="9"/>
                      <a:pt x="28" y="9"/>
                    </a:cubicBezTo>
                    <a:cubicBezTo>
                      <a:pt x="26" y="8"/>
                      <a:pt x="25" y="8"/>
                      <a:pt x="23" y="8"/>
                    </a:cubicBezTo>
                    <a:cubicBezTo>
                      <a:pt x="20" y="8"/>
                      <a:pt x="17" y="8"/>
                      <a:pt x="14" y="9"/>
                    </a:cubicBezTo>
                    <a:cubicBezTo>
                      <a:pt x="11" y="10"/>
                      <a:pt x="8" y="11"/>
                      <a:pt x="5" y="12"/>
                    </a:cubicBezTo>
                    <a:lnTo>
                      <a:pt x="5" y="12"/>
                    </a:lnTo>
                    <a:lnTo>
                      <a:pt x="5" y="2"/>
                    </a:lnTo>
                    <a:cubicBezTo>
                      <a:pt x="6" y="2"/>
                      <a:pt x="9" y="1"/>
                      <a:pt x="12" y="1"/>
                    </a:cubicBezTo>
                    <a:cubicBezTo>
                      <a:pt x="16" y="0"/>
                      <a:pt x="19" y="0"/>
                      <a:pt x="23" y="0"/>
                    </a:cubicBezTo>
                    <a:cubicBezTo>
                      <a:pt x="26" y="0"/>
                      <a:pt x="30" y="0"/>
                      <a:pt x="33" y="1"/>
                    </a:cubicBezTo>
                    <a:cubicBezTo>
                      <a:pt x="36" y="2"/>
                      <a:pt x="38" y="3"/>
                      <a:pt x="40" y="4"/>
                    </a:cubicBezTo>
                    <a:cubicBezTo>
                      <a:pt x="42" y="6"/>
                      <a:pt x="44" y="8"/>
                      <a:pt x="45" y="10"/>
                    </a:cubicBezTo>
                    <a:cubicBezTo>
                      <a:pt x="46" y="12"/>
                      <a:pt x="47" y="15"/>
                      <a:pt x="47" y="19"/>
                    </a:cubicBezTo>
                    <a:lnTo>
                      <a:pt x="47" y="57"/>
                    </a:lnTo>
                    <a:close/>
                    <a:moveTo>
                      <a:pt x="37" y="43"/>
                    </a:moveTo>
                    <a:lnTo>
                      <a:pt x="37" y="28"/>
                    </a:lnTo>
                    <a:cubicBezTo>
                      <a:pt x="35" y="28"/>
                      <a:pt x="31" y="28"/>
                      <a:pt x="27" y="28"/>
                    </a:cubicBezTo>
                    <a:cubicBezTo>
                      <a:pt x="24" y="29"/>
                      <a:pt x="20" y="29"/>
                      <a:pt x="18" y="30"/>
                    </a:cubicBezTo>
                    <a:cubicBezTo>
                      <a:pt x="16" y="31"/>
                      <a:pt x="13" y="32"/>
                      <a:pt x="12" y="33"/>
                    </a:cubicBezTo>
                    <a:cubicBezTo>
                      <a:pt x="10" y="35"/>
                      <a:pt x="9" y="37"/>
                      <a:pt x="9" y="40"/>
                    </a:cubicBezTo>
                    <a:cubicBezTo>
                      <a:pt x="9" y="43"/>
                      <a:pt x="10" y="45"/>
                      <a:pt x="12" y="47"/>
                    </a:cubicBezTo>
                    <a:cubicBezTo>
                      <a:pt x="14" y="49"/>
                      <a:pt x="17" y="49"/>
                      <a:pt x="21" y="49"/>
                    </a:cubicBezTo>
                    <a:cubicBezTo>
                      <a:pt x="24" y="49"/>
                      <a:pt x="27" y="49"/>
                      <a:pt x="30" y="48"/>
                    </a:cubicBezTo>
                    <a:cubicBezTo>
                      <a:pt x="33" y="46"/>
                      <a:pt x="35" y="45"/>
                      <a:pt x="37"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0"/>
              <p:cNvSpPr>
                <a:spLocks/>
              </p:cNvSpPr>
              <p:nvPr/>
            </p:nvSpPr>
            <p:spPr bwMode="auto">
              <a:xfrm>
                <a:off x="3621" y="1715"/>
                <a:ext cx="21" cy="28"/>
              </a:xfrm>
              <a:custGeom>
                <a:avLst/>
                <a:gdLst>
                  <a:gd name="T0" fmla="*/ 43 w 43"/>
                  <a:gd name="T1" fmla="*/ 41 h 58"/>
                  <a:gd name="T2" fmla="*/ 37 w 43"/>
                  <a:gd name="T3" fmla="*/ 53 h 58"/>
                  <a:gd name="T4" fmla="*/ 20 w 43"/>
                  <a:gd name="T5" fmla="*/ 58 h 58"/>
                  <a:gd name="T6" fmla="*/ 9 w 43"/>
                  <a:gd name="T7" fmla="*/ 57 h 58"/>
                  <a:gd name="T8" fmla="*/ 0 w 43"/>
                  <a:gd name="T9" fmla="*/ 53 h 58"/>
                  <a:gd name="T10" fmla="*/ 0 w 43"/>
                  <a:gd name="T11" fmla="*/ 43 h 58"/>
                  <a:gd name="T12" fmla="*/ 0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19 w 43"/>
                  <a:gd name="T27" fmla="*/ 33 h 58"/>
                  <a:gd name="T28" fmla="*/ 14 w 43"/>
                  <a:gd name="T29" fmla="*/ 32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10 h 58"/>
                  <a:gd name="T52" fmla="*/ 22 w 43"/>
                  <a:gd name="T53" fmla="*/ 8 h 58"/>
                  <a:gd name="T54" fmla="*/ 13 w 43"/>
                  <a:gd name="T55" fmla="*/ 10 h 58"/>
                  <a:gd name="T56" fmla="*/ 10 w 43"/>
                  <a:gd name="T57" fmla="*/ 16 h 58"/>
                  <a:gd name="T58" fmla="*/ 12 w 43"/>
                  <a:gd name="T59" fmla="*/ 21 h 58"/>
                  <a:gd name="T60" fmla="*/ 19 w 43"/>
                  <a:gd name="T61" fmla="*/ 24 h 58"/>
                  <a:gd name="T62" fmla="*/ 24 w 43"/>
                  <a:gd name="T63" fmla="*/ 25 h 58"/>
                  <a:gd name="T64" fmla="*/ 30 w 43"/>
                  <a:gd name="T65" fmla="*/ 26 h 58"/>
                  <a:gd name="T66" fmla="*/ 40 w 43"/>
                  <a:gd name="T67" fmla="*/ 31 h 58"/>
                  <a:gd name="T68" fmla="*/ 43 w 43"/>
                  <a:gd name="T69"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1"/>
                    </a:moveTo>
                    <a:cubicBezTo>
                      <a:pt x="43" y="46"/>
                      <a:pt x="41" y="50"/>
                      <a:pt x="37" y="53"/>
                    </a:cubicBezTo>
                    <a:cubicBezTo>
                      <a:pt x="33" y="56"/>
                      <a:pt x="27" y="58"/>
                      <a:pt x="20" y="58"/>
                    </a:cubicBezTo>
                    <a:cubicBezTo>
                      <a:pt x="16" y="58"/>
                      <a:pt x="12" y="57"/>
                      <a:pt x="9" y="57"/>
                    </a:cubicBezTo>
                    <a:cubicBezTo>
                      <a:pt x="5" y="56"/>
                      <a:pt x="2" y="54"/>
                      <a:pt x="0" y="53"/>
                    </a:cubicBezTo>
                    <a:lnTo>
                      <a:pt x="0" y="43"/>
                    </a:lnTo>
                    <a:lnTo>
                      <a:pt x="0" y="43"/>
                    </a:lnTo>
                    <a:cubicBezTo>
                      <a:pt x="3" y="45"/>
                      <a:pt x="7" y="47"/>
                      <a:pt x="10" y="48"/>
                    </a:cubicBezTo>
                    <a:cubicBezTo>
                      <a:pt x="14" y="49"/>
                      <a:pt x="17" y="50"/>
                      <a:pt x="21" y="50"/>
                    </a:cubicBezTo>
                    <a:cubicBezTo>
                      <a:pt x="25" y="50"/>
                      <a:pt x="28" y="49"/>
                      <a:pt x="30" y="48"/>
                    </a:cubicBezTo>
                    <a:cubicBezTo>
                      <a:pt x="33" y="47"/>
                      <a:pt x="34" y="45"/>
                      <a:pt x="34" y="42"/>
                    </a:cubicBezTo>
                    <a:cubicBezTo>
                      <a:pt x="34" y="40"/>
                      <a:pt x="33" y="38"/>
                      <a:pt x="32" y="37"/>
                    </a:cubicBezTo>
                    <a:cubicBezTo>
                      <a:pt x="31" y="36"/>
                      <a:pt x="28" y="35"/>
                      <a:pt x="25" y="34"/>
                    </a:cubicBezTo>
                    <a:cubicBezTo>
                      <a:pt x="23" y="34"/>
                      <a:pt x="22" y="33"/>
                      <a:pt x="19" y="33"/>
                    </a:cubicBezTo>
                    <a:cubicBezTo>
                      <a:pt x="17" y="33"/>
                      <a:pt x="15" y="32"/>
                      <a:pt x="14" y="32"/>
                    </a:cubicBezTo>
                    <a:cubicBezTo>
                      <a:pt x="9" y="30"/>
                      <a:pt x="5" y="29"/>
                      <a:pt x="3" y="26"/>
                    </a:cubicBezTo>
                    <a:cubicBezTo>
                      <a:pt x="1" y="24"/>
                      <a:pt x="0" y="20"/>
                      <a:pt x="0" y="17"/>
                    </a:cubicBezTo>
                    <a:cubicBezTo>
                      <a:pt x="0" y="15"/>
                      <a:pt x="1" y="12"/>
                      <a:pt x="2" y="10"/>
                    </a:cubicBezTo>
                    <a:cubicBezTo>
                      <a:pt x="3" y="8"/>
                      <a:pt x="4" y="7"/>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10"/>
                    </a:cubicBezTo>
                    <a:cubicBezTo>
                      <a:pt x="29" y="8"/>
                      <a:pt x="25" y="8"/>
                      <a:pt x="22" y="8"/>
                    </a:cubicBezTo>
                    <a:cubicBezTo>
                      <a:pt x="18" y="8"/>
                      <a:pt x="16" y="8"/>
                      <a:pt x="13" y="10"/>
                    </a:cubicBezTo>
                    <a:cubicBezTo>
                      <a:pt x="11" y="11"/>
                      <a:pt x="10" y="13"/>
                      <a:pt x="10" y="16"/>
                    </a:cubicBezTo>
                    <a:cubicBezTo>
                      <a:pt x="10" y="18"/>
                      <a:pt x="10" y="20"/>
                      <a:pt x="12" y="21"/>
                    </a:cubicBezTo>
                    <a:cubicBezTo>
                      <a:pt x="13" y="22"/>
                      <a:pt x="16" y="23"/>
                      <a:pt x="19" y="24"/>
                    </a:cubicBezTo>
                    <a:cubicBezTo>
                      <a:pt x="20" y="24"/>
                      <a:pt x="22" y="24"/>
                      <a:pt x="24" y="25"/>
                    </a:cubicBezTo>
                    <a:cubicBezTo>
                      <a:pt x="27" y="25"/>
                      <a:pt x="28" y="25"/>
                      <a:pt x="30" y="26"/>
                    </a:cubicBezTo>
                    <a:cubicBezTo>
                      <a:pt x="34" y="27"/>
                      <a:pt x="37" y="29"/>
                      <a:pt x="40" y="31"/>
                    </a:cubicBezTo>
                    <a:cubicBezTo>
                      <a:pt x="42" y="33"/>
                      <a:pt x="43" y="37"/>
                      <a:pt x="43" y="4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1"/>
              <p:cNvSpPr>
                <a:spLocks noEditPoints="1"/>
              </p:cNvSpPr>
              <p:nvPr/>
            </p:nvSpPr>
            <p:spPr bwMode="auto">
              <a:xfrm>
                <a:off x="3648" y="1715"/>
                <a:ext cx="23" cy="37"/>
              </a:xfrm>
              <a:custGeom>
                <a:avLst/>
                <a:gdLst>
                  <a:gd name="T0" fmla="*/ 48 w 48"/>
                  <a:gd name="T1" fmla="*/ 28 h 77"/>
                  <a:gd name="T2" fmla="*/ 46 w 48"/>
                  <a:gd name="T3" fmla="*/ 41 h 77"/>
                  <a:gd name="T4" fmla="*/ 41 w 48"/>
                  <a:gd name="T5" fmla="*/ 50 h 77"/>
                  <a:gd name="T6" fmla="*/ 33 w 48"/>
                  <a:gd name="T7" fmla="*/ 56 h 77"/>
                  <a:gd name="T8" fmla="*/ 24 w 48"/>
                  <a:gd name="T9" fmla="*/ 58 h 77"/>
                  <a:gd name="T10" fmla="*/ 16 w 48"/>
                  <a:gd name="T11" fmla="*/ 57 h 77"/>
                  <a:gd name="T12" fmla="*/ 9 w 48"/>
                  <a:gd name="T13" fmla="*/ 54 h 77"/>
                  <a:gd name="T14" fmla="*/ 9 w 48"/>
                  <a:gd name="T15" fmla="*/ 77 h 77"/>
                  <a:gd name="T16" fmla="*/ 0 w 48"/>
                  <a:gd name="T17" fmla="*/ 77 h 77"/>
                  <a:gd name="T18" fmla="*/ 0 w 48"/>
                  <a:gd name="T19" fmla="*/ 1 h 77"/>
                  <a:gd name="T20" fmla="*/ 9 w 48"/>
                  <a:gd name="T21" fmla="*/ 1 h 77"/>
                  <a:gd name="T22" fmla="*/ 9 w 48"/>
                  <a:gd name="T23" fmla="*/ 7 h 77"/>
                  <a:gd name="T24" fmla="*/ 17 w 48"/>
                  <a:gd name="T25" fmla="*/ 2 h 77"/>
                  <a:gd name="T26" fmla="*/ 27 w 48"/>
                  <a:gd name="T27" fmla="*/ 0 h 77"/>
                  <a:gd name="T28" fmla="*/ 43 w 48"/>
                  <a:gd name="T29" fmla="*/ 7 h 77"/>
                  <a:gd name="T30" fmla="*/ 48 w 48"/>
                  <a:gd name="T31" fmla="*/ 28 h 77"/>
                  <a:gd name="T32" fmla="*/ 39 w 48"/>
                  <a:gd name="T33" fmla="*/ 29 h 77"/>
                  <a:gd name="T34" fmla="*/ 35 w 48"/>
                  <a:gd name="T35" fmla="*/ 14 h 77"/>
                  <a:gd name="T36" fmla="*/ 25 w 48"/>
                  <a:gd name="T37" fmla="*/ 9 h 77"/>
                  <a:gd name="T38" fmla="*/ 17 w 48"/>
                  <a:gd name="T39" fmla="*/ 10 h 77"/>
                  <a:gd name="T40" fmla="*/ 9 w 48"/>
                  <a:gd name="T41" fmla="*/ 15 h 77"/>
                  <a:gd name="T42" fmla="*/ 9 w 48"/>
                  <a:gd name="T43" fmla="*/ 46 h 77"/>
                  <a:gd name="T44" fmla="*/ 16 w 48"/>
                  <a:gd name="T45" fmla="*/ 49 h 77"/>
                  <a:gd name="T46" fmla="*/ 22 w 48"/>
                  <a:gd name="T47" fmla="*/ 49 h 77"/>
                  <a:gd name="T48" fmla="*/ 34 w 48"/>
                  <a:gd name="T49" fmla="*/ 44 h 77"/>
                  <a:gd name="T50" fmla="*/ 39 w 48"/>
                  <a:gd name="T51" fmla="*/ 2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7">
                    <a:moveTo>
                      <a:pt x="48" y="28"/>
                    </a:moveTo>
                    <a:cubicBezTo>
                      <a:pt x="48" y="33"/>
                      <a:pt x="48" y="37"/>
                      <a:pt x="46" y="41"/>
                    </a:cubicBezTo>
                    <a:cubicBezTo>
                      <a:pt x="45" y="44"/>
                      <a:pt x="43" y="47"/>
                      <a:pt x="41" y="50"/>
                    </a:cubicBezTo>
                    <a:cubicBezTo>
                      <a:pt x="39" y="52"/>
                      <a:pt x="36" y="54"/>
                      <a:pt x="33" y="56"/>
                    </a:cubicBezTo>
                    <a:cubicBezTo>
                      <a:pt x="30" y="57"/>
                      <a:pt x="27" y="58"/>
                      <a:pt x="24" y="58"/>
                    </a:cubicBezTo>
                    <a:cubicBezTo>
                      <a:pt x="21" y="58"/>
                      <a:pt x="18" y="57"/>
                      <a:pt x="16" y="57"/>
                    </a:cubicBezTo>
                    <a:cubicBezTo>
                      <a:pt x="14" y="56"/>
                      <a:pt x="11" y="55"/>
                      <a:pt x="9" y="54"/>
                    </a:cubicBezTo>
                    <a:lnTo>
                      <a:pt x="9" y="77"/>
                    </a:lnTo>
                    <a:lnTo>
                      <a:pt x="0" y="77"/>
                    </a:lnTo>
                    <a:lnTo>
                      <a:pt x="0" y="1"/>
                    </a:lnTo>
                    <a:lnTo>
                      <a:pt x="9" y="1"/>
                    </a:lnTo>
                    <a:lnTo>
                      <a:pt x="9" y="7"/>
                    </a:lnTo>
                    <a:cubicBezTo>
                      <a:pt x="11" y="5"/>
                      <a:pt x="14" y="3"/>
                      <a:pt x="17" y="2"/>
                    </a:cubicBezTo>
                    <a:cubicBezTo>
                      <a:pt x="20" y="0"/>
                      <a:pt x="24" y="0"/>
                      <a:pt x="27" y="0"/>
                    </a:cubicBezTo>
                    <a:cubicBezTo>
                      <a:pt x="34" y="0"/>
                      <a:pt x="39" y="2"/>
                      <a:pt x="43" y="7"/>
                    </a:cubicBezTo>
                    <a:cubicBezTo>
                      <a:pt x="46" y="12"/>
                      <a:pt x="48" y="19"/>
                      <a:pt x="48" y="28"/>
                    </a:cubicBezTo>
                    <a:close/>
                    <a:moveTo>
                      <a:pt x="39" y="29"/>
                    </a:moveTo>
                    <a:cubicBezTo>
                      <a:pt x="39" y="22"/>
                      <a:pt x="38" y="17"/>
                      <a:pt x="35" y="14"/>
                    </a:cubicBezTo>
                    <a:cubicBezTo>
                      <a:pt x="33" y="10"/>
                      <a:pt x="30" y="9"/>
                      <a:pt x="25" y="9"/>
                    </a:cubicBezTo>
                    <a:cubicBezTo>
                      <a:pt x="22" y="9"/>
                      <a:pt x="19" y="9"/>
                      <a:pt x="17" y="10"/>
                    </a:cubicBezTo>
                    <a:cubicBezTo>
                      <a:pt x="14" y="11"/>
                      <a:pt x="11" y="13"/>
                      <a:pt x="9" y="15"/>
                    </a:cubicBezTo>
                    <a:lnTo>
                      <a:pt x="9" y="46"/>
                    </a:lnTo>
                    <a:cubicBezTo>
                      <a:pt x="12" y="47"/>
                      <a:pt x="14" y="48"/>
                      <a:pt x="16" y="49"/>
                    </a:cubicBezTo>
                    <a:cubicBezTo>
                      <a:pt x="18" y="49"/>
                      <a:pt x="20" y="49"/>
                      <a:pt x="22" y="49"/>
                    </a:cubicBezTo>
                    <a:cubicBezTo>
                      <a:pt x="27" y="49"/>
                      <a:pt x="31" y="48"/>
                      <a:pt x="34" y="44"/>
                    </a:cubicBezTo>
                    <a:cubicBezTo>
                      <a:pt x="37" y="41"/>
                      <a:pt x="39" y="35"/>
                      <a:pt x="39" y="2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2"/>
              <p:cNvSpPr>
                <a:spLocks noEditPoints="1"/>
              </p:cNvSpPr>
              <p:nvPr/>
            </p:nvSpPr>
            <p:spPr bwMode="auto">
              <a:xfrm>
                <a:off x="3679" y="1705"/>
                <a:ext cx="23" cy="38"/>
              </a:xfrm>
              <a:custGeom>
                <a:avLst/>
                <a:gdLst>
                  <a:gd name="T0" fmla="*/ 49 w 49"/>
                  <a:gd name="T1" fmla="*/ 50 h 79"/>
                  <a:gd name="T2" fmla="*/ 47 w 49"/>
                  <a:gd name="T3" fmla="*/ 62 h 79"/>
                  <a:gd name="T4" fmla="*/ 41 w 49"/>
                  <a:gd name="T5" fmla="*/ 71 h 79"/>
                  <a:gd name="T6" fmla="*/ 34 w 49"/>
                  <a:gd name="T7" fmla="*/ 77 h 79"/>
                  <a:gd name="T8" fmla="*/ 24 w 49"/>
                  <a:gd name="T9" fmla="*/ 79 h 79"/>
                  <a:gd name="T10" fmla="*/ 16 w 49"/>
                  <a:gd name="T11" fmla="*/ 78 h 79"/>
                  <a:gd name="T12" fmla="*/ 9 w 49"/>
                  <a:gd name="T13" fmla="*/ 75 h 79"/>
                  <a:gd name="T14" fmla="*/ 9 w 49"/>
                  <a:gd name="T15" fmla="*/ 78 h 79"/>
                  <a:gd name="T16" fmla="*/ 0 w 49"/>
                  <a:gd name="T17" fmla="*/ 78 h 79"/>
                  <a:gd name="T18" fmla="*/ 0 w 49"/>
                  <a:gd name="T19" fmla="*/ 0 h 79"/>
                  <a:gd name="T20" fmla="*/ 9 w 49"/>
                  <a:gd name="T21" fmla="*/ 0 h 79"/>
                  <a:gd name="T22" fmla="*/ 9 w 49"/>
                  <a:gd name="T23" fmla="*/ 28 h 79"/>
                  <a:gd name="T24" fmla="*/ 18 w 49"/>
                  <a:gd name="T25" fmla="*/ 23 h 79"/>
                  <a:gd name="T26" fmla="*/ 27 w 49"/>
                  <a:gd name="T27" fmla="*/ 21 h 79"/>
                  <a:gd name="T28" fmla="*/ 43 w 49"/>
                  <a:gd name="T29" fmla="*/ 28 h 79"/>
                  <a:gd name="T30" fmla="*/ 49 w 49"/>
                  <a:gd name="T31" fmla="*/ 50 h 79"/>
                  <a:gd name="T32" fmla="*/ 39 w 49"/>
                  <a:gd name="T33" fmla="*/ 50 h 79"/>
                  <a:gd name="T34" fmla="*/ 36 w 49"/>
                  <a:gd name="T35" fmla="*/ 35 h 79"/>
                  <a:gd name="T36" fmla="*/ 25 w 49"/>
                  <a:gd name="T37" fmla="*/ 30 h 79"/>
                  <a:gd name="T38" fmla="*/ 17 w 49"/>
                  <a:gd name="T39" fmla="*/ 31 h 79"/>
                  <a:gd name="T40" fmla="*/ 9 w 49"/>
                  <a:gd name="T41" fmla="*/ 36 h 79"/>
                  <a:gd name="T42" fmla="*/ 9 w 49"/>
                  <a:gd name="T43" fmla="*/ 68 h 79"/>
                  <a:gd name="T44" fmla="*/ 16 w 49"/>
                  <a:gd name="T45" fmla="*/ 70 h 79"/>
                  <a:gd name="T46" fmla="*/ 22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50"/>
                    </a:moveTo>
                    <a:cubicBezTo>
                      <a:pt x="49" y="54"/>
                      <a:pt x="48" y="58"/>
                      <a:pt x="47" y="62"/>
                    </a:cubicBezTo>
                    <a:cubicBezTo>
                      <a:pt x="45" y="66"/>
                      <a:pt x="44" y="69"/>
                      <a:pt x="41" y="71"/>
                    </a:cubicBezTo>
                    <a:cubicBezTo>
                      <a:pt x="39" y="74"/>
                      <a:pt x="36" y="76"/>
                      <a:pt x="34" y="77"/>
                    </a:cubicBezTo>
                    <a:cubicBezTo>
                      <a:pt x="31" y="78"/>
                      <a:pt x="28" y="79"/>
                      <a:pt x="24" y="79"/>
                    </a:cubicBezTo>
                    <a:cubicBezTo>
                      <a:pt x="21" y="79"/>
                      <a:pt x="18" y="79"/>
                      <a:pt x="16" y="78"/>
                    </a:cubicBezTo>
                    <a:cubicBezTo>
                      <a:pt x="14" y="77"/>
                      <a:pt x="11" y="76"/>
                      <a:pt x="9" y="75"/>
                    </a:cubicBezTo>
                    <a:lnTo>
                      <a:pt x="9" y="78"/>
                    </a:lnTo>
                    <a:lnTo>
                      <a:pt x="0" y="78"/>
                    </a:lnTo>
                    <a:lnTo>
                      <a:pt x="0" y="0"/>
                    </a:lnTo>
                    <a:lnTo>
                      <a:pt x="9" y="0"/>
                    </a:lnTo>
                    <a:lnTo>
                      <a:pt x="9" y="28"/>
                    </a:lnTo>
                    <a:cubicBezTo>
                      <a:pt x="12" y="26"/>
                      <a:pt x="15" y="24"/>
                      <a:pt x="18" y="23"/>
                    </a:cubicBezTo>
                    <a:cubicBezTo>
                      <a:pt x="20" y="21"/>
                      <a:pt x="24" y="21"/>
                      <a:pt x="27" y="21"/>
                    </a:cubicBezTo>
                    <a:cubicBezTo>
                      <a:pt x="34" y="21"/>
                      <a:pt x="39" y="23"/>
                      <a:pt x="43" y="28"/>
                    </a:cubicBezTo>
                    <a:cubicBezTo>
                      <a:pt x="47" y="33"/>
                      <a:pt x="49" y="40"/>
                      <a:pt x="49" y="50"/>
                    </a:cubicBezTo>
                    <a:close/>
                    <a:moveTo>
                      <a:pt x="39" y="50"/>
                    </a:moveTo>
                    <a:cubicBezTo>
                      <a:pt x="39" y="43"/>
                      <a:pt x="38" y="38"/>
                      <a:pt x="36" y="35"/>
                    </a:cubicBezTo>
                    <a:cubicBezTo>
                      <a:pt x="34" y="31"/>
                      <a:pt x="30" y="30"/>
                      <a:pt x="25" y="30"/>
                    </a:cubicBezTo>
                    <a:cubicBezTo>
                      <a:pt x="22" y="30"/>
                      <a:pt x="20" y="30"/>
                      <a:pt x="17" y="31"/>
                    </a:cubicBezTo>
                    <a:cubicBezTo>
                      <a:pt x="14" y="33"/>
                      <a:pt x="12" y="34"/>
                      <a:pt x="9" y="36"/>
                    </a:cubicBezTo>
                    <a:lnTo>
                      <a:pt x="9" y="68"/>
                    </a:lnTo>
                    <a:cubicBezTo>
                      <a:pt x="12" y="69"/>
                      <a:pt x="14" y="70"/>
                      <a:pt x="16" y="70"/>
                    </a:cubicBezTo>
                    <a:cubicBezTo>
                      <a:pt x="18" y="71"/>
                      <a:pt x="20" y="71"/>
                      <a:pt x="22" y="71"/>
                    </a:cubicBezTo>
                    <a:cubicBezTo>
                      <a:pt x="28" y="71"/>
                      <a:pt x="32" y="69"/>
                      <a:pt x="35" y="66"/>
                    </a:cubicBezTo>
                    <a:cubicBezTo>
                      <a:pt x="38" y="62"/>
                      <a:pt x="39" y="57"/>
                      <a:pt x="39"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3"/>
              <p:cNvSpPr>
                <a:spLocks noEditPoints="1"/>
              </p:cNvSpPr>
              <p:nvPr/>
            </p:nvSpPr>
            <p:spPr bwMode="auto">
              <a:xfrm>
                <a:off x="3707" y="1715"/>
                <a:ext cx="24" cy="28"/>
              </a:xfrm>
              <a:custGeom>
                <a:avLst/>
                <a:gdLst>
                  <a:gd name="T0" fmla="*/ 50 w 50"/>
                  <a:gd name="T1" fmla="*/ 30 h 58"/>
                  <a:gd name="T2" fmla="*/ 10 w 50"/>
                  <a:gd name="T3" fmla="*/ 30 h 58"/>
                  <a:gd name="T4" fmla="*/ 11 w 50"/>
                  <a:gd name="T5" fmla="*/ 39 h 58"/>
                  <a:gd name="T6" fmla="*/ 15 w 50"/>
                  <a:gd name="T7" fmla="*/ 45 h 58"/>
                  <a:gd name="T8" fmla="*/ 22 w 50"/>
                  <a:gd name="T9" fmla="*/ 49 h 58"/>
                  <a:gd name="T10" fmla="*/ 29 w 50"/>
                  <a:gd name="T11" fmla="*/ 50 h 58"/>
                  <a:gd name="T12" fmla="*/ 41 w 50"/>
                  <a:gd name="T13" fmla="*/ 48 h 58"/>
                  <a:gd name="T14" fmla="*/ 49 w 50"/>
                  <a:gd name="T15" fmla="*/ 43 h 58"/>
                  <a:gd name="T16" fmla="*/ 49 w 50"/>
                  <a:gd name="T17" fmla="*/ 43 h 58"/>
                  <a:gd name="T18" fmla="*/ 49 w 50"/>
                  <a:gd name="T19" fmla="*/ 53 h 58"/>
                  <a:gd name="T20" fmla="*/ 40 w 50"/>
                  <a:gd name="T21" fmla="*/ 57 h 58"/>
                  <a:gd name="T22" fmla="*/ 29 w 50"/>
                  <a:gd name="T23" fmla="*/ 58 h 58"/>
                  <a:gd name="T24" fmla="*/ 8 w 50"/>
                  <a:gd name="T25" fmla="*/ 50 h 58"/>
                  <a:gd name="T26" fmla="*/ 0 w 50"/>
                  <a:gd name="T27" fmla="*/ 29 h 58"/>
                  <a:gd name="T28" fmla="*/ 8 w 50"/>
                  <a:gd name="T29" fmla="*/ 8 h 58"/>
                  <a:gd name="T30" fmla="*/ 27 w 50"/>
                  <a:gd name="T31" fmla="*/ 0 h 58"/>
                  <a:gd name="T32" fmla="*/ 44 w 50"/>
                  <a:gd name="T33" fmla="*/ 6 h 58"/>
                  <a:gd name="T34" fmla="*/ 50 w 50"/>
                  <a:gd name="T35" fmla="*/ 25 h 58"/>
                  <a:gd name="T36" fmla="*/ 50 w 50"/>
                  <a:gd name="T37" fmla="*/ 30 h 58"/>
                  <a:gd name="T38" fmla="*/ 41 w 50"/>
                  <a:gd name="T39" fmla="*/ 23 h 58"/>
                  <a:gd name="T40" fmla="*/ 38 w 50"/>
                  <a:gd name="T41" fmla="*/ 11 h 58"/>
                  <a:gd name="T42" fmla="*/ 27 w 50"/>
                  <a:gd name="T43" fmla="*/ 7 h 58"/>
                  <a:gd name="T44" fmla="*/ 15 w 50"/>
                  <a:gd name="T45" fmla="*/ 12 h 58"/>
                  <a:gd name="T46" fmla="*/ 10 w 50"/>
                  <a:gd name="T47" fmla="*/ 23 h 58"/>
                  <a:gd name="T48" fmla="*/ 41 w 50"/>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8">
                    <a:moveTo>
                      <a:pt x="50"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6"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0" y="17"/>
                      <a:pt x="50" y="25"/>
                    </a:cubicBezTo>
                    <a:lnTo>
                      <a:pt x="50"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4"/>
              <p:cNvSpPr>
                <a:spLocks/>
              </p:cNvSpPr>
              <p:nvPr/>
            </p:nvSpPr>
            <p:spPr bwMode="auto">
              <a:xfrm>
                <a:off x="3738" y="1716"/>
                <a:ext cx="17" cy="27"/>
              </a:xfrm>
              <a:custGeom>
                <a:avLst/>
                <a:gdLst>
                  <a:gd name="T0" fmla="*/ 34 w 34"/>
                  <a:gd name="T1" fmla="*/ 10 h 56"/>
                  <a:gd name="T2" fmla="*/ 34 w 34"/>
                  <a:gd name="T3" fmla="*/ 10 h 56"/>
                  <a:gd name="T4" fmla="*/ 30 w 34"/>
                  <a:gd name="T5" fmla="*/ 10 h 56"/>
                  <a:gd name="T6" fmla="*/ 25 w 34"/>
                  <a:gd name="T7" fmla="*/ 9 h 56"/>
                  <a:gd name="T8" fmla="*/ 17 w 34"/>
                  <a:gd name="T9" fmla="*/ 11 h 56"/>
                  <a:gd name="T10" fmla="*/ 9 w 34"/>
                  <a:gd name="T11" fmla="*/ 16 h 56"/>
                  <a:gd name="T12" fmla="*/ 9 w 34"/>
                  <a:gd name="T13" fmla="*/ 56 h 56"/>
                  <a:gd name="T14" fmla="*/ 0 w 34"/>
                  <a:gd name="T15" fmla="*/ 56 h 56"/>
                  <a:gd name="T16" fmla="*/ 0 w 34"/>
                  <a:gd name="T17" fmla="*/ 0 h 56"/>
                  <a:gd name="T18" fmla="*/ 9 w 34"/>
                  <a:gd name="T19" fmla="*/ 0 h 56"/>
                  <a:gd name="T20" fmla="*/ 9 w 34"/>
                  <a:gd name="T21" fmla="*/ 8 h 56"/>
                  <a:gd name="T22" fmla="*/ 19 w 34"/>
                  <a:gd name="T23" fmla="*/ 2 h 56"/>
                  <a:gd name="T24" fmla="*/ 27 w 34"/>
                  <a:gd name="T25" fmla="*/ 0 h 56"/>
                  <a:gd name="T26" fmla="*/ 31 w 34"/>
                  <a:gd name="T27" fmla="*/ 0 h 56"/>
                  <a:gd name="T28" fmla="*/ 34 w 34"/>
                  <a:gd name="T29" fmla="*/ 1 h 56"/>
                  <a:gd name="T30" fmla="*/ 34 w 34"/>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6">
                    <a:moveTo>
                      <a:pt x="34" y="10"/>
                    </a:moveTo>
                    <a:lnTo>
                      <a:pt x="34" y="10"/>
                    </a:lnTo>
                    <a:cubicBezTo>
                      <a:pt x="32" y="10"/>
                      <a:pt x="31" y="10"/>
                      <a:pt x="30" y="10"/>
                    </a:cubicBezTo>
                    <a:cubicBezTo>
                      <a:pt x="28" y="10"/>
                      <a:pt x="27" y="9"/>
                      <a:pt x="25" y="9"/>
                    </a:cubicBezTo>
                    <a:cubicBezTo>
                      <a:pt x="22" y="9"/>
                      <a:pt x="19" y="10"/>
                      <a:pt x="17" y="11"/>
                    </a:cubicBezTo>
                    <a:cubicBezTo>
                      <a:pt x="14" y="13"/>
                      <a:pt x="11" y="14"/>
                      <a:pt x="9" y="16"/>
                    </a:cubicBezTo>
                    <a:lnTo>
                      <a:pt x="9" y="56"/>
                    </a:lnTo>
                    <a:lnTo>
                      <a:pt x="0" y="56"/>
                    </a:lnTo>
                    <a:lnTo>
                      <a:pt x="0" y="0"/>
                    </a:lnTo>
                    <a:lnTo>
                      <a:pt x="9" y="0"/>
                    </a:lnTo>
                    <a:lnTo>
                      <a:pt x="9" y="8"/>
                    </a:lnTo>
                    <a:cubicBezTo>
                      <a:pt x="13" y="5"/>
                      <a:pt x="16" y="3"/>
                      <a:pt x="19" y="2"/>
                    </a:cubicBezTo>
                    <a:cubicBezTo>
                      <a:pt x="22" y="1"/>
                      <a:pt x="24" y="0"/>
                      <a:pt x="27" y="0"/>
                    </a:cubicBezTo>
                    <a:cubicBezTo>
                      <a:pt x="29" y="0"/>
                      <a:pt x="30" y="0"/>
                      <a:pt x="31" y="0"/>
                    </a:cubicBezTo>
                    <a:cubicBezTo>
                      <a:pt x="32" y="0"/>
                      <a:pt x="33" y="1"/>
                      <a:pt x="34" y="1"/>
                    </a:cubicBezTo>
                    <a:lnTo>
                      <a:pt x="34"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5"/>
              <p:cNvSpPr>
                <a:spLocks/>
              </p:cNvSpPr>
              <p:nvPr/>
            </p:nvSpPr>
            <p:spPr bwMode="auto">
              <a:xfrm>
                <a:off x="3759" y="1716"/>
                <a:ext cx="17" cy="27"/>
              </a:xfrm>
              <a:custGeom>
                <a:avLst/>
                <a:gdLst>
                  <a:gd name="T0" fmla="*/ 35 w 35"/>
                  <a:gd name="T1" fmla="*/ 10 h 56"/>
                  <a:gd name="T2" fmla="*/ 34 w 35"/>
                  <a:gd name="T3" fmla="*/ 10 h 56"/>
                  <a:gd name="T4" fmla="*/ 30 w 35"/>
                  <a:gd name="T5" fmla="*/ 10 h 56"/>
                  <a:gd name="T6" fmla="*/ 25 w 35"/>
                  <a:gd name="T7" fmla="*/ 9 h 56"/>
                  <a:gd name="T8" fmla="*/ 17 w 35"/>
                  <a:gd name="T9" fmla="*/ 11 h 56"/>
                  <a:gd name="T10" fmla="*/ 9 w 35"/>
                  <a:gd name="T11" fmla="*/ 16 h 56"/>
                  <a:gd name="T12" fmla="*/ 9 w 35"/>
                  <a:gd name="T13" fmla="*/ 56 h 56"/>
                  <a:gd name="T14" fmla="*/ 0 w 35"/>
                  <a:gd name="T15" fmla="*/ 56 h 56"/>
                  <a:gd name="T16" fmla="*/ 0 w 35"/>
                  <a:gd name="T17" fmla="*/ 0 h 56"/>
                  <a:gd name="T18" fmla="*/ 9 w 35"/>
                  <a:gd name="T19" fmla="*/ 0 h 56"/>
                  <a:gd name="T20" fmla="*/ 9 w 35"/>
                  <a:gd name="T21" fmla="*/ 8 h 56"/>
                  <a:gd name="T22" fmla="*/ 19 w 35"/>
                  <a:gd name="T23" fmla="*/ 2 h 56"/>
                  <a:gd name="T24" fmla="*/ 28 w 35"/>
                  <a:gd name="T25" fmla="*/ 0 h 56"/>
                  <a:gd name="T26" fmla="*/ 31 w 35"/>
                  <a:gd name="T27" fmla="*/ 0 h 56"/>
                  <a:gd name="T28" fmla="*/ 35 w 35"/>
                  <a:gd name="T29" fmla="*/ 1 h 56"/>
                  <a:gd name="T30" fmla="*/ 35 w 35"/>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6">
                    <a:moveTo>
                      <a:pt x="35" y="10"/>
                    </a:moveTo>
                    <a:lnTo>
                      <a:pt x="34" y="10"/>
                    </a:lnTo>
                    <a:cubicBezTo>
                      <a:pt x="33" y="10"/>
                      <a:pt x="31" y="10"/>
                      <a:pt x="30" y="10"/>
                    </a:cubicBezTo>
                    <a:cubicBezTo>
                      <a:pt x="29" y="10"/>
                      <a:pt x="27" y="9"/>
                      <a:pt x="25" y="9"/>
                    </a:cubicBezTo>
                    <a:cubicBezTo>
                      <a:pt x="22" y="9"/>
                      <a:pt x="20" y="10"/>
                      <a:pt x="17" y="11"/>
                    </a:cubicBezTo>
                    <a:cubicBezTo>
                      <a:pt x="14" y="13"/>
                      <a:pt x="12" y="14"/>
                      <a:pt x="9" y="16"/>
                    </a:cubicBezTo>
                    <a:lnTo>
                      <a:pt x="9" y="56"/>
                    </a:lnTo>
                    <a:lnTo>
                      <a:pt x="0" y="56"/>
                    </a:lnTo>
                    <a:lnTo>
                      <a:pt x="0" y="0"/>
                    </a:lnTo>
                    <a:lnTo>
                      <a:pt x="9" y="0"/>
                    </a:lnTo>
                    <a:lnTo>
                      <a:pt x="9" y="8"/>
                    </a:lnTo>
                    <a:cubicBezTo>
                      <a:pt x="13" y="5"/>
                      <a:pt x="16" y="3"/>
                      <a:pt x="19" y="2"/>
                    </a:cubicBezTo>
                    <a:cubicBezTo>
                      <a:pt x="22" y="1"/>
                      <a:pt x="25" y="0"/>
                      <a:pt x="28" y="0"/>
                    </a:cubicBezTo>
                    <a:cubicBezTo>
                      <a:pt x="29" y="0"/>
                      <a:pt x="31" y="0"/>
                      <a:pt x="31" y="0"/>
                    </a:cubicBezTo>
                    <a:cubicBezTo>
                      <a:pt x="32" y="0"/>
                      <a:pt x="33" y="1"/>
                      <a:pt x="35" y="1"/>
                    </a:cubicBezTo>
                    <a:lnTo>
                      <a:pt x="35"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6"/>
              <p:cNvSpPr>
                <a:spLocks/>
              </p:cNvSpPr>
              <p:nvPr/>
            </p:nvSpPr>
            <p:spPr bwMode="auto">
              <a:xfrm>
                <a:off x="3777" y="1716"/>
                <a:ext cx="26" cy="36"/>
              </a:xfrm>
              <a:custGeom>
                <a:avLst/>
                <a:gdLst>
                  <a:gd name="T0" fmla="*/ 26 w 26"/>
                  <a:gd name="T1" fmla="*/ 0 h 36"/>
                  <a:gd name="T2" fmla="*/ 10 w 26"/>
                  <a:gd name="T3" fmla="*/ 36 h 36"/>
                  <a:gd name="T4" fmla="*/ 5 w 26"/>
                  <a:gd name="T5" fmla="*/ 36 h 36"/>
                  <a:gd name="T6" fmla="*/ 10 w 26"/>
                  <a:gd name="T7" fmla="*/ 25 h 36"/>
                  <a:gd name="T8" fmla="*/ 0 w 26"/>
                  <a:gd name="T9" fmla="*/ 0 h 36"/>
                  <a:gd name="T10" fmla="*/ 4 w 26"/>
                  <a:gd name="T11" fmla="*/ 0 h 36"/>
                  <a:gd name="T12" fmla="*/ 13 w 26"/>
                  <a:gd name="T13" fmla="*/ 19 h 36"/>
                  <a:gd name="T14" fmla="*/ 21 w 26"/>
                  <a:gd name="T15" fmla="*/ 0 h 36"/>
                  <a:gd name="T16" fmla="*/ 26 w 2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6" y="0"/>
                    </a:moveTo>
                    <a:lnTo>
                      <a:pt x="10" y="36"/>
                    </a:lnTo>
                    <a:lnTo>
                      <a:pt x="5" y="36"/>
                    </a:lnTo>
                    <a:lnTo>
                      <a:pt x="10" y="25"/>
                    </a:lnTo>
                    <a:lnTo>
                      <a:pt x="0" y="0"/>
                    </a:lnTo>
                    <a:lnTo>
                      <a:pt x="4" y="0"/>
                    </a:lnTo>
                    <a:lnTo>
                      <a:pt x="13" y="19"/>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7"/>
              <p:cNvSpPr>
                <a:spLocks noEditPoints="1"/>
              </p:cNvSpPr>
              <p:nvPr/>
            </p:nvSpPr>
            <p:spPr bwMode="auto">
              <a:xfrm>
                <a:off x="3826" y="1707"/>
                <a:ext cx="23" cy="36"/>
              </a:xfrm>
              <a:custGeom>
                <a:avLst/>
                <a:gdLst>
                  <a:gd name="T0" fmla="*/ 48 w 48"/>
                  <a:gd name="T1" fmla="*/ 22 h 74"/>
                  <a:gd name="T2" fmla="*/ 46 w 48"/>
                  <a:gd name="T3" fmla="*/ 31 h 74"/>
                  <a:gd name="T4" fmla="*/ 42 w 48"/>
                  <a:gd name="T5" fmla="*/ 38 h 74"/>
                  <a:gd name="T6" fmla="*/ 33 w 48"/>
                  <a:gd name="T7" fmla="*/ 44 h 74"/>
                  <a:gd name="T8" fmla="*/ 20 w 48"/>
                  <a:gd name="T9" fmla="*/ 46 h 74"/>
                  <a:gd name="T10" fmla="*/ 10 w 48"/>
                  <a:gd name="T11" fmla="*/ 46 h 74"/>
                  <a:gd name="T12" fmla="*/ 10 w 48"/>
                  <a:gd name="T13" fmla="*/ 74 h 74"/>
                  <a:gd name="T14" fmla="*/ 0 w 48"/>
                  <a:gd name="T15" fmla="*/ 74 h 74"/>
                  <a:gd name="T16" fmla="*/ 0 w 48"/>
                  <a:gd name="T17" fmla="*/ 0 h 74"/>
                  <a:gd name="T18" fmla="*/ 20 w 48"/>
                  <a:gd name="T19" fmla="*/ 0 h 74"/>
                  <a:gd name="T20" fmla="*/ 31 w 48"/>
                  <a:gd name="T21" fmla="*/ 1 h 74"/>
                  <a:gd name="T22" fmla="*/ 39 w 48"/>
                  <a:gd name="T23" fmla="*/ 4 h 74"/>
                  <a:gd name="T24" fmla="*/ 46 w 48"/>
                  <a:gd name="T25" fmla="*/ 11 h 74"/>
                  <a:gd name="T26" fmla="*/ 48 w 48"/>
                  <a:gd name="T27" fmla="*/ 22 h 74"/>
                  <a:gd name="T28" fmla="*/ 38 w 48"/>
                  <a:gd name="T29" fmla="*/ 22 h 74"/>
                  <a:gd name="T30" fmla="*/ 37 w 48"/>
                  <a:gd name="T31" fmla="*/ 16 h 74"/>
                  <a:gd name="T32" fmla="*/ 33 w 48"/>
                  <a:gd name="T33" fmla="*/ 11 h 74"/>
                  <a:gd name="T34" fmla="*/ 27 w 48"/>
                  <a:gd name="T35" fmla="*/ 9 h 74"/>
                  <a:gd name="T36" fmla="*/ 19 w 48"/>
                  <a:gd name="T37" fmla="*/ 8 h 74"/>
                  <a:gd name="T38" fmla="*/ 10 w 48"/>
                  <a:gd name="T39" fmla="*/ 8 h 74"/>
                  <a:gd name="T40" fmla="*/ 10 w 48"/>
                  <a:gd name="T41" fmla="*/ 38 h 74"/>
                  <a:gd name="T42" fmla="*/ 18 w 48"/>
                  <a:gd name="T43" fmla="*/ 38 h 74"/>
                  <a:gd name="T44" fmla="*/ 28 w 48"/>
                  <a:gd name="T45" fmla="*/ 37 h 74"/>
                  <a:gd name="T46" fmla="*/ 34 w 48"/>
                  <a:gd name="T47" fmla="*/ 33 h 74"/>
                  <a:gd name="T48" fmla="*/ 37 w 48"/>
                  <a:gd name="T49" fmla="*/ 28 h 74"/>
                  <a:gd name="T50" fmla="*/ 38 w 48"/>
                  <a:gd name="T51"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4">
                    <a:moveTo>
                      <a:pt x="48" y="22"/>
                    </a:moveTo>
                    <a:cubicBezTo>
                      <a:pt x="48" y="25"/>
                      <a:pt x="48" y="28"/>
                      <a:pt x="46" y="31"/>
                    </a:cubicBezTo>
                    <a:cubicBezTo>
                      <a:pt x="45" y="34"/>
                      <a:pt x="44" y="36"/>
                      <a:pt x="42" y="38"/>
                    </a:cubicBezTo>
                    <a:cubicBezTo>
                      <a:pt x="39" y="41"/>
                      <a:pt x="36" y="43"/>
                      <a:pt x="33" y="44"/>
                    </a:cubicBezTo>
                    <a:cubicBezTo>
                      <a:pt x="29" y="45"/>
                      <a:pt x="25" y="46"/>
                      <a:pt x="20" y="46"/>
                    </a:cubicBezTo>
                    <a:lnTo>
                      <a:pt x="10" y="46"/>
                    </a:lnTo>
                    <a:lnTo>
                      <a:pt x="10" y="74"/>
                    </a:lnTo>
                    <a:lnTo>
                      <a:pt x="0" y="74"/>
                    </a:lnTo>
                    <a:lnTo>
                      <a:pt x="0" y="0"/>
                    </a:lnTo>
                    <a:lnTo>
                      <a:pt x="20" y="0"/>
                    </a:lnTo>
                    <a:cubicBezTo>
                      <a:pt x="24" y="0"/>
                      <a:pt x="28" y="0"/>
                      <a:pt x="31" y="1"/>
                    </a:cubicBezTo>
                    <a:cubicBezTo>
                      <a:pt x="34" y="2"/>
                      <a:pt x="37" y="3"/>
                      <a:pt x="39" y="4"/>
                    </a:cubicBezTo>
                    <a:cubicBezTo>
                      <a:pt x="42" y="6"/>
                      <a:pt x="44" y="9"/>
                      <a:pt x="46" y="11"/>
                    </a:cubicBezTo>
                    <a:cubicBezTo>
                      <a:pt x="47" y="14"/>
                      <a:pt x="48" y="18"/>
                      <a:pt x="48" y="22"/>
                    </a:cubicBezTo>
                    <a:close/>
                    <a:moveTo>
                      <a:pt x="38" y="22"/>
                    </a:moveTo>
                    <a:cubicBezTo>
                      <a:pt x="38" y="20"/>
                      <a:pt x="38" y="18"/>
                      <a:pt x="37" y="16"/>
                    </a:cubicBezTo>
                    <a:cubicBezTo>
                      <a:pt x="36" y="14"/>
                      <a:pt x="34" y="12"/>
                      <a:pt x="33" y="11"/>
                    </a:cubicBezTo>
                    <a:cubicBezTo>
                      <a:pt x="31" y="10"/>
                      <a:pt x="29" y="9"/>
                      <a:pt x="27" y="9"/>
                    </a:cubicBezTo>
                    <a:cubicBezTo>
                      <a:pt x="25" y="8"/>
                      <a:pt x="23" y="8"/>
                      <a:pt x="19" y="8"/>
                    </a:cubicBezTo>
                    <a:lnTo>
                      <a:pt x="10" y="8"/>
                    </a:lnTo>
                    <a:lnTo>
                      <a:pt x="10" y="38"/>
                    </a:lnTo>
                    <a:lnTo>
                      <a:pt x="18" y="38"/>
                    </a:lnTo>
                    <a:cubicBezTo>
                      <a:pt x="22" y="38"/>
                      <a:pt x="25" y="37"/>
                      <a:pt x="28" y="37"/>
                    </a:cubicBezTo>
                    <a:cubicBezTo>
                      <a:pt x="30" y="36"/>
                      <a:pt x="32" y="35"/>
                      <a:pt x="34" y="33"/>
                    </a:cubicBezTo>
                    <a:cubicBezTo>
                      <a:pt x="35" y="32"/>
                      <a:pt x="36" y="30"/>
                      <a:pt x="37" y="28"/>
                    </a:cubicBezTo>
                    <a:cubicBezTo>
                      <a:pt x="38" y="27"/>
                      <a:pt x="38" y="25"/>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8"/>
              <p:cNvSpPr>
                <a:spLocks noEditPoints="1"/>
              </p:cNvSpPr>
              <p:nvPr/>
            </p:nvSpPr>
            <p:spPr bwMode="auto">
              <a:xfrm>
                <a:off x="3855" y="1707"/>
                <a:ext cx="5" cy="36"/>
              </a:xfrm>
              <a:custGeom>
                <a:avLst/>
                <a:gdLst>
                  <a:gd name="T0" fmla="*/ 10 w 10"/>
                  <a:gd name="T1" fmla="*/ 10 h 75"/>
                  <a:gd name="T2" fmla="*/ 0 w 10"/>
                  <a:gd name="T3" fmla="*/ 10 h 75"/>
                  <a:gd name="T4" fmla="*/ 0 w 10"/>
                  <a:gd name="T5" fmla="*/ 0 h 75"/>
                  <a:gd name="T6" fmla="*/ 10 w 10"/>
                  <a:gd name="T7" fmla="*/ 0 h 75"/>
                  <a:gd name="T8" fmla="*/ 10 w 10"/>
                  <a:gd name="T9" fmla="*/ 10 h 75"/>
                  <a:gd name="T10" fmla="*/ 10 w 10"/>
                  <a:gd name="T11" fmla="*/ 75 h 75"/>
                  <a:gd name="T12" fmla="*/ 1 w 10"/>
                  <a:gd name="T13" fmla="*/ 75 h 75"/>
                  <a:gd name="T14" fmla="*/ 1 w 10"/>
                  <a:gd name="T15" fmla="*/ 19 h 75"/>
                  <a:gd name="T16" fmla="*/ 10 w 10"/>
                  <a:gd name="T17" fmla="*/ 19 h 75"/>
                  <a:gd name="T18" fmla="*/ 10 w 10"/>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5">
                    <a:moveTo>
                      <a:pt x="10" y="10"/>
                    </a:moveTo>
                    <a:lnTo>
                      <a:pt x="0" y="10"/>
                    </a:lnTo>
                    <a:lnTo>
                      <a:pt x="0" y="0"/>
                    </a:lnTo>
                    <a:lnTo>
                      <a:pt x="10" y="0"/>
                    </a:lnTo>
                    <a:lnTo>
                      <a:pt x="10" y="10"/>
                    </a:lnTo>
                    <a:close/>
                    <a:moveTo>
                      <a:pt x="10" y="75"/>
                    </a:moveTo>
                    <a:lnTo>
                      <a:pt x="1" y="75"/>
                    </a:lnTo>
                    <a:lnTo>
                      <a:pt x="1" y="19"/>
                    </a:lnTo>
                    <a:lnTo>
                      <a:pt x="10" y="19"/>
                    </a:lnTo>
                    <a:lnTo>
                      <a:pt x="1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
              <p:cNvSpPr>
                <a:spLocks/>
              </p:cNvSpPr>
              <p:nvPr/>
            </p:nvSpPr>
            <p:spPr bwMode="auto">
              <a:xfrm>
                <a:off x="3886" y="1707"/>
                <a:ext cx="31" cy="36"/>
              </a:xfrm>
              <a:custGeom>
                <a:avLst/>
                <a:gdLst>
                  <a:gd name="T0" fmla="*/ 31 w 31"/>
                  <a:gd name="T1" fmla="*/ 36 h 36"/>
                  <a:gd name="T2" fmla="*/ 27 w 31"/>
                  <a:gd name="T3" fmla="*/ 36 h 36"/>
                  <a:gd name="T4" fmla="*/ 27 w 31"/>
                  <a:gd name="T5" fmla="*/ 5 h 36"/>
                  <a:gd name="T6" fmla="*/ 17 w 31"/>
                  <a:gd name="T7" fmla="*/ 26 h 36"/>
                  <a:gd name="T8" fmla="*/ 14 w 31"/>
                  <a:gd name="T9" fmla="*/ 26 h 36"/>
                  <a:gd name="T10" fmla="*/ 4 w 31"/>
                  <a:gd name="T11" fmla="*/ 5 h 36"/>
                  <a:gd name="T12" fmla="*/ 4 w 31"/>
                  <a:gd name="T13" fmla="*/ 36 h 36"/>
                  <a:gd name="T14" fmla="*/ 0 w 31"/>
                  <a:gd name="T15" fmla="*/ 36 h 36"/>
                  <a:gd name="T16" fmla="*/ 0 w 31"/>
                  <a:gd name="T17" fmla="*/ 0 h 36"/>
                  <a:gd name="T18" fmla="*/ 6 w 31"/>
                  <a:gd name="T19" fmla="*/ 0 h 36"/>
                  <a:gd name="T20" fmla="*/ 16 w 31"/>
                  <a:gd name="T21" fmla="*/ 20 h 36"/>
                  <a:gd name="T22" fmla="*/ 25 w 31"/>
                  <a:gd name="T23" fmla="*/ 0 h 36"/>
                  <a:gd name="T24" fmla="*/ 31 w 31"/>
                  <a:gd name="T25" fmla="*/ 0 h 36"/>
                  <a:gd name="T26" fmla="*/ 31 w 31"/>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6">
                    <a:moveTo>
                      <a:pt x="31" y="36"/>
                    </a:moveTo>
                    <a:lnTo>
                      <a:pt x="27" y="36"/>
                    </a:lnTo>
                    <a:lnTo>
                      <a:pt x="27" y="5"/>
                    </a:lnTo>
                    <a:lnTo>
                      <a:pt x="17" y="26"/>
                    </a:lnTo>
                    <a:lnTo>
                      <a:pt x="14" y="26"/>
                    </a:lnTo>
                    <a:lnTo>
                      <a:pt x="4" y="5"/>
                    </a:lnTo>
                    <a:lnTo>
                      <a:pt x="4" y="36"/>
                    </a:lnTo>
                    <a:lnTo>
                      <a:pt x="0" y="36"/>
                    </a:lnTo>
                    <a:lnTo>
                      <a:pt x="0" y="0"/>
                    </a:lnTo>
                    <a:lnTo>
                      <a:pt x="6" y="0"/>
                    </a:lnTo>
                    <a:lnTo>
                      <a:pt x="16" y="20"/>
                    </a:lnTo>
                    <a:lnTo>
                      <a:pt x="25" y="0"/>
                    </a:lnTo>
                    <a:lnTo>
                      <a:pt x="31" y="0"/>
                    </a:lnTo>
                    <a:lnTo>
                      <a:pt x="31"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20"/>
              <p:cNvSpPr>
                <a:spLocks noEditPoints="1"/>
              </p:cNvSpPr>
              <p:nvPr/>
            </p:nvSpPr>
            <p:spPr bwMode="auto">
              <a:xfrm>
                <a:off x="3925" y="1715"/>
                <a:ext cx="24" cy="28"/>
              </a:xfrm>
              <a:custGeom>
                <a:avLst/>
                <a:gdLst>
                  <a:gd name="T0" fmla="*/ 51 w 51"/>
                  <a:gd name="T1" fmla="*/ 29 h 58"/>
                  <a:gd name="T2" fmla="*/ 45 w 51"/>
                  <a:gd name="T3" fmla="*/ 50 h 58"/>
                  <a:gd name="T4" fmla="*/ 26 w 51"/>
                  <a:gd name="T5" fmla="*/ 58 h 58"/>
                  <a:gd name="T6" fmla="*/ 7 w 51"/>
                  <a:gd name="T7" fmla="*/ 50 h 58"/>
                  <a:gd name="T8" fmla="*/ 0 w 51"/>
                  <a:gd name="T9" fmla="*/ 29 h 58"/>
                  <a:gd name="T10" fmla="*/ 7 w 51"/>
                  <a:gd name="T11" fmla="*/ 8 h 58"/>
                  <a:gd name="T12" fmla="*/ 26 w 51"/>
                  <a:gd name="T13" fmla="*/ 0 h 58"/>
                  <a:gd name="T14" fmla="*/ 45 w 51"/>
                  <a:gd name="T15" fmla="*/ 8 h 58"/>
                  <a:gd name="T16" fmla="*/ 51 w 51"/>
                  <a:gd name="T17" fmla="*/ 29 h 58"/>
                  <a:gd name="T18" fmla="*/ 42 w 51"/>
                  <a:gd name="T19" fmla="*/ 29 h 58"/>
                  <a:gd name="T20" fmla="*/ 38 w 51"/>
                  <a:gd name="T21" fmla="*/ 13 h 58"/>
                  <a:gd name="T22" fmla="*/ 26 w 51"/>
                  <a:gd name="T23" fmla="*/ 8 h 58"/>
                  <a:gd name="T24" fmla="*/ 14 w 51"/>
                  <a:gd name="T25" fmla="*/ 13 h 58"/>
                  <a:gd name="T26" fmla="*/ 10 w 51"/>
                  <a:gd name="T27" fmla="*/ 29 h 58"/>
                  <a:gd name="T28" fmla="*/ 14 w 51"/>
                  <a:gd name="T29" fmla="*/ 45 h 58"/>
                  <a:gd name="T30" fmla="*/ 26 w 51"/>
                  <a:gd name="T31" fmla="*/ 50 h 58"/>
                  <a:gd name="T32" fmla="*/ 38 w 51"/>
                  <a:gd name="T33" fmla="*/ 45 h 58"/>
                  <a:gd name="T34" fmla="*/ 42 w 51"/>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58">
                    <a:moveTo>
                      <a:pt x="51" y="29"/>
                    </a:moveTo>
                    <a:cubicBezTo>
                      <a:pt x="51" y="38"/>
                      <a:pt x="49" y="45"/>
                      <a:pt x="45" y="50"/>
                    </a:cubicBezTo>
                    <a:cubicBezTo>
                      <a:pt x="40" y="56"/>
                      <a:pt x="34" y="58"/>
                      <a:pt x="26" y="58"/>
                    </a:cubicBezTo>
                    <a:cubicBezTo>
                      <a:pt x="18" y="58"/>
                      <a:pt x="12" y="56"/>
                      <a:pt x="7" y="50"/>
                    </a:cubicBezTo>
                    <a:cubicBezTo>
                      <a:pt x="3" y="45"/>
                      <a:pt x="0" y="38"/>
                      <a:pt x="0" y="29"/>
                    </a:cubicBezTo>
                    <a:cubicBezTo>
                      <a:pt x="0" y="20"/>
                      <a:pt x="3" y="13"/>
                      <a:pt x="7" y="8"/>
                    </a:cubicBezTo>
                    <a:cubicBezTo>
                      <a:pt x="12" y="2"/>
                      <a:pt x="18" y="0"/>
                      <a:pt x="26" y="0"/>
                    </a:cubicBezTo>
                    <a:cubicBezTo>
                      <a:pt x="34" y="0"/>
                      <a:pt x="40" y="2"/>
                      <a:pt x="45" y="8"/>
                    </a:cubicBezTo>
                    <a:cubicBezTo>
                      <a:pt x="49" y="13"/>
                      <a:pt x="51" y="20"/>
                      <a:pt x="51" y="29"/>
                    </a:cubicBezTo>
                    <a:close/>
                    <a:moveTo>
                      <a:pt x="42" y="29"/>
                    </a:moveTo>
                    <a:cubicBezTo>
                      <a:pt x="42" y="22"/>
                      <a:pt x="40" y="16"/>
                      <a:pt x="38" y="13"/>
                    </a:cubicBezTo>
                    <a:cubicBezTo>
                      <a:pt x="35" y="9"/>
                      <a:pt x="31" y="8"/>
                      <a:pt x="26" y="8"/>
                    </a:cubicBezTo>
                    <a:cubicBezTo>
                      <a:pt x="21" y="8"/>
                      <a:pt x="17" y="9"/>
                      <a:pt x="14" y="13"/>
                    </a:cubicBezTo>
                    <a:cubicBezTo>
                      <a:pt x="11" y="16"/>
                      <a:pt x="10" y="22"/>
                      <a:pt x="10" y="29"/>
                    </a:cubicBezTo>
                    <a:cubicBezTo>
                      <a:pt x="10" y="36"/>
                      <a:pt x="11" y="41"/>
                      <a:pt x="14" y="45"/>
                    </a:cubicBezTo>
                    <a:cubicBezTo>
                      <a:pt x="17" y="48"/>
                      <a:pt x="21" y="50"/>
                      <a:pt x="26" y="50"/>
                    </a:cubicBezTo>
                    <a:cubicBezTo>
                      <a:pt x="31" y="50"/>
                      <a:pt x="35" y="48"/>
                      <a:pt x="38" y="45"/>
                    </a:cubicBezTo>
                    <a:cubicBezTo>
                      <a:pt x="40" y="41"/>
                      <a:pt x="42" y="36"/>
                      <a:pt x="42" y="2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21"/>
              <p:cNvSpPr>
                <a:spLocks noEditPoints="1"/>
              </p:cNvSpPr>
              <p:nvPr/>
            </p:nvSpPr>
            <p:spPr bwMode="auto">
              <a:xfrm>
                <a:off x="3954" y="1705"/>
                <a:ext cx="24" cy="38"/>
              </a:xfrm>
              <a:custGeom>
                <a:avLst/>
                <a:gdLst>
                  <a:gd name="T0" fmla="*/ 49 w 49"/>
                  <a:gd name="T1" fmla="*/ 78 h 79"/>
                  <a:gd name="T2" fmla="*/ 40 w 49"/>
                  <a:gd name="T3" fmla="*/ 78 h 79"/>
                  <a:gd name="T4" fmla="*/ 40 w 49"/>
                  <a:gd name="T5" fmla="*/ 72 h 79"/>
                  <a:gd name="T6" fmla="*/ 31 w 49"/>
                  <a:gd name="T7" fmla="*/ 77 h 79"/>
                  <a:gd name="T8" fmla="*/ 22 w 49"/>
                  <a:gd name="T9" fmla="*/ 79 h 79"/>
                  <a:gd name="T10" fmla="*/ 6 w 49"/>
                  <a:gd name="T11" fmla="*/ 72 h 79"/>
                  <a:gd name="T12" fmla="*/ 0 w 49"/>
                  <a:gd name="T13" fmla="*/ 50 h 79"/>
                  <a:gd name="T14" fmla="*/ 2 w 49"/>
                  <a:gd name="T15" fmla="*/ 38 h 79"/>
                  <a:gd name="T16" fmla="*/ 8 w 49"/>
                  <a:gd name="T17" fmla="*/ 28 h 79"/>
                  <a:gd name="T18" fmla="*/ 15 w 49"/>
                  <a:gd name="T19" fmla="*/ 23 h 79"/>
                  <a:gd name="T20" fmla="*/ 25 w 49"/>
                  <a:gd name="T21" fmla="*/ 21 h 79"/>
                  <a:gd name="T22" fmla="*/ 32 w 49"/>
                  <a:gd name="T23" fmla="*/ 22 h 79"/>
                  <a:gd name="T24" fmla="*/ 40 w 49"/>
                  <a:gd name="T25" fmla="*/ 24 h 79"/>
                  <a:gd name="T26" fmla="*/ 40 w 49"/>
                  <a:gd name="T27" fmla="*/ 0 h 79"/>
                  <a:gd name="T28" fmla="*/ 49 w 49"/>
                  <a:gd name="T29" fmla="*/ 0 h 79"/>
                  <a:gd name="T30" fmla="*/ 49 w 49"/>
                  <a:gd name="T31" fmla="*/ 78 h 79"/>
                  <a:gd name="T32" fmla="*/ 40 w 49"/>
                  <a:gd name="T33" fmla="*/ 64 h 79"/>
                  <a:gd name="T34" fmla="*/ 40 w 49"/>
                  <a:gd name="T35" fmla="*/ 32 h 79"/>
                  <a:gd name="T36" fmla="*/ 33 w 49"/>
                  <a:gd name="T37" fmla="*/ 30 h 79"/>
                  <a:gd name="T38" fmla="*/ 26 w 49"/>
                  <a:gd name="T39" fmla="*/ 29 h 79"/>
                  <a:gd name="T40" fmla="*/ 14 w 49"/>
                  <a:gd name="T41" fmla="*/ 35 h 79"/>
                  <a:gd name="T42" fmla="*/ 10 w 49"/>
                  <a:gd name="T43" fmla="*/ 50 h 79"/>
                  <a:gd name="T44" fmla="*/ 13 w 49"/>
                  <a:gd name="T45" fmla="*/ 65 h 79"/>
                  <a:gd name="T46" fmla="*/ 24 w 49"/>
                  <a:gd name="T47" fmla="*/ 70 h 79"/>
                  <a:gd name="T48" fmla="*/ 32 w 49"/>
                  <a:gd name="T49" fmla="*/ 69 h 79"/>
                  <a:gd name="T50" fmla="*/ 40 w 49"/>
                  <a:gd name="T51" fmla="*/ 6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78"/>
                    </a:moveTo>
                    <a:lnTo>
                      <a:pt x="40" y="78"/>
                    </a:lnTo>
                    <a:lnTo>
                      <a:pt x="40" y="72"/>
                    </a:lnTo>
                    <a:cubicBezTo>
                      <a:pt x="37" y="74"/>
                      <a:pt x="34" y="76"/>
                      <a:pt x="31" y="77"/>
                    </a:cubicBezTo>
                    <a:cubicBezTo>
                      <a:pt x="28" y="78"/>
                      <a:pt x="25" y="79"/>
                      <a:pt x="22" y="79"/>
                    </a:cubicBezTo>
                    <a:cubicBezTo>
                      <a:pt x="15" y="79"/>
                      <a:pt x="10" y="77"/>
                      <a:pt x="6" y="72"/>
                    </a:cubicBezTo>
                    <a:cubicBezTo>
                      <a:pt x="2" y="66"/>
                      <a:pt x="0" y="59"/>
                      <a:pt x="0" y="50"/>
                    </a:cubicBezTo>
                    <a:cubicBezTo>
                      <a:pt x="0" y="46"/>
                      <a:pt x="1" y="41"/>
                      <a:pt x="2" y="38"/>
                    </a:cubicBezTo>
                    <a:cubicBezTo>
                      <a:pt x="3" y="34"/>
                      <a:pt x="5" y="31"/>
                      <a:pt x="8" y="28"/>
                    </a:cubicBezTo>
                    <a:cubicBezTo>
                      <a:pt x="10" y="26"/>
                      <a:pt x="12" y="24"/>
                      <a:pt x="15" y="23"/>
                    </a:cubicBezTo>
                    <a:cubicBezTo>
                      <a:pt x="18" y="21"/>
                      <a:pt x="21" y="21"/>
                      <a:pt x="25" y="21"/>
                    </a:cubicBezTo>
                    <a:cubicBezTo>
                      <a:pt x="28" y="21"/>
                      <a:pt x="30" y="21"/>
                      <a:pt x="32" y="22"/>
                    </a:cubicBezTo>
                    <a:cubicBezTo>
                      <a:pt x="35" y="22"/>
                      <a:pt x="37" y="23"/>
                      <a:pt x="40" y="24"/>
                    </a:cubicBezTo>
                    <a:lnTo>
                      <a:pt x="40" y="0"/>
                    </a:lnTo>
                    <a:lnTo>
                      <a:pt x="49" y="0"/>
                    </a:lnTo>
                    <a:lnTo>
                      <a:pt x="49" y="78"/>
                    </a:lnTo>
                    <a:close/>
                    <a:moveTo>
                      <a:pt x="40" y="64"/>
                    </a:moveTo>
                    <a:lnTo>
                      <a:pt x="40" y="32"/>
                    </a:lnTo>
                    <a:cubicBezTo>
                      <a:pt x="37" y="31"/>
                      <a:pt x="35" y="30"/>
                      <a:pt x="33" y="30"/>
                    </a:cubicBezTo>
                    <a:cubicBezTo>
                      <a:pt x="31" y="29"/>
                      <a:pt x="29" y="29"/>
                      <a:pt x="26" y="29"/>
                    </a:cubicBezTo>
                    <a:cubicBezTo>
                      <a:pt x="21" y="29"/>
                      <a:pt x="17" y="31"/>
                      <a:pt x="14" y="35"/>
                    </a:cubicBezTo>
                    <a:cubicBezTo>
                      <a:pt x="11" y="38"/>
                      <a:pt x="10" y="43"/>
                      <a:pt x="10" y="50"/>
                    </a:cubicBezTo>
                    <a:cubicBezTo>
                      <a:pt x="10" y="57"/>
                      <a:pt x="11" y="62"/>
                      <a:pt x="13" y="65"/>
                    </a:cubicBezTo>
                    <a:cubicBezTo>
                      <a:pt x="15" y="69"/>
                      <a:pt x="19" y="70"/>
                      <a:pt x="24" y="70"/>
                    </a:cubicBezTo>
                    <a:cubicBezTo>
                      <a:pt x="27" y="70"/>
                      <a:pt x="29" y="70"/>
                      <a:pt x="32" y="69"/>
                    </a:cubicBezTo>
                    <a:cubicBezTo>
                      <a:pt x="35" y="67"/>
                      <a:pt x="37" y="66"/>
                      <a:pt x="40"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22"/>
              <p:cNvSpPr>
                <a:spLocks noEditPoints="1"/>
              </p:cNvSpPr>
              <p:nvPr/>
            </p:nvSpPr>
            <p:spPr bwMode="auto">
              <a:xfrm>
                <a:off x="3985" y="1715"/>
                <a:ext cx="24" cy="28"/>
              </a:xfrm>
              <a:custGeom>
                <a:avLst/>
                <a:gdLst>
                  <a:gd name="T0" fmla="*/ 51 w 51"/>
                  <a:gd name="T1" fmla="*/ 30 h 58"/>
                  <a:gd name="T2" fmla="*/ 10 w 51"/>
                  <a:gd name="T3" fmla="*/ 30 h 58"/>
                  <a:gd name="T4" fmla="*/ 11 w 51"/>
                  <a:gd name="T5" fmla="*/ 39 h 58"/>
                  <a:gd name="T6" fmla="*/ 15 w 51"/>
                  <a:gd name="T7" fmla="*/ 45 h 58"/>
                  <a:gd name="T8" fmla="*/ 22 w 51"/>
                  <a:gd name="T9" fmla="*/ 49 h 58"/>
                  <a:gd name="T10" fmla="*/ 29 w 51"/>
                  <a:gd name="T11" fmla="*/ 50 h 58"/>
                  <a:gd name="T12" fmla="*/ 41 w 51"/>
                  <a:gd name="T13" fmla="*/ 48 h 58"/>
                  <a:gd name="T14" fmla="*/ 49 w 51"/>
                  <a:gd name="T15" fmla="*/ 43 h 58"/>
                  <a:gd name="T16" fmla="*/ 49 w 51"/>
                  <a:gd name="T17" fmla="*/ 43 h 58"/>
                  <a:gd name="T18" fmla="*/ 49 w 51"/>
                  <a:gd name="T19" fmla="*/ 53 h 58"/>
                  <a:gd name="T20" fmla="*/ 40 w 51"/>
                  <a:gd name="T21" fmla="*/ 57 h 58"/>
                  <a:gd name="T22" fmla="*/ 29 w 51"/>
                  <a:gd name="T23" fmla="*/ 58 h 58"/>
                  <a:gd name="T24" fmla="*/ 8 w 51"/>
                  <a:gd name="T25" fmla="*/ 50 h 58"/>
                  <a:gd name="T26" fmla="*/ 0 w 51"/>
                  <a:gd name="T27" fmla="*/ 29 h 58"/>
                  <a:gd name="T28" fmla="*/ 8 w 51"/>
                  <a:gd name="T29" fmla="*/ 8 h 58"/>
                  <a:gd name="T30" fmla="*/ 27 w 51"/>
                  <a:gd name="T31" fmla="*/ 0 h 58"/>
                  <a:gd name="T32" fmla="*/ 44 w 51"/>
                  <a:gd name="T33" fmla="*/ 6 h 58"/>
                  <a:gd name="T34" fmla="*/ 51 w 51"/>
                  <a:gd name="T35" fmla="*/ 25 h 58"/>
                  <a:gd name="T36" fmla="*/ 51 w 51"/>
                  <a:gd name="T37" fmla="*/ 30 h 58"/>
                  <a:gd name="T38" fmla="*/ 41 w 51"/>
                  <a:gd name="T39" fmla="*/ 23 h 58"/>
                  <a:gd name="T40" fmla="*/ 38 w 51"/>
                  <a:gd name="T41" fmla="*/ 11 h 58"/>
                  <a:gd name="T42" fmla="*/ 27 w 51"/>
                  <a:gd name="T43" fmla="*/ 7 h 58"/>
                  <a:gd name="T44" fmla="*/ 15 w 51"/>
                  <a:gd name="T45" fmla="*/ 12 h 58"/>
                  <a:gd name="T46" fmla="*/ 10 w 51"/>
                  <a:gd name="T47" fmla="*/ 23 h 58"/>
                  <a:gd name="T48" fmla="*/ 41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7"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1" y="17"/>
                      <a:pt x="51" y="25"/>
                    </a:cubicBezTo>
                    <a:lnTo>
                      <a:pt x="51"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Rectangle 23"/>
              <p:cNvSpPr>
                <a:spLocks noChangeArrowheads="1"/>
              </p:cNvSpPr>
              <p:nvPr/>
            </p:nvSpPr>
            <p:spPr bwMode="auto">
              <a:xfrm>
                <a:off x="4016" y="1705"/>
                <a:ext cx="4" cy="3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4"/>
              <p:cNvSpPr>
                <a:spLocks/>
              </p:cNvSpPr>
              <p:nvPr/>
            </p:nvSpPr>
            <p:spPr bwMode="auto">
              <a:xfrm>
                <a:off x="4046" y="1706"/>
                <a:ext cx="24" cy="37"/>
              </a:xfrm>
              <a:custGeom>
                <a:avLst/>
                <a:gdLst>
                  <a:gd name="T0" fmla="*/ 50 w 50"/>
                  <a:gd name="T1" fmla="*/ 76 h 76"/>
                  <a:gd name="T2" fmla="*/ 0 w 50"/>
                  <a:gd name="T3" fmla="*/ 76 h 76"/>
                  <a:gd name="T4" fmla="*/ 0 w 50"/>
                  <a:gd name="T5" fmla="*/ 65 h 76"/>
                  <a:gd name="T6" fmla="*/ 10 w 50"/>
                  <a:gd name="T7" fmla="*/ 56 h 76"/>
                  <a:gd name="T8" fmla="*/ 20 w 50"/>
                  <a:gd name="T9" fmla="*/ 47 h 76"/>
                  <a:gd name="T10" fmla="*/ 33 w 50"/>
                  <a:gd name="T11" fmla="*/ 33 h 76"/>
                  <a:gd name="T12" fmla="*/ 36 w 50"/>
                  <a:gd name="T13" fmla="*/ 21 h 76"/>
                  <a:gd name="T14" fmla="*/ 33 w 50"/>
                  <a:gd name="T15" fmla="*/ 12 h 76"/>
                  <a:gd name="T16" fmla="*/ 22 w 50"/>
                  <a:gd name="T17" fmla="*/ 9 h 76"/>
                  <a:gd name="T18" fmla="*/ 12 w 50"/>
                  <a:gd name="T19" fmla="*/ 10 h 76"/>
                  <a:gd name="T20" fmla="*/ 2 w 50"/>
                  <a:gd name="T21" fmla="*/ 15 h 76"/>
                  <a:gd name="T22" fmla="*/ 2 w 50"/>
                  <a:gd name="T23" fmla="*/ 15 h 76"/>
                  <a:gd name="T24" fmla="*/ 2 w 50"/>
                  <a:gd name="T25" fmla="*/ 5 h 76"/>
                  <a:gd name="T26" fmla="*/ 11 w 50"/>
                  <a:gd name="T27" fmla="*/ 2 h 76"/>
                  <a:gd name="T28" fmla="*/ 22 w 50"/>
                  <a:gd name="T29" fmla="*/ 0 h 76"/>
                  <a:gd name="T30" fmla="*/ 40 w 50"/>
                  <a:gd name="T31" fmla="*/ 6 h 76"/>
                  <a:gd name="T32" fmla="*/ 47 w 50"/>
                  <a:gd name="T33" fmla="*/ 21 h 76"/>
                  <a:gd name="T34" fmla="*/ 45 w 50"/>
                  <a:gd name="T35" fmla="*/ 28 h 76"/>
                  <a:gd name="T36" fmla="*/ 42 w 50"/>
                  <a:gd name="T37" fmla="*/ 35 h 76"/>
                  <a:gd name="T38" fmla="*/ 38 w 50"/>
                  <a:gd name="T39" fmla="*/ 41 h 76"/>
                  <a:gd name="T40" fmla="*/ 31 w 50"/>
                  <a:gd name="T41" fmla="*/ 48 h 76"/>
                  <a:gd name="T42" fmla="*/ 20 w 50"/>
                  <a:gd name="T43" fmla="*/ 58 h 76"/>
                  <a:gd name="T44" fmla="*/ 10 w 50"/>
                  <a:gd name="T45" fmla="*/ 67 h 76"/>
                  <a:gd name="T46" fmla="*/ 50 w 50"/>
                  <a:gd name="T47" fmla="*/ 67 h 76"/>
                  <a:gd name="T48" fmla="*/ 50 w 50"/>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6">
                    <a:moveTo>
                      <a:pt x="50" y="76"/>
                    </a:moveTo>
                    <a:lnTo>
                      <a:pt x="0" y="76"/>
                    </a:lnTo>
                    <a:lnTo>
                      <a:pt x="0" y="65"/>
                    </a:lnTo>
                    <a:lnTo>
                      <a:pt x="10" y="56"/>
                    </a:lnTo>
                    <a:cubicBezTo>
                      <a:pt x="14" y="53"/>
                      <a:pt x="17" y="50"/>
                      <a:pt x="20" y="47"/>
                    </a:cubicBezTo>
                    <a:cubicBezTo>
                      <a:pt x="26" y="41"/>
                      <a:pt x="31"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2" y="15"/>
                    </a:lnTo>
                    <a:lnTo>
                      <a:pt x="2" y="5"/>
                    </a:lnTo>
                    <a:cubicBezTo>
                      <a:pt x="4" y="4"/>
                      <a:pt x="7" y="3"/>
                      <a:pt x="11" y="2"/>
                    </a:cubicBezTo>
                    <a:cubicBezTo>
                      <a:pt x="15" y="1"/>
                      <a:pt x="19" y="0"/>
                      <a:pt x="22" y="0"/>
                    </a:cubicBezTo>
                    <a:cubicBezTo>
                      <a:pt x="30" y="0"/>
                      <a:pt x="36" y="2"/>
                      <a:pt x="40" y="6"/>
                    </a:cubicBezTo>
                    <a:cubicBezTo>
                      <a:pt x="44" y="9"/>
                      <a:pt x="47" y="14"/>
                      <a:pt x="47" y="21"/>
                    </a:cubicBezTo>
                    <a:cubicBezTo>
                      <a:pt x="47" y="23"/>
                      <a:pt x="46" y="26"/>
                      <a:pt x="45" y="28"/>
                    </a:cubicBezTo>
                    <a:cubicBezTo>
                      <a:pt x="45" y="31"/>
                      <a:pt x="44" y="33"/>
                      <a:pt x="42" y="35"/>
                    </a:cubicBezTo>
                    <a:cubicBezTo>
                      <a:pt x="41" y="37"/>
                      <a:pt x="39" y="39"/>
                      <a:pt x="38" y="41"/>
                    </a:cubicBezTo>
                    <a:cubicBezTo>
                      <a:pt x="36" y="43"/>
                      <a:pt x="34" y="46"/>
                      <a:pt x="31" y="48"/>
                    </a:cubicBezTo>
                    <a:cubicBezTo>
                      <a:pt x="28" y="51"/>
                      <a:pt x="24" y="55"/>
                      <a:pt x="20" y="58"/>
                    </a:cubicBezTo>
                    <a:cubicBezTo>
                      <a:pt x="17" y="61"/>
                      <a:pt x="13" y="64"/>
                      <a:pt x="10" y="67"/>
                    </a:cubicBezTo>
                    <a:lnTo>
                      <a:pt x="50" y="67"/>
                    </a:lnTo>
                    <a:lnTo>
                      <a:pt x="50" y="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25"/>
              <p:cNvSpPr>
                <a:spLocks/>
              </p:cNvSpPr>
              <p:nvPr/>
            </p:nvSpPr>
            <p:spPr bwMode="auto">
              <a:xfrm>
                <a:off x="4091" y="1716"/>
                <a:ext cx="26" cy="27"/>
              </a:xfrm>
              <a:custGeom>
                <a:avLst/>
                <a:gdLst>
                  <a:gd name="T0" fmla="*/ 26 w 26"/>
                  <a:gd name="T1" fmla="*/ 0 h 27"/>
                  <a:gd name="T2" fmla="*/ 16 w 26"/>
                  <a:gd name="T3" fmla="*/ 27 h 27"/>
                  <a:gd name="T4" fmla="*/ 11 w 26"/>
                  <a:gd name="T5" fmla="*/ 27 h 27"/>
                  <a:gd name="T6" fmla="*/ 0 w 26"/>
                  <a:gd name="T7" fmla="*/ 0 h 27"/>
                  <a:gd name="T8" fmla="*/ 5 w 26"/>
                  <a:gd name="T9" fmla="*/ 0 h 27"/>
                  <a:gd name="T10" fmla="*/ 13 w 26"/>
                  <a:gd name="T11" fmla="*/ 21 h 27"/>
                  <a:gd name="T12" fmla="*/ 21 w 26"/>
                  <a:gd name="T13" fmla="*/ 0 h 27"/>
                  <a:gd name="T14" fmla="*/ 26 w 26"/>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6" y="0"/>
                    </a:moveTo>
                    <a:lnTo>
                      <a:pt x="16" y="27"/>
                    </a:lnTo>
                    <a:lnTo>
                      <a:pt x="11" y="27"/>
                    </a:lnTo>
                    <a:lnTo>
                      <a:pt x="0" y="0"/>
                    </a:lnTo>
                    <a:lnTo>
                      <a:pt x="5" y="0"/>
                    </a:lnTo>
                    <a:lnTo>
                      <a:pt x="13" y="21"/>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6"/>
              <p:cNvSpPr>
                <a:spLocks/>
              </p:cNvSpPr>
              <p:nvPr/>
            </p:nvSpPr>
            <p:spPr bwMode="auto">
              <a:xfrm>
                <a:off x="4125" y="1707"/>
                <a:ext cx="20" cy="36"/>
              </a:xfrm>
              <a:custGeom>
                <a:avLst/>
                <a:gdLst>
                  <a:gd name="T0" fmla="*/ 40 w 40"/>
                  <a:gd name="T1" fmla="*/ 74 h 74"/>
                  <a:gd name="T2" fmla="*/ 0 w 40"/>
                  <a:gd name="T3" fmla="*/ 74 h 74"/>
                  <a:gd name="T4" fmla="*/ 0 w 40"/>
                  <a:gd name="T5" fmla="*/ 66 h 74"/>
                  <a:gd name="T6" fmla="*/ 15 w 40"/>
                  <a:gd name="T7" fmla="*/ 66 h 74"/>
                  <a:gd name="T8" fmla="*/ 15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7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5" y="66"/>
                    </a:lnTo>
                    <a:lnTo>
                      <a:pt x="15" y="17"/>
                    </a:lnTo>
                    <a:lnTo>
                      <a:pt x="0" y="17"/>
                    </a:lnTo>
                    <a:lnTo>
                      <a:pt x="0" y="10"/>
                    </a:lnTo>
                    <a:cubicBezTo>
                      <a:pt x="2" y="10"/>
                      <a:pt x="4" y="10"/>
                      <a:pt x="7" y="9"/>
                    </a:cubicBezTo>
                    <a:cubicBezTo>
                      <a:pt x="9" y="9"/>
                      <a:pt x="11" y="8"/>
                      <a:pt x="12" y="8"/>
                    </a:cubicBezTo>
                    <a:cubicBezTo>
                      <a:pt x="13" y="7"/>
                      <a:pt x="15" y="6"/>
                      <a:pt x="16" y="5"/>
                    </a:cubicBezTo>
                    <a:cubicBezTo>
                      <a:pt x="16" y="3"/>
                      <a:pt x="17" y="2"/>
                      <a:pt x="17"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Rectangle 27"/>
              <p:cNvSpPr>
                <a:spLocks noChangeArrowheads="1"/>
              </p:cNvSpPr>
              <p:nvPr/>
            </p:nvSpPr>
            <p:spPr bwMode="auto">
              <a:xfrm>
                <a:off x="4156" y="1735"/>
                <a:ext cx="5" cy="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8"/>
              <p:cNvSpPr>
                <a:spLocks/>
              </p:cNvSpPr>
              <p:nvPr/>
            </p:nvSpPr>
            <p:spPr bwMode="auto">
              <a:xfrm>
                <a:off x="4174" y="1707"/>
                <a:ext cx="19" cy="36"/>
              </a:xfrm>
              <a:custGeom>
                <a:avLst/>
                <a:gdLst>
                  <a:gd name="T0" fmla="*/ 40 w 40"/>
                  <a:gd name="T1" fmla="*/ 74 h 74"/>
                  <a:gd name="T2" fmla="*/ 0 w 40"/>
                  <a:gd name="T3" fmla="*/ 74 h 74"/>
                  <a:gd name="T4" fmla="*/ 0 w 40"/>
                  <a:gd name="T5" fmla="*/ 66 h 74"/>
                  <a:gd name="T6" fmla="*/ 16 w 40"/>
                  <a:gd name="T7" fmla="*/ 66 h 74"/>
                  <a:gd name="T8" fmla="*/ 16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8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6" y="66"/>
                    </a:lnTo>
                    <a:lnTo>
                      <a:pt x="16" y="17"/>
                    </a:lnTo>
                    <a:lnTo>
                      <a:pt x="0" y="17"/>
                    </a:lnTo>
                    <a:lnTo>
                      <a:pt x="0" y="10"/>
                    </a:lnTo>
                    <a:cubicBezTo>
                      <a:pt x="2" y="10"/>
                      <a:pt x="5" y="10"/>
                      <a:pt x="7" y="9"/>
                    </a:cubicBezTo>
                    <a:cubicBezTo>
                      <a:pt x="9" y="9"/>
                      <a:pt x="11" y="8"/>
                      <a:pt x="12" y="8"/>
                    </a:cubicBezTo>
                    <a:cubicBezTo>
                      <a:pt x="14" y="7"/>
                      <a:pt x="15" y="6"/>
                      <a:pt x="16" y="5"/>
                    </a:cubicBezTo>
                    <a:cubicBezTo>
                      <a:pt x="17" y="3"/>
                      <a:pt x="17" y="2"/>
                      <a:pt x="18"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9"/>
              <p:cNvSpPr>
                <a:spLocks noEditPoints="1"/>
              </p:cNvSpPr>
              <p:nvPr/>
            </p:nvSpPr>
            <p:spPr bwMode="auto">
              <a:xfrm>
                <a:off x="3560" y="1765"/>
                <a:ext cx="41" cy="41"/>
              </a:xfrm>
              <a:custGeom>
                <a:avLst/>
                <a:gdLst>
                  <a:gd name="T0" fmla="*/ 86 w 86"/>
                  <a:gd name="T1" fmla="*/ 43 h 86"/>
                  <a:gd name="T2" fmla="*/ 73 w 86"/>
                  <a:gd name="T3" fmla="*/ 73 h 86"/>
                  <a:gd name="T4" fmla="*/ 43 w 86"/>
                  <a:gd name="T5" fmla="*/ 86 h 86"/>
                  <a:gd name="T6" fmla="*/ 12 w 86"/>
                  <a:gd name="T7" fmla="*/ 73 h 86"/>
                  <a:gd name="T8" fmla="*/ 0 w 86"/>
                  <a:gd name="T9" fmla="*/ 43 h 86"/>
                  <a:gd name="T10" fmla="*/ 12 w 86"/>
                  <a:gd name="T11" fmla="*/ 13 h 86"/>
                  <a:gd name="T12" fmla="*/ 43 w 86"/>
                  <a:gd name="T13" fmla="*/ 0 h 86"/>
                  <a:gd name="T14" fmla="*/ 73 w 86"/>
                  <a:gd name="T15" fmla="*/ 13 h 86"/>
                  <a:gd name="T16" fmla="*/ 86 w 86"/>
                  <a:gd name="T17" fmla="*/ 43 h 86"/>
                  <a:gd name="T18" fmla="*/ 80 w 86"/>
                  <a:gd name="T19" fmla="*/ 43 h 86"/>
                  <a:gd name="T20" fmla="*/ 69 w 86"/>
                  <a:gd name="T21" fmla="*/ 17 h 86"/>
                  <a:gd name="T22" fmla="*/ 43 w 86"/>
                  <a:gd name="T23" fmla="*/ 6 h 86"/>
                  <a:gd name="T24" fmla="*/ 16 w 86"/>
                  <a:gd name="T25" fmla="*/ 17 h 86"/>
                  <a:gd name="T26" fmla="*/ 6 w 86"/>
                  <a:gd name="T27" fmla="*/ 43 h 86"/>
                  <a:gd name="T28" fmla="*/ 16 w 86"/>
                  <a:gd name="T29" fmla="*/ 69 h 86"/>
                  <a:gd name="T30" fmla="*/ 43 w 86"/>
                  <a:gd name="T31" fmla="*/ 80 h 86"/>
                  <a:gd name="T32" fmla="*/ 69 w 86"/>
                  <a:gd name="T33" fmla="*/ 69 h 86"/>
                  <a:gd name="T34" fmla="*/ 80 w 86"/>
                  <a:gd name="T35" fmla="*/ 43 h 86"/>
                  <a:gd name="T36" fmla="*/ 60 w 86"/>
                  <a:gd name="T37" fmla="*/ 63 h 86"/>
                  <a:gd name="T38" fmla="*/ 52 w 86"/>
                  <a:gd name="T39" fmla="*/ 66 h 86"/>
                  <a:gd name="T40" fmla="*/ 44 w 86"/>
                  <a:gd name="T41" fmla="*/ 66 h 86"/>
                  <a:gd name="T42" fmla="*/ 26 w 86"/>
                  <a:gd name="T43" fmla="*/ 60 h 86"/>
                  <a:gd name="T44" fmla="*/ 20 w 86"/>
                  <a:gd name="T45" fmla="*/ 43 h 86"/>
                  <a:gd name="T46" fmla="*/ 26 w 86"/>
                  <a:gd name="T47" fmla="*/ 25 h 86"/>
                  <a:gd name="T48" fmla="*/ 44 w 86"/>
                  <a:gd name="T49" fmla="*/ 19 h 86"/>
                  <a:gd name="T50" fmla="*/ 53 w 86"/>
                  <a:gd name="T51" fmla="*/ 20 h 86"/>
                  <a:gd name="T52" fmla="*/ 60 w 86"/>
                  <a:gd name="T53" fmla="*/ 23 h 86"/>
                  <a:gd name="T54" fmla="*/ 60 w 86"/>
                  <a:gd name="T55" fmla="*/ 32 h 86"/>
                  <a:gd name="T56" fmla="*/ 59 w 86"/>
                  <a:gd name="T57" fmla="*/ 32 h 86"/>
                  <a:gd name="T58" fmla="*/ 52 w 86"/>
                  <a:gd name="T59" fmla="*/ 28 h 86"/>
                  <a:gd name="T60" fmla="*/ 44 w 86"/>
                  <a:gd name="T61" fmla="*/ 26 h 86"/>
                  <a:gd name="T62" fmla="*/ 33 w 86"/>
                  <a:gd name="T63" fmla="*/ 30 h 86"/>
                  <a:gd name="T64" fmla="*/ 29 w 86"/>
                  <a:gd name="T65" fmla="*/ 43 h 86"/>
                  <a:gd name="T66" fmla="*/ 33 w 86"/>
                  <a:gd name="T67" fmla="*/ 55 h 86"/>
                  <a:gd name="T68" fmla="*/ 44 w 86"/>
                  <a:gd name="T69" fmla="*/ 59 h 86"/>
                  <a:gd name="T70" fmla="*/ 52 w 86"/>
                  <a:gd name="T71" fmla="*/ 58 h 86"/>
                  <a:gd name="T72" fmla="*/ 59 w 86"/>
                  <a:gd name="T73" fmla="*/ 54 h 86"/>
                  <a:gd name="T74" fmla="*/ 60 w 86"/>
                  <a:gd name="T75" fmla="*/ 54 h 86"/>
                  <a:gd name="T76" fmla="*/ 60 w 86"/>
                  <a:gd name="T77"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86">
                    <a:moveTo>
                      <a:pt x="86" y="43"/>
                    </a:moveTo>
                    <a:cubicBezTo>
                      <a:pt x="86" y="55"/>
                      <a:pt x="81" y="65"/>
                      <a:pt x="73" y="73"/>
                    </a:cubicBezTo>
                    <a:cubicBezTo>
                      <a:pt x="65" y="82"/>
                      <a:pt x="54" y="86"/>
                      <a:pt x="43" y="86"/>
                    </a:cubicBezTo>
                    <a:cubicBezTo>
                      <a:pt x="31" y="86"/>
                      <a:pt x="21" y="82"/>
                      <a:pt x="12" y="73"/>
                    </a:cubicBezTo>
                    <a:cubicBezTo>
                      <a:pt x="4" y="65"/>
                      <a:pt x="0" y="55"/>
                      <a:pt x="0" y="43"/>
                    </a:cubicBezTo>
                    <a:cubicBezTo>
                      <a:pt x="0" y="31"/>
                      <a:pt x="4" y="21"/>
                      <a:pt x="12" y="13"/>
                    </a:cubicBezTo>
                    <a:cubicBezTo>
                      <a:pt x="21" y="4"/>
                      <a:pt x="31" y="0"/>
                      <a:pt x="43" y="0"/>
                    </a:cubicBezTo>
                    <a:cubicBezTo>
                      <a:pt x="54" y="0"/>
                      <a:pt x="65" y="4"/>
                      <a:pt x="73" y="13"/>
                    </a:cubicBezTo>
                    <a:cubicBezTo>
                      <a:pt x="81" y="21"/>
                      <a:pt x="86" y="31"/>
                      <a:pt x="86" y="43"/>
                    </a:cubicBezTo>
                    <a:close/>
                    <a:moveTo>
                      <a:pt x="80" y="43"/>
                    </a:moveTo>
                    <a:cubicBezTo>
                      <a:pt x="80" y="33"/>
                      <a:pt x="76" y="24"/>
                      <a:pt x="69" y="17"/>
                    </a:cubicBezTo>
                    <a:cubicBezTo>
                      <a:pt x="62" y="9"/>
                      <a:pt x="53" y="6"/>
                      <a:pt x="43" y="6"/>
                    </a:cubicBezTo>
                    <a:cubicBezTo>
                      <a:pt x="32" y="6"/>
                      <a:pt x="24" y="9"/>
                      <a:pt x="16" y="17"/>
                    </a:cubicBezTo>
                    <a:cubicBezTo>
                      <a:pt x="9" y="24"/>
                      <a:pt x="6" y="33"/>
                      <a:pt x="6" y="43"/>
                    </a:cubicBezTo>
                    <a:cubicBezTo>
                      <a:pt x="6" y="53"/>
                      <a:pt x="9" y="62"/>
                      <a:pt x="16" y="69"/>
                    </a:cubicBezTo>
                    <a:cubicBezTo>
                      <a:pt x="24" y="77"/>
                      <a:pt x="32" y="80"/>
                      <a:pt x="43" y="80"/>
                    </a:cubicBezTo>
                    <a:cubicBezTo>
                      <a:pt x="53" y="80"/>
                      <a:pt x="62" y="77"/>
                      <a:pt x="69" y="69"/>
                    </a:cubicBezTo>
                    <a:cubicBezTo>
                      <a:pt x="76" y="62"/>
                      <a:pt x="80" y="53"/>
                      <a:pt x="80" y="43"/>
                    </a:cubicBezTo>
                    <a:close/>
                    <a:moveTo>
                      <a:pt x="60" y="63"/>
                    </a:moveTo>
                    <a:cubicBezTo>
                      <a:pt x="57" y="64"/>
                      <a:pt x="54" y="65"/>
                      <a:pt x="52" y="66"/>
                    </a:cubicBezTo>
                    <a:cubicBezTo>
                      <a:pt x="49" y="66"/>
                      <a:pt x="47" y="66"/>
                      <a:pt x="44" y="66"/>
                    </a:cubicBezTo>
                    <a:cubicBezTo>
                      <a:pt x="37" y="66"/>
                      <a:pt x="31" y="64"/>
                      <a:pt x="26" y="60"/>
                    </a:cubicBezTo>
                    <a:cubicBezTo>
                      <a:pt x="22" y="56"/>
                      <a:pt x="20" y="50"/>
                      <a:pt x="20" y="43"/>
                    </a:cubicBezTo>
                    <a:cubicBezTo>
                      <a:pt x="20" y="35"/>
                      <a:pt x="22" y="29"/>
                      <a:pt x="26" y="25"/>
                    </a:cubicBezTo>
                    <a:cubicBezTo>
                      <a:pt x="31" y="21"/>
                      <a:pt x="37" y="19"/>
                      <a:pt x="44" y="19"/>
                    </a:cubicBezTo>
                    <a:cubicBezTo>
                      <a:pt x="47" y="19"/>
                      <a:pt x="50" y="19"/>
                      <a:pt x="53" y="20"/>
                    </a:cubicBezTo>
                    <a:cubicBezTo>
                      <a:pt x="56" y="21"/>
                      <a:pt x="58" y="22"/>
                      <a:pt x="60" y="23"/>
                    </a:cubicBezTo>
                    <a:lnTo>
                      <a:pt x="60" y="32"/>
                    </a:lnTo>
                    <a:lnTo>
                      <a:pt x="59" y="32"/>
                    </a:lnTo>
                    <a:cubicBezTo>
                      <a:pt x="57" y="30"/>
                      <a:pt x="55" y="29"/>
                      <a:pt x="52" y="28"/>
                    </a:cubicBezTo>
                    <a:cubicBezTo>
                      <a:pt x="50" y="27"/>
                      <a:pt x="47" y="26"/>
                      <a:pt x="44" y="26"/>
                    </a:cubicBezTo>
                    <a:cubicBezTo>
                      <a:pt x="39" y="26"/>
                      <a:pt x="35" y="27"/>
                      <a:pt x="33" y="30"/>
                    </a:cubicBezTo>
                    <a:cubicBezTo>
                      <a:pt x="30" y="33"/>
                      <a:pt x="29" y="37"/>
                      <a:pt x="29" y="43"/>
                    </a:cubicBezTo>
                    <a:cubicBezTo>
                      <a:pt x="29" y="48"/>
                      <a:pt x="30" y="52"/>
                      <a:pt x="33" y="55"/>
                    </a:cubicBezTo>
                    <a:cubicBezTo>
                      <a:pt x="35" y="58"/>
                      <a:pt x="39" y="59"/>
                      <a:pt x="44" y="59"/>
                    </a:cubicBezTo>
                    <a:cubicBezTo>
                      <a:pt x="47" y="59"/>
                      <a:pt x="49" y="59"/>
                      <a:pt x="52" y="58"/>
                    </a:cubicBezTo>
                    <a:cubicBezTo>
                      <a:pt x="54" y="57"/>
                      <a:pt x="57" y="55"/>
                      <a:pt x="59" y="54"/>
                    </a:cubicBezTo>
                    <a:lnTo>
                      <a:pt x="60" y="54"/>
                    </a:lnTo>
                    <a:lnTo>
                      <a:pt x="60" y="6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30"/>
              <p:cNvSpPr>
                <a:spLocks noEditPoints="1"/>
              </p:cNvSpPr>
              <p:nvPr/>
            </p:nvSpPr>
            <p:spPr bwMode="auto">
              <a:xfrm>
                <a:off x="3627" y="1766"/>
                <a:ext cx="29" cy="35"/>
              </a:xfrm>
              <a:custGeom>
                <a:avLst/>
                <a:gdLst>
                  <a:gd name="T0" fmla="*/ 61 w 61"/>
                  <a:gd name="T1" fmla="*/ 73 h 73"/>
                  <a:gd name="T2" fmla="*/ 48 w 61"/>
                  <a:gd name="T3" fmla="*/ 73 h 73"/>
                  <a:gd name="T4" fmla="*/ 24 w 61"/>
                  <a:gd name="T5" fmla="*/ 44 h 73"/>
                  <a:gd name="T6" fmla="*/ 10 w 61"/>
                  <a:gd name="T7" fmla="*/ 44 h 73"/>
                  <a:gd name="T8" fmla="*/ 10 w 61"/>
                  <a:gd name="T9" fmla="*/ 73 h 73"/>
                  <a:gd name="T10" fmla="*/ 0 w 61"/>
                  <a:gd name="T11" fmla="*/ 73 h 73"/>
                  <a:gd name="T12" fmla="*/ 0 w 61"/>
                  <a:gd name="T13" fmla="*/ 0 h 73"/>
                  <a:gd name="T14" fmla="*/ 21 w 61"/>
                  <a:gd name="T15" fmla="*/ 0 h 73"/>
                  <a:gd name="T16" fmla="*/ 32 w 61"/>
                  <a:gd name="T17" fmla="*/ 1 h 73"/>
                  <a:gd name="T18" fmla="*/ 40 w 61"/>
                  <a:gd name="T19" fmla="*/ 4 h 73"/>
                  <a:gd name="T20" fmla="*/ 46 w 61"/>
                  <a:gd name="T21" fmla="*/ 10 h 73"/>
                  <a:gd name="T22" fmla="*/ 48 w 61"/>
                  <a:gd name="T23" fmla="*/ 20 h 73"/>
                  <a:gd name="T24" fmla="*/ 44 w 61"/>
                  <a:gd name="T25" fmla="*/ 33 h 73"/>
                  <a:gd name="T26" fmla="*/ 33 w 61"/>
                  <a:gd name="T27" fmla="*/ 41 h 73"/>
                  <a:gd name="T28" fmla="*/ 61 w 61"/>
                  <a:gd name="T29" fmla="*/ 73 h 73"/>
                  <a:gd name="T30" fmla="*/ 38 w 61"/>
                  <a:gd name="T31" fmla="*/ 20 h 73"/>
                  <a:gd name="T32" fmla="*/ 37 w 61"/>
                  <a:gd name="T33" fmla="*/ 15 h 73"/>
                  <a:gd name="T34" fmla="*/ 33 w 61"/>
                  <a:gd name="T35" fmla="*/ 11 h 73"/>
                  <a:gd name="T36" fmla="*/ 28 w 61"/>
                  <a:gd name="T37" fmla="*/ 9 h 73"/>
                  <a:gd name="T38" fmla="*/ 21 w 61"/>
                  <a:gd name="T39" fmla="*/ 8 h 73"/>
                  <a:gd name="T40" fmla="*/ 10 w 61"/>
                  <a:gd name="T41" fmla="*/ 8 h 73"/>
                  <a:gd name="T42" fmla="*/ 10 w 61"/>
                  <a:gd name="T43" fmla="*/ 36 h 73"/>
                  <a:gd name="T44" fmla="*/ 20 w 61"/>
                  <a:gd name="T45" fmla="*/ 36 h 73"/>
                  <a:gd name="T46" fmla="*/ 28 w 61"/>
                  <a:gd name="T47" fmla="*/ 35 h 73"/>
                  <a:gd name="T48" fmla="*/ 34 w 61"/>
                  <a:gd name="T49" fmla="*/ 32 h 73"/>
                  <a:gd name="T50" fmla="*/ 37 w 61"/>
                  <a:gd name="T51" fmla="*/ 27 h 73"/>
                  <a:gd name="T52" fmla="*/ 38 w 61"/>
                  <a:gd name="T53" fmla="*/ 2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3">
                    <a:moveTo>
                      <a:pt x="61" y="73"/>
                    </a:moveTo>
                    <a:lnTo>
                      <a:pt x="48" y="73"/>
                    </a:lnTo>
                    <a:lnTo>
                      <a:pt x="24" y="44"/>
                    </a:lnTo>
                    <a:lnTo>
                      <a:pt x="10" y="44"/>
                    </a:lnTo>
                    <a:lnTo>
                      <a:pt x="10" y="73"/>
                    </a:lnTo>
                    <a:lnTo>
                      <a:pt x="0" y="73"/>
                    </a:lnTo>
                    <a:lnTo>
                      <a:pt x="0" y="0"/>
                    </a:lnTo>
                    <a:lnTo>
                      <a:pt x="21" y="0"/>
                    </a:lnTo>
                    <a:cubicBezTo>
                      <a:pt x="25" y="0"/>
                      <a:pt x="29" y="0"/>
                      <a:pt x="32" y="1"/>
                    </a:cubicBezTo>
                    <a:cubicBezTo>
                      <a:pt x="35" y="1"/>
                      <a:pt x="37" y="2"/>
                      <a:pt x="40" y="4"/>
                    </a:cubicBezTo>
                    <a:cubicBezTo>
                      <a:pt x="43" y="5"/>
                      <a:pt x="45" y="7"/>
                      <a:pt x="46" y="10"/>
                    </a:cubicBezTo>
                    <a:cubicBezTo>
                      <a:pt x="48" y="13"/>
                      <a:pt x="48" y="16"/>
                      <a:pt x="48" y="20"/>
                    </a:cubicBezTo>
                    <a:cubicBezTo>
                      <a:pt x="48" y="25"/>
                      <a:pt x="47" y="29"/>
                      <a:pt x="44" y="33"/>
                    </a:cubicBezTo>
                    <a:cubicBezTo>
                      <a:pt x="42" y="37"/>
                      <a:pt x="38" y="39"/>
                      <a:pt x="33" y="41"/>
                    </a:cubicBezTo>
                    <a:lnTo>
                      <a:pt x="61" y="73"/>
                    </a:lnTo>
                    <a:close/>
                    <a:moveTo>
                      <a:pt x="38" y="20"/>
                    </a:moveTo>
                    <a:cubicBezTo>
                      <a:pt x="38" y="18"/>
                      <a:pt x="38" y="16"/>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6" y="36"/>
                      <a:pt x="28" y="35"/>
                    </a:cubicBezTo>
                    <a:cubicBezTo>
                      <a:pt x="30" y="35"/>
                      <a:pt x="32" y="34"/>
                      <a:pt x="34" y="32"/>
                    </a:cubicBezTo>
                    <a:cubicBezTo>
                      <a:pt x="35" y="31"/>
                      <a:pt x="36" y="29"/>
                      <a:pt x="37" y="27"/>
                    </a:cubicBezTo>
                    <a:cubicBezTo>
                      <a:pt x="38" y="25"/>
                      <a:pt x="38" y="23"/>
                      <a:pt x="3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3658" y="1774"/>
                <a:ext cx="22" cy="28"/>
              </a:xfrm>
              <a:custGeom>
                <a:avLst/>
                <a:gdLst>
                  <a:gd name="T0" fmla="*/ 47 w 47"/>
                  <a:gd name="T1" fmla="*/ 56 h 58"/>
                  <a:gd name="T2" fmla="*/ 38 w 47"/>
                  <a:gd name="T3" fmla="*/ 56 h 58"/>
                  <a:gd name="T4" fmla="*/ 38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0 h 58"/>
                  <a:gd name="T18" fmla="*/ 2 w 47"/>
                  <a:gd name="T19" fmla="*/ 30 h 58"/>
                  <a:gd name="T20" fmla="*/ 10 w 47"/>
                  <a:gd name="T21" fmla="*/ 24 h 58"/>
                  <a:gd name="T22" fmla="*/ 22 w 47"/>
                  <a:gd name="T23" fmla="*/ 21 h 58"/>
                  <a:gd name="T24" fmla="*/ 38 w 47"/>
                  <a:gd name="T25" fmla="*/ 20 h 58"/>
                  <a:gd name="T26" fmla="*/ 38 w 47"/>
                  <a:gd name="T27" fmla="*/ 18 h 58"/>
                  <a:gd name="T28" fmla="*/ 36 w 47"/>
                  <a:gd name="T29" fmla="*/ 13 h 58"/>
                  <a:gd name="T30" fmla="*/ 33 w 47"/>
                  <a:gd name="T31" fmla="*/ 10 h 58"/>
                  <a:gd name="T32" fmla="*/ 29 w 47"/>
                  <a:gd name="T33" fmla="*/ 8 h 58"/>
                  <a:gd name="T34" fmla="*/ 23 w 47"/>
                  <a:gd name="T35" fmla="*/ 8 h 58"/>
                  <a:gd name="T36" fmla="*/ 15 w 47"/>
                  <a:gd name="T37" fmla="*/ 9 h 58"/>
                  <a:gd name="T38" fmla="*/ 5 w 47"/>
                  <a:gd name="T39" fmla="*/ 12 h 58"/>
                  <a:gd name="T40" fmla="*/ 5 w 47"/>
                  <a:gd name="T41" fmla="*/ 12 h 58"/>
                  <a:gd name="T42" fmla="*/ 5 w 47"/>
                  <a:gd name="T43" fmla="*/ 2 h 58"/>
                  <a:gd name="T44" fmla="*/ 13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6 h 58"/>
                  <a:gd name="T58" fmla="*/ 38 w 47"/>
                  <a:gd name="T59" fmla="*/ 43 h 58"/>
                  <a:gd name="T60" fmla="*/ 38 w 47"/>
                  <a:gd name="T61" fmla="*/ 27 h 58"/>
                  <a:gd name="T62" fmla="*/ 28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7 h 58"/>
                  <a:gd name="T76" fmla="*/ 38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6"/>
                    </a:moveTo>
                    <a:lnTo>
                      <a:pt x="38" y="56"/>
                    </a:lnTo>
                    <a:lnTo>
                      <a:pt x="38" y="51"/>
                    </a:lnTo>
                    <a:cubicBezTo>
                      <a:pt x="37" y="51"/>
                      <a:pt x="36" y="52"/>
                      <a:pt x="34" y="53"/>
                    </a:cubicBezTo>
                    <a:cubicBezTo>
                      <a:pt x="33" y="54"/>
                      <a:pt x="31" y="55"/>
                      <a:pt x="30" y="55"/>
                    </a:cubicBezTo>
                    <a:cubicBezTo>
                      <a:pt x="29" y="56"/>
                      <a:pt x="27" y="57"/>
                      <a:pt x="25" y="57"/>
                    </a:cubicBezTo>
                    <a:cubicBezTo>
                      <a:pt x="23" y="58"/>
                      <a:pt x="20" y="58"/>
                      <a:pt x="18" y="58"/>
                    </a:cubicBezTo>
                    <a:cubicBezTo>
                      <a:pt x="13" y="58"/>
                      <a:pt x="8" y="56"/>
                      <a:pt x="5" y="53"/>
                    </a:cubicBezTo>
                    <a:cubicBezTo>
                      <a:pt x="2" y="50"/>
                      <a:pt x="0" y="45"/>
                      <a:pt x="0" y="40"/>
                    </a:cubicBezTo>
                    <a:cubicBezTo>
                      <a:pt x="0" y="36"/>
                      <a:pt x="1" y="33"/>
                      <a:pt x="2" y="30"/>
                    </a:cubicBezTo>
                    <a:cubicBezTo>
                      <a:pt x="4" y="28"/>
                      <a:pt x="7" y="26"/>
                      <a:pt x="10" y="24"/>
                    </a:cubicBezTo>
                    <a:cubicBezTo>
                      <a:pt x="14" y="23"/>
                      <a:pt x="18" y="22"/>
                      <a:pt x="22" y="21"/>
                    </a:cubicBezTo>
                    <a:cubicBezTo>
                      <a:pt x="27" y="21"/>
                      <a:pt x="32" y="20"/>
                      <a:pt x="38" y="20"/>
                    </a:cubicBezTo>
                    <a:lnTo>
                      <a:pt x="38" y="18"/>
                    </a:lnTo>
                    <a:cubicBezTo>
                      <a:pt x="38" y="16"/>
                      <a:pt x="37" y="15"/>
                      <a:pt x="36" y="13"/>
                    </a:cubicBezTo>
                    <a:cubicBezTo>
                      <a:pt x="36" y="12"/>
                      <a:pt x="35" y="11"/>
                      <a:pt x="33" y="10"/>
                    </a:cubicBezTo>
                    <a:cubicBezTo>
                      <a:pt x="32" y="9"/>
                      <a:pt x="30" y="9"/>
                      <a:pt x="29" y="8"/>
                    </a:cubicBezTo>
                    <a:cubicBezTo>
                      <a:pt x="27" y="8"/>
                      <a:pt x="25" y="8"/>
                      <a:pt x="23" y="8"/>
                    </a:cubicBezTo>
                    <a:cubicBezTo>
                      <a:pt x="20" y="8"/>
                      <a:pt x="18" y="8"/>
                      <a:pt x="15" y="9"/>
                    </a:cubicBezTo>
                    <a:cubicBezTo>
                      <a:pt x="12" y="10"/>
                      <a:pt x="8" y="10"/>
                      <a:pt x="5" y="12"/>
                    </a:cubicBezTo>
                    <a:lnTo>
                      <a:pt x="5" y="12"/>
                    </a:lnTo>
                    <a:lnTo>
                      <a:pt x="5" y="2"/>
                    </a:lnTo>
                    <a:cubicBezTo>
                      <a:pt x="7" y="2"/>
                      <a:pt x="9" y="1"/>
                      <a:pt x="13" y="1"/>
                    </a:cubicBezTo>
                    <a:cubicBezTo>
                      <a:pt x="16" y="0"/>
                      <a:pt x="19" y="0"/>
                      <a:pt x="23" y="0"/>
                    </a:cubicBezTo>
                    <a:cubicBezTo>
                      <a:pt x="27" y="0"/>
                      <a:pt x="30" y="0"/>
                      <a:pt x="33" y="1"/>
                    </a:cubicBezTo>
                    <a:cubicBezTo>
                      <a:pt x="36" y="1"/>
                      <a:pt x="38" y="2"/>
                      <a:pt x="40" y="4"/>
                    </a:cubicBezTo>
                    <a:cubicBezTo>
                      <a:pt x="43" y="6"/>
                      <a:pt x="44" y="7"/>
                      <a:pt x="45" y="10"/>
                    </a:cubicBezTo>
                    <a:cubicBezTo>
                      <a:pt x="46" y="12"/>
                      <a:pt x="47" y="15"/>
                      <a:pt x="47" y="19"/>
                    </a:cubicBezTo>
                    <a:lnTo>
                      <a:pt x="47" y="56"/>
                    </a:lnTo>
                    <a:close/>
                    <a:moveTo>
                      <a:pt x="38" y="43"/>
                    </a:moveTo>
                    <a:lnTo>
                      <a:pt x="38" y="27"/>
                    </a:lnTo>
                    <a:cubicBezTo>
                      <a:pt x="35" y="28"/>
                      <a:pt x="31" y="28"/>
                      <a:pt x="28" y="28"/>
                    </a:cubicBezTo>
                    <a:cubicBezTo>
                      <a:pt x="24" y="28"/>
                      <a:pt x="21" y="29"/>
                      <a:pt x="18" y="30"/>
                    </a:cubicBezTo>
                    <a:cubicBezTo>
                      <a:pt x="16" y="30"/>
                      <a:pt x="14" y="32"/>
                      <a:pt x="12" y="33"/>
                    </a:cubicBezTo>
                    <a:cubicBezTo>
                      <a:pt x="10" y="35"/>
                      <a:pt x="9" y="37"/>
                      <a:pt x="9" y="40"/>
                    </a:cubicBezTo>
                    <a:cubicBezTo>
                      <a:pt x="9" y="43"/>
                      <a:pt x="10" y="45"/>
                      <a:pt x="12" y="47"/>
                    </a:cubicBezTo>
                    <a:cubicBezTo>
                      <a:pt x="14" y="48"/>
                      <a:pt x="17" y="49"/>
                      <a:pt x="21" y="49"/>
                    </a:cubicBezTo>
                    <a:cubicBezTo>
                      <a:pt x="24" y="49"/>
                      <a:pt x="27" y="49"/>
                      <a:pt x="30" y="47"/>
                    </a:cubicBezTo>
                    <a:cubicBezTo>
                      <a:pt x="33" y="46"/>
                      <a:pt x="35" y="45"/>
                      <a:pt x="38"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32"/>
              <p:cNvSpPr>
                <a:spLocks/>
              </p:cNvSpPr>
              <p:nvPr/>
            </p:nvSpPr>
            <p:spPr bwMode="auto">
              <a:xfrm>
                <a:off x="3687" y="1774"/>
                <a:ext cx="20" cy="28"/>
              </a:xfrm>
              <a:custGeom>
                <a:avLst/>
                <a:gdLst>
                  <a:gd name="T0" fmla="*/ 43 w 43"/>
                  <a:gd name="T1" fmla="*/ 40 h 58"/>
                  <a:gd name="T2" fmla="*/ 37 w 43"/>
                  <a:gd name="T3" fmla="*/ 53 h 58"/>
                  <a:gd name="T4" fmla="*/ 20 w 43"/>
                  <a:gd name="T5" fmla="*/ 58 h 58"/>
                  <a:gd name="T6" fmla="*/ 9 w 43"/>
                  <a:gd name="T7" fmla="*/ 56 h 58"/>
                  <a:gd name="T8" fmla="*/ 0 w 43"/>
                  <a:gd name="T9" fmla="*/ 53 h 58"/>
                  <a:gd name="T10" fmla="*/ 0 w 43"/>
                  <a:gd name="T11" fmla="*/ 43 h 58"/>
                  <a:gd name="T12" fmla="*/ 1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20 w 43"/>
                  <a:gd name="T27" fmla="*/ 33 h 58"/>
                  <a:gd name="T28" fmla="*/ 14 w 43"/>
                  <a:gd name="T29" fmla="*/ 31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9 h 58"/>
                  <a:gd name="T52" fmla="*/ 22 w 43"/>
                  <a:gd name="T53" fmla="*/ 8 h 58"/>
                  <a:gd name="T54" fmla="*/ 13 w 43"/>
                  <a:gd name="T55" fmla="*/ 10 h 58"/>
                  <a:gd name="T56" fmla="*/ 10 w 43"/>
                  <a:gd name="T57" fmla="*/ 15 h 58"/>
                  <a:gd name="T58" fmla="*/ 12 w 43"/>
                  <a:gd name="T59" fmla="*/ 21 h 58"/>
                  <a:gd name="T60" fmla="*/ 19 w 43"/>
                  <a:gd name="T61" fmla="*/ 23 h 58"/>
                  <a:gd name="T62" fmla="*/ 25 w 43"/>
                  <a:gd name="T63" fmla="*/ 25 h 58"/>
                  <a:gd name="T64" fmla="*/ 30 w 43"/>
                  <a:gd name="T65" fmla="*/ 26 h 58"/>
                  <a:gd name="T66" fmla="*/ 40 w 43"/>
                  <a:gd name="T67" fmla="*/ 31 h 58"/>
                  <a:gd name="T68" fmla="*/ 43 w 43"/>
                  <a:gd name="T6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0"/>
                    </a:moveTo>
                    <a:cubicBezTo>
                      <a:pt x="43" y="46"/>
                      <a:pt x="41" y="50"/>
                      <a:pt x="37" y="53"/>
                    </a:cubicBezTo>
                    <a:cubicBezTo>
                      <a:pt x="33" y="56"/>
                      <a:pt x="27" y="58"/>
                      <a:pt x="20" y="58"/>
                    </a:cubicBezTo>
                    <a:cubicBezTo>
                      <a:pt x="16" y="58"/>
                      <a:pt x="12" y="57"/>
                      <a:pt x="9" y="56"/>
                    </a:cubicBezTo>
                    <a:cubicBezTo>
                      <a:pt x="5" y="55"/>
                      <a:pt x="2" y="54"/>
                      <a:pt x="0" y="53"/>
                    </a:cubicBezTo>
                    <a:lnTo>
                      <a:pt x="0" y="43"/>
                    </a:lnTo>
                    <a:lnTo>
                      <a:pt x="1" y="43"/>
                    </a:lnTo>
                    <a:cubicBezTo>
                      <a:pt x="4" y="45"/>
                      <a:pt x="7" y="47"/>
                      <a:pt x="10" y="48"/>
                    </a:cubicBezTo>
                    <a:cubicBezTo>
                      <a:pt x="14" y="49"/>
                      <a:pt x="18" y="50"/>
                      <a:pt x="21" y="50"/>
                    </a:cubicBezTo>
                    <a:cubicBezTo>
                      <a:pt x="25" y="50"/>
                      <a:pt x="28" y="49"/>
                      <a:pt x="30" y="48"/>
                    </a:cubicBezTo>
                    <a:cubicBezTo>
                      <a:pt x="33" y="47"/>
                      <a:pt x="34" y="44"/>
                      <a:pt x="34" y="42"/>
                    </a:cubicBezTo>
                    <a:cubicBezTo>
                      <a:pt x="34" y="39"/>
                      <a:pt x="33" y="38"/>
                      <a:pt x="32" y="37"/>
                    </a:cubicBezTo>
                    <a:cubicBezTo>
                      <a:pt x="31" y="36"/>
                      <a:pt x="28" y="35"/>
                      <a:pt x="25" y="34"/>
                    </a:cubicBezTo>
                    <a:cubicBezTo>
                      <a:pt x="23" y="34"/>
                      <a:pt x="22" y="33"/>
                      <a:pt x="20" y="33"/>
                    </a:cubicBezTo>
                    <a:cubicBezTo>
                      <a:pt x="17" y="32"/>
                      <a:pt x="16" y="32"/>
                      <a:pt x="14" y="31"/>
                    </a:cubicBezTo>
                    <a:cubicBezTo>
                      <a:pt x="9" y="30"/>
                      <a:pt x="5" y="28"/>
                      <a:pt x="3" y="26"/>
                    </a:cubicBezTo>
                    <a:cubicBezTo>
                      <a:pt x="1" y="23"/>
                      <a:pt x="0" y="20"/>
                      <a:pt x="0" y="17"/>
                    </a:cubicBezTo>
                    <a:cubicBezTo>
                      <a:pt x="0" y="14"/>
                      <a:pt x="1" y="12"/>
                      <a:pt x="2" y="10"/>
                    </a:cubicBezTo>
                    <a:cubicBezTo>
                      <a:pt x="3" y="8"/>
                      <a:pt x="4" y="6"/>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9"/>
                    </a:cubicBezTo>
                    <a:cubicBezTo>
                      <a:pt x="29" y="8"/>
                      <a:pt x="25" y="8"/>
                      <a:pt x="22" y="8"/>
                    </a:cubicBezTo>
                    <a:cubicBezTo>
                      <a:pt x="19" y="8"/>
                      <a:pt x="16" y="8"/>
                      <a:pt x="13" y="10"/>
                    </a:cubicBezTo>
                    <a:cubicBezTo>
                      <a:pt x="11" y="11"/>
                      <a:pt x="10" y="13"/>
                      <a:pt x="10" y="15"/>
                    </a:cubicBezTo>
                    <a:cubicBezTo>
                      <a:pt x="10" y="18"/>
                      <a:pt x="11" y="19"/>
                      <a:pt x="12" y="21"/>
                    </a:cubicBezTo>
                    <a:cubicBezTo>
                      <a:pt x="13" y="22"/>
                      <a:pt x="16" y="23"/>
                      <a:pt x="19" y="23"/>
                    </a:cubicBezTo>
                    <a:cubicBezTo>
                      <a:pt x="21" y="24"/>
                      <a:pt x="22" y="24"/>
                      <a:pt x="25" y="25"/>
                    </a:cubicBezTo>
                    <a:cubicBezTo>
                      <a:pt x="27" y="25"/>
                      <a:pt x="28" y="25"/>
                      <a:pt x="30" y="26"/>
                    </a:cubicBezTo>
                    <a:cubicBezTo>
                      <a:pt x="34" y="27"/>
                      <a:pt x="38" y="28"/>
                      <a:pt x="40" y="31"/>
                    </a:cubicBezTo>
                    <a:cubicBezTo>
                      <a:pt x="42" y="33"/>
                      <a:pt x="43" y="36"/>
                      <a:pt x="43"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33"/>
              <p:cNvSpPr>
                <a:spLocks noEditPoints="1"/>
              </p:cNvSpPr>
              <p:nvPr/>
            </p:nvSpPr>
            <p:spPr bwMode="auto">
              <a:xfrm>
                <a:off x="3714" y="1774"/>
                <a:ext cx="24" cy="37"/>
              </a:xfrm>
              <a:custGeom>
                <a:avLst/>
                <a:gdLst>
                  <a:gd name="T0" fmla="*/ 49 w 49"/>
                  <a:gd name="T1" fmla="*/ 28 h 77"/>
                  <a:gd name="T2" fmla="*/ 47 w 49"/>
                  <a:gd name="T3" fmla="*/ 40 h 77"/>
                  <a:gd name="T4" fmla="*/ 41 w 49"/>
                  <a:gd name="T5" fmla="*/ 50 h 77"/>
                  <a:gd name="T6" fmla="*/ 33 w 49"/>
                  <a:gd name="T7" fmla="*/ 56 h 77"/>
                  <a:gd name="T8" fmla="*/ 24 w 49"/>
                  <a:gd name="T9" fmla="*/ 58 h 77"/>
                  <a:gd name="T10" fmla="*/ 16 w 49"/>
                  <a:gd name="T11" fmla="*/ 57 h 77"/>
                  <a:gd name="T12" fmla="*/ 9 w 49"/>
                  <a:gd name="T13" fmla="*/ 54 h 77"/>
                  <a:gd name="T14" fmla="*/ 9 w 49"/>
                  <a:gd name="T15" fmla="*/ 77 h 77"/>
                  <a:gd name="T16" fmla="*/ 0 w 49"/>
                  <a:gd name="T17" fmla="*/ 77 h 77"/>
                  <a:gd name="T18" fmla="*/ 0 w 49"/>
                  <a:gd name="T19" fmla="*/ 1 h 77"/>
                  <a:gd name="T20" fmla="*/ 9 w 49"/>
                  <a:gd name="T21" fmla="*/ 1 h 77"/>
                  <a:gd name="T22" fmla="*/ 9 w 49"/>
                  <a:gd name="T23" fmla="*/ 7 h 77"/>
                  <a:gd name="T24" fmla="*/ 17 w 49"/>
                  <a:gd name="T25" fmla="*/ 2 h 77"/>
                  <a:gd name="T26" fmla="*/ 27 w 49"/>
                  <a:gd name="T27" fmla="*/ 0 h 77"/>
                  <a:gd name="T28" fmla="*/ 43 w 49"/>
                  <a:gd name="T29" fmla="*/ 7 h 77"/>
                  <a:gd name="T30" fmla="*/ 49 w 49"/>
                  <a:gd name="T31" fmla="*/ 28 h 77"/>
                  <a:gd name="T32" fmla="*/ 39 w 49"/>
                  <a:gd name="T33" fmla="*/ 28 h 77"/>
                  <a:gd name="T34" fmla="*/ 36 w 49"/>
                  <a:gd name="T35" fmla="*/ 13 h 77"/>
                  <a:gd name="T36" fmla="*/ 25 w 49"/>
                  <a:gd name="T37" fmla="*/ 8 h 77"/>
                  <a:gd name="T38" fmla="*/ 17 w 49"/>
                  <a:gd name="T39" fmla="*/ 10 h 77"/>
                  <a:gd name="T40" fmla="*/ 9 w 49"/>
                  <a:gd name="T41" fmla="*/ 15 h 77"/>
                  <a:gd name="T42" fmla="*/ 9 w 49"/>
                  <a:gd name="T43" fmla="*/ 46 h 77"/>
                  <a:gd name="T44" fmla="*/ 16 w 49"/>
                  <a:gd name="T45" fmla="*/ 48 h 77"/>
                  <a:gd name="T46" fmla="*/ 22 w 49"/>
                  <a:gd name="T47" fmla="*/ 49 h 77"/>
                  <a:gd name="T48" fmla="*/ 35 w 49"/>
                  <a:gd name="T49" fmla="*/ 44 h 77"/>
                  <a:gd name="T50" fmla="*/ 39 w 49"/>
                  <a:gd name="T5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7">
                    <a:moveTo>
                      <a:pt x="49" y="28"/>
                    </a:moveTo>
                    <a:cubicBezTo>
                      <a:pt x="49" y="33"/>
                      <a:pt x="48" y="37"/>
                      <a:pt x="47" y="40"/>
                    </a:cubicBezTo>
                    <a:cubicBezTo>
                      <a:pt x="45" y="44"/>
                      <a:pt x="43" y="47"/>
                      <a:pt x="41" y="50"/>
                    </a:cubicBezTo>
                    <a:cubicBezTo>
                      <a:pt x="39" y="52"/>
                      <a:pt x="36" y="54"/>
                      <a:pt x="33" y="56"/>
                    </a:cubicBezTo>
                    <a:cubicBezTo>
                      <a:pt x="30" y="57"/>
                      <a:pt x="27" y="58"/>
                      <a:pt x="24" y="58"/>
                    </a:cubicBezTo>
                    <a:cubicBezTo>
                      <a:pt x="21" y="58"/>
                      <a:pt x="19" y="57"/>
                      <a:pt x="16" y="57"/>
                    </a:cubicBezTo>
                    <a:cubicBezTo>
                      <a:pt x="14" y="56"/>
                      <a:pt x="12" y="55"/>
                      <a:pt x="9" y="54"/>
                    </a:cubicBezTo>
                    <a:lnTo>
                      <a:pt x="9" y="77"/>
                    </a:lnTo>
                    <a:lnTo>
                      <a:pt x="0" y="77"/>
                    </a:lnTo>
                    <a:lnTo>
                      <a:pt x="0" y="1"/>
                    </a:lnTo>
                    <a:lnTo>
                      <a:pt x="9" y="1"/>
                    </a:lnTo>
                    <a:lnTo>
                      <a:pt x="9" y="7"/>
                    </a:lnTo>
                    <a:cubicBezTo>
                      <a:pt x="12" y="5"/>
                      <a:pt x="14" y="3"/>
                      <a:pt x="17" y="2"/>
                    </a:cubicBezTo>
                    <a:cubicBezTo>
                      <a:pt x="21" y="0"/>
                      <a:pt x="24" y="0"/>
                      <a:pt x="27" y="0"/>
                    </a:cubicBezTo>
                    <a:cubicBezTo>
                      <a:pt x="34" y="0"/>
                      <a:pt x="39" y="2"/>
                      <a:pt x="43" y="7"/>
                    </a:cubicBezTo>
                    <a:cubicBezTo>
                      <a:pt x="47" y="12"/>
                      <a:pt x="49" y="19"/>
                      <a:pt x="49" y="28"/>
                    </a:cubicBezTo>
                    <a:close/>
                    <a:moveTo>
                      <a:pt x="39" y="28"/>
                    </a:moveTo>
                    <a:cubicBezTo>
                      <a:pt x="39" y="22"/>
                      <a:pt x="38" y="17"/>
                      <a:pt x="36" y="13"/>
                    </a:cubicBezTo>
                    <a:cubicBezTo>
                      <a:pt x="33" y="10"/>
                      <a:pt x="30" y="8"/>
                      <a:pt x="25" y="8"/>
                    </a:cubicBezTo>
                    <a:cubicBezTo>
                      <a:pt x="22" y="8"/>
                      <a:pt x="20" y="9"/>
                      <a:pt x="17" y="10"/>
                    </a:cubicBezTo>
                    <a:cubicBezTo>
                      <a:pt x="14" y="11"/>
                      <a:pt x="12" y="13"/>
                      <a:pt x="9" y="15"/>
                    </a:cubicBezTo>
                    <a:lnTo>
                      <a:pt x="9" y="46"/>
                    </a:lnTo>
                    <a:cubicBezTo>
                      <a:pt x="12" y="47"/>
                      <a:pt x="14" y="48"/>
                      <a:pt x="16" y="48"/>
                    </a:cubicBezTo>
                    <a:cubicBezTo>
                      <a:pt x="18" y="49"/>
                      <a:pt x="20" y="49"/>
                      <a:pt x="22" y="49"/>
                    </a:cubicBezTo>
                    <a:cubicBezTo>
                      <a:pt x="28" y="49"/>
                      <a:pt x="32" y="47"/>
                      <a:pt x="35" y="44"/>
                    </a:cubicBezTo>
                    <a:cubicBezTo>
                      <a:pt x="37" y="40"/>
                      <a:pt x="39" y="35"/>
                      <a:pt x="39" y="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34"/>
              <p:cNvSpPr>
                <a:spLocks noEditPoints="1"/>
              </p:cNvSpPr>
              <p:nvPr/>
            </p:nvSpPr>
            <p:spPr bwMode="auto">
              <a:xfrm>
                <a:off x="3744" y="1764"/>
                <a:ext cx="24" cy="38"/>
              </a:xfrm>
              <a:custGeom>
                <a:avLst/>
                <a:gdLst>
                  <a:gd name="T0" fmla="*/ 49 w 49"/>
                  <a:gd name="T1" fmla="*/ 49 h 79"/>
                  <a:gd name="T2" fmla="*/ 47 w 49"/>
                  <a:gd name="T3" fmla="*/ 62 h 79"/>
                  <a:gd name="T4" fmla="*/ 42 w 49"/>
                  <a:gd name="T5" fmla="*/ 71 h 79"/>
                  <a:gd name="T6" fmla="*/ 34 w 49"/>
                  <a:gd name="T7" fmla="*/ 77 h 79"/>
                  <a:gd name="T8" fmla="*/ 25 w 49"/>
                  <a:gd name="T9" fmla="*/ 79 h 79"/>
                  <a:gd name="T10" fmla="*/ 16 w 49"/>
                  <a:gd name="T11" fmla="*/ 78 h 79"/>
                  <a:gd name="T12" fmla="*/ 9 w 49"/>
                  <a:gd name="T13" fmla="*/ 75 h 79"/>
                  <a:gd name="T14" fmla="*/ 9 w 49"/>
                  <a:gd name="T15" fmla="*/ 77 h 79"/>
                  <a:gd name="T16" fmla="*/ 0 w 49"/>
                  <a:gd name="T17" fmla="*/ 77 h 79"/>
                  <a:gd name="T18" fmla="*/ 0 w 49"/>
                  <a:gd name="T19" fmla="*/ 0 h 79"/>
                  <a:gd name="T20" fmla="*/ 9 w 49"/>
                  <a:gd name="T21" fmla="*/ 0 h 79"/>
                  <a:gd name="T22" fmla="*/ 9 w 49"/>
                  <a:gd name="T23" fmla="*/ 28 h 79"/>
                  <a:gd name="T24" fmla="*/ 18 w 49"/>
                  <a:gd name="T25" fmla="*/ 23 h 79"/>
                  <a:gd name="T26" fmla="*/ 28 w 49"/>
                  <a:gd name="T27" fmla="*/ 21 h 79"/>
                  <a:gd name="T28" fmla="*/ 43 w 49"/>
                  <a:gd name="T29" fmla="*/ 28 h 79"/>
                  <a:gd name="T30" fmla="*/ 49 w 49"/>
                  <a:gd name="T31" fmla="*/ 49 h 79"/>
                  <a:gd name="T32" fmla="*/ 39 w 49"/>
                  <a:gd name="T33" fmla="*/ 50 h 79"/>
                  <a:gd name="T34" fmla="*/ 36 w 49"/>
                  <a:gd name="T35" fmla="*/ 35 h 79"/>
                  <a:gd name="T36" fmla="*/ 25 w 49"/>
                  <a:gd name="T37" fmla="*/ 29 h 79"/>
                  <a:gd name="T38" fmla="*/ 17 w 49"/>
                  <a:gd name="T39" fmla="*/ 31 h 79"/>
                  <a:gd name="T40" fmla="*/ 9 w 49"/>
                  <a:gd name="T41" fmla="*/ 36 h 79"/>
                  <a:gd name="T42" fmla="*/ 9 w 49"/>
                  <a:gd name="T43" fmla="*/ 67 h 79"/>
                  <a:gd name="T44" fmla="*/ 16 w 49"/>
                  <a:gd name="T45" fmla="*/ 70 h 79"/>
                  <a:gd name="T46" fmla="*/ 23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49"/>
                    </a:moveTo>
                    <a:cubicBezTo>
                      <a:pt x="49" y="54"/>
                      <a:pt x="48" y="58"/>
                      <a:pt x="47" y="62"/>
                    </a:cubicBezTo>
                    <a:cubicBezTo>
                      <a:pt x="46" y="66"/>
                      <a:pt x="44" y="69"/>
                      <a:pt x="42" y="71"/>
                    </a:cubicBezTo>
                    <a:cubicBezTo>
                      <a:pt x="39" y="74"/>
                      <a:pt x="37" y="76"/>
                      <a:pt x="34" y="77"/>
                    </a:cubicBezTo>
                    <a:cubicBezTo>
                      <a:pt x="31" y="78"/>
                      <a:pt x="28" y="79"/>
                      <a:pt x="25" y="79"/>
                    </a:cubicBezTo>
                    <a:cubicBezTo>
                      <a:pt x="21" y="79"/>
                      <a:pt x="19" y="79"/>
                      <a:pt x="16" y="78"/>
                    </a:cubicBezTo>
                    <a:cubicBezTo>
                      <a:pt x="14" y="77"/>
                      <a:pt x="12" y="76"/>
                      <a:pt x="9" y="75"/>
                    </a:cubicBezTo>
                    <a:lnTo>
                      <a:pt x="9" y="77"/>
                    </a:lnTo>
                    <a:lnTo>
                      <a:pt x="0" y="77"/>
                    </a:lnTo>
                    <a:lnTo>
                      <a:pt x="0" y="0"/>
                    </a:lnTo>
                    <a:lnTo>
                      <a:pt x="9" y="0"/>
                    </a:lnTo>
                    <a:lnTo>
                      <a:pt x="9" y="28"/>
                    </a:lnTo>
                    <a:cubicBezTo>
                      <a:pt x="12" y="26"/>
                      <a:pt x="15" y="24"/>
                      <a:pt x="18" y="23"/>
                    </a:cubicBezTo>
                    <a:cubicBezTo>
                      <a:pt x="21" y="21"/>
                      <a:pt x="24" y="21"/>
                      <a:pt x="28" y="21"/>
                    </a:cubicBezTo>
                    <a:cubicBezTo>
                      <a:pt x="34" y="21"/>
                      <a:pt x="39" y="23"/>
                      <a:pt x="43" y="28"/>
                    </a:cubicBezTo>
                    <a:cubicBezTo>
                      <a:pt x="47" y="33"/>
                      <a:pt x="49" y="40"/>
                      <a:pt x="49" y="49"/>
                    </a:cubicBezTo>
                    <a:close/>
                    <a:moveTo>
                      <a:pt x="39" y="50"/>
                    </a:moveTo>
                    <a:cubicBezTo>
                      <a:pt x="39" y="43"/>
                      <a:pt x="38" y="38"/>
                      <a:pt x="36" y="35"/>
                    </a:cubicBezTo>
                    <a:cubicBezTo>
                      <a:pt x="34" y="31"/>
                      <a:pt x="30" y="29"/>
                      <a:pt x="25" y="29"/>
                    </a:cubicBezTo>
                    <a:cubicBezTo>
                      <a:pt x="23" y="29"/>
                      <a:pt x="20" y="30"/>
                      <a:pt x="17" y="31"/>
                    </a:cubicBezTo>
                    <a:cubicBezTo>
                      <a:pt x="14" y="32"/>
                      <a:pt x="12" y="34"/>
                      <a:pt x="9" y="36"/>
                    </a:cubicBezTo>
                    <a:lnTo>
                      <a:pt x="9" y="67"/>
                    </a:lnTo>
                    <a:cubicBezTo>
                      <a:pt x="12" y="69"/>
                      <a:pt x="14" y="69"/>
                      <a:pt x="16" y="70"/>
                    </a:cubicBezTo>
                    <a:cubicBezTo>
                      <a:pt x="18" y="70"/>
                      <a:pt x="20" y="71"/>
                      <a:pt x="23" y="71"/>
                    </a:cubicBezTo>
                    <a:cubicBezTo>
                      <a:pt x="28" y="71"/>
                      <a:pt x="32" y="69"/>
                      <a:pt x="35" y="66"/>
                    </a:cubicBezTo>
                    <a:cubicBezTo>
                      <a:pt x="38" y="62"/>
                      <a:pt x="39" y="57"/>
                      <a:pt x="39" y="5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35"/>
              <p:cNvSpPr>
                <a:spLocks noEditPoints="1"/>
              </p:cNvSpPr>
              <p:nvPr/>
            </p:nvSpPr>
            <p:spPr bwMode="auto">
              <a:xfrm>
                <a:off x="3773" y="1774"/>
                <a:ext cx="24" cy="28"/>
              </a:xfrm>
              <a:custGeom>
                <a:avLst/>
                <a:gdLst>
                  <a:gd name="T0" fmla="*/ 51 w 51"/>
                  <a:gd name="T1" fmla="*/ 30 h 58"/>
                  <a:gd name="T2" fmla="*/ 10 w 51"/>
                  <a:gd name="T3" fmla="*/ 30 h 58"/>
                  <a:gd name="T4" fmla="*/ 11 w 51"/>
                  <a:gd name="T5" fmla="*/ 39 h 58"/>
                  <a:gd name="T6" fmla="*/ 16 w 51"/>
                  <a:gd name="T7" fmla="*/ 45 h 58"/>
                  <a:gd name="T8" fmla="*/ 22 w 51"/>
                  <a:gd name="T9" fmla="*/ 48 h 58"/>
                  <a:gd name="T10" fmla="*/ 30 w 51"/>
                  <a:gd name="T11" fmla="*/ 50 h 58"/>
                  <a:gd name="T12" fmla="*/ 41 w 51"/>
                  <a:gd name="T13" fmla="*/ 47 h 58"/>
                  <a:gd name="T14" fmla="*/ 49 w 51"/>
                  <a:gd name="T15" fmla="*/ 43 h 58"/>
                  <a:gd name="T16" fmla="*/ 50 w 51"/>
                  <a:gd name="T17" fmla="*/ 43 h 58"/>
                  <a:gd name="T18" fmla="*/ 50 w 51"/>
                  <a:gd name="T19" fmla="*/ 53 h 58"/>
                  <a:gd name="T20" fmla="*/ 40 w 51"/>
                  <a:gd name="T21" fmla="*/ 56 h 58"/>
                  <a:gd name="T22" fmla="*/ 30 w 51"/>
                  <a:gd name="T23" fmla="*/ 58 h 58"/>
                  <a:gd name="T24" fmla="*/ 8 w 51"/>
                  <a:gd name="T25" fmla="*/ 50 h 58"/>
                  <a:gd name="T26" fmla="*/ 0 w 51"/>
                  <a:gd name="T27" fmla="*/ 29 h 58"/>
                  <a:gd name="T28" fmla="*/ 8 w 51"/>
                  <a:gd name="T29" fmla="*/ 8 h 58"/>
                  <a:gd name="T30" fmla="*/ 27 w 51"/>
                  <a:gd name="T31" fmla="*/ 0 h 58"/>
                  <a:gd name="T32" fmla="*/ 45 w 51"/>
                  <a:gd name="T33" fmla="*/ 6 h 58"/>
                  <a:gd name="T34" fmla="*/ 51 w 51"/>
                  <a:gd name="T35" fmla="*/ 25 h 58"/>
                  <a:gd name="T36" fmla="*/ 51 w 51"/>
                  <a:gd name="T37" fmla="*/ 30 h 58"/>
                  <a:gd name="T38" fmla="*/ 42 w 51"/>
                  <a:gd name="T39" fmla="*/ 23 h 58"/>
                  <a:gd name="T40" fmla="*/ 38 w 51"/>
                  <a:gd name="T41" fmla="*/ 11 h 58"/>
                  <a:gd name="T42" fmla="*/ 27 w 51"/>
                  <a:gd name="T43" fmla="*/ 7 h 58"/>
                  <a:gd name="T44" fmla="*/ 15 w 51"/>
                  <a:gd name="T45" fmla="*/ 12 h 58"/>
                  <a:gd name="T46" fmla="*/ 10 w 51"/>
                  <a:gd name="T47" fmla="*/ 23 h 58"/>
                  <a:gd name="T48" fmla="*/ 42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6" y="45"/>
                    </a:cubicBezTo>
                    <a:cubicBezTo>
                      <a:pt x="17" y="46"/>
                      <a:pt x="19" y="48"/>
                      <a:pt x="22" y="48"/>
                    </a:cubicBezTo>
                    <a:cubicBezTo>
                      <a:pt x="24" y="49"/>
                      <a:pt x="27" y="50"/>
                      <a:pt x="30" y="50"/>
                    </a:cubicBezTo>
                    <a:cubicBezTo>
                      <a:pt x="33" y="50"/>
                      <a:pt x="37" y="49"/>
                      <a:pt x="41" y="47"/>
                    </a:cubicBezTo>
                    <a:cubicBezTo>
                      <a:pt x="45" y="46"/>
                      <a:pt x="47" y="44"/>
                      <a:pt x="49" y="43"/>
                    </a:cubicBezTo>
                    <a:lnTo>
                      <a:pt x="50" y="43"/>
                    </a:lnTo>
                    <a:lnTo>
                      <a:pt x="50" y="53"/>
                    </a:lnTo>
                    <a:cubicBezTo>
                      <a:pt x="46" y="54"/>
                      <a:pt x="43" y="55"/>
                      <a:pt x="40" y="56"/>
                    </a:cubicBezTo>
                    <a:cubicBezTo>
                      <a:pt x="37" y="57"/>
                      <a:pt x="33" y="58"/>
                      <a:pt x="30" y="58"/>
                    </a:cubicBezTo>
                    <a:cubicBezTo>
                      <a:pt x="20" y="58"/>
                      <a:pt x="13" y="55"/>
                      <a:pt x="8" y="50"/>
                    </a:cubicBezTo>
                    <a:cubicBezTo>
                      <a:pt x="3" y="45"/>
                      <a:pt x="0" y="38"/>
                      <a:pt x="0" y="29"/>
                    </a:cubicBezTo>
                    <a:cubicBezTo>
                      <a:pt x="0" y="20"/>
                      <a:pt x="3" y="13"/>
                      <a:pt x="8" y="8"/>
                    </a:cubicBezTo>
                    <a:cubicBezTo>
                      <a:pt x="13" y="2"/>
                      <a:pt x="19" y="0"/>
                      <a:pt x="27" y="0"/>
                    </a:cubicBezTo>
                    <a:cubicBezTo>
                      <a:pt x="35" y="0"/>
                      <a:pt x="41" y="2"/>
                      <a:pt x="45" y="6"/>
                    </a:cubicBezTo>
                    <a:cubicBezTo>
                      <a:pt x="49" y="10"/>
                      <a:pt x="51" y="17"/>
                      <a:pt x="51" y="25"/>
                    </a:cubicBezTo>
                    <a:lnTo>
                      <a:pt x="51" y="30"/>
                    </a:lnTo>
                    <a:close/>
                    <a:moveTo>
                      <a:pt x="42" y="23"/>
                    </a:moveTo>
                    <a:cubicBezTo>
                      <a:pt x="42" y="18"/>
                      <a:pt x="40" y="14"/>
                      <a:pt x="38" y="11"/>
                    </a:cubicBezTo>
                    <a:cubicBezTo>
                      <a:pt x="35" y="9"/>
                      <a:pt x="32" y="7"/>
                      <a:pt x="27" y="7"/>
                    </a:cubicBezTo>
                    <a:cubicBezTo>
                      <a:pt x="22" y="7"/>
                      <a:pt x="18" y="9"/>
                      <a:pt x="15" y="12"/>
                    </a:cubicBezTo>
                    <a:cubicBezTo>
                      <a:pt x="12" y="15"/>
                      <a:pt x="10" y="18"/>
                      <a:pt x="10" y="23"/>
                    </a:cubicBezTo>
                    <a:lnTo>
                      <a:pt x="42"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36"/>
              <p:cNvSpPr>
                <a:spLocks/>
              </p:cNvSpPr>
              <p:nvPr/>
            </p:nvSpPr>
            <p:spPr bwMode="auto">
              <a:xfrm>
                <a:off x="3804" y="1774"/>
                <a:ext cx="16" cy="27"/>
              </a:xfrm>
              <a:custGeom>
                <a:avLst/>
                <a:gdLst>
                  <a:gd name="T0" fmla="*/ 34 w 34"/>
                  <a:gd name="T1" fmla="*/ 10 h 55"/>
                  <a:gd name="T2" fmla="*/ 34 w 34"/>
                  <a:gd name="T3" fmla="*/ 10 h 55"/>
                  <a:gd name="T4" fmla="*/ 30 w 34"/>
                  <a:gd name="T5" fmla="*/ 10 h 55"/>
                  <a:gd name="T6" fmla="*/ 25 w 34"/>
                  <a:gd name="T7" fmla="*/ 9 h 55"/>
                  <a:gd name="T8" fmla="*/ 17 w 34"/>
                  <a:gd name="T9" fmla="*/ 11 h 55"/>
                  <a:gd name="T10" fmla="*/ 9 w 34"/>
                  <a:gd name="T11" fmla="*/ 16 h 55"/>
                  <a:gd name="T12" fmla="*/ 9 w 34"/>
                  <a:gd name="T13" fmla="*/ 55 h 55"/>
                  <a:gd name="T14" fmla="*/ 0 w 34"/>
                  <a:gd name="T15" fmla="*/ 55 h 55"/>
                  <a:gd name="T16" fmla="*/ 0 w 34"/>
                  <a:gd name="T17" fmla="*/ 0 h 55"/>
                  <a:gd name="T18" fmla="*/ 9 w 34"/>
                  <a:gd name="T19" fmla="*/ 0 h 55"/>
                  <a:gd name="T20" fmla="*/ 9 w 34"/>
                  <a:gd name="T21" fmla="*/ 8 h 55"/>
                  <a:gd name="T22" fmla="*/ 19 w 34"/>
                  <a:gd name="T23" fmla="*/ 2 h 55"/>
                  <a:gd name="T24" fmla="*/ 28 w 34"/>
                  <a:gd name="T25" fmla="*/ 0 h 55"/>
                  <a:gd name="T26" fmla="*/ 31 w 34"/>
                  <a:gd name="T27" fmla="*/ 0 h 55"/>
                  <a:gd name="T28" fmla="*/ 34 w 34"/>
                  <a:gd name="T29" fmla="*/ 1 h 55"/>
                  <a:gd name="T30" fmla="*/ 34 w 34"/>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5">
                    <a:moveTo>
                      <a:pt x="34" y="10"/>
                    </a:moveTo>
                    <a:lnTo>
                      <a:pt x="34" y="10"/>
                    </a:lnTo>
                    <a:cubicBezTo>
                      <a:pt x="32" y="10"/>
                      <a:pt x="31" y="10"/>
                      <a:pt x="30" y="10"/>
                    </a:cubicBezTo>
                    <a:cubicBezTo>
                      <a:pt x="28" y="9"/>
                      <a:pt x="27" y="9"/>
                      <a:pt x="25" y="9"/>
                    </a:cubicBezTo>
                    <a:cubicBezTo>
                      <a:pt x="22" y="9"/>
                      <a:pt x="19" y="10"/>
                      <a:pt x="17" y="11"/>
                    </a:cubicBezTo>
                    <a:cubicBezTo>
                      <a:pt x="14"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29" y="0"/>
                      <a:pt x="30" y="0"/>
                      <a:pt x="31" y="0"/>
                    </a:cubicBezTo>
                    <a:cubicBezTo>
                      <a:pt x="32" y="0"/>
                      <a:pt x="33" y="0"/>
                      <a:pt x="34" y="1"/>
                    </a:cubicBezTo>
                    <a:lnTo>
                      <a:pt x="34"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37"/>
              <p:cNvSpPr>
                <a:spLocks/>
              </p:cNvSpPr>
              <p:nvPr/>
            </p:nvSpPr>
            <p:spPr bwMode="auto">
              <a:xfrm>
                <a:off x="3825" y="1774"/>
                <a:ext cx="17" cy="27"/>
              </a:xfrm>
              <a:custGeom>
                <a:avLst/>
                <a:gdLst>
                  <a:gd name="T0" fmla="*/ 35 w 35"/>
                  <a:gd name="T1" fmla="*/ 10 h 55"/>
                  <a:gd name="T2" fmla="*/ 34 w 35"/>
                  <a:gd name="T3" fmla="*/ 10 h 55"/>
                  <a:gd name="T4" fmla="*/ 30 w 35"/>
                  <a:gd name="T5" fmla="*/ 10 h 55"/>
                  <a:gd name="T6" fmla="*/ 26 w 35"/>
                  <a:gd name="T7" fmla="*/ 9 h 55"/>
                  <a:gd name="T8" fmla="*/ 17 w 35"/>
                  <a:gd name="T9" fmla="*/ 11 h 55"/>
                  <a:gd name="T10" fmla="*/ 9 w 35"/>
                  <a:gd name="T11" fmla="*/ 16 h 55"/>
                  <a:gd name="T12" fmla="*/ 9 w 35"/>
                  <a:gd name="T13" fmla="*/ 55 h 55"/>
                  <a:gd name="T14" fmla="*/ 0 w 35"/>
                  <a:gd name="T15" fmla="*/ 55 h 55"/>
                  <a:gd name="T16" fmla="*/ 0 w 35"/>
                  <a:gd name="T17" fmla="*/ 0 h 55"/>
                  <a:gd name="T18" fmla="*/ 9 w 35"/>
                  <a:gd name="T19" fmla="*/ 0 h 55"/>
                  <a:gd name="T20" fmla="*/ 9 w 35"/>
                  <a:gd name="T21" fmla="*/ 8 h 55"/>
                  <a:gd name="T22" fmla="*/ 19 w 35"/>
                  <a:gd name="T23" fmla="*/ 2 h 55"/>
                  <a:gd name="T24" fmla="*/ 28 w 35"/>
                  <a:gd name="T25" fmla="*/ 0 h 55"/>
                  <a:gd name="T26" fmla="*/ 31 w 35"/>
                  <a:gd name="T27" fmla="*/ 0 h 55"/>
                  <a:gd name="T28" fmla="*/ 35 w 35"/>
                  <a:gd name="T29" fmla="*/ 1 h 55"/>
                  <a:gd name="T30" fmla="*/ 35 w 35"/>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5">
                    <a:moveTo>
                      <a:pt x="35" y="10"/>
                    </a:moveTo>
                    <a:lnTo>
                      <a:pt x="34" y="10"/>
                    </a:lnTo>
                    <a:cubicBezTo>
                      <a:pt x="33" y="10"/>
                      <a:pt x="31" y="10"/>
                      <a:pt x="30" y="10"/>
                    </a:cubicBezTo>
                    <a:cubicBezTo>
                      <a:pt x="29" y="9"/>
                      <a:pt x="27" y="9"/>
                      <a:pt x="26" y="9"/>
                    </a:cubicBezTo>
                    <a:cubicBezTo>
                      <a:pt x="23" y="9"/>
                      <a:pt x="20" y="10"/>
                      <a:pt x="17" y="11"/>
                    </a:cubicBezTo>
                    <a:cubicBezTo>
                      <a:pt x="15"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30" y="0"/>
                      <a:pt x="31" y="0"/>
                      <a:pt x="31" y="0"/>
                    </a:cubicBezTo>
                    <a:cubicBezTo>
                      <a:pt x="32" y="0"/>
                      <a:pt x="33" y="0"/>
                      <a:pt x="35" y="1"/>
                    </a:cubicBezTo>
                    <a:lnTo>
                      <a:pt x="35"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38"/>
              <p:cNvSpPr>
                <a:spLocks/>
              </p:cNvSpPr>
              <p:nvPr/>
            </p:nvSpPr>
            <p:spPr bwMode="auto">
              <a:xfrm>
                <a:off x="3842" y="1774"/>
                <a:ext cx="26" cy="37"/>
              </a:xfrm>
              <a:custGeom>
                <a:avLst/>
                <a:gdLst>
                  <a:gd name="T0" fmla="*/ 26 w 26"/>
                  <a:gd name="T1" fmla="*/ 0 h 37"/>
                  <a:gd name="T2" fmla="*/ 11 w 26"/>
                  <a:gd name="T3" fmla="*/ 37 h 37"/>
                  <a:gd name="T4" fmla="*/ 6 w 26"/>
                  <a:gd name="T5" fmla="*/ 37 h 37"/>
                  <a:gd name="T6" fmla="*/ 11 w 26"/>
                  <a:gd name="T7" fmla="*/ 26 h 37"/>
                  <a:gd name="T8" fmla="*/ 0 w 26"/>
                  <a:gd name="T9" fmla="*/ 0 h 37"/>
                  <a:gd name="T10" fmla="*/ 6 w 26"/>
                  <a:gd name="T11" fmla="*/ 0 h 37"/>
                  <a:gd name="T12" fmla="*/ 14 w 26"/>
                  <a:gd name="T13" fmla="*/ 20 h 37"/>
                  <a:gd name="T14" fmla="*/ 22 w 26"/>
                  <a:gd name="T15" fmla="*/ 0 h 37"/>
                  <a:gd name="T16" fmla="*/ 26 w 26"/>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0"/>
                    </a:moveTo>
                    <a:lnTo>
                      <a:pt x="11" y="37"/>
                    </a:lnTo>
                    <a:lnTo>
                      <a:pt x="6" y="37"/>
                    </a:lnTo>
                    <a:lnTo>
                      <a:pt x="11" y="26"/>
                    </a:lnTo>
                    <a:lnTo>
                      <a:pt x="0" y="0"/>
                    </a:lnTo>
                    <a:lnTo>
                      <a:pt x="6" y="0"/>
                    </a:lnTo>
                    <a:lnTo>
                      <a:pt x="14" y="20"/>
                    </a:lnTo>
                    <a:lnTo>
                      <a:pt x="22"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9"/>
              <p:cNvSpPr>
                <a:spLocks noEditPoints="1"/>
              </p:cNvSpPr>
              <p:nvPr/>
            </p:nvSpPr>
            <p:spPr bwMode="auto">
              <a:xfrm>
                <a:off x="3892" y="1766"/>
                <a:ext cx="23" cy="35"/>
              </a:xfrm>
              <a:custGeom>
                <a:avLst/>
                <a:gdLst>
                  <a:gd name="T0" fmla="*/ 48 w 48"/>
                  <a:gd name="T1" fmla="*/ 22 h 73"/>
                  <a:gd name="T2" fmla="*/ 47 w 48"/>
                  <a:gd name="T3" fmla="*/ 31 h 73"/>
                  <a:gd name="T4" fmla="*/ 42 w 48"/>
                  <a:gd name="T5" fmla="*/ 38 h 73"/>
                  <a:gd name="T6" fmla="*/ 33 w 48"/>
                  <a:gd name="T7" fmla="*/ 44 h 73"/>
                  <a:gd name="T8" fmla="*/ 20 w 48"/>
                  <a:gd name="T9" fmla="*/ 46 h 73"/>
                  <a:gd name="T10" fmla="*/ 10 w 48"/>
                  <a:gd name="T11" fmla="*/ 46 h 73"/>
                  <a:gd name="T12" fmla="*/ 10 w 48"/>
                  <a:gd name="T13" fmla="*/ 73 h 73"/>
                  <a:gd name="T14" fmla="*/ 0 w 48"/>
                  <a:gd name="T15" fmla="*/ 73 h 73"/>
                  <a:gd name="T16" fmla="*/ 0 w 48"/>
                  <a:gd name="T17" fmla="*/ 0 h 73"/>
                  <a:gd name="T18" fmla="*/ 20 w 48"/>
                  <a:gd name="T19" fmla="*/ 0 h 73"/>
                  <a:gd name="T20" fmla="*/ 31 w 48"/>
                  <a:gd name="T21" fmla="*/ 1 h 73"/>
                  <a:gd name="T22" fmla="*/ 40 w 48"/>
                  <a:gd name="T23" fmla="*/ 4 h 73"/>
                  <a:gd name="T24" fmla="*/ 46 w 48"/>
                  <a:gd name="T25" fmla="*/ 11 h 73"/>
                  <a:gd name="T26" fmla="*/ 48 w 48"/>
                  <a:gd name="T27" fmla="*/ 22 h 73"/>
                  <a:gd name="T28" fmla="*/ 38 w 48"/>
                  <a:gd name="T29" fmla="*/ 22 h 73"/>
                  <a:gd name="T30" fmla="*/ 37 w 48"/>
                  <a:gd name="T31" fmla="*/ 16 h 73"/>
                  <a:gd name="T32" fmla="*/ 33 w 48"/>
                  <a:gd name="T33" fmla="*/ 11 h 73"/>
                  <a:gd name="T34" fmla="*/ 27 w 48"/>
                  <a:gd name="T35" fmla="*/ 9 h 73"/>
                  <a:gd name="T36" fmla="*/ 20 w 48"/>
                  <a:gd name="T37" fmla="*/ 8 h 73"/>
                  <a:gd name="T38" fmla="*/ 10 w 48"/>
                  <a:gd name="T39" fmla="*/ 8 h 73"/>
                  <a:gd name="T40" fmla="*/ 10 w 48"/>
                  <a:gd name="T41" fmla="*/ 38 h 73"/>
                  <a:gd name="T42" fmla="*/ 18 w 48"/>
                  <a:gd name="T43" fmla="*/ 38 h 73"/>
                  <a:gd name="T44" fmla="*/ 28 w 48"/>
                  <a:gd name="T45" fmla="*/ 36 h 73"/>
                  <a:gd name="T46" fmla="*/ 34 w 48"/>
                  <a:gd name="T47" fmla="*/ 33 h 73"/>
                  <a:gd name="T48" fmla="*/ 37 w 48"/>
                  <a:gd name="T49" fmla="*/ 28 h 73"/>
                  <a:gd name="T50" fmla="*/ 38 w 48"/>
                  <a:gd name="T51"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3">
                    <a:moveTo>
                      <a:pt x="48" y="22"/>
                    </a:moveTo>
                    <a:cubicBezTo>
                      <a:pt x="48" y="25"/>
                      <a:pt x="48" y="28"/>
                      <a:pt x="47" y="31"/>
                    </a:cubicBezTo>
                    <a:cubicBezTo>
                      <a:pt x="45" y="34"/>
                      <a:pt x="44" y="36"/>
                      <a:pt x="42" y="38"/>
                    </a:cubicBezTo>
                    <a:cubicBezTo>
                      <a:pt x="39" y="41"/>
                      <a:pt x="36" y="43"/>
                      <a:pt x="33" y="44"/>
                    </a:cubicBezTo>
                    <a:cubicBezTo>
                      <a:pt x="29" y="45"/>
                      <a:pt x="25" y="46"/>
                      <a:pt x="20" y="46"/>
                    </a:cubicBezTo>
                    <a:lnTo>
                      <a:pt x="10" y="46"/>
                    </a:lnTo>
                    <a:lnTo>
                      <a:pt x="10" y="73"/>
                    </a:lnTo>
                    <a:lnTo>
                      <a:pt x="0" y="73"/>
                    </a:lnTo>
                    <a:lnTo>
                      <a:pt x="0" y="0"/>
                    </a:lnTo>
                    <a:lnTo>
                      <a:pt x="20" y="0"/>
                    </a:lnTo>
                    <a:cubicBezTo>
                      <a:pt x="25" y="0"/>
                      <a:pt x="28" y="0"/>
                      <a:pt x="31" y="1"/>
                    </a:cubicBezTo>
                    <a:cubicBezTo>
                      <a:pt x="34" y="1"/>
                      <a:pt x="37" y="3"/>
                      <a:pt x="40" y="4"/>
                    </a:cubicBezTo>
                    <a:cubicBezTo>
                      <a:pt x="42" y="6"/>
                      <a:pt x="44" y="8"/>
                      <a:pt x="46" y="11"/>
                    </a:cubicBezTo>
                    <a:cubicBezTo>
                      <a:pt x="48" y="14"/>
                      <a:pt x="48" y="18"/>
                      <a:pt x="48" y="22"/>
                    </a:cubicBezTo>
                    <a:close/>
                    <a:moveTo>
                      <a:pt x="38" y="22"/>
                    </a:moveTo>
                    <a:cubicBezTo>
                      <a:pt x="38" y="20"/>
                      <a:pt x="38" y="17"/>
                      <a:pt x="37" y="16"/>
                    </a:cubicBezTo>
                    <a:cubicBezTo>
                      <a:pt x="36" y="14"/>
                      <a:pt x="35" y="12"/>
                      <a:pt x="33" y="11"/>
                    </a:cubicBezTo>
                    <a:cubicBezTo>
                      <a:pt x="31" y="10"/>
                      <a:pt x="29" y="9"/>
                      <a:pt x="27" y="9"/>
                    </a:cubicBezTo>
                    <a:cubicBezTo>
                      <a:pt x="25" y="8"/>
                      <a:pt x="23" y="8"/>
                      <a:pt x="20" y="8"/>
                    </a:cubicBezTo>
                    <a:lnTo>
                      <a:pt x="10" y="8"/>
                    </a:lnTo>
                    <a:lnTo>
                      <a:pt x="10" y="38"/>
                    </a:lnTo>
                    <a:lnTo>
                      <a:pt x="18" y="38"/>
                    </a:lnTo>
                    <a:cubicBezTo>
                      <a:pt x="22" y="38"/>
                      <a:pt x="25" y="37"/>
                      <a:pt x="28" y="36"/>
                    </a:cubicBezTo>
                    <a:cubicBezTo>
                      <a:pt x="30" y="36"/>
                      <a:pt x="32" y="35"/>
                      <a:pt x="34" y="33"/>
                    </a:cubicBezTo>
                    <a:cubicBezTo>
                      <a:pt x="35" y="31"/>
                      <a:pt x="37" y="30"/>
                      <a:pt x="37" y="28"/>
                    </a:cubicBezTo>
                    <a:cubicBezTo>
                      <a:pt x="38" y="26"/>
                      <a:pt x="38" y="24"/>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40"/>
              <p:cNvSpPr>
                <a:spLocks noEditPoints="1"/>
              </p:cNvSpPr>
              <p:nvPr/>
            </p:nvSpPr>
            <p:spPr bwMode="auto">
              <a:xfrm>
                <a:off x="3921" y="1765"/>
                <a:ext cx="5" cy="36"/>
              </a:xfrm>
              <a:custGeom>
                <a:avLst/>
                <a:gdLst>
                  <a:gd name="T0" fmla="*/ 11 w 11"/>
                  <a:gd name="T1" fmla="*/ 10 h 74"/>
                  <a:gd name="T2" fmla="*/ 0 w 11"/>
                  <a:gd name="T3" fmla="*/ 10 h 74"/>
                  <a:gd name="T4" fmla="*/ 0 w 11"/>
                  <a:gd name="T5" fmla="*/ 0 h 74"/>
                  <a:gd name="T6" fmla="*/ 11 w 11"/>
                  <a:gd name="T7" fmla="*/ 0 h 74"/>
                  <a:gd name="T8" fmla="*/ 11 w 11"/>
                  <a:gd name="T9" fmla="*/ 10 h 74"/>
                  <a:gd name="T10" fmla="*/ 10 w 11"/>
                  <a:gd name="T11" fmla="*/ 74 h 74"/>
                  <a:gd name="T12" fmla="*/ 1 w 11"/>
                  <a:gd name="T13" fmla="*/ 74 h 74"/>
                  <a:gd name="T14" fmla="*/ 1 w 11"/>
                  <a:gd name="T15" fmla="*/ 19 h 74"/>
                  <a:gd name="T16" fmla="*/ 10 w 11"/>
                  <a:gd name="T17" fmla="*/ 19 h 74"/>
                  <a:gd name="T18" fmla="*/ 10 w 11"/>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4">
                    <a:moveTo>
                      <a:pt x="11" y="10"/>
                    </a:moveTo>
                    <a:lnTo>
                      <a:pt x="0" y="10"/>
                    </a:lnTo>
                    <a:lnTo>
                      <a:pt x="0" y="0"/>
                    </a:lnTo>
                    <a:lnTo>
                      <a:pt x="11" y="0"/>
                    </a:lnTo>
                    <a:lnTo>
                      <a:pt x="11" y="10"/>
                    </a:lnTo>
                    <a:close/>
                    <a:moveTo>
                      <a:pt x="10" y="74"/>
                    </a:moveTo>
                    <a:lnTo>
                      <a:pt x="1" y="74"/>
                    </a:lnTo>
                    <a:lnTo>
                      <a:pt x="1" y="19"/>
                    </a:lnTo>
                    <a:lnTo>
                      <a:pt x="10" y="19"/>
                    </a:lnTo>
                    <a:lnTo>
                      <a:pt x="1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41"/>
              <p:cNvSpPr>
                <a:spLocks/>
              </p:cNvSpPr>
              <p:nvPr/>
            </p:nvSpPr>
            <p:spPr bwMode="auto">
              <a:xfrm>
                <a:off x="3951" y="1765"/>
                <a:ext cx="24" cy="36"/>
              </a:xfrm>
              <a:custGeom>
                <a:avLst/>
                <a:gdLst>
                  <a:gd name="T0" fmla="*/ 50 w 50"/>
                  <a:gd name="T1" fmla="*/ 75 h 75"/>
                  <a:gd name="T2" fmla="*/ 0 w 50"/>
                  <a:gd name="T3" fmla="*/ 75 h 75"/>
                  <a:gd name="T4" fmla="*/ 0 w 50"/>
                  <a:gd name="T5" fmla="*/ 65 h 75"/>
                  <a:gd name="T6" fmla="*/ 10 w 50"/>
                  <a:gd name="T7" fmla="*/ 56 h 75"/>
                  <a:gd name="T8" fmla="*/ 20 w 50"/>
                  <a:gd name="T9" fmla="*/ 47 h 75"/>
                  <a:gd name="T10" fmla="*/ 33 w 50"/>
                  <a:gd name="T11" fmla="*/ 33 h 75"/>
                  <a:gd name="T12" fmla="*/ 36 w 50"/>
                  <a:gd name="T13" fmla="*/ 21 h 75"/>
                  <a:gd name="T14" fmla="*/ 33 w 50"/>
                  <a:gd name="T15" fmla="*/ 12 h 75"/>
                  <a:gd name="T16" fmla="*/ 22 w 50"/>
                  <a:gd name="T17" fmla="*/ 9 h 75"/>
                  <a:gd name="T18" fmla="*/ 12 w 50"/>
                  <a:gd name="T19" fmla="*/ 10 h 75"/>
                  <a:gd name="T20" fmla="*/ 2 w 50"/>
                  <a:gd name="T21" fmla="*/ 15 h 75"/>
                  <a:gd name="T22" fmla="*/ 1 w 50"/>
                  <a:gd name="T23" fmla="*/ 15 h 75"/>
                  <a:gd name="T24" fmla="*/ 1 w 50"/>
                  <a:gd name="T25" fmla="*/ 5 h 75"/>
                  <a:gd name="T26" fmla="*/ 11 w 50"/>
                  <a:gd name="T27" fmla="*/ 2 h 75"/>
                  <a:gd name="T28" fmla="*/ 22 w 50"/>
                  <a:gd name="T29" fmla="*/ 0 h 75"/>
                  <a:gd name="T30" fmla="*/ 40 w 50"/>
                  <a:gd name="T31" fmla="*/ 6 h 75"/>
                  <a:gd name="T32" fmla="*/ 46 w 50"/>
                  <a:gd name="T33" fmla="*/ 20 h 75"/>
                  <a:gd name="T34" fmla="*/ 45 w 50"/>
                  <a:gd name="T35" fmla="*/ 28 h 75"/>
                  <a:gd name="T36" fmla="*/ 42 w 50"/>
                  <a:gd name="T37" fmla="*/ 35 h 75"/>
                  <a:gd name="T38" fmla="*/ 38 w 50"/>
                  <a:gd name="T39" fmla="*/ 41 h 75"/>
                  <a:gd name="T40" fmla="*/ 31 w 50"/>
                  <a:gd name="T41" fmla="*/ 48 h 75"/>
                  <a:gd name="T42" fmla="*/ 20 w 50"/>
                  <a:gd name="T43" fmla="*/ 58 h 75"/>
                  <a:gd name="T44" fmla="*/ 10 w 50"/>
                  <a:gd name="T45" fmla="*/ 67 h 75"/>
                  <a:gd name="T46" fmla="*/ 50 w 50"/>
                  <a:gd name="T47" fmla="*/ 67 h 75"/>
                  <a:gd name="T48" fmla="*/ 50 w 50"/>
                  <a:gd name="T4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5">
                    <a:moveTo>
                      <a:pt x="50" y="75"/>
                    </a:moveTo>
                    <a:lnTo>
                      <a:pt x="0" y="75"/>
                    </a:lnTo>
                    <a:lnTo>
                      <a:pt x="0" y="65"/>
                    </a:lnTo>
                    <a:lnTo>
                      <a:pt x="10" y="56"/>
                    </a:lnTo>
                    <a:cubicBezTo>
                      <a:pt x="14" y="53"/>
                      <a:pt x="17" y="50"/>
                      <a:pt x="20" y="47"/>
                    </a:cubicBezTo>
                    <a:cubicBezTo>
                      <a:pt x="26" y="41"/>
                      <a:pt x="30"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1" y="15"/>
                    </a:lnTo>
                    <a:lnTo>
                      <a:pt x="1" y="5"/>
                    </a:lnTo>
                    <a:cubicBezTo>
                      <a:pt x="4" y="4"/>
                      <a:pt x="7" y="2"/>
                      <a:pt x="11" y="2"/>
                    </a:cubicBezTo>
                    <a:cubicBezTo>
                      <a:pt x="15" y="1"/>
                      <a:pt x="19" y="0"/>
                      <a:pt x="22" y="0"/>
                    </a:cubicBezTo>
                    <a:cubicBezTo>
                      <a:pt x="30" y="0"/>
                      <a:pt x="36" y="2"/>
                      <a:pt x="40" y="6"/>
                    </a:cubicBezTo>
                    <a:cubicBezTo>
                      <a:pt x="44" y="9"/>
                      <a:pt x="46" y="14"/>
                      <a:pt x="46" y="20"/>
                    </a:cubicBezTo>
                    <a:cubicBezTo>
                      <a:pt x="46" y="23"/>
                      <a:pt x="46" y="26"/>
                      <a:pt x="45" y="28"/>
                    </a:cubicBezTo>
                    <a:cubicBezTo>
                      <a:pt x="45" y="31"/>
                      <a:pt x="44" y="33"/>
                      <a:pt x="42" y="35"/>
                    </a:cubicBezTo>
                    <a:cubicBezTo>
                      <a:pt x="41" y="37"/>
                      <a:pt x="39" y="39"/>
                      <a:pt x="38" y="41"/>
                    </a:cubicBezTo>
                    <a:cubicBezTo>
                      <a:pt x="36" y="43"/>
                      <a:pt x="34" y="45"/>
                      <a:pt x="31" y="48"/>
                    </a:cubicBezTo>
                    <a:cubicBezTo>
                      <a:pt x="28" y="51"/>
                      <a:pt x="24" y="55"/>
                      <a:pt x="20" y="58"/>
                    </a:cubicBezTo>
                    <a:cubicBezTo>
                      <a:pt x="17" y="61"/>
                      <a:pt x="13" y="64"/>
                      <a:pt x="10" y="67"/>
                    </a:cubicBezTo>
                    <a:lnTo>
                      <a:pt x="50" y="67"/>
                    </a:lnTo>
                    <a:lnTo>
                      <a:pt x="5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42"/>
              <p:cNvSpPr>
                <a:spLocks noEditPoints="1"/>
              </p:cNvSpPr>
              <p:nvPr/>
            </p:nvSpPr>
            <p:spPr bwMode="auto">
              <a:xfrm>
                <a:off x="3981" y="1765"/>
                <a:ext cx="25" cy="37"/>
              </a:xfrm>
              <a:custGeom>
                <a:avLst/>
                <a:gdLst>
                  <a:gd name="T0" fmla="*/ 51 w 51"/>
                  <a:gd name="T1" fmla="*/ 38 h 77"/>
                  <a:gd name="T2" fmla="*/ 45 w 51"/>
                  <a:gd name="T3" fmla="*/ 68 h 77"/>
                  <a:gd name="T4" fmla="*/ 26 w 51"/>
                  <a:gd name="T5" fmla="*/ 77 h 77"/>
                  <a:gd name="T6" fmla="*/ 6 w 51"/>
                  <a:gd name="T7" fmla="*/ 68 h 77"/>
                  <a:gd name="T8" fmla="*/ 0 w 51"/>
                  <a:gd name="T9" fmla="*/ 39 h 77"/>
                  <a:gd name="T10" fmla="*/ 6 w 51"/>
                  <a:gd name="T11" fmla="*/ 10 h 77"/>
                  <a:gd name="T12" fmla="*/ 26 w 51"/>
                  <a:gd name="T13" fmla="*/ 0 h 77"/>
                  <a:gd name="T14" fmla="*/ 45 w 51"/>
                  <a:gd name="T15" fmla="*/ 10 h 77"/>
                  <a:gd name="T16" fmla="*/ 51 w 51"/>
                  <a:gd name="T17" fmla="*/ 38 h 77"/>
                  <a:gd name="T18" fmla="*/ 38 w 51"/>
                  <a:gd name="T19" fmla="*/ 61 h 77"/>
                  <a:gd name="T20" fmla="*/ 40 w 51"/>
                  <a:gd name="T21" fmla="*/ 52 h 77"/>
                  <a:gd name="T22" fmla="*/ 41 w 51"/>
                  <a:gd name="T23" fmla="*/ 38 h 77"/>
                  <a:gd name="T24" fmla="*/ 40 w 51"/>
                  <a:gd name="T25" fmla="*/ 25 h 77"/>
                  <a:gd name="T26" fmla="*/ 38 w 51"/>
                  <a:gd name="T27" fmla="*/ 16 h 77"/>
                  <a:gd name="T28" fmla="*/ 33 w 51"/>
                  <a:gd name="T29" fmla="*/ 10 h 77"/>
                  <a:gd name="T30" fmla="*/ 26 w 51"/>
                  <a:gd name="T31" fmla="*/ 8 h 77"/>
                  <a:gd name="T32" fmla="*/ 18 w 51"/>
                  <a:gd name="T33" fmla="*/ 10 h 77"/>
                  <a:gd name="T34" fmla="*/ 13 w 51"/>
                  <a:gd name="T35" fmla="*/ 16 h 77"/>
                  <a:gd name="T36" fmla="*/ 11 w 51"/>
                  <a:gd name="T37" fmla="*/ 26 h 77"/>
                  <a:gd name="T38" fmla="*/ 10 w 51"/>
                  <a:gd name="T39" fmla="*/ 39 h 77"/>
                  <a:gd name="T40" fmla="*/ 11 w 51"/>
                  <a:gd name="T41" fmla="*/ 52 h 77"/>
                  <a:gd name="T42" fmla="*/ 13 w 51"/>
                  <a:gd name="T43" fmla="*/ 61 h 77"/>
                  <a:gd name="T44" fmla="*/ 18 w 51"/>
                  <a:gd name="T45" fmla="*/ 67 h 77"/>
                  <a:gd name="T46" fmla="*/ 26 w 51"/>
                  <a:gd name="T47" fmla="*/ 69 h 77"/>
                  <a:gd name="T48" fmla="*/ 33 w 51"/>
                  <a:gd name="T49" fmla="*/ 67 h 77"/>
                  <a:gd name="T50" fmla="*/ 38 w 51"/>
                  <a:gd name="T51"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77">
                    <a:moveTo>
                      <a:pt x="51" y="38"/>
                    </a:moveTo>
                    <a:cubicBezTo>
                      <a:pt x="51" y="52"/>
                      <a:pt x="49" y="61"/>
                      <a:pt x="45" y="68"/>
                    </a:cubicBezTo>
                    <a:cubicBezTo>
                      <a:pt x="41" y="74"/>
                      <a:pt x="34" y="77"/>
                      <a:pt x="26" y="77"/>
                    </a:cubicBezTo>
                    <a:cubicBezTo>
                      <a:pt x="17" y="77"/>
                      <a:pt x="10" y="74"/>
                      <a:pt x="6" y="68"/>
                    </a:cubicBezTo>
                    <a:cubicBezTo>
                      <a:pt x="2" y="61"/>
                      <a:pt x="0" y="52"/>
                      <a:pt x="0" y="39"/>
                    </a:cubicBezTo>
                    <a:cubicBezTo>
                      <a:pt x="0" y="25"/>
                      <a:pt x="2" y="16"/>
                      <a:pt x="6" y="10"/>
                    </a:cubicBezTo>
                    <a:cubicBezTo>
                      <a:pt x="10" y="3"/>
                      <a:pt x="17" y="0"/>
                      <a:pt x="26" y="0"/>
                    </a:cubicBezTo>
                    <a:cubicBezTo>
                      <a:pt x="34" y="0"/>
                      <a:pt x="41" y="3"/>
                      <a:pt x="45" y="10"/>
                    </a:cubicBezTo>
                    <a:cubicBezTo>
                      <a:pt x="49" y="16"/>
                      <a:pt x="51" y="26"/>
                      <a:pt x="51" y="38"/>
                    </a:cubicBezTo>
                    <a:close/>
                    <a:moveTo>
                      <a:pt x="38" y="61"/>
                    </a:moveTo>
                    <a:cubicBezTo>
                      <a:pt x="39" y="58"/>
                      <a:pt x="40" y="55"/>
                      <a:pt x="40" y="52"/>
                    </a:cubicBezTo>
                    <a:cubicBezTo>
                      <a:pt x="41" y="48"/>
                      <a:pt x="41" y="44"/>
                      <a:pt x="41" y="38"/>
                    </a:cubicBezTo>
                    <a:cubicBezTo>
                      <a:pt x="41" y="33"/>
                      <a:pt x="41" y="29"/>
                      <a:pt x="40" y="25"/>
                    </a:cubicBezTo>
                    <a:cubicBezTo>
                      <a:pt x="40" y="22"/>
                      <a:pt x="39" y="19"/>
                      <a:pt x="38" y="16"/>
                    </a:cubicBezTo>
                    <a:cubicBezTo>
                      <a:pt x="37" y="13"/>
                      <a:pt x="35" y="12"/>
                      <a:pt x="33" y="10"/>
                    </a:cubicBezTo>
                    <a:cubicBezTo>
                      <a:pt x="31" y="9"/>
                      <a:pt x="29" y="8"/>
                      <a:pt x="26" y="8"/>
                    </a:cubicBezTo>
                    <a:cubicBezTo>
                      <a:pt x="22" y="8"/>
                      <a:pt x="20" y="9"/>
                      <a:pt x="18" y="10"/>
                    </a:cubicBezTo>
                    <a:cubicBezTo>
                      <a:pt x="16" y="12"/>
                      <a:pt x="14" y="13"/>
                      <a:pt x="13" y="16"/>
                    </a:cubicBezTo>
                    <a:cubicBezTo>
                      <a:pt x="12" y="19"/>
                      <a:pt x="11" y="22"/>
                      <a:pt x="11" y="26"/>
                    </a:cubicBezTo>
                    <a:cubicBezTo>
                      <a:pt x="10" y="30"/>
                      <a:pt x="10" y="34"/>
                      <a:pt x="10" y="39"/>
                    </a:cubicBezTo>
                    <a:cubicBezTo>
                      <a:pt x="10" y="44"/>
                      <a:pt x="10" y="48"/>
                      <a:pt x="11" y="52"/>
                    </a:cubicBezTo>
                    <a:cubicBezTo>
                      <a:pt x="11" y="55"/>
                      <a:pt x="12" y="58"/>
                      <a:pt x="13" y="61"/>
                    </a:cubicBezTo>
                    <a:cubicBezTo>
                      <a:pt x="14" y="63"/>
                      <a:pt x="16" y="65"/>
                      <a:pt x="18" y="67"/>
                    </a:cubicBezTo>
                    <a:cubicBezTo>
                      <a:pt x="20" y="68"/>
                      <a:pt x="22" y="69"/>
                      <a:pt x="26" y="69"/>
                    </a:cubicBezTo>
                    <a:cubicBezTo>
                      <a:pt x="29" y="69"/>
                      <a:pt x="31" y="68"/>
                      <a:pt x="33" y="67"/>
                    </a:cubicBezTo>
                    <a:cubicBezTo>
                      <a:pt x="35" y="66"/>
                      <a:pt x="37" y="64"/>
                      <a:pt x="38" y="6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43"/>
              <p:cNvSpPr>
                <a:spLocks/>
              </p:cNvSpPr>
              <p:nvPr/>
            </p:nvSpPr>
            <p:spPr bwMode="auto">
              <a:xfrm>
                <a:off x="4016" y="1765"/>
                <a:ext cx="19" cy="36"/>
              </a:xfrm>
              <a:custGeom>
                <a:avLst/>
                <a:gdLst>
                  <a:gd name="T0" fmla="*/ 40 w 40"/>
                  <a:gd name="T1" fmla="*/ 74 h 74"/>
                  <a:gd name="T2" fmla="*/ 0 w 40"/>
                  <a:gd name="T3" fmla="*/ 74 h 74"/>
                  <a:gd name="T4" fmla="*/ 0 w 40"/>
                  <a:gd name="T5" fmla="*/ 67 h 74"/>
                  <a:gd name="T6" fmla="*/ 15 w 40"/>
                  <a:gd name="T7" fmla="*/ 67 h 74"/>
                  <a:gd name="T8" fmla="*/ 15 w 40"/>
                  <a:gd name="T9" fmla="*/ 17 h 74"/>
                  <a:gd name="T10" fmla="*/ 0 w 40"/>
                  <a:gd name="T11" fmla="*/ 17 h 74"/>
                  <a:gd name="T12" fmla="*/ 0 w 40"/>
                  <a:gd name="T13" fmla="*/ 11 h 74"/>
                  <a:gd name="T14" fmla="*/ 6 w 40"/>
                  <a:gd name="T15" fmla="*/ 10 h 74"/>
                  <a:gd name="T16" fmla="*/ 12 w 40"/>
                  <a:gd name="T17" fmla="*/ 9 h 74"/>
                  <a:gd name="T18" fmla="*/ 15 w 40"/>
                  <a:gd name="T19" fmla="*/ 6 h 74"/>
                  <a:gd name="T20" fmla="*/ 17 w 40"/>
                  <a:gd name="T21" fmla="*/ 0 h 74"/>
                  <a:gd name="T22" fmla="*/ 25 w 40"/>
                  <a:gd name="T23" fmla="*/ 0 h 74"/>
                  <a:gd name="T24" fmla="*/ 25 w 40"/>
                  <a:gd name="T25" fmla="*/ 67 h 74"/>
                  <a:gd name="T26" fmla="*/ 40 w 40"/>
                  <a:gd name="T27" fmla="*/ 67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7"/>
                    </a:lnTo>
                    <a:lnTo>
                      <a:pt x="15" y="67"/>
                    </a:lnTo>
                    <a:lnTo>
                      <a:pt x="15" y="17"/>
                    </a:lnTo>
                    <a:lnTo>
                      <a:pt x="0" y="17"/>
                    </a:lnTo>
                    <a:lnTo>
                      <a:pt x="0" y="11"/>
                    </a:lnTo>
                    <a:cubicBezTo>
                      <a:pt x="2" y="11"/>
                      <a:pt x="4" y="11"/>
                      <a:pt x="6" y="10"/>
                    </a:cubicBezTo>
                    <a:cubicBezTo>
                      <a:pt x="9" y="10"/>
                      <a:pt x="11" y="9"/>
                      <a:pt x="12" y="9"/>
                    </a:cubicBezTo>
                    <a:cubicBezTo>
                      <a:pt x="13" y="8"/>
                      <a:pt x="14" y="7"/>
                      <a:pt x="15" y="6"/>
                    </a:cubicBezTo>
                    <a:cubicBezTo>
                      <a:pt x="16" y="4"/>
                      <a:pt x="17" y="3"/>
                      <a:pt x="17" y="0"/>
                    </a:cubicBezTo>
                    <a:lnTo>
                      <a:pt x="25" y="0"/>
                    </a:lnTo>
                    <a:lnTo>
                      <a:pt x="25" y="67"/>
                    </a:lnTo>
                    <a:lnTo>
                      <a:pt x="40" y="67"/>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44"/>
              <p:cNvSpPr>
                <a:spLocks noEditPoints="1"/>
              </p:cNvSpPr>
              <p:nvPr/>
            </p:nvSpPr>
            <p:spPr bwMode="auto">
              <a:xfrm>
                <a:off x="4042" y="1766"/>
                <a:ext cx="27" cy="35"/>
              </a:xfrm>
              <a:custGeom>
                <a:avLst/>
                <a:gdLst>
                  <a:gd name="T0" fmla="*/ 56 w 56"/>
                  <a:gd name="T1" fmla="*/ 53 h 73"/>
                  <a:gd name="T2" fmla="*/ 45 w 56"/>
                  <a:gd name="T3" fmla="*/ 53 h 73"/>
                  <a:gd name="T4" fmla="*/ 45 w 56"/>
                  <a:gd name="T5" fmla="*/ 73 h 73"/>
                  <a:gd name="T6" fmla="*/ 36 w 56"/>
                  <a:gd name="T7" fmla="*/ 73 h 73"/>
                  <a:gd name="T8" fmla="*/ 36 w 56"/>
                  <a:gd name="T9" fmla="*/ 53 h 73"/>
                  <a:gd name="T10" fmla="*/ 0 w 56"/>
                  <a:gd name="T11" fmla="*/ 53 h 73"/>
                  <a:gd name="T12" fmla="*/ 0 w 56"/>
                  <a:gd name="T13" fmla="*/ 41 h 73"/>
                  <a:gd name="T14" fmla="*/ 36 w 56"/>
                  <a:gd name="T15" fmla="*/ 0 h 73"/>
                  <a:gd name="T16" fmla="*/ 45 w 56"/>
                  <a:gd name="T17" fmla="*/ 0 h 73"/>
                  <a:gd name="T18" fmla="*/ 45 w 56"/>
                  <a:gd name="T19" fmla="*/ 45 h 73"/>
                  <a:gd name="T20" fmla="*/ 56 w 56"/>
                  <a:gd name="T21" fmla="*/ 45 h 73"/>
                  <a:gd name="T22" fmla="*/ 56 w 56"/>
                  <a:gd name="T23" fmla="*/ 53 h 73"/>
                  <a:gd name="T24" fmla="*/ 36 w 56"/>
                  <a:gd name="T25" fmla="*/ 45 h 73"/>
                  <a:gd name="T26" fmla="*/ 36 w 56"/>
                  <a:gd name="T27" fmla="*/ 11 h 73"/>
                  <a:gd name="T28" fmla="*/ 7 w 56"/>
                  <a:gd name="T29" fmla="*/ 45 h 73"/>
                  <a:gd name="T30" fmla="*/ 36 w 56"/>
                  <a:gd name="T31"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3">
                    <a:moveTo>
                      <a:pt x="56" y="53"/>
                    </a:moveTo>
                    <a:lnTo>
                      <a:pt x="45" y="53"/>
                    </a:lnTo>
                    <a:lnTo>
                      <a:pt x="45" y="73"/>
                    </a:lnTo>
                    <a:lnTo>
                      <a:pt x="36" y="73"/>
                    </a:lnTo>
                    <a:lnTo>
                      <a:pt x="36" y="53"/>
                    </a:lnTo>
                    <a:lnTo>
                      <a:pt x="0" y="53"/>
                    </a:lnTo>
                    <a:lnTo>
                      <a:pt x="0" y="41"/>
                    </a:lnTo>
                    <a:lnTo>
                      <a:pt x="36" y="0"/>
                    </a:lnTo>
                    <a:lnTo>
                      <a:pt x="45" y="0"/>
                    </a:lnTo>
                    <a:lnTo>
                      <a:pt x="45" y="45"/>
                    </a:lnTo>
                    <a:lnTo>
                      <a:pt x="56" y="45"/>
                    </a:lnTo>
                    <a:lnTo>
                      <a:pt x="56" y="53"/>
                    </a:lnTo>
                    <a:close/>
                    <a:moveTo>
                      <a:pt x="36" y="45"/>
                    </a:moveTo>
                    <a:lnTo>
                      <a:pt x="36" y="11"/>
                    </a:lnTo>
                    <a:lnTo>
                      <a:pt x="7" y="45"/>
                    </a:lnTo>
                    <a:lnTo>
                      <a:pt x="36"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45"/>
              <p:cNvSpPr>
                <a:spLocks/>
              </p:cNvSpPr>
              <p:nvPr/>
            </p:nvSpPr>
            <p:spPr bwMode="auto">
              <a:xfrm>
                <a:off x="3088" y="2323"/>
                <a:ext cx="11" cy="18"/>
              </a:xfrm>
              <a:custGeom>
                <a:avLst/>
                <a:gdLst>
                  <a:gd name="T0" fmla="*/ 22 w 22"/>
                  <a:gd name="T1" fmla="*/ 37 h 37"/>
                  <a:gd name="T2" fmla="*/ 18 w 22"/>
                  <a:gd name="T3" fmla="*/ 37 h 37"/>
                  <a:gd name="T4" fmla="*/ 18 w 22"/>
                  <a:gd name="T5" fmla="*/ 22 h 37"/>
                  <a:gd name="T6" fmla="*/ 18 w 22"/>
                  <a:gd name="T7" fmla="*/ 18 h 37"/>
                  <a:gd name="T8" fmla="*/ 17 w 22"/>
                  <a:gd name="T9" fmla="*/ 16 h 37"/>
                  <a:gd name="T10" fmla="*/ 15 w 22"/>
                  <a:gd name="T11" fmla="*/ 14 h 37"/>
                  <a:gd name="T12" fmla="*/ 12 w 22"/>
                  <a:gd name="T13" fmla="*/ 14 h 37"/>
                  <a:gd name="T14" fmla="*/ 8 w 22"/>
                  <a:gd name="T15" fmla="*/ 15 h 37"/>
                  <a:gd name="T16" fmla="*/ 5 w 22"/>
                  <a:gd name="T17" fmla="*/ 17 h 37"/>
                  <a:gd name="T18" fmla="*/ 5 w 22"/>
                  <a:gd name="T19" fmla="*/ 37 h 37"/>
                  <a:gd name="T20" fmla="*/ 0 w 22"/>
                  <a:gd name="T21" fmla="*/ 37 h 37"/>
                  <a:gd name="T22" fmla="*/ 0 w 22"/>
                  <a:gd name="T23" fmla="*/ 0 h 37"/>
                  <a:gd name="T24" fmla="*/ 5 w 22"/>
                  <a:gd name="T25" fmla="*/ 0 h 37"/>
                  <a:gd name="T26" fmla="*/ 5 w 22"/>
                  <a:gd name="T27" fmla="*/ 13 h 37"/>
                  <a:gd name="T28" fmla="*/ 9 w 22"/>
                  <a:gd name="T29" fmla="*/ 10 h 37"/>
                  <a:gd name="T30" fmla="*/ 14 w 22"/>
                  <a:gd name="T31" fmla="*/ 10 h 37"/>
                  <a:gd name="T32" fmla="*/ 20 w 22"/>
                  <a:gd name="T33" fmla="*/ 12 h 37"/>
                  <a:gd name="T34" fmla="*/ 22 w 22"/>
                  <a:gd name="T35" fmla="*/ 20 h 37"/>
                  <a:gd name="T36" fmla="*/ 22 w 22"/>
                  <a:gd name="T3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7">
                    <a:moveTo>
                      <a:pt x="22" y="37"/>
                    </a:moveTo>
                    <a:lnTo>
                      <a:pt x="18" y="37"/>
                    </a:lnTo>
                    <a:lnTo>
                      <a:pt x="18" y="22"/>
                    </a:lnTo>
                    <a:cubicBezTo>
                      <a:pt x="18" y="20"/>
                      <a:pt x="18" y="19"/>
                      <a:pt x="18" y="18"/>
                    </a:cubicBezTo>
                    <a:cubicBezTo>
                      <a:pt x="17" y="17"/>
                      <a:pt x="17" y="16"/>
                      <a:pt x="17" y="16"/>
                    </a:cubicBezTo>
                    <a:cubicBezTo>
                      <a:pt x="16" y="15"/>
                      <a:pt x="16" y="15"/>
                      <a:pt x="15" y="14"/>
                    </a:cubicBezTo>
                    <a:cubicBezTo>
                      <a:pt x="14" y="14"/>
                      <a:pt x="13" y="14"/>
                      <a:pt x="12" y="14"/>
                    </a:cubicBezTo>
                    <a:cubicBezTo>
                      <a:pt x="11" y="14"/>
                      <a:pt x="10" y="14"/>
                      <a:pt x="8" y="15"/>
                    </a:cubicBezTo>
                    <a:cubicBezTo>
                      <a:pt x="7" y="15"/>
                      <a:pt x="6" y="16"/>
                      <a:pt x="5" y="17"/>
                    </a:cubicBezTo>
                    <a:lnTo>
                      <a:pt x="5" y="37"/>
                    </a:lnTo>
                    <a:lnTo>
                      <a:pt x="0" y="37"/>
                    </a:lnTo>
                    <a:lnTo>
                      <a:pt x="0" y="0"/>
                    </a:lnTo>
                    <a:lnTo>
                      <a:pt x="5" y="0"/>
                    </a:lnTo>
                    <a:lnTo>
                      <a:pt x="5" y="13"/>
                    </a:lnTo>
                    <a:cubicBezTo>
                      <a:pt x="6" y="12"/>
                      <a:pt x="7" y="11"/>
                      <a:pt x="9" y="10"/>
                    </a:cubicBezTo>
                    <a:cubicBezTo>
                      <a:pt x="10" y="10"/>
                      <a:pt x="12" y="10"/>
                      <a:pt x="14" y="10"/>
                    </a:cubicBezTo>
                    <a:cubicBezTo>
                      <a:pt x="16" y="10"/>
                      <a:pt x="19" y="10"/>
                      <a:pt x="20" y="12"/>
                    </a:cubicBezTo>
                    <a:cubicBezTo>
                      <a:pt x="22" y="14"/>
                      <a:pt x="22" y="16"/>
                      <a:pt x="22" y="20"/>
                    </a:cubicBezTo>
                    <a:lnTo>
                      <a:pt x="2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46"/>
              <p:cNvSpPr>
                <a:spLocks/>
              </p:cNvSpPr>
              <p:nvPr/>
            </p:nvSpPr>
            <p:spPr bwMode="auto">
              <a:xfrm>
                <a:off x="3101"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6" y="34"/>
                      <a:pt x="15" y="34"/>
                      <a:pt x="14" y="34"/>
                    </a:cubicBezTo>
                    <a:cubicBezTo>
                      <a:pt x="13" y="34"/>
                      <a:pt x="12" y="34"/>
                      <a:pt x="11" y="34"/>
                    </a:cubicBezTo>
                    <a:cubicBezTo>
                      <a:pt x="8" y="34"/>
                      <a:pt x="6" y="33"/>
                      <a:pt x="5" y="32"/>
                    </a:cubicBezTo>
                    <a:cubicBezTo>
                      <a:pt x="4"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47"/>
              <p:cNvSpPr>
                <a:spLocks/>
              </p:cNvSpPr>
              <p:nvPr/>
            </p:nvSpPr>
            <p:spPr bwMode="auto">
              <a:xfrm>
                <a:off x="3109"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5" y="34"/>
                      <a:pt x="15" y="34"/>
                      <a:pt x="14" y="34"/>
                    </a:cubicBezTo>
                    <a:cubicBezTo>
                      <a:pt x="13" y="34"/>
                      <a:pt x="12" y="34"/>
                      <a:pt x="11" y="34"/>
                    </a:cubicBezTo>
                    <a:cubicBezTo>
                      <a:pt x="8" y="34"/>
                      <a:pt x="6" y="33"/>
                      <a:pt x="5" y="32"/>
                    </a:cubicBezTo>
                    <a:cubicBezTo>
                      <a:pt x="3"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8"/>
              <p:cNvSpPr>
                <a:spLocks noEditPoints="1"/>
              </p:cNvSpPr>
              <p:nvPr/>
            </p:nvSpPr>
            <p:spPr bwMode="auto">
              <a:xfrm>
                <a:off x="3118" y="2328"/>
                <a:ext cx="11" cy="17"/>
              </a:xfrm>
              <a:custGeom>
                <a:avLst/>
                <a:gdLst>
                  <a:gd name="T0" fmla="*/ 23 w 23"/>
                  <a:gd name="T1" fmla="*/ 13 h 36"/>
                  <a:gd name="T2" fmla="*/ 22 w 23"/>
                  <a:gd name="T3" fmla="*/ 19 h 36"/>
                  <a:gd name="T4" fmla="*/ 20 w 23"/>
                  <a:gd name="T5" fmla="*/ 24 h 36"/>
                  <a:gd name="T6" fmla="*/ 16 w 23"/>
                  <a:gd name="T7" fmla="*/ 26 h 36"/>
                  <a:gd name="T8" fmla="*/ 12 w 23"/>
                  <a:gd name="T9" fmla="*/ 27 h 36"/>
                  <a:gd name="T10" fmla="*/ 8 w 23"/>
                  <a:gd name="T11" fmla="*/ 27 h 36"/>
                  <a:gd name="T12" fmla="*/ 4 w 23"/>
                  <a:gd name="T13" fmla="*/ 25 h 36"/>
                  <a:gd name="T14" fmla="*/ 4 w 23"/>
                  <a:gd name="T15" fmla="*/ 36 h 36"/>
                  <a:gd name="T16" fmla="*/ 0 w 23"/>
                  <a:gd name="T17" fmla="*/ 36 h 36"/>
                  <a:gd name="T18" fmla="*/ 0 w 23"/>
                  <a:gd name="T19" fmla="*/ 0 h 36"/>
                  <a:gd name="T20" fmla="*/ 4 w 23"/>
                  <a:gd name="T21" fmla="*/ 0 h 36"/>
                  <a:gd name="T22" fmla="*/ 4 w 23"/>
                  <a:gd name="T23" fmla="*/ 3 h 36"/>
                  <a:gd name="T24" fmla="*/ 8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4 w 23"/>
                  <a:gd name="T41" fmla="*/ 7 h 36"/>
                  <a:gd name="T42" fmla="*/ 4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2" y="19"/>
                    </a:cubicBezTo>
                    <a:cubicBezTo>
                      <a:pt x="22" y="21"/>
                      <a:pt x="21" y="22"/>
                      <a:pt x="20" y="24"/>
                    </a:cubicBezTo>
                    <a:cubicBezTo>
                      <a:pt x="19" y="25"/>
                      <a:pt x="17" y="26"/>
                      <a:pt x="16" y="26"/>
                    </a:cubicBezTo>
                    <a:cubicBezTo>
                      <a:pt x="15" y="27"/>
                      <a:pt x="13" y="27"/>
                      <a:pt x="12" y="27"/>
                    </a:cubicBezTo>
                    <a:cubicBezTo>
                      <a:pt x="10" y="27"/>
                      <a:pt x="9" y="27"/>
                      <a:pt x="8" y="27"/>
                    </a:cubicBezTo>
                    <a:cubicBezTo>
                      <a:pt x="7" y="26"/>
                      <a:pt x="6" y="26"/>
                      <a:pt x="4" y="25"/>
                    </a:cubicBezTo>
                    <a:lnTo>
                      <a:pt x="4" y="36"/>
                    </a:lnTo>
                    <a:lnTo>
                      <a:pt x="0" y="36"/>
                    </a:lnTo>
                    <a:lnTo>
                      <a:pt x="0" y="0"/>
                    </a:lnTo>
                    <a:lnTo>
                      <a:pt x="4" y="0"/>
                    </a:lnTo>
                    <a:lnTo>
                      <a:pt x="4" y="3"/>
                    </a:lnTo>
                    <a:cubicBezTo>
                      <a:pt x="6" y="2"/>
                      <a:pt x="7" y="1"/>
                      <a:pt x="8" y="1"/>
                    </a:cubicBezTo>
                    <a:cubicBezTo>
                      <a:pt x="10" y="0"/>
                      <a:pt x="11" y="0"/>
                      <a:pt x="13" y="0"/>
                    </a:cubicBezTo>
                    <a:cubicBezTo>
                      <a:pt x="16" y="0"/>
                      <a:pt x="19" y="1"/>
                      <a:pt x="21" y="3"/>
                    </a:cubicBezTo>
                    <a:cubicBezTo>
                      <a:pt x="22" y="6"/>
                      <a:pt x="23" y="9"/>
                      <a:pt x="23" y="13"/>
                    </a:cubicBezTo>
                    <a:close/>
                    <a:moveTo>
                      <a:pt x="19" y="13"/>
                    </a:moveTo>
                    <a:cubicBezTo>
                      <a:pt x="19" y="10"/>
                      <a:pt x="18" y="8"/>
                      <a:pt x="17" y="6"/>
                    </a:cubicBezTo>
                    <a:cubicBezTo>
                      <a:pt x="16" y="5"/>
                      <a:pt x="14" y="4"/>
                      <a:pt x="12" y="4"/>
                    </a:cubicBezTo>
                    <a:cubicBezTo>
                      <a:pt x="11" y="4"/>
                      <a:pt x="9" y="4"/>
                      <a:pt x="8" y="5"/>
                    </a:cubicBezTo>
                    <a:cubicBezTo>
                      <a:pt x="7" y="5"/>
                      <a:pt x="6" y="6"/>
                      <a:pt x="4" y="7"/>
                    </a:cubicBezTo>
                    <a:lnTo>
                      <a:pt x="4"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9"/>
              <p:cNvSpPr>
                <a:spLocks noEditPoints="1"/>
              </p:cNvSpPr>
              <p:nvPr/>
            </p:nvSpPr>
            <p:spPr bwMode="auto">
              <a:xfrm>
                <a:off x="3134" y="2328"/>
                <a:ext cx="2" cy="13"/>
              </a:xfrm>
              <a:custGeom>
                <a:avLst/>
                <a:gdLst>
                  <a:gd name="T0" fmla="*/ 6 w 6"/>
                  <a:gd name="T1" fmla="*/ 7 h 27"/>
                  <a:gd name="T2" fmla="*/ 0 w 6"/>
                  <a:gd name="T3" fmla="*/ 7 h 27"/>
                  <a:gd name="T4" fmla="*/ 0 w 6"/>
                  <a:gd name="T5" fmla="*/ 0 h 27"/>
                  <a:gd name="T6" fmla="*/ 6 w 6"/>
                  <a:gd name="T7" fmla="*/ 0 h 27"/>
                  <a:gd name="T8" fmla="*/ 6 w 6"/>
                  <a:gd name="T9" fmla="*/ 7 h 27"/>
                  <a:gd name="T10" fmla="*/ 6 w 6"/>
                  <a:gd name="T11" fmla="*/ 27 h 27"/>
                  <a:gd name="T12" fmla="*/ 0 w 6"/>
                  <a:gd name="T13" fmla="*/ 27 h 27"/>
                  <a:gd name="T14" fmla="*/ 0 w 6"/>
                  <a:gd name="T15" fmla="*/ 20 h 27"/>
                  <a:gd name="T16" fmla="*/ 6 w 6"/>
                  <a:gd name="T17" fmla="*/ 20 h 27"/>
                  <a:gd name="T18" fmla="*/ 6 w 6"/>
                  <a:gd name="T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7"/>
                    </a:moveTo>
                    <a:lnTo>
                      <a:pt x="0" y="7"/>
                    </a:lnTo>
                    <a:lnTo>
                      <a:pt x="0" y="0"/>
                    </a:lnTo>
                    <a:lnTo>
                      <a:pt x="6" y="0"/>
                    </a:lnTo>
                    <a:lnTo>
                      <a:pt x="6" y="7"/>
                    </a:lnTo>
                    <a:close/>
                    <a:moveTo>
                      <a:pt x="6" y="27"/>
                    </a:moveTo>
                    <a:lnTo>
                      <a:pt x="0" y="27"/>
                    </a:lnTo>
                    <a:lnTo>
                      <a:pt x="0" y="20"/>
                    </a:lnTo>
                    <a:lnTo>
                      <a:pt x="6" y="20"/>
                    </a:lnTo>
                    <a:lnTo>
                      <a:pt x="6" y="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50"/>
              <p:cNvSpPr>
                <a:spLocks/>
              </p:cNvSpPr>
              <p:nvPr/>
            </p:nvSpPr>
            <p:spPr bwMode="auto">
              <a:xfrm>
                <a:off x="3135" y="2323"/>
                <a:ext cx="11" cy="21"/>
              </a:xfrm>
              <a:custGeom>
                <a:avLst/>
                <a:gdLst>
                  <a:gd name="T0" fmla="*/ 11 w 11"/>
                  <a:gd name="T1" fmla="*/ 0 h 21"/>
                  <a:gd name="T2" fmla="*/ 2 w 11"/>
                  <a:gd name="T3" fmla="*/ 21 h 21"/>
                  <a:gd name="T4" fmla="*/ 0 w 11"/>
                  <a:gd name="T5" fmla="*/ 21 h 21"/>
                  <a:gd name="T6" fmla="*/ 9 w 11"/>
                  <a:gd name="T7" fmla="*/ 0 h 21"/>
                  <a:gd name="T8" fmla="*/ 11 w 11"/>
                  <a:gd name="T9" fmla="*/ 0 h 21"/>
                </a:gdLst>
                <a:ahLst/>
                <a:cxnLst>
                  <a:cxn ang="0">
                    <a:pos x="T0" y="T1"/>
                  </a:cxn>
                  <a:cxn ang="0">
                    <a:pos x="T2" y="T3"/>
                  </a:cxn>
                  <a:cxn ang="0">
                    <a:pos x="T4" y="T5"/>
                  </a:cxn>
                  <a:cxn ang="0">
                    <a:pos x="T6" y="T7"/>
                  </a:cxn>
                  <a:cxn ang="0">
                    <a:pos x="T8" y="T9"/>
                  </a:cxn>
                </a:cxnLst>
                <a:rect l="0" t="0" r="r" b="b"/>
                <a:pathLst>
                  <a:path w="11" h="21">
                    <a:moveTo>
                      <a:pt x="11" y="0"/>
                    </a:moveTo>
                    <a:lnTo>
                      <a:pt x="2" y="21"/>
                    </a:lnTo>
                    <a:lnTo>
                      <a:pt x="0" y="21"/>
                    </a:lnTo>
                    <a:lnTo>
                      <a:pt x="9" y="0"/>
                    </a:lnTo>
                    <a:lnTo>
                      <a:pt x="1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51"/>
              <p:cNvSpPr>
                <a:spLocks/>
              </p:cNvSpPr>
              <p:nvPr/>
            </p:nvSpPr>
            <p:spPr bwMode="auto">
              <a:xfrm>
                <a:off x="3144" y="2323"/>
                <a:ext cx="10" cy="21"/>
              </a:xfrm>
              <a:custGeom>
                <a:avLst/>
                <a:gdLst>
                  <a:gd name="T0" fmla="*/ 10 w 10"/>
                  <a:gd name="T1" fmla="*/ 0 h 21"/>
                  <a:gd name="T2" fmla="*/ 2 w 10"/>
                  <a:gd name="T3" fmla="*/ 21 h 21"/>
                  <a:gd name="T4" fmla="*/ 0 w 10"/>
                  <a:gd name="T5" fmla="*/ 21 h 21"/>
                  <a:gd name="T6" fmla="*/ 8 w 10"/>
                  <a:gd name="T7" fmla="*/ 0 h 21"/>
                  <a:gd name="T8" fmla="*/ 10 w 10"/>
                  <a:gd name="T9" fmla="*/ 0 h 21"/>
                </a:gdLst>
                <a:ahLst/>
                <a:cxnLst>
                  <a:cxn ang="0">
                    <a:pos x="T0" y="T1"/>
                  </a:cxn>
                  <a:cxn ang="0">
                    <a:pos x="T2" y="T3"/>
                  </a:cxn>
                  <a:cxn ang="0">
                    <a:pos x="T4" y="T5"/>
                  </a:cxn>
                  <a:cxn ang="0">
                    <a:pos x="T6" y="T7"/>
                  </a:cxn>
                  <a:cxn ang="0">
                    <a:pos x="T8" y="T9"/>
                  </a:cxn>
                </a:cxnLst>
                <a:rect l="0" t="0" r="r" b="b"/>
                <a:pathLst>
                  <a:path w="10" h="21">
                    <a:moveTo>
                      <a:pt x="10" y="0"/>
                    </a:moveTo>
                    <a:lnTo>
                      <a:pt x="2" y="21"/>
                    </a:lnTo>
                    <a:lnTo>
                      <a:pt x="0" y="21"/>
                    </a:lnTo>
                    <a:lnTo>
                      <a:pt x="8" y="0"/>
                    </a:lnTo>
                    <a:lnTo>
                      <a:pt x="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52"/>
              <p:cNvSpPr>
                <a:spLocks/>
              </p:cNvSpPr>
              <p:nvPr/>
            </p:nvSpPr>
            <p:spPr bwMode="auto">
              <a:xfrm>
                <a:off x="3154" y="2328"/>
                <a:ext cx="17" cy="13"/>
              </a:xfrm>
              <a:custGeom>
                <a:avLst/>
                <a:gdLst>
                  <a:gd name="T0" fmla="*/ 17 w 17"/>
                  <a:gd name="T1" fmla="*/ 0 h 13"/>
                  <a:gd name="T2" fmla="*/ 14 w 17"/>
                  <a:gd name="T3" fmla="*/ 13 h 13"/>
                  <a:gd name="T4" fmla="*/ 12 w 17"/>
                  <a:gd name="T5" fmla="*/ 13 h 13"/>
                  <a:gd name="T6" fmla="*/ 9 w 17"/>
                  <a:gd name="T7" fmla="*/ 3 h 13"/>
                  <a:gd name="T8" fmla="*/ 5 w 17"/>
                  <a:gd name="T9" fmla="*/ 13 h 13"/>
                  <a:gd name="T10" fmla="*/ 4 w 17"/>
                  <a:gd name="T11" fmla="*/ 13 h 13"/>
                  <a:gd name="T12" fmla="*/ 0 w 17"/>
                  <a:gd name="T13" fmla="*/ 0 h 13"/>
                  <a:gd name="T14" fmla="*/ 3 w 17"/>
                  <a:gd name="T15" fmla="*/ 0 h 13"/>
                  <a:gd name="T16" fmla="*/ 5 w 17"/>
                  <a:gd name="T17" fmla="*/ 10 h 13"/>
                  <a:gd name="T18" fmla="*/ 8 w 17"/>
                  <a:gd name="T19" fmla="*/ 0 h 13"/>
                  <a:gd name="T20" fmla="*/ 10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9" y="3"/>
                    </a:lnTo>
                    <a:lnTo>
                      <a:pt x="5" y="13"/>
                    </a:lnTo>
                    <a:lnTo>
                      <a:pt x="4" y="13"/>
                    </a:lnTo>
                    <a:lnTo>
                      <a:pt x="0" y="0"/>
                    </a:lnTo>
                    <a:lnTo>
                      <a:pt x="3" y="0"/>
                    </a:lnTo>
                    <a:lnTo>
                      <a:pt x="5" y="10"/>
                    </a:lnTo>
                    <a:lnTo>
                      <a:pt x="8" y="0"/>
                    </a:lnTo>
                    <a:lnTo>
                      <a:pt x="10"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53"/>
              <p:cNvSpPr>
                <a:spLocks/>
              </p:cNvSpPr>
              <p:nvPr/>
            </p:nvSpPr>
            <p:spPr bwMode="auto">
              <a:xfrm>
                <a:off x="3171" y="2328"/>
                <a:ext cx="18" cy="13"/>
              </a:xfrm>
              <a:custGeom>
                <a:avLst/>
                <a:gdLst>
                  <a:gd name="T0" fmla="*/ 18 w 18"/>
                  <a:gd name="T1" fmla="*/ 0 h 13"/>
                  <a:gd name="T2" fmla="*/ 14 w 18"/>
                  <a:gd name="T3" fmla="*/ 13 h 13"/>
                  <a:gd name="T4" fmla="*/ 12 w 18"/>
                  <a:gd name="T5" fmla="*/ 13 h 13"/>
                  <a:gd name="T6" fmla="*/ 9 w 18"/>
                  <a:gd name="T7" fmla="*/ 3 h 13"/>
                  <a:gd name="T8" fmla="*/ 6 w 18"/>
                  <a:gd name="T9" fmla="*/ 13 h 13"/>
                  <a:gd name="T10" fmla="*/ 4 w 18"/>
                  <a:gd name="T11" fmla="*/ 13 h 13"/>
                  <a:gd name="T12" fmla="*/ 0 w 18"/>
                  <a:gd name="T13" fmla="*/ 0 h 13"/>
                  <a:gd name="T14" fmla="*/ 3 w 18"/>
                  <a:gd name="T15" fmla="*/ 0 h 13"/>
                  <a:gd name="T16" fmla="*/ 5 w 18"/>
                  <a:gd name="T17" fmla="*/ 10 h 13"/>
                  <a:gd name="T18" fmla="*/ 8 w 18"/>
                  <a:gd name="T19" fmla="*/ 0 h 13"/>
                  <a:gd name="T20" fmla="*/ 10 w 18"/>
                  <a:gd name="T21" fmla="*/ 0 h 13"/>
                  <a:gd name="T22" fmla="*/ 13 w 18"/>
                  <a:gd name="T23" fmla="*/ 10 h 13"/>
                  <a:gd name="T24" fmla="*/ 15 w 18"/>
                  <a:gd name="T25" fmla="*/ 0 h 13"/>
                  <a:gd name="T26" fmla="*/ 18 w 18"/>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18" y="0"/>
                    </a:moveTo>
                    <a:lnTo>
                      <a:pt x="14" y="13"/>
                    </a:lnTo>
                    <a:lnTo>
                      <a:pt x="12" y="13"/>
                    </a:lnTo>
                    <a:lnTo>
                      <a:pt x="9" y="3"/>
                    </a:lnTo>
                    <a:lnTo>
                      <a:pt x="6" y="13"/>
                    </a:lnTo>
                    <a:lnTo>
                      <a:pt x="4" y="13"/>
                    </a:lnTo>
                    <a:lnTo>
                      <a:pt x="0" y="0"/>
                    </a:lnTo>
                    <a:lnTo>
                      <a:pt x="3" y="0"/>
                    </a:lnTo>
                    <a:lnTo>
                      <a:pt x="5" y="10"/>
                    </a:lnTo>
                    <a:lnTo>
                      <a:pt x="8" y="0"/>
                    </a:lnTo>
                    <a:lnTo>
                      <a:pt x="10" y="0"/>
                    </a:lnTo>
                    <a:lnTo>
                      <a:pt x="13" y="10"/>
                    </a:lnTo>
                    <a:lnTo>
                      <a:pt x="15" y="0"/>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54"/>
              <p:cNvSpPr>
                <a:spLocks/>
              </p:cNvSpPr>
              <p:nvPr/>
            </p:nvSpPr>
            <p:spPr bwMode="auto">
              <a:xfrm>
                <a:off x="3189" y="2328"/>
                <a:ext cx="17" cy="13"/>
              </a:xfrm>
              <a:custGeom>
                <a:avLst/>
                <a:gdLst>
                  <a:gd name="T0" fmla="*/ 17 w 17"/>
                  <a:gd name="T1" fmla="*/ 0 h 13"/>
                  <a:gd name="T2" fmla="*/ 14 w 17"/>
                  <a:gd name="T3" fmla="*/ 13 h 13"/>
                  <a:gd name="T4" fmla="*/ 12 w 17"/>
                  <a:gd name="T5" fmla="*/ 13 h 13"/>
                  <a:gd name="T6" fmla="*/ 8 w 17"/>
                  <a:gd name="T7" fmla="*/ 3 h 13"/>
                  <a:gd name="T8" fmla="*/ 5 w 17"/>
                  <a:gd name="T9" fmla="*/ 13 h 13"/>
                  <a:gd name="T10" fmla="*/ 3 w 17"/>
                  <a:gd name="T11" fmla="*/ 13 h 13"/>
                  <a:gd name="T12" fmla="*/ 0 w 17"/>
                  <a:gd name="T13" fmla="*/ 0 h 13"/>
                  <a:gd name="T14" fmla="*/ 2 w 17"/>
                  <a:gd name="T15" fmla="*/ 0 h 13"/>
                  <a:gd name="T16" fmla="*/ 5 w 17"/>
                  <a:gd name="T17" fmla="*/ 10 h 13"/>
                  <a:gd name="T18" fmla="*/ 7 w 17"/>
                  <a:gd name="T19" fmla="*/ 0 h 13"/>
                  <a:gd name="T20" fmla="*/ 9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8" y="3"/>
                    </a:lnTo>
                    <a:lnTo>
                      <a:pt x="5" y="13"/>
                    </a:lnTo>
                    <a:lnTo>
                      <a:pt x="3" y="13"/>
                    </a:lnTo>
                    <a:lnTo>
                      <a:pt x="0" y="0"/>
                    </a:lnTo>
                    <a:lnTo>
                      <a:pt x="2" y="0"/>
                    </a:lnTo>
                    <a:lnTo>
                      <a:pt x="5" y="10"/>
                    </a:lnTo>
                    <a:lnTo>
                      <a:pt x="7" y="0"/>
                    </a:lnTo>
                    <a:lnTo>
                      <a:pt x="9"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Rectangle 55"/>
              <p:cNvSpPr>
                <a:spLocks noChangeArrowheads="1"/>
              </p:cNvSpPr>
              <p:nvPr/>
            </p:nvSpPr>
            <p:spPr bwMode="auto">
              <a:xfrm>
                <a:off x="3208" y="2337"/>
                <a:ext cx="3"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56"/>
              <p:cNvSpPr>
                <a:spLocks/>
              </p:cNvSpPr>
              <p:nvPr/>
            </p:nvSpPr>
            <p:spPr bwMode="auto">
              <a:xfrm>
                <a:off x="3214" y="2328"/>
                <a:ext cx="7"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5"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57"/>
              <p:cNvSpPr>
                <a:spLocks noEditPoints="1"/>
              </p:cNvSpPr>
              <p:nvPr/>
            </p:nvSpPr>
            <p:spPr bwMode="auto">
              <a:xfrm>
                <a:off x="3222" y="2328"/>
                <a:ext cx="10" cy="13"/>
              </a:xfrm>
              <a:custGeom>
                <a:avLst/>
                <a:gdLst>
                  <a:gd name="T0" fmla="*/ 22 w 22"/>
                  <a:gd name="T1" fmla="*/ 27 h 27"/>
                  <a:gd name="T2" fmla="*/ 18 w 22"/>
                  <a:gd name="T3" fmla="*/ 27 h 27"/>
                  <a:gd name="T4" fmla="*/ 18 w 22"/>
                  <a:gd name="T5" fmla="*/ 24 h 27"/>
                  <a:gd name="T6" fmla="*/ 16 w 22"/>
                  <a:gd name="T7" fmla="*/ 25 h 27"/>
                  <a:gd name="T8" fmla="*/ 14 w 22"/>
                  <a:gd name="T9" fmla="*/ 26 h 27"/>
                  <a:gd name="T10" fmla="*/ 12 w 22"/>
                  <a:gd name="T11" fmla="*/ 27 h 27"/>
                  <a:gd name="T12" fmla="*/ 8 w 22"/>
                  <a:gd name="T13" fmla="*/ 27 h 27"/>
                  <a:gd name="T14" fmla="*/ 2 w 22"/>
                  <a:gd name="T15" fmla="*/ 25 h 27"/>
                  <a:gd name="T16" fmla="*/ 0 w 22"/>
                  <a:gd name="T17" fmla="*/ 19 h 27"/>
                  <a:gd name="T18" fmla="*/ 1 w 22"/>
                  <a:gd name="T19" fmla="*/ 14 h 27"/>
                  <a:gd name="T20" fmla="*/ 5 w 22"/>
                  <a:gd name="T21" fmla="*/ 11 h 27"/>
                  <a:gd name="T22" fmla="*/ 11 w 22"/>
                  <a:gd name="T23" fmla="*/ 10 h 27"/>
                  <a:gd name="T24" fmla="*/ 18 w 22"/>
                  <a:gd name="T25" fmla="*/ 9 h 27"/>
                  <a:gd name="T26" fmla="*/ 18 w 22"/>
                  <a:gd name="T27" fmla="*/ 9 h 27"/>
                  <a:gd name="T28" fmla="*/ 17 w 22"/>
                  <a:gd name="T29" fmla="*/ 6 h 27"/>
                  <a:gd name="T30" fmla="*/ 16 w 22"/>
                  <a:gd name="T31" fmla="*/ 4 h 27"/>
                  <a:gd name="T32" fmla="*/ 13 w 22"/>
                  <a:gd name="T33" fmla="*/ 4 h 27"/>
                  <a:gd name="T34" fmla="*/ 11 w 22"/>
                  <a:gd name="T35" fmla="*/ 4 h 27"/>
                  <a:gd name="T36" fmla="*/ 7 w 22"/>
                  <a:gd name="T37" fmla="*/ 4 h 27"/>
                  <a:gd name="T38" fmla="*/ 2 w 22"/>
                  <a:gd name="T39" fmla="*/ 5 h 27"/>
                  <a:gd name="T40" fmla="*/ 2 w 22"/>
                  <a:gd name="T41" fmla="*/ 5 h 27"/>
                  <a:gd name="T42" fmla="*/ 2 w 22"/>
                  <a:gd name="T43" fmla="*/ 1 h 27"/>
                  <a:gd name="T44" fmla="*/ 6 w 22"/>
                  <a:gd name="T45" fmla="*/ 0 h 27"/>
                  <a:gd name="T46" fmla="*/ 11 w 22"/>
                  <a:gd name="T47" fmla="*/ 0 h 27"/>
                  <a:gd name="T48" fmla="*/ 16 w 22"/>
                  <a:gd name="T49" fmla="*/ 0 h 27"/>
                  <a:gd name="T50" fmla="*/ 19 w 22"/>
                  <a:gd name="T51" fmla="*/ 2 h 27"/>
                  <a:gd name="T52" fmla="*/ 21 w 22"/>
                  <a:gd name="T53" fmla="*/ 4 h 27"/>
                  <a:gd name="T54" fmla="*/ 22 w 22"/>
                  <a:gd name="T55" fmla="*/ 9 h 27"/>
                  <a:gd name="T56" fmla="*/ 22 w 22"/>
                  <a:gd name="T57" fmla="*/ 27 h 27"/>
                  <a:gd name="T58" fmla="*/ 18 w 22"/>
                  <a:gd name="T59" fmla="*/ 20 h 27"/>
                  <a:gd name="T60" fmla="*/ 18 w 22"/>
                  <a:gd name="T61" fmla="*/ 13 h 27"/>
                  <a:gd name="T62" fmla="*/ 13 w 22"/>
                  <a:gd name="T63" fmla="*/ 13 h 27"/>
                  <a:gd name="T64" fmla="*/ 9 w 22"/>
                  <a:gd name="T65" fmla="*/ 14 h 27"/>
                  <a:gd name="T66" fmla="*/ 6 w 22"/>
                  <a:gd name="T67" fmla="*/ 16 h 27"/>
                  <a:gd name="T68" fmla="*/ 4 w 22"/>
                  <a:gd name="T69" fmla="*/ 19 h 27"/>
                  <a:gd name="T70" fmla="*/ 6 w 22"/>
                  <a:gd name="T71" fmla="*/ 22 h 27"/>
                  <a:gd name="T72" fmla="*/ 10 w 22"/>
                  <a:gd name="T73" fmla="*/ 23 h 27"/>
                  <a:gd name="T74" fmla="*/ 14 w 22"/>
                  <a:gd name="T75" fmla="*/ 22 h 27"/>
                  <a:gd name="T76" fmla="*/ 18 w 22"/>
                  <a:gd name="T7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7">
                    <a:moveTo>
                      <a:pt x="22" y="27"/>
                    </a:moveTo>
                    <a:lnTo>
                      <a:pt x="18" y="27"/>
                    </a:lnTo>
                    <a:lnTo>
                      <a:pt x="18" y="24"/>
                    </a:lnTo>
                    <a:cubicBezTo>
                      <a:pt x="17" y="24"/>
                      <a:pt x="17" y="25"/>
                      <a:pt x="16" y="25"/>
                    </a:cubicBezTo>
                    <a:cubicBezTo>
                      <a:pt x="16" y="25"/>
                      <a:pt x="15" y="26"/>
                      <a:pt x="14" y="26"/>
                    </a:cubicBezTo>
                    <a:cubicBezTo>
                      <a:pt x="14" y="26"/>
                      <a:pt x="13" y="27"/>
                      <a:pt x="12" y="27"/>
                    </a:cubicBezTo>
                    <a:cubicBezTo>
                      <a:pt x="11" y="27"/>
                      <a:pt x="10" y="27"/>
                      <a:pt x="8" y="27"/>
                    </a:cubicBezTo>
                    <a:cubicBezTo>
                      <a:pt x="6" y="27"/>
                      <a:pt x="4" y="27"/>
                      <a:pt x="2" y="25"/>
                    </a:cubicBezTo>
                    <a:cubicBezTo>
                      <a:pt x="1" y="23"/>
                      <a:pt x="0" y="21"/>
                      <a:pt x="0" y="19"/>
                    </a:cubicBezTo>
                    <a:cubicBezTo>
                      <a:pt x="0" y="17"/>
                      <a:pt x="0" y="15"/>
                      <a:pt x="1" y="14"/>
                    </a:cubicBezTo>
                    <a:cubicBezTo>
                      <a:pt x="2" y="13"/>
                      <a:pt x="3" y="12"/>
                      <a:pt x="5" y="11"/>
                    </a:cubicBezTo>
                    <a:cubicBezTo>
                      <a:pt x="6" y="11"/>
                      <a:pt x="8" y="10"/>
                      <a:pt x="11" y="10"/>
                    </a:cubicBezTo>
                    <a:cubicBezTo>
                      <a:pt x="13" y="10"/>
                      <a:pt x="15" y="9"/>
                      <a:pt x="18" y="9"/>
                    </a:cubicBezTo>
                    <a:lnTo>
                      <a:pt x="18" y="9"/>
                    </a:lnTo>
                    <a:cubicBezTo>
                      <a:pt x="18" y="8"/>
                      <a:pt x="18" y="7"/>
                      <a:pt x="17" y="6"/>
                    </a:cubicBezTo>
                    <a:cubicBezTo>
                      <a:pt x="17" y="5"/>
                      <a:pt x="16" y="5"/>
                      <a:pt x="16" y="4"/>
                    </a:cubicBezTo>
                    <a:cubicBezTo>
                      <a:pt x="15" y="4"/>
                      <a:pt x="14" y="4"/>
                      <a:pt x="13" y="4"/>
                    </a:cubicBezTo>
                    <a:cubicBezTo>
                      <a:pt x="13" y="4"/>
                      <a:pt x="12" y="4"/>
                      <a:pt x="11" y="4"/>
                    </a:cubicBezTo>
                    <a:cubicBezTo>
                      <a:pt x="10" y="4"/>
                      <a:pt x="8" y="4"/>
                      <a:pt x="7" y="4"/>
                    </a:cubicBezTo>
                    <a:cubicBezTo>
                      <a:pt x="5" y="4"/>
                      <a:pt x="4" y="5"/>
                      <a:pt x="2" y="5"/>
                    </a:cubicBezTo>
                    <a:lnTo>
                      <a:pt x="2" y="5"/>
                    </a:lnTo>
                    <a:lnTo>
                      <a:pt x="2" y="1"/>
                    </a:lnTo>
                    <a:cubicBezTo>
                      <a:pt x="3" y="1"/>
                      <a:pt x="4" y="0"/>
                      <a:pt x="6" y="0"/>
                    </a:cubicBezTo>
                    <a:cubicBezTo>
                      <a:pt x="8" y="0"/>
                      <a:pt x="9" y="0"/>
                      <a:pt x="11" y="0"/>
                    </a:cubicBezTo>
                    <a:cubicBezTo>
                      <a:pt x="13" y="0"/>
                      <a:pt x="14" y="0"/>
                      <a:pt x="16" y="0"/>
                    </a:cubicBezTo>
                    <a:cubicBezTo>
                      <a:pt x="17" y="0"/>
                      <a:pt x="18" y="1"/>
                      <a:pt x="19" y="2"/>
                    </a:cubicBezTo>
                    <a:cubicBezTo>
                      <a:pt x="20" y="2"/>
                      <a:pt x="21" y="3"/>
                      <a:pt x="21" y="4"/>
                    </a:cubicBezTo>
                    <a:cubicBezTo>
                      <a:pt x="22" y="6"/>
                      <a:pt x="22" y="7"/>
                      <a:pt x="22" y="9"/>
                    </a:cubicBezTo>
                    <a:lnTo>
                      <a:pt x="22" y="27"/>
                    </a:lnTo>
                    <a:close/>
                    <a:moveTo>
                      <a:pt x="18" y="20"/>
                    </a:moveTo>
                    <a:lnTo>
                      <a:pt x="18" y="13"/>
                    </a:lnTo>
                    <a:cubicBezTo>
                      <a:pt x="16" y="13"/>
                      <a:pt x="15" y="13"/>
                      <a:pt x="13" y="13"/>
                    </a:cubicBezTo>
                    <a:cubicBezTo>
                      <a:pt x="11" y="13"/>
                      <a:pt x="10" y="14"/>
                      <a:pt x="9" y="14"/>
                    </a:cubicBezTo>
                    <a:cubicBezTo>
                      <a:pt x="7" y="14"/>
                      <a:pt x="6" y="15"/>
                      <a:pt x="6" y="16"/>
                    </a:cubicBezTo>
                    <a:cubicBezTo>
                      <a:pt x="5" y="16"/>
                      <a:pt x="4" y="17"/>
                      <a:pt x="4" y="19"/>
                    </a:cubicBezTo>
                    <a:cubicBezTo>
                      <a:pt x="4" y="20"/>
                      <a:pt x="5" y="21"/>
                      <a:pt x="6" y="22"/>
                    </a:cubicBezTo>
                    <a:cubicBezTo>
                      <a:pt x="7" y="23"/>
                      <a:pt x="8" y="23"/>
                      <a:pt x="10" y="23"/>
                    </a:cubicBezTo>
                    <a:cubicBezTo>
                      <a:pt x="11" y="23"/>
                      <a:pt x="13" y="23"/>
                      <a:pt x="14" y="22"/>
                    </a:cubicBezTo>
                    <a:cubicBezTo>
                      <a:pt x="15" y="22"/>
                      <a:pt x="17" y="21"/>
                      <a:pt x="1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58"/>
              <p:cNvSpPr>
                <a:spLocks/>
              </p:cNvSpPr>
              <p:nvPr/>
            </p:nvSpPr>
            <p:spPr bwMode="auto">
              <a:xfrm>
                <a:off x="3234" y="2328"/>
                <a:ext cx="10" cy="13"/>
              </a:xfrm>
              <a:custGeom>
                <a:avLst/>
                <a:gdLst>
                  <a:gd name="T0" fmla="*/ 20 w 20"/>
                  <a:gd name="T1" fmla="*/ 19 h 27"/>
                  <a:gd name="T2" fmla="*/ 17 w 20"/>
                  <a:gd name="T3" fmla="*/ 25 h 27"/>
                  <a:gd name="T4" fmla="*/ 9 w 20"/>
                  <a:gd name="T5" fmla="*/ 27 h 27"/>
                  <a:gd name="T6" fmla="*/ 4 w 20"/>
                  <a:gd name="T7" fmla="*/ 27 h 27"/>
                  <a:gd name="T8" fmla="*/ 0 w 20"/>
                  <a:gd name="T9" fmla="*/ 25 h 27"/>
                  <a:gd name="T10" fmla="*/ 0 w 20"/>
                  <a:gd name="T11" fmla="*/ 20 h 27"/>
                  <a:gd name="T12" fmla="*/ 0 w 20"/>
                  <a:gd name="T13" fmla="*/ 20 h 27"/>
                  <a:gd name="T14" fmla="*/ 5 w 20"/>
                  <a:gd name="T15" fmla="*/ 23 h 27"/>
                  <a:gd name="T16" fmla="*/ 9 w 20"/>
                  <a:gd name="T17" fmla="*/ 24 h 27"/>
                  <a:gd name="T18" fmla="*/ 14 w 20"/>
                  <a:gd name="T19" fmla="*/ 23 h 27"/>
                  <a:gd name="T20" fmla="*/ 16 w 20"/>
                  <a:gd name="T21" fmla="*/ 20 h 27"/>
                  <a:gd name="T22" fmla="*/ 15 w 20"/>
                  <a:gd name="T23" fmla="*/ 17 h 27"/>
                  <a:gd name="T24" fmla="*/ 11 w 20"/>
                  <a:gd name="T25" fmla="*/ 16 h 27"/>
                  <a:gd name="T26" fmla="*/ 9 w 20"/>
                  <a:gd name="T27" fmla="*/ 15 h 27"/>
                  <a:gd name="T28" fmla="*/ 6 w 20"/>
                  <a:gd name="T29" fmla="*/ 15 h 27"/>
                  <a:gd name="T30" fmla="*/ 1 w 20"/>
                  <a:gd name="T31" fmla="*/ 12 h 27"/>
                  <a:gd name="T32" fmla="*/ 0 w 20"/>
                  <a:gd name="T33" fmla="*/ 8 h 27"/>
                  <a:gd name="T34" fmla="*/ 0 w 20"/>
                  <a:gd name="T35" fmla="*/ 5 h 27"/>
                  <a:gd name="T36" fmla="*/ 2 w 20"/>
                  <a:gd name="T37" fmla="*/ 2 h 27"/>
                  <a:gd name="T38" fmla="*/ 6 w 20"/>
                  <a:gd name="T39" fmla="*/ 0 h 27"/>
                  <a:gd name="T40" fmla="*/ 10 w 20"/>
                  <a:gd name="T41" fmla="*/ 0 h 27"/>
                  <a:gd name="T42" fmla="*/ 15 w 20"/>
                  <a:gd name="T43" fmla="*/ 0 h 27"/>
                  <a:gd name="T44" fmla="*/ 19 w 20"/>
                  <a:gd name="T45" fmla="*/ 2 h 27"/>
                  <a:gd name="T46" fmla="*/ 19 w 20"/>
                  <a:gd name="T47" fmla="*/ 6 h 27"/>
                  <a:gd name="T48" fmla="*/ 19 w 20"/>
                  <a:gd name="T49" fmla="*/ 6 h 27"/>
                  <a:gd name="T50" fmla="*/ 15 w 20"/>
                  <a:gd name="T51" fmla="*/ 4 h 27"/>
                  <a:gd name="T52" fmla="*/ 10 w 20"/>
                  <a:gd name="T53" fmla="*/ 3 h 27"/>
                  <a:gd name="T54" fmla="*/ 6 w 20"/>
                  <a:gd name="T55" fmla="*/ 4 h 27"/>
                  <a:gd name="T56" fmla="*/ 4 w 20"/>
                  <a:gd name="T57" fmla="*/ 7 h 27"/>
                  <a:gd name="T58" fmla="*/ 5 w 20"/>
                  <a:gd name="T59" fmla="*/ 10 h 27"/>
                  <a:gd name="T60" fmla="*/ 9 w 20"/>
                  <a:gd name="T61" fmla="*/ 11 h 27"/>
                  <a:gd name="T62" fmla="*/ 11 w 20"/>
                  <a:gd name="T63" fmla="*/ 11 h 27"/>
                  <a:gd name="T64" fmla="*/ 14 w 20"/>
                  <a:gd name="T65" fmla="*/ 12 h 27"/>
                  <a:gd name="T66" fmla="*/ 19 w 20"/>
                  <a:gd name="T67" fmla="*/ 14 h 27"/>
                  <a:gd name="T68" fmla="*/ 20 w 20"/>
                  <a:gd name="T6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27">
                    <a:moveTo>
                      <a:pt x="20" y="19"/>
                    </a:moveTo>
                    <a:cubicBezTo>
                      <a:pt x="20" y="21"/>
                      <a:pt x="19" y="23"/>
                      <a:pt x="17" y="25"/>
                    </a:cubicBezTo>
                    <a:cubicBezTo>
                      <a:pt x="15" y="27"/>
                      <a:pt x="13" y="27"/>
                      <a:pt x="9" y="27"/>
                    </a:cubicBezTo>
                    <a:cubicBezTo>
                      <a:pt x="7" y="27"/>
                      <a:pt x="5" y="27"/>
                      <a:pt x="4" y="27"/>
                    </a:cubicBezTo>
                    <a:cubicBezTo>
                      <a:pt x="2" y="26"/>
                      <a:pt x="1" y="26"/>
                      <a:pt x="0" y="25"/>
                    </a:cubicBezTo>
                    <a:lnTo>
                      <a:pt x="0" y="20"/>
                    </a:lnTo>
                    <a:lnTo>
                      <a:pt x="0" y="20"/>
                    </a:lnTo>
                    <a:cubicBezTo>
                      <a:pt x="1" y="21"/>
                      <a:pt x="3" y="22"/>
                      <a:pt x="5" y="23"/>
                    </a:cubicBezTo>
                    <a:cubicBezTo>
                      <a:pt x="6" y="23"/>
                      <a:pt x="8" y="24"/>
                      <a:pt x="9" y="24"/>
                    </a:cubicBezTo>
                    <a:cubicBezTo>
                      <a:pt x="11" y="24"/>
                      <a:pt x="13" y="23"/>
                      <a:pt x="14" y="23"/>
                    </a:cubicBezTo>
                    <a:cubicBezTo>
                      <a:pt x="15" y="22"/>
                      <a:pt x="16" y="21"/>
                      <a:pt x="16" y="20"/>
                    </a:cubicBezTo>
                    <a:cubicBezTo>
                      <a:pt x="16" y="19"/>
                      <a:pt x="15" y="18"/>
                      <a:pt x="15" y="17"/>
                    </a:cubicBezTo>
                    <a:cubicBezTo>
                      <a:pt x="14" y="17"/>
                      <a:pt x="13" y="16"/>
                      <a:pt x="11" y="16"/>
                    </a:cubicBezTo>
                    <a:cubicBezTo>
                      <a:pt x="11" y="16"/>
                      <a:pt x="10" y="16"/>
                      <a:pt x="9" y="15"/>
                    </a:cubicBezTo>
                    <a:cubicBezTo>
                      <a:pt x="8" y="15"/>
                      <a:pt x="7" y="15"/>
                      <a:pt x="6" y="15"/>
                    </a:cubicBezTo>
                    <a:cubicBezTo>
                      <a:pt x="4" y="14"/>
                      <a:pt x="2" y="13"/>
                      <a:pt x="1" y="12"/>
                    </a:cubicBezTo>
                    <a:cubicBezTo>
                      <a:pt x="0" y="11"/>
                      <a:pt x="0" y="9"/>
                      <a:pt x="0" y="8"/>
                    </a:cubicBezTo>
                    <a:cubicBezTo>
                      <a:pt x="0" y="7"/>
                      <a:pt x="0" y="6"/>
                      <a:pt x="0" y="5"/>
                    </a:cubicBezTo>
                    <a:cubicBezTo>
                      <a:pt x="1" y="4"/>
                      <a:pt x="2" y="3"/>
                      <a:pt x="2" y="2"/>
                    </a:cubicBezTo>
                    <a:cubicBezTo>
                      <a:pt x="3" y="1"/>
                      <a:pt x="4" y="1"/>
                      <a:pt x="6" y="0"/>
                    </a:cubicBezTo>
                    <a:cubicBezTo>
                      <a:pt x="7" y="0"/>
                      <a:pt x="9" y="0"/>
                      <a:pt x="10" y="0"/>
                    </a:cubicBezTo>
                    <a:cubicBezTo>
                      <a:pt x="12" y="0"/>
                      <a:pt x="14" y="0"/>
                      <a:pt x="15" y="0"/>
                    </a:cubicBezTo>
                    <a:cubicBezTo>
                      <a:pt x="17" y="1"/>
                      <a:pt x="18" y="1"/>
                      <a:pt x="19" y="2"/>
                    </a:cubicBezTo>
                    <a:lnTo>
                      <a:pt x="19" y="6"/>
                    </a:lnTo>
                    <a:lnTo>
                      <a:pt x="19" y="6"/>
                    </a:lnTo>
                    <a:cubicBezTo>
                      <a:pt x="18" y="6"/>
                      <a:pt x="16" y="5"/>
                      <a:pt x="15" y="4"/>
                    </a:cubicBezTo>
                    <a:cubicBezTo>
                      <a:pt x="13" y="4"/>
                      <a:pt x="12" y="3"/>
                      <a:pt x="10" y="3"/>
                    </a:cubicBezTo>
                    <a:cubicBezTo>
                      <a:pt x="8" y="3"/>
                      <a:pt x="7" y="4"/>
                      <a:pt x="6" y="4"/>
                    </a:cubicBezTo>
                    <a:cubicBezTo>
                      <a:pt x="5" y="5"/>
                      <a:pt x="4" y="6"/>
                      <a:pt x="4" y="7"/>
                    </a:cubicBezTo>
                    <a:cubicBezTo>
                      <a:pt x="4" y="8"/>
                      <a:pt x="5" y="9"/>
                      <a:pt x="5" y="10"/>
                    </a:cubicBezTo>
                    <a:cubicBezTo>
                      <a:pt x="6" y="10"/>
                      <a:pt x="7" y="11"/>
                      <a:pt x="9" y="11"/>
                    </a:cubicBezTo>
                    <a:cubicBezTo>
                      <a:pt x="9" y="11"/>
                      <a:pt x="10" y="11"/>
                      <a:pt x="11" y="11"/>
                    </a:cubicBezTo>
                    <a:cubicBezTo>
                      <a:pt x="12" y="12"/>
                      <a:pt x="13" y="12"/>
                      <a:pt x="14" y="12"/>
                    </a:cubicBezTo>
                    <a:cubicBezTo>
                      <a:pt x="16" y="12"/>
                      <a:pt x="17" y="13"/>
                      <a:pt x="19" y="14"/>
                    </a:cubicBezTo>
                    <a:cubicBezTo>
                      <a:pt x="20" y="16"/>
                      <a:pt x="20" y="17"/>
                      <a:pt x="20"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59"/>
              <p:cNvSpPr>
                <a:spLocks noEditPoints="1"/>
              </p:cNvSpPr>
              <p:nvPr/>
            </p:nvSpPr>
            <p:spPr bwMode="auto">
              <a:xfrm>
                <a:off x="324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5"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60"/>
              <p:cNvSpPr>
                <a:spLocks noEditPoints="1"/>
              </p:cNvSpPr>
              <p:nvPr/>
            </p:nvSpPr>
            <p:spPr bwMode="auto">
              <a:xfrm>
                <a:off x="3259" y="2323"/>
                <a:ext cx="11" cy="18"/>
              </a:xfrm>
              <a:custGeom>
                <a:avLst/>
                <a:gdLst>
                  <a:gd name="T0" fmla="*/ 23 w 23"/>
                  <a:gd name="T1" fmla="*/ 23 h 37"/>
                  <a:gd name="T2" fmla="*/ 22 w 23"/>
                  <a:gd name="T3" fmla="*/ 29 h 37"/>
                  <a:gd name="T4" fmla="*/ 19 w 23"/>
                  <a:gd name="T5" fmla="*/ 34 h 37"/>
                  <a:gd name="T6" fmla="*/ 16 w 23"/>
                  <a:gd name="T7" fmla="*/ 36 h 37"/>
                  <a:gd name="T8" fmla="*/ 11 w 23"/>
                  <a:gd name="T9" fmla="*/ 37 h 37"/>
                  <a:gd name="T10" fmla="*/ 7 w 23"/>
                  <a:gd name="T11" fmla="*/ 37 h 37"/>
                  <a:gd name="T12" fmla="*/ 4 w 23"/>
                  <a:gd name="T13" fmla="*/ 35 h 37"/>
                  <a:gd name="T14" fmla="*/ 4 w 23"/>
                  <a:gd name="T15" fmla="*/ 37 h 37"/>
                  <a:gd name="T16" fmla="*/ 0 w 23"/>
                  <a:gd name="T17" fmla="*/ 37 h 37"/>
                  <a:gd name="T18" fmla="*/ 0 w 23"/>
                  <a:gd name="T19" fmla="*/ 0 h 37"/>
                  <a:gd name="T20" fmla="*/ 4 w 23"/>
                  <a:gd name="T21" fmla="*/ 0 h 37"/>
                  <a:gd name="T22" fmla="*/ 4 w 23"/>
                  <a:gd name="T23" fmla="*/ 13 h 37"/>
                  <a:gd name="T24" fmla="*/ 8 w 23"/>
                  <a:gd name="T25" fmla="*/ 11 h 37"/>
                  <a:gd name="T26" fmla="*/ 13 w 23"/>
                  <a:gd name="T27" fmla="*/ 10 h 37"/>
                  <a:gd name="T28" fmla="*/ 20 w 23"/>
                  <a:gd name="T29" fmla="*/ 13 h 37"/>
                  <a:gd name="T30" fmla="*/ 23 w 23"/>
                  <a:gd name="T31" fmla="*/ 23 h 37"/>
                  <a:gd name="T32" fmla="*/ 18 w 23"/>
                  <a:gd name="T33" fmla="*/ 23 h 37"/>
                  <a:gd name="T34" fmla="*/ 17 w 23"/>
                  <a:gd name="T35" fmla="*/ 16 h 37"/>
                  <a:gd name="T36" fmla="*/ 12 w 23"/>
                  <a:gd name="T37" fmla="*/ 14 h 37"/>
                  <a:gd name="T38" fmla="*/ 8 w 23"/>
                  <a:gd name="T39" fmla="*/ 15 h 37"/>
                  <a:gd name="T40" fmla="*/ 4 w 23"/>
                  <a:gd name="T41" fmla="*/ 17 h 37"/>
                  <a:gd name="T42" fmla="*/ 4 w 23"/>
                  <a:gd name="T43" fmla="*/ 32 h 37"/>
                  <a:gd name="T44" fmla="*/ 7 w 23"/>
                  <a:gd name="T45" fmla="*/ 33 h 37"/>
                  <a:gd name="T46" fmla="*/ 10 w 23"/>
                  <a:gd name="T47" fmla="*/ 33 h 37"/>
                  <a:gd name="T48" fmla="*/ 16 w 23"/>
                  <a:gd name="T49" fmla="*/ 31 h 37"/>
                  <a:gd name="T50" fmla="*/ 18 w 23"/>
                  <a:gd name="T5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7">
                    <a:moveTo>
                      <a:pt x="23" y="23"/>
                    </a:moveTo>
                    <a:cubicBezTo>
                      <a:pt x="23" y="25"/>
                      <a:pt x="23" y="27"/>
                      <a:pt x="22" y="29"/>
                    </a:cubicBezTo>
                    <a:cubicBezTo>
                      <a:pt x="21" y="31"/>
                      <a:pt x="20" y="32"/>
                      <a:pt x="19" y="34"/>
                    </a:cubicBezTo>
                    <a:cubicBezTo>
                      <a:pt x="18" y="35"/>
                      <a:pt x="17" y="36"/>
                      <a:pt x="16" y="36"/>
                    </a:cubicBezTo>
                    <a:cubicBezTo>
                      <a:pt x="14" y="37"/>
                      <a:pt x="13" y="37"/>
                      <a:pt x="11" y="37"/>
                    </a:cubicBezTo>
                    <a:cubicBezTo>
                      <a:pt x="10" y="37"/>
                      <a:pt x="8" y="37"/>
                      <a:pt x="7" y="37"/>
                    </a:cubicBezTo>
                    <a:cubicBezTo>
                      <a:pt x="6" y="37"/>
                      <a:pt x="5" y="36"/>
                      <a:pt x="4" y="35"/>
                    </a:cubicBezTo>
                    <a:lnTo>
                      <a:pt x="4" y="37"/>
                    </a:lnTo>
                    <a:lnTo>
                      <a:pt x="0" y="37"/>
                    </a:lnTo>
                    <a:lnTo>
                      <a:pt x="0" y="0"/>
                    </a:lnTo>
                    <a:lnTo>
                      <a:pt x="4" y="0"/>
                    </a:lnTo>
                    <a:lnTo>
                      <a:pt x="4" y="13"/>
                    </a:lnTo>
                    <a:cubicBezTo>
                      <a:pt x="5" y="12"/>
                      <a:pt x="7" y="11"/>
                      <a:pt x="8" y="11"/>
                    </a:cubicBezTo>
                    <a:cubicBezTo>
                      <a:pt x="9" y="10"/>
                      <a:pt x="11" y="10"/>
                      <a:pt x="13" y="10"/>
                    </a:cubicBezTo>
                    <a:cubicBezTo>
                      <a:pt x="16" y="10"/>
                      <a:pt x="18" y="11"/>
                      <a:pt x="20" y="13"/>
                    </a:cubicBezTo>
                    <a:cubicBezTo>
                      <a:pt x="22" y="16"/>
                      <a:pt x="23" y="19"/>
                      <a:pt x="23" y="23"/>
                    </a:cubicBezTo>
                    <a:close/>
                    <a:moveTo>
                      <a:pt x="18" y="23"/>
                    </a:moveTo>
                    <a:cubicBezTo>
                      <a:pt x="18" y="20"/>
                      <a:pt x="18" y="18"/>
                      <a:pt x="17" y="16"/>
                    </a:cubicBezTo>
                    <a:cubicBezTo>
                      <a:pt x="16" y="15"/>
                      <a:pt x="14" y="14"/>
                      <a:pt x="12" y="14"/>
                    </a:cubicBezTo>
                    <a:cubicBezTo>
                      <a:pt x="10" y="14"/>
                      <a:pt x="9" y="14"/>
                      <a:pt x="8" y="15"/>
                    </a:cubicBezTo>
                    <a:cubicBezTo>
                      <a:pt x="6" y="15"/>
                      <a:pt x="5" y="16"/>
                      <a:pt x="4" y="17"/>
                    </a:cubicBezTo>
                    <a:lnTo>
                      <a:pt x="4" y="32"/>
                    </a:lnTo>
                    <a:cubicBezTo>
                      <a:pt x="5" y="32"/>
                      <a:pt x="6" y="33"/>
                      <a:pt x="7" y="33"/>
                    </a:cubicBezTo>
                    <a:cubicBezTo>
                      <a:pt x="8" y="33"/>
                      <a:pt x="9" y="33"/>
                      <a:pt x="10" y="33"/>
                    </a:cubicBezTo>
                    <a:cubicBezTo>
                      <a:pt x="13" y="33"/>
                      <a:pt x="15" y="33"/>
                      <a:pt x="16" y="31"/>
                    </a:cubicBezTo>
                    <a:cubicBezTo>
                      <a:pt x="18" y="29"/>
                      <a:pt x="18" y="27"/>
                      <a:pt x="18" y="2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61"/>
              <p:cNvSpPr>
                <a:spLocks noEditPoints="1"/>
              </p:cNvSpPr>
              <p:nvPr/>
            </p:nvSpPr>
            <p:spPr bwMode="auto">
              <a:xfrm>
                <a:off x="3272" y="2328"/>
                <a:ext cx="11" cy="13"/>
              </a:xfrm>
              <a:custGeom>
                <a:avLst/>
                <a:gdLst>
                  <a:gd name="T0" fmla="*/ 24 w 24"/>
                  <a:gd name="T1" fmla="*/ 14 h 27"/>
                  <a:gd name="T2" fmla="*/ 5 w 24"/>
                  <a:gd name="T3" fmla="*/ 14 h 27"/>
                  <a:gd name="T4" fmla="*/ 5 w 24"/>
                  <a:gd name="T5" fmla="*/ 18 h 27"/>
                  <a:gd name="T6" fmla="*/ 7 w 24"/>
                  <a:gd name="T7" fmla="*/ 21 h 27"/>
                  <a:gd name="T8" fmla="*/ 10 w 24"/>
                  <a:gd name="T9" fmla="*/ 23 h 27"/>
                  <a:gd name="T10" fmla="*/ 14 w 24"/>
                  <a:gd name="T11" fmla="*/ 23 h 27"/>
                  <a:gd name="T12" fmla="*/ 19 w 24"/>
                  <a:gd name="T13" fmla="*/ 22 h 27"/>
                  <a:gd name="T14" fmla="*/ 23 w 24"/>
                  <a:gd name="T15" fmla="*/ 20 h 27"/>
                  <a:gd name="T16" fmla="*/ 24 w 24"/>
                  <a:gd name="T17" fmla="*/ 20 h 27"/>
                  <a:gd name="T18" fmla="*/ 24 w 24"/>
                  <a:gd name="T19" fmla="*/ 25 h 27"/>
                  <a:gd name="T20" fmla="*/ 19 w 24"/>
                  <a:gd name="T21" fmla="*/ 27 h 27"/>
                  <a:gd name="T22" fmla="*/ 14 w 24"/>
                  <a:gd name="T23" fmla="*/ 27 h 27"/>
                  <a:gd name="T24" fmla="*/ 4 w 24"/>
                  <a:gd name="T25" fmla="*/ 24 h 27"/>
                  <a:gd name="T26" fmla="*/ 0 w 24"/>
                  <a:gd name="T27" fmla="*/ 14 h 27"/>
                  <a:gd name="T28" fmla="*/ 4 w 24"/>
                  <a:gd name="T29" fmla="*/ 3 h 27"/>
                  <a:gd name="T30" fmla="*/ 13 w 24"/>
                  <a:gd name="T31" fmla="*/ 0 h 27"/>
                  <a:gd name="T32" fmla="*/ 21 w 24"/>
                  <a:gd name="T33" fmla="*/ 3 h 27"/>
                  <a:gd name="T34" fmla="*/ 24 w 24"/>
                  <a:gd name="T35" fmla="*/ 12 h 27"/>
                  <a:gd name="T36" fmla="*/ 24 w 24"/>
                  <a:gd name="T37" fmla="*/ 14 h 27"/>
                  <a:gd name="T38" fmla="*/ 20 w 24"/>
                  <a:gd name="T39" fmla="*/ 11 h 27"/>
                  <a:gd name="T40" fmla="*/ 18 w 24"/>
                  <a:gd name="T41" fmla="*/ 5 h 27"/>
                  <a:gd name="T42" fmla="*/ 13 w 24"/>
                  <a:gd name="T43" fmla="*/ 3 h 27"/>
                  <a:gd name="T44" fmla="*/ 7 w 24"/>
                  <a:gd name="T45" fmla="*/ 5 h 27"/>
                  <a:gd name="T46" fmla="*/ 5 w 24"/>
                  <a:gd name="T47" fmla="*/ 11 h 27"/>
                  <a:gd name="T48" fmla="*/ 20 w 24"/>
                  <a:gd name="T49"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7">
                    <a:moveTo>
                      <a:pt x="24" y="14"/>
                    </a:moveTo>
                    <a:lnTo>
                      <a:pt x="5" y="14"/>
                    </a:lnTo>
                    <a:cubicBezTo>
                      <a:pt x="5" y="16"/>
                      <a:pt x="5" y="17"/>
                      <a:pt x="5" y="18"/>
                    </a:cubicBezTo>
                    <a:cubicBezTo>
                      <a:pt x="6" y="19"/>
                      <a:pt x="7" y="20"/>
                      <a:pt x="7" y="21"/>
                    </a:cubicBezTo>
                    <a:cubicBezTo>
                      <a:pt x="8" y="22"/>
                      <a:pt x="9" y="22"/>
                      <a:pt x="10" y="23"/>
                    </a:cubicBezTo>
                    <a:cubicBezTo>
                      <a:pt x="11" y="23"/>
                      <a:pt x="13" y="23"/>
                      <a:pt x="14" y="23"/>
                    </a:cubicBezTo>
                    <a:cubicBezTo>
                      <a:pt x="16" y="23"/>
                      <a:pt x="18" y="23"/>
                      <a:pt x="19" y="22"/>
                    </a:cubicBezTo>
                    <a:cubicBezTo>
                      <a:pt x="21" y="22"/>
                      <a:pt x="23" y="21"/>
                      <a:pt x="23" y="20"/>
                    </a:cubicBezTo>
                    <a:lnTo>
                      <a:pt x="24" y="20"/>
                    </a:lnTo>
                    <a:lnTo>
                      <a:pt x="24" y="25"/>
                    </a:lnTo>
                    <a:cubicBezTo>
                      <a:pt x="22" y="26"/>
                      <a:pt x="21" y="26"/>
                      <a:pt x="19" y="27"/>
                    </a:cubicBezTo>
                    <a:cubicBezTo>
                      <a:pt x="17" y="27"/>
                      <a:pt x="16" y="27"/>
                      <a:pt x="14" y="27"/>
                    </a:cubicBezTo>
                    <a:cubicBezTo>
                      <a:pt x="10" y="27"/>
                      <a:pt x="6" y="26"/>
                      <a:pt x="4" y="24"/>
                    </a:cubicBezTo>
                    <a:cubicBezTo>
                      <a:pt x="1" y="21"/>
                      <a:pt x="0" y="18"/>
                      <a:pt x="0" y="14"/>
                    </a:cubicBezTo>
                    <a:cubicBezTo>
                      <a:pt x="0" y="9"/>
                      <a:pt x="1" y="6"/>
                      <a:pt x="4" y="3"/>
                    </a:cubicBezTo>
                    <a:cubicBezTo>
                      <a:pt x="6" y="1"/>
                      <a:pt x="9" y="0"/>
                      <a:pt x="13" y="0"/>
                    </a:cubicBezTo>
                    <a:cubicBezTo>
                      <a:pt x="17" y="0"/>
                      <a:pt x="19" y="1"/>
                      <a:pt x="21" y="3"/>
                    </a:cubicBezTo>
                    <a:cubicBezTo>
                      <a:pt x="23" y="5"/>
                      <a:pt x="24" y="8"/>
                      <a:pt x="24" y="12"/>
                    </a:cubicBezTo>
                    <a:lnTo>
                      <a:pt x="24" y="14"/>
                    </a:lnTo>
                    <a:close/>
                    <a:moveTo>
                      <a:pt x="20" y="11"/>
                    </a:moveTo>
                    <a:cubicBezTo>
                      <a:pt x="20" y="8"/>
                      <a:pt x="19" y="6"/>
                      <a:pt x="18" y="5"/>
                    </a:cubicBezTo>
                    <a:cubicBezTo>
                      <a:pt x="17" y="4"/>
                      <a:pt x="15" y="3"/>
                      <a:pt x="13" y="3"/>
                    </a:cubicBezTo>
                    <a:cubicBezTo>
                      <a:pt x="10" y="3"/>
                      <a:pt x="8" y="4"/>
                      <a:pt x="7" y="5"/>
                    </a:cubicBezTo>
                    <a:cubicBezTo>
                      <a:pt x="6" y="7"/>
                      <a:pt x="5" y="8"/>
                      <a:pt x="5" y="11"/>
                    </a:cubicBezTo>
                    <a:lnTo>
                      <a:pt x="20"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62"/>
              <p:cNvSpPr>
                <a:spLocks/>
              </p:cNvSpPr>
              <p:nvPr/>
            </p:nvSpPr>
            <p:spPr bwMode="auto">
              <a:xfrm>
                <a:off x="3285" y="2328"/>
                <a:ext cx="8"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63"/>
              <p:cNvSpPr>
                <a:spLocks/>
              </p:cNvSpPr>
              <p:nvPr/>
            </p:nvSpPr>
            <p:spPr bwMode="auto">
              <a:xfrm>
                <a:off x="3294" y="2328"/>
                <a:ext cx="9" cy="13"/>
              </a:xfrm>
              <a:custGeom>
                <a:avLst/>
                <a:gdLst>
                  <a:gd name="T0" fmla="*/ 17 w 17"/>
                  <a:gd name="T1" fmla="*/ 5 h 27"/>
                  <a:gd name="T2" fmla="*/ 16 w 17"/>
                  <a:gd name="T3" fmla="*/ 5 h 27"/>
                  <a:gd name="T4" fmla="*/ 15 w 17"/>
                  <a:gd name="T5" fmla="*/ 5 h 27"/>
                  <a:gd name="T6" fmla="*/ 12 w 17"/>
                  <a:gd name="T7" fmla="*/ 5 h 27"/>
                  <a:gd name="T8" fmla="*/ 8 w 17"/>
                  <a:gd name="T9" fmla="*/ 6 h 27"/>
                  <a:gd name="T10" fmla="*/ 5 w 17"/>
                  <a:gd name="T11" fmla="*/ 8 h 27"/>
                  <a:gd name="T12" fmla="*/ 5 w 17"/>
                  <a:gd name="T13" fmla="*/ 27 h 27"/>
                  <a:gd name="T14" fmla="*/ 0 w 17"/>
                  <a:gd name="T15" fmla="*/ 27 h 27"/>
                  <a:gd name="T16" fmla="*/ 0 w 17"/>
                  <a:gd name="T17" fmla="*/ 0 h 27"/>
                  <a:gd name="T18" fmla="*/ 5 w 17"/>
                  <a:gd name="T19" fmla="*/ 0 h 27"/>
                  <a:gd name="T20" fmla="*/ 5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5" y="5"/>
                    </a:cubicBezTo>
                    <a:cubicBezTo>
                      <a:pt x="14" y="5"/>
                      <a:pt x="13" y="5"/>
                      <a:pt x="12" y="5"/>
                    </a:cubicBezTo>
                    <a:cubicBezTo>
                      <a:pt x="11" y="5"/>
                      <a:pt x="10" y="5"/>
                      <a:pt x="8" y="6"/>
                    </a:cubicBezTo>
                    <a:cubicBezTo>
                      <a:pt x="7" y="6"/>
                      <a:pt x="6" y="7"/>
                      <a:pt x="5" y="8"/>
                    </a:cubicBezTo>
                    <a:lnTo>
                      <a:pt x="5" y="27"/>
                    </a:lnTo>
                    <a:lnTo>
                      <a:pt x="0" y="27"/>
                    </a:lnTo>
                    <a:lnTo>
                      <a:pt x="0" y="0"/>
                    </a:lnTo>
                    <a:lnTo>
                      <a:pt x="5" y="0"/>
                    </a:lnTo>
                    <a:lnTo>
                      <a:pt x="5" y="4"/>
                    </a:lnTo>
                    <a:cubicBezTo>
                      <a:pt x="6" y="3"/>
                      <a:pt x="8" y="2"/>
                      <a:pt x="9" y="1"/>
                    </a:cubicBezTo>
                    <a:cubicBezTo>
                      <a:pt x="11"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64"/>
              <p:cNvSpPr>
                <a:spLocks/>
              </p:cNvSpPr>
              <p:nvPr/>
            </p:nvSpPr>
            <p:spPr bwMode="auto">
              <a:xfrm>
                <a:off x="3303" y="2328"/>
                <a:ext cx="12" cy="17"/>
              </a:xfrm>
              <a:custGeom>
                <a:avLst/>
                <a:gdLst>
                  <a:gd name="T0" fmla="*/ 12 w 12"/>
                  <a:gd name="T1" fmla="*/ 0 h 17"/>
                  <a:gd name="T2" fmla="*/ 4 w 12"/>
                  <a:gd name="T3" fmla="*/ 17 h 17"/>
                  <a:gd name="T4" fmla="*/ 2 w 12"/>
                  <a:gd name="T5" fmla="*/ 17 h 17"/>
                  <a:gd name="T6" fmla="*/ 4 w 12"/>
                  <a:gd name="T7" fmla="*/ 12 h 17"/>
                  <a:gd name="T8" fmla="*/ 0 w 12"/>
                  <a:gd name="T9" fmla="*/ 0 h 17"/>
                  <a:gd name="T10" fmla="*/ 2 w 12"/>
                  <a:gd name="T11" fmla="*/ 0 h 17"/>
                  <a:gd name="T12" fmla="*/ 6 w 12"/>
                  <a:gd name="T13" fmla="*/ 9 h 17"/>
                  <a:gd name="T14" fmla="*/ 10 w 12"/>
                  <a:gd name="T15" fmla="*/ 0 h 17"/>
                  <a:gd name="T16" fmla="*/ 12 w 1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7">
                    <a:moveTo>
                      <a:pt x="12" y="0"/>
                    </a:moveTo>
                    <a:lnTo>
                      <a:pt x="4" y="17"/>
                    </a:lnTo>
                    <a:lnTo>
                      <a:pt x="2" y="17"/>
                    </a:lnTo>
                    <a:lnTo>
                      <a:pt x="4" y="12"/>
                    </a:lnTo>
                    <a:lnTo>
                      <a:pt x="0" y="0"/>
                    </a:lnTo>
                    <a:lnTo>
                      <a:pt x="2" y="0"/>
                    </a:lnTo>
                    <a:lnTo>
                      <a:pt x="6" y="9"/>
                    </a:lnTo>
                    <a:lnTo>
                      <a:pt x="10"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65"/>
              <p:cNvSpPr>
                <a:spLocks noEditPoints="1"/>
              </p:cNvSpPr>
              <p:nvPr/>
            </p:nvSpPr>
            <p:spPr bwMode="auto">
              <a:xfrm>
                <a:off x="331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4"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3329" y="2323"/>
                <a:ext cx="2" cy="18"/>
              </a:xfrm>
              <a:custGeom>
                <a:avLst/>
                <a:gdLst>
                  <a:gd name="T0" fmla="*/ 5 w 5"/>
                  <a:gd name="T1" fmla="*/ 5 h 36"/>
                  <a:gd name="T2" fmla="*/ 0 w 5"/>
                  <a:gd name="T3" fmla="*/ 5 h 36"/>
                  <a:gd name="T4" fmla="*/ 0 w 5"/>
                  <a:gd name="T5" fmla="*/ 0 h 36"/>
                  <a:gd name="T6" fmla="*/ 5 w 5"/>
                  <a:gd name="T7" fmla="*/ 0 h 36"/>
                  <a:gd name="T8" fmla="*/ 5 w 5"/>
                  <a:gd name="T9" fmla="*/ 5 h 36"/>
                  <a:gd name="T10" fmla="*/ 5 w 5"/>
                  <a:gd name="T11" fmla="*/ 36 h 36"/>
                  <a:gd name="T12" fmla="*/ 1 w 5"/>
                  <a:gd name="T13" fmla="*/ 36 h 36"/>
                  <a:gd name="T14" fmla="*/ 1 w 5"/>
                  <a:gd name="T15" fmla="*/ 9 h 36"/>
                  <a:gd name="T16" fmla="*/ 5 w 5"/>
                  <a:gd name="T17" fmla="*/ 9 h 36"/>
                  <a:gd name="T18" fmla="*/ 5 w 5"/>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6">
                    <a:moveTo>
                      <a:pt x="5" y="5"/>
                    </a:moveTo>
                    <a:lnTo>
                      <a:pt x="0" y="5"/>
                    </a:lnTo>
                    <a:lnTo>
                      <a:pt x="0" y="0"/>
                    </a:lnTo>
                    <a:lnTo>
                      <a:pt x="5" y="0"/>
                    </a:lnTo>
                    <a:lnTo>
                      <a:pt x="5" y="5"/>
                    </a:lnTo>
                    <a:close/>
                    <a:moveTo>
                      <a:pt x="5" y="36"/>
                    </a:moveTo>
                    <a:lnTo>
                      <a:pt x="1" y="36"/>
                    </a:lnTo>
                    <a:lnTo>
                      <a:pt x="1" y="9"/>
                    </a:lnTo>
                    <a:lnTo>
                      <a:pt x="5" y="9"/>
                    </a:lnTo>
                    <a:lnTo>
                      <a:pt x="5"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Rectangle 67"/>
              <p:cNvSpPr>
                <a:spLocks noChangeArrowheads="1"/>
              </p:cNvSpPr>
              <p:nvPr/>
            </p:nvSpPr>
            <p:spPr bwMode="auto">
              <a:xfrm>
                <a:off x="3336" y="2337"/>
                <a:ext cx="2"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68"/>
              <p:cNvSpPr>
                <a:spLocks noEditPoints="1"/>
              </p:cNvSpPr>
              <p:nvPr/>
            </p:nvSpPr>
            <p:spPr bwMode="auto">
              <a:xfrm>
                <a:off x="3340" y="2328"/>
                <a:ext cx="12" cy="13"/>
              </a:xfrm>
              <a:custGeom>
                <a:avLst/>
                <a:gdLst>
                  <a:gd name="T0" fmla="*/ 25 w 25"/>
                  <a:gd name="T1" fmla="*/ 13 h 27"/>
                  <a:gd name="T2" fmla="*/ 21 w 25"/>
                  <a:gd name="T3" fmla="*/ 24 h 27"/>
                  <a:gd name="T4" fmla="*/ 12 w 25"/>
                  <a:gd name="T5" fmla="*/ 27 h 27"/>
                  <a:gd name="T6" fmla="*/ 4 w 25"/>
                  <a:gd name="T7" fmla="*/ 24 h 27"/>
                  <a:gd name="T8" fmla="*/ 0 w 25"/>
                  <a:gd name="T9" fmla="*/ 13 h 27"/>
                  <a:gd name="T10" fmla="*/ 4 w 25"/>
                  <a:gd name="T11" fmla="*/ 3 h 27"/>
                  <a:gd name="T12" fmla="*/ 12 w 25"/>
                  <a:gd name="T13" fmla="*/ 0 h 27"/>
                  <a:gd name="T14" fmla="*/ 21 w 25"/>
                  <a:gd name="T15" fmla="*/ 3 h 27"/>
                  <a:gd name="T16" fmla="*/ 25 w 25"/>
                  <a:gd name="T17" fmla="*/ 13 h 27"/>
                  <a:gd name="T18" fmla="*/ 20 w 25"/>
                  <a:gd name="T19" fmla="*/ 13 h 27"/>
                  <a:gd name="T20" fmla="*/ 18 w 25"/>
                  <a:gd name="T21" fmla="*/ 6 h 27"/>
                  <a:gd name="T22" fmla="*/ 12 w 25"/>
                  <a:gd name="T23" fmla="*/ 3 h 27"/>
                  <a:gd name="T24" fmla="*/ 7 w 25"/>
                  <a:gd name="T25" fmla="*/ 6 h 27"/>
                  <a:gd name="T26" fmla="*/ 5 w 25"/>
                  <a:gd name="T27" fmla="*/ 13 h 27"/>
                  <a:gd name="T28" fmla="*/ 7 w 25"/>
                  <a:gd name="T29" fmla="*/ 21 h 27"/>
                  <a:gd name="T30" fmla="*/ 12 w 25"/>
                  <a:gd name="T31" fmla="*/ 24 h 27"/>
                  <a:gd name="T32" fmla="*/ 18 w 25"/>
                  <a:gd name="T33" fmla="*/ 21 h 27"/>
                  <a:gd name="T34" fmla="*/ 20 w 25"/>
                  <a:gd name="T3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25" y="13"/>
                    </a:moveTo>
                    <a:cubicBezTo>
                      <a:pt x="25" y="18"/>
                      <a:pt x="23" y="21"/>
                      <a:pt x="21" y="24"/>
                    </a:cubicBezTo>
                    <a:cubicBezTo>
                      <a:pt x="19" y="26"/>
                      <a:pt x="16" y="27"/>
                      <a:pt x="12" y="27"/>
                    </a:cubicBezTo>
                    <a:cubicBezTo>
                      <a:pt x="9" y="27"/>
                      <a:pt x="6" y="26"/>
                      <a:pt x="4" y="24"/>
                    </a:cubicBezTo>
                    <a:cubicBezTo>
                      <a:pt x="1" y="21"/>
                      <a:pt x="0" y="18"/>
                      <a:pt x="0" y="13"/>
                    </a:cubicBezTo>
                    <a:cubicBezTo>
                      <a:pt x="0" y="9"/>
                      <a:pt x="1" y="6"/>
                      <a:pt x="4" y="3"/>
                    </a:cubicBezTo>
                    <a:cubicBezTo>
                      <a:pt x="6" y="1"/>
                      <a:pt x="9" y="0"/>
                      <a:pt x="12" y="0"/>
                    </a:cubicBezTo>
                    <a:cubicBezTo>
                      <a:pt x="16" y="0"/>
                      <a:pt x="19" y="1"/>
                      <a:pt x="21" y="3"/>
                    </a:cubicBezTo>
                    <a:cubicBezTo>
                      <a:pt x="23" y="6"/>
                      <a:pt x="25" y="9"/>
                      <a:pt x="25" y="13"/>
                    </a:cubicBezTo>
                    <a:close/>
                    <a:moveTo>
                      <a:pt x="20" y="13"/>
                    </a:moveTo>
                    <a:cubicBezTo>
                      <a:pt x="20" y="10"/>
                      <a:pt x="19" y="8"/>
                      <a:pt x="18" y="6"/>
                    </a:cubicBezTo>
                    <a:cubicBezTo>
                      <a:pt x="17" y="4"/>
                      <a:pt x="15" y="3"/>
                      <a:pt x="12" y="3"/>
                    </a:cubicBezTo>
                    <a:cubicBezTo>
                      <a:pt x="10" y="3"/>
                      <a:pt x="8" y="4"/>
                      <a:pt x="7" y="6"/>
                    </a:cubicBezTo>
                    <a:cubicBezTo>
                      <a:pt x="5" y="8"/>
                      <a:pt x="5" y="10"/>
                      <a:pt x="5" y="13"/>
                    </a:cubicBezTo>
                    <a:cubicBezTo>
                      <a:pt x="5" y="17"/>
                      <a:pt x="5" y="19"/>
                      <a:pt x="7" y="21"/>
                    </a:cubicBezTo>
                    <a:cubicBezTo>
                      <a:pt x="8" y="23"/>
                      <a:pt x="10" y="24"/>
                      <a:pt x="12" y="24"/>
                    </a:cubicBezTo>
                    <a:cubicBezTo>
                      <a:pt x="15" y="24"/>
                      <a:pt x="17" y="23"/>
                      <a:pt x="18" y="21"/>
                    </a:cubicBezTo>
                    <a:cubicBezTo>
                      <a:pt x="19" y="19"/>
                      <a:pt x="20" y="17"/>
                      <a:pt x="20"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69"/>
              <p:cNvSpPr>
                <a:spLocks/>
              </p:cNvSpPr>
              <p:nvPr/>
            </p:nvSpPr>
            <p:spPr bwMode="auto">
              <a:xfrm>
                <a:off x="3354" y="2328"/>
                <a:ext cx="9" cy="13"/>
              </a:xfrm>
              <a:custGeom>
                <a:avLst/>
                <a:gdLst>
                  <a:gd name="T0" fmla="*/ 17 w 17"/>
                  <a:gd name="T1" fmla="*/ 5 h 27"/>
                  <a:gd name="T2" fmla="*/ 16 w 17"/>
                  <a:gd name="T3" fmla="*/ 5 h 27"/>
                  <a:gd name="T4" fmla="*/ 14 w 17"/>
                  <a:gd name="T5" fmla="*/ 5 h 27"/>
                  <a:gd name="T6" fmla="*/ 12 w 17"/>
                  <a:gd name="T7" fmla="*/ 5 h 27"/>
                  <a:gd name="T8" fmla="*/ 8 w 17"/>
                  <a:gd name="T9" fmla="*/ 6 h 27"/>
                  <a:gd name="T10" fmla="*/ 4 w 17"/>
                  <a:gd name="T11" fmla="*/ 8 h 27"/>
                  <a:gd name="T12" fmla="*/ 4 w 17"/>
                  <a:gd name="T13" fmla="*/ 27 h 27"/>
                  <a:gd name="T14" fmla="*/ 0 w 17"/>
                  <a:gd name="T15" fmla="*/ 27 h 27"/>
                  <a:gd name="T16" fmla="*/ 0 w 17"/>
                  <a:gd name="T17" fmla="*/ 0 h 27"/>
                  <a:gd name="T18" fmla="*/ 4 w 17"/>
                  <a:gd name="T19" fmla="*/ 0 h 27"/>
                  <a:gd name="T20" fmla="*/ 4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70"/>
              <p:cNvSpPr>
                <a:spLocks noEditPoints="1"/>
              </p:cNvSpPr>
              <p:nvPr/>
            </p:nvSpPr>
            <p:spPr bwMode="auto">
              <a:xfrm>
                <a:off x="3363" y="2328"/>
                <a:ext cx="11" cy="18"/>
              </a:xfrm>
              <a:custGeom>
                <a:avLst/>
                <a:gdLst>
                  <a:gd name="T0" fmla="*/ 23 w 23"/>
                  <a:gd name="T1" fmla="*/ 24 h 37"/>
                  <a:gd name="T2" fmla="*/ 20 w 23"/>
                  <a:gd name="T3" fmla="*/ 34 h 37"/>
                  <a:gd name="T4" fmla="*/ 11 w 23"/>
                  <a:gd name="T5" fmla="*/ 37 h 37"/>
                  <a:gd name="T6" fmla="*/ 7 w 23"/>
                  <a:gd name="T7" fmla="*/ 36 h 37"/>
                  <a:gd name="T8" fmla="*/ 3 w 23"/>
                  <a:gd name="T9" fmla="*/ 36 h 37"/>
                  <a:gd name="T10" fmla="*/ 3 w 23"/>
                  <a:gd name="T11" fmla="*/ 31 h 37"/>
                  <a:gd name="T12" fmla="*/ 3 w 23"/>
                  <a:gd name="T13" fmla="*/ 31 h 37"/>
                  <a:gd name="T14" fmla="*/ 7 w 23"/>
                  <a:gd name="T15" fmla="*/ 32 h 37"/>
                  <a:gd name="T16" fmla="*/ 11 w 23"/>
                  <a:gd name="T17" fmla="*/ 33 h 37"/>
                  <a:gd name="T18" fmla="*/ 15 w 23"/>
                  <a:gd name="T19" fmla="*/ 32 h 37"/>
                  <a:gd name="T20" fmla="*/ 17 w 23"/>
                  <a:gd name="T21" fmla="*/ 31 h 37"/>
                  <a:gd name="T22" fmla="*/ 18 w 23"/>
                  <a:gd name="T23" fmla="*/ 28 h 37"/>
                  <a:gd name="T24" fmla="*/ 19 w 23"/>
                  <a:gd name="T25" fmla="*/ 25 h 37"/>
                  <a:gd name="T26" fmla="*/ 19 w 23"/>
                  <a:gd name="T27" fmla="*/ 23 h 37"/>
                  <a:gd name="T28" fmla="*/ 15 w 23"/>
                  <a:gd name="T29" fmla="*/ 25 h 37"/>
                  <a:gd name="T30" fmla="*/ 10 w 23"/>
                  <a:gd name="T31" fmla="*/ 26 h 37"/>
                  <a:gd name="T32" fmla="*/ 3 w 23"/>
                  <a:gd name="T33" fmla="*/ 23 h 37"/>
                  <a:gd name="T34" fmla="*/ 0 w 23"/>
                  <a:gd name="T35" fmla="*/ 13 h 37"/>
                  <a:gd name="T36" fmla="*/ 1 w 23"/>
                  <a:gd name="T37" fmla="*/ 7 h 37"/>
                  <a:gd name="T38" fmla="*/ 4 w 23"/>
                  <a:gd name="T39" fmla="*/ 3 h 37"/>
                  <a:gd name="T40" fmla="*/ 7 w 23"/>
                  <a:gd name="T41" fmla="*/ 0 h 37"/>
                  <a:gd name="T42" fmla="*/ 12 w 23"/>
                  <a:gd name="T43" fmla="*/ 0 h 37"/>
                  <a:gd name="T44" fmla="*/ 16 w 23"/>
                  <a:gd name="T45" fmla="*/ 0 h 37"/>
                  <a:gd name="T46" fmla="*/ 19 w 23"/>
                  <a:gd name="T47" fmla="*/ 1 h 37"/>
                  <a:gd name="T48" fmla="*/ 19 w 23"/>
                  <a:gd name="T49" fmla="*/ 0 h 37"/>
                  <a:gd name="T50" fmla="*/ 23 w 23"/>
                  <a:gd name="T51" fmla="*/ 0 h 37"/>
                  <a:gd name="T52" fmla="*/ 23 w 23"/>
                  <a:gd name="T53" fmla="*/ 24 h 37"/>
                  <a:gd name="T54" fmla="*/ 19 w 23"/>
                  <a:gd name="T55" fmla="*/ 19 h 37"/>
                  <a:gd name="T56" fmla="*/ 19 w 23"/>
                  <a:gd name="T57" fmla="*/ 5 h 37"/>
                  <a:gd name="T58" fmla="*/ 16 w 23"/>
                  <a:gd name="T59" fmla="*/ 4 h 37"/>
                  <a:gd name="T60" fmla="*/ 13 w 23"/>
                  <a:gd name="T61" fmla="*/ 4 h 37"/>
                  <a:gd name="T62" fmla="*/ 7 w 23"/>
                  <a:gd name="T63" fmla="*/ 6 h 37"/>
                  <a:gd name="T64" fmla="*/ 5 w 23"/>
                  <a:gd name="T65" fmla="*/ 13 h 37"/>
                  <a:gd name="T66" fmla="*/ 6 w 23"/>
                  <a:gd name="T67" fmla="*/ 20 h 37"/>
                  <a:gd name="T68" fmla="*/ 11 w 23"/>
                  <a:gd name="T69" fmla="*/ 22 h 37"/>
                  <a:gd name="T70" fmla="*/ 15 w 23"/>
                  <a:gd name="T71" fmla="*/ 21 h 37"/>
                  <a:gd name="T72" fmla="*/ 19 w 23"/>
                  <a:gd name="T7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37">
                    <a:moveTo>
                      <a:pt x="23" y="24"/>
                    </a:moveTo>
                    <a:cubicBezTo>
                      <a:pt x="23" y="28"/>
                      <a:pt x="22" y="31"/>
                      <a:pt x="20" y="34"/>
                    </a:cubicBezTo>
                    <a:cubicBezTo>
                      <a:pt x="18" y="36"/>
                      <a:pt x="15" y="37"/>
                      <a:pt x="11" y="37"/>
                    </a:cubicBezTo>
                    <a:cubicBezTo>
                      <a:pt x="9" y="37"/>
                      <a:pt x="8" y="37"/>
                      <a:pt x="7" y="36"/>
                    </a:cubicBezTo>
                    <a:cubicBezTo>
                      <a:pt x="5" y="36"/>
                      <a:pt x="4" y="36"/>
                      <a:pt x="3" y="36"/>
                    </a:cubicBezTo>
                    <a:lnTo>
                      <a:pt x="3" y="31"/>
                    </a:lnTo>
                    <a:lnTo>
                      <a:pt x="3" y="31"/>
                    </a:lnTo>
                    <a:cubicBezTo>
                      <a:pt x="4" y="31"/>
                      <a:pt x="5" y="32"/>
                      <a:pt x="7" y="32"/>
                    </a:cubicBezTo>
                    <a:cubicBezTo>
                      <a:pt x="8" y="32"/>
                      <a:pt x="10" y="33"/>
                      <a:pt x="11" y="33"/>
                    </a:cubicBezTo>
                    <a:cubicBezTo>
                      <a:pt x="13" y="33"/>
                      <a:pt x="14" y="32"/>
                      <a:pt x="15" y="32"/>
                    </a:cubicBezTo>
                    <a:cubicBezTo>
                      <a:pt x="16" y="32"/>
                      <a:pt x="17" y="31"/>
                      <a:pt x="17" y="31"/>
                    </a:cubicBezTo>
                    <a:cubicBezTo>
                      <a:pt x="18" y="30"/>
                      <a:pt x="18" y="29"/>
                      <a:pt x="18" y="28"/>
                    </a:cubicBezTo>
                    <a:cubicBezTo>
                      <a:pt x="19" y="28"/>
                      <a:pt x="19" y="27"/>
                      <a:pt x="19" y="25"/>
                    </a:cubicBezTo>
                    <a:lnTo>
                      <a:pt x="19" y="23"/>
                    </a:lnTo>
                    <a:cubicBezTo>
                      <a:pt x="18" y="24"/>
                      <a:pt x="16" y="25"/>
                      <a:pt x="15" y="25"/>
                    </a:cubicBezTo>
                    <a:cubicBezTo>
                      <a:pt x="14" y="26"/>
                      <a:pt x="12" y="26"/>
                      <a:pt x="10" y="26"/>
                    </a:cubicBezTo>
                    <a:cubicBezTo>
                      <a:pt x="7" y="26"/>
                      <a:pt x="5" y="25"/>
                      <a:pt x="3" y="23"/>
                    </a:cubicBezTo>
                    <a:cubicBezTo>
                      <a:pt x="1" y="21"/>
                      <a:pt x="0" y="17"/>
                      <a:pt x="0" y="13"/>
                    </a:cubicBezTo>
                    <a:cubicBezTo>
                      <a:pt x="0" y="11"/>
                      <a:pt x="0" y="9"/>
                      <a:pt x="1" y="7"/>
                    </a:cubicBezTo>
                    <a:cubicBezTo>
                      <a:pt x="2" y="6"/>
                      <a:pt x="3" y="4"/>
                      <a:pt x="4" y="3"/>
                    </a:cubicBezTo>
                    <a:cubicBezTo>
                      <a:pt x="5" y="2"/>
                      <a:pt x="6" y="1"/>
                      <a:pt x="7" y="0"/>
                    </a:cubicBezTo>
                    <a:cubicBezTo>
                      <a:pt x="9" y="0"/>
                      <a:pt x="10" y="0"/>
                      <a:pt x="12" y="0"/>
                    </a:cubicBezTo>
                    <a:cubicBezTo>
                      <a:pt x="13" y="0"/>
                      <a:pt x="15" y="0"/>
                      <a:pt x="16" y="0"/>
                    </a:cubicBezTo>
                    <a:cubicBezTo>
                      <a:pt x="17" y="0"/>
                      <a:pt x="18" y="1"/>
                      <a:pt x="19" y="1"/>
                    </a:cubicBezTo>
                    <a:lnTo>
                      <a:pt x="19" y="0"/>
                    </a:lnTo>
                    <a:lnTo>
                      <a:pt x="23" y="0"/>
                    </a:lnTo>
                    <a:lnTo>
                      <a:pt x="23" y="24"/>
                    </a:lnTo>
                    <a:close/>
                    <a:moveTo>
                      <a:pt x="19" y="19"/>
                    </a:moveTo>
                    <a:lnTo>
                      <a:pt x="19" y="5"/>
                    </a:lnTo>
                    <a:cubicBezTo>
                      <a:pt x="18" y="4"/>
                      <a:pt x="17" y="4"/>
                      <a:pt x="16" y="4"/>
                    </a:cubicBezTo>
                    <a:cubicBezTo>
                      <a:pt x="15" y="4"/>
                      <a:pt x="14" y="4"/>
                      <a:pt x="13" y="4"/>
                    </a:cubicBezTo>
                    <a:cubicBezTo>
                      <a:pt x="10" y="4"/>
                      <a:pt x="8" y="4"/>
                      <a:pt x="7" y="6"/>
                    </a:cubicBezTo>
                    <a:cubicBezTo>
                      <a:pt x="5" y="8"/>
                      <a:pt x="5" y="10"/>
                      <a:pt x="5" y="13"/>
                    </a:cubicBezTo>
                    <a:cubicBezTo>
                      <a:pt x="5" y="16"/>
                      <a:pt x="5" y="18"/>
                      <a:pt x="6" y="20"/>
                    </a:cubicBezTo>
                    <a:cubicBezTo>
                      <a:pt x="7" y="21"/>
                      <a:pt x="9" y="22"/>
                      <a:pt x="11" y="22"/>
                    </a:cubicBezTo>
                    <a:cubicBezTo>
                      <a:pt x="13" y="22"/>
                      <a:pt x="14" y="22"/>
                      <a:pt x="15" y="21"/>
                    </a:cubicBezTo>
                    <a:cubicBezTo>
                      <a:pt x="17" y="21"/>
                      <a:pt x="18" y="20"/>
                      <a:pt x="19"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71"/>
              <p:cNvSpPr>
                <a:spLocks noEditPoints="1"/>
              </p:cNvSpPr>
              <p:nvPr/>
            </p:nvSpPr>
            <p:spPr bwMode="auto">
              <a:xfrm>
                <a:off x="3040" y="2627"/>
                <a:ext cx="16" cy="24"/>
              </a:xfrm>
              <a:custGeom>
                <a:avLst/>
                <a:gdLst>
                  <a:gd name="T0" fmla="*/ 33 w 33"/>
                  <a:gd name="T1" fmla="*/ 15 h 50"/>
                  <a:gd name="T2" fmla="*/ 32 w 33"/>
                  <a:gd name="T3" fmla="*/ 21 h 50"/>
                  <a:gd name="T4" fmla="*/ 29 w 33"/>
                  <a:gd name="T5" fmla="*/ 26 h 50"/>
                  <a:gd name="T6" fmla="*/ 22 w 33"/>
                  <a:gd name="T7" fmla="*/ 30 h 50"/>
                  <a:gd name="T8" fmla="*/ 13 w 33"/>
                  <a:gd name="T9" fmla="*/ 31 h 50"/>
                  <a:gd name="T10" fmla="*/ 7 w 33"/>
                  <a:gd name="T11" fmla="*/ 31 h 50"/>
                  <a:gd name="T12" fmla="*/ 7 w 33"/>
                  <a:gd name="T13" fmla="*/ 50 h 50"/>
                  <a:gd name="T14" fmla="*/ 0 w 33"/>
                  <a:gd name="T15" fmla="*/ 50 h 50"/>
                  <a:gd name="T16" fmla="*/ 0 w 33"/>
                  <a:gd name="T17" fmla="*/ 0 h 50"/>
                  <a:gd name="T18" fmla="*/ 14 w 33"/>
                  <a:gd name="T19" fmla="*/ 0 h 50"/>
                  <a:gd name="T20" fmla="*/ 21 w 33"/>
                  <a:gd name="T21" fmla="*/ 1 h 50"/>
                  <a:gd name="T22" fmla="*/ 27 w 33"/>
                  <a:gd name="T23" fmla="*/ 3 h 50"/>
                  <a:gd name="T24" fmla="*/ 31 w 33"/>
                  <a:gd name="T25" fmla="*/ 8 h 50"/>
                  <a:gd name="T26" fmla="*/ 33 w 33"/>
                  <a:gd name="T27" fmla="*/ 15 h 50"/>
                  <a:gd name="T28" fmla="*/ 26 w 33"/>
                  <a:gd name="T29" fmla="*/ 15 h 50"/>
                  <a:gd name="T30" fmla="*/ 25 w 33"/>
                  <a:gd name="T31" fmla="*/ 11 h 50"/>
                  <a:gd name="T32" fmla="*/ 22 w 33"/>
                  <a:gd name="T33" fmla="*/ 8 h 50"/>
                  <a:gd name="T34" fmla="*/ 19 w 33"/>
                  <a:gd name="T35" fmla="*/ 6 h 50"/>
                  <a:gd name="T36" fmla="*/ 13 w 33"/>
                  <a:gd name="T37" fmla="*/ 6 h 50"/>
                  <a:gd name="T38" fmla="*/ 7 w 33"/>
                  <a:gd name="T39" fmla="*/ 6 h 50"/>
                  <a:gd name="T40" fmla="*/ 7 w 33"/>
                  <a:gd name="T41" fmla="*/ 26 h 50"/>
                  <a:gd name="T42" fmla="*/ 12 w 33"/>
                  <a:gd name="T43" fmla="*/ 26 h 50"/>
                  <a:gd name="T44" fmla="*/ 19 w 33"/>
                  <a:gd name="T45" fmla="*/ 25 h 50"/>
                  <a:gd name="T46" fmla="*/ 23 w 33"/>
                  <a:gd name="T47" fmla="*/ 23 h 50"/>
                  <a:gd name="T48" fmla="*/ 25 w 33"/>
                  <a:gd name="T49" fmla="*/ 19 h 50"/>
                  <a:gd name="T50" fmla="*/ 26 w 33"/>
                  <a:gd name="T51"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0">
                    <a:moveTo>
                      <a:pt x="33" y="15"/>
                    </a:moveTo>
                    <a:cubicBezTo>
                      <a:pt x="33" y="17"/>
                      <a:pt x="33" y="19"/>
                      <a:pt x="32" y="21"/>
                    </a:cubicBezTo>
                    <a:cubicBezTo>
                      <a:pt x="31" y="23"/>
                      <a:pt x="30" y="25"/>
                      <a:pt x="29" y="26"/>
                    </a:cubicBezTo>
                    <a:cubicBezTo>
                      <a:pt x="27" y="28"/>
                      <a:pt x="25" y="29"/>
                      <a:pt x="22" y="30"/>
                    </a:cubicBezTo>
                    <a:cubicBezTo>
                      <a:pt x="20" y="31"/>
                      <a:pt x="17" y="31"/>
                      <a:pt x="13" y="31"/>
                    </a:cubicBezTo>
                    <a:lnTo>
                      <a:pt x="7" y="31"/>
                    </a:lnTo>
                    <a:lnTo>
                      <a:pt x="7" y="50"/>
                    </a:lnTo>
                    <a:lnTo>
                      <a:pt x="0" y="50"/>
                    </a:lnTo>
                    <a:lnTo>
                      <a:pt x="0" y="0"/>
                    </a:lnTo>
                    <a:lnTo>
                      <a:pt x="14" y="0"/>
                    </a:lnTo>
                    <a:cubicBezTo>
                      <a:pt x="17" y="0"/>
                      <a:pt x="19" y="0"/>
                      <a:pt x="21" y="1"/>
                    </a:cubicBezTo>
                    <a:cubicBezTo>
                      <a:pt x="24" y="1"/>
                      <a:pt x="25" y="2"/>
                      <a:pt x="27" y="3"/>
                    </a:cubicBezTo>
                    <a:cubicBezTo>
                      <a:pt x="29" y="4"/>
                      <a:pt x="30" y="6"/>
                      <a:pt x="31" y="8"/>
                    </a:cubicBezTo>
                    <a:cubicBezTo>
                      <a:pt x="32" y="10"/>
                      <a:pt x="33" y="12"/>
                      <a:pt x="33" y="15"/>
                    </a:cubicBezTo>
                    <a:close/>
                    <a:moveTo>
                      <a:pt x="26" y="15"/>
                    </a:moveTo>
                    <a:cubicBezTo>
                      <a:pt x="26" y="13"/>
                      <a:pt x="26" y="12"/>
                      <a:pt x="25" y="11"/>
                    </a:cubicBezTo>
                    <a:cubicBezTo>
                      <a:pt x="25" y="9"/>
                      <a:pt x="24" y="8"/>
                      <a:pt x="22" y="8"/>
                    </a:cubicBezTo>
                    <a:cubicBezTo>
                      <a:pt x="21" y="7"/>
                      <a:pt x="20" y="6"/>
                      <a:pt x="19" y="6"/>
                    </a:cubicBezTo>
                    <a:cubicBezTo>
                      <a:pt x="17" y="6"/>
                      <a:pt x="16" y="6"/>
                      <a:pt x="13" y="6"/>
                    </a:cubicBezTo>
                    <a:lnTo>
                      <a:pt x="7" y="6"/>
                    </a:lnTo>
                    <a:lnTo>
                      <a:pt x="7" y="26"/>
                    </a:lnTo>
                    <a:lnTo>
                      <a:pt x="12" y="26"/>
                    </a:lnTo>
                    <a:cubicBezTo>
                      <a:pt x="15" y="26"/>
                      <a:pt x="17" y="25"/>
                      <a:pt x="19" y="25"/>
                    </a:cubicBezTo>
                    <a:cubicBezTo>
                      <a:pt x="21" y="24"/>
                      <a:pt x="22" y="24"/>
                      <a:pt x="23" y="23"/>
                    </a:cubicBezTo>
                    <a:cubicBezTo>
                      <a:pt x="24" y="22"/>
                      <a:pt x="25" y="20"/>
                      <a:pt x="25" y="19"/>
                    </a:cubicBezTo>
                    <a:cubicBezTo>
                      <a:pt x="26" y="18"/>
                      <a:pt x="26" y="17"/>
                      <a:pt x="26" y="1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72"/>
              <p:cNvSpPr>
                <a:spLocks noEditPoints="1"/>
              </p:cNvSpPr>
              <p:nvPr/>
            </p:nvSpPr>
            <p:spPr bwMode="auto">
              <a:xfrm>
                <a:off x="3058" y="2632"/>
                <a:ext cx="16" cy="19"/>
              </a:xfrm>
              <a:custGeom>
                <a:avLst/>
                <a:gdLst>
                  <a:gd name="T0" fmla="*/ 35 w 35"/>
                  <a:gd name="T1" fmla="*/ 20 h 40"/>
                  <a:gd name="T2" fmla="*/ 30 w 35"/>
                  <a:gd name="T3" fmla="*/ 35 h 40"/>
                  <a:gd name="T4" fmla="*/ 17 w 35"/>
                  <a:gd name="T5" fmla="*/ 40 h 40"/>
                  <a:gd name="T6" fmla="*/ 5 w 35"/>
                  <a:gd name="T7" fmla="*/ 35 h 40"/>
                  <a:gd name="T8" fmla="*/ 0 w 35"/>
                  <a:gd name="T9" fmla="*/ 20 h 40"/>
                  <a:gd name="T10" fmla="*/ 5 w 35"/>
                  <a:gd name="T11" fmla="*/ 6 h 40"/>
                  <a:gd name="T12" fmla="*/ 17 w 35"/>
                  <a:gd name="T13" fmla="*/ 0 h 40"/>
                  <a:gd name="T14" fmla="*/ 30 w 35"/>
                  <a:gd name="T15" fmla="*/ 6 h 40"/>
                  <a:gd name="T16" fmla="*/ 35 w 35"/>
                  <a:gd name="T17" fmla="*/ 20 h 40"/>
                  <a:gd name="T18" fmla="*/ 28 w 35"/>
                  <a:gd name="T19" fmla="*/ 20 h 40"/>
                  <a:gd name="T20" fmla="*/ 25 w 35"/>
                  <a:gd name="T21" fmla="*/ 9 h 40"/>
                  <a:gd name="T22" fmla="*/ 17 w 35"/>
                  <a:gd name="T23" fmla="*/ 6 h 40"/>
                  <a:gd name="T24" fmla="*/ 9 w 35"/>
                  <a:gd name="T25" fmla="*/ 9 h 40"/>
                  <a:gd name="T26" fmla="*/ 7 w 35"/>
                  <a:gd name="T27" fmla="*/ 20 h 40"/>
                  <a:gd name="T28" fmla="*/ 9 w 35"/>
                  <a:gd name="T29" fmla="*/ 31 h 40"/>
                  <a:gd name="T30" fmla="*/ 17 w 35"/>
                  <a:gd name="T31" fmla="*/ 35 h 40"/>
                  <a:gd name="T32" fmla="*/ 25 w 35"/>
                  <a:gd name="T33" fmla="*/ 31 h 40"/>
                  <a:gd name="T34" fmla="*/ 28 w 35"/>
                  <a:gd name="T35"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0">
                    <a:moveTo>
                      <a:pt x="35" y="20"/>
                    </a:moveTo>
                    <a:cubicBezTo>
                      <a:pt x="35" y="26"/>
                      <a:pt x="33" y="31"/>
                      <a:pt x="30" y="35"/>
                    </a:cubicBezTo>
                    <a:cubicBezTo>
                      <a:pt x="27" y="38"/>
                      <a:pt x="23" y="40"/>
                      <a:pt x="17" y="40"/>
                    </a:cubicBezTo>
                    <a:cubicBezTo>
                      <a:pt x="12" y="40"/>
                      <a:pt x="8" y="38"/>
                      <a:pt x="5" y="35"/>
                    </a:cubicBezTo>
                    <a:cubicBezTo>
                      <a:pt x="2" y="31"/>
                      <a:pt x="0" y="26"/>
                      <a:pt x="0" y="20"/>
                    </a:cubicBezTo>
                    <a:cubicBezTo>
                      <a:pt x="0" y="14"/>
                      <a:pt x="2" y="9"/>
                      <a:pt x="5" y="6"/>
                    </a:cubicBezTo>
                    <a:cubicBezTo>
                      <a:pt x="8" y="2"/>
                      <a:pt x="12" y="0"/>
                      <a:pt x="17" y="0"/>
                    </a:cubicBezTo>
                    <a:cubicBezTo>
                      <a:pt x="23" y="0"/>
                      <a:pt x="27" y="2"/>
                      <a:pt x="30" y="6"/>
                    </a:cubicBezTo>
                    <a:cubicBezTo>
                      <a:pt x="33" y="9"/>
                      <a:pt x="35" y="14"/>
                      <a:pt x="35" y="20"/>
                    </a:cubicBezTo>
                    <a:close/>
                    <a:moveTo>
                      <a:pt x="28" y="20"/>
                    </a:moveTo>
                    <a:cubicBezTo>
                      <a:pt x="28" y="15"/>
                      <a:pt x="27" y="12"/>
                      <a:pt x="25" y="9"/>
                    </a:cubicBezTo>
                    <a:cubicBezTo>
                      <a:pt x="24" y="7"/>
                      <a:pt x="21" y="6"/>
                      <a:pt x="17" y="6"/>
                    </a:cubicBezTo>
                    <a:cubicBezTo>
                      <a:pt x="14" y="6"/>
                      <a:pt x="11" y="7"/>
                      <a:pt x="9" y="9"/>
                    </a:cubicBezTo>
                    <a:cubicBezTo>
                      <a:pt x="8" y="12"/>
                      <a:pt x="7" y="15"/>
                      <a:pt x="7" y="20"/>
                    </a:cubicBezTo>
                    <a:cubicBezTo>
                      <a:pt x="7" y="25"/>
                      <a:pt x="8" y="29"/>
                      <a:pt x="9" y="31"/>
                    </a:cubicBezTo>
                    <a:cubicBezTo>
                      <a:pt x="11" y="33"/>
                      <a:pt x="14" y="35"/>
                      <a:pt x="17" y="35"/>
                    </a:cubicBezTo>
                    <a:cubicBezTo>
                      <a:pt x="21" y="35"/>
                      <a:pt x="23" y="34"/>
                      <a:pt x="25" y="31"/>
                    </a:cubicBezTo>
                    <a:cubicBezTo>
                      <a:pt x="27" y="29"/>
                      <a:pt x="28" y="25"/>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73"/>
              <p:cNvSpPr>
                <a:spLocks/>
              </p:cNvSpPr>
              <p:nvPr/>
            </p:nvSpPr>
            <p:spPr bwMode="auto">
              <a:xfrm>
                <a:off x="3077" y="2632"/>
                <a:ext cx="25" cy="19"/>
              </a:xfrm>
              <a:custGeom>
                <a:avLst/>
                <a:gdLst>
                  <a:gd name="T0" fmla="*/ 25 w 25"/>
                  <a:gd name="T1" fmla="*/ 0 h 19"/>
                  <a:gd name="T2" fmla="*/ 20 w 25"/>
                  <a:gd name="T3" fmla="*/ 19 h 19"/>
                  <a:gd name="T4" fmla="*/ 17 w 25"/>
                  <a:gd name="T5" fmla="*/ 19 h 19"/>
                  <a:gd name="T6" fmla="*/ 13 w 25"/>
                  <a:gd name="T7" fmla="*/ 5 h 19"/>
                  <a:gd name="T8" fmla="*/ 8 w 25"/>
                  <a:gd name="T9" fmla="*/ 19 h 19"/>
                  <a:gd name="T10" fmla="*/ 5 w 25"/>
                  <a:gd name="T11" fmla="*/ 19 h 19"/>
                  <a:gd name="T12" fmla="*/ 0 w 25"/>
                  <a:gd name="T13" fmla="*/ 0 h 19"/>
                  <a:gd name="T14" fmla="*/ 4 w 25"/>
                  <a:gd name="T15" fmla="*/ 0 h 19"/>
                  <a:gd name="T16" fmla="*/ 7 w 25"/>
                  <a:gd name="T17" fmla="*/ 15 h 19"/>
                  <a:gd name="T18" fmla="*/ 11 w 25"/>
                  <a:gd name="T19" fmla="*/ 0 h 19"/>
                  <a:gd name="T20" fmla="*/ 14 w 25"/>
                  <a:gd name="T21" fmla="*/ 0 h 19"/>
                  <a:gd name="T22" fmla="*/ 19 w 25"/>
                  <a:gd name="T23" fmla="*/ 15 h 19"/>
                  <a:gd name="T24" fmla="*/ 22 w 25"/>
                  <a:gd name="T25" fmla="*/ 0 h 19"/>
                  <a:gd name="T26" fmla="*/ 25 w 25"/>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25" y="0"/>
                    </a:moveTo>
                    <a:lnTo>
                      <a:pt x="20" y="19"/>
                    </a:lnTo>
                    <a:lnTo>
                      <a:pt x="17" y="19"/>
                    </a:lnTo>
                    <a:lnTo>
                      <a:pt x="13" y="5"/>
                    </a:lnTo>
                    <a:lnTo>
                      <a:pt x="8" y="19"/>
                    </a:lnTo>
                    <a:lnTo>
                      <a:pt x="5" y="19"/>
                    </a:lnTo>
                    <a:lnTo>
                      <a:pt x="0" y="0"/>
                    </a:lnTo>
                    <a:lnTo>
                      <a:pt x="4" y="0"/>
                    </a:lnTo>
                    <a:lnTo>
                      <a:pt x="7" y="15"/>
                    </a:lnTo>
                    <a:lnTo>
                      <a:pt x="11" y="0"/>
                    </a:lnTo>
                    <a:lnTo>
                      <a:pt x="14" y="0"/>
                    </a:lnTo>
                    <a:lnTo>
                      <a:pt x="19" y="15"/>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74"/>
              <p:cNvSpPr>
                <a:spLocks noEditPoints="1"/>
              </p:cNvSpPr>
              <p:nvPr/>
            </p:nvSpPr>
            <p:spPr bwMode="auto">
              <a:xfrm>
                <a:off x="3105" y="2632"/>
                <a:ext cx="17" cy="19"/>
              </a:xfrm>
              <a:custGeom>
                <a:avLst/>
                <a:gdLst>
                  <a:gd name="T0" fmla="*/ 34 w 34"/>
                  <a:gd name="T1" fmla="*/ 21 h 40"/>
                  <a:gd name="T2" fmla="*/ 6 w 34"/>
                  <a:gd name="T3" fmla="*/ 21 h 40"/>
                  <a:gd name="T4" fmla="*/ 7 w 34"/>
                  <a:gd name="T5" fmla="*/ 27 h 40"/>
                  <a:gd name="T6" fmla="*/ 10 w 34"/>
                  <a:gd name="T7" fmla="*/ 31 h 40"/>
                  <a:gd name="T8" fmla="*/ 14 w 34"/>
                  <a:gd name="T9" fmla="*/ 34 h 40"/>
                  <a:gd name="T10" fmla="*/ 20 w 34"/>
                  <a:gd name="T11" fmla="*/ 34 h 40"/>
                  <a:gd name="T12" fmla="*/ 27 w 34"/>
                  <a:gd name="T13" fmla="*/ 33 h 40"/>
                  <a:gd name="T14" fmla="*/ 33 w 34"/>
                  <a:gd name="T15" fmla="*/ 30 h 40"/>
                  <a:gd name="T16" fmla="*/ 33 w 34"/>
                  <a:gd name="T17" fmla="*/ 30 h 40"/>
                  <a:gd name="T18" fmla="*/ 33 w 34"/>
                  <a:gd name="T19" fmla="*/ 37 h 40"/>
                  <a:gd name="T20" fmla="*/ 27 w 34"/>
                  <a:gd name="T21" fmla="*/ 39 h 40"/>
                  <a:gd name="T22" fmla="*/ 20 w 34"/>
                  <a:gd name="T23" fmla="*/ 40 h 40"/>
                  <a:gd name="T24" fmla="*/ 5 w 34"/>
                  <a:gd name="T25" fmla="*/ 35 h 40"/>
                  <a:gd name="T26" fmla="*/ 0 w 34"/>
                  <a:gd name="T27" fmla="*/ 20 h 40"/>
                  <a:gd name="T28" fmla="*/ 5 w 34"/>
                  <a:gd name="T29" fmla="*/ 6 h 40"/>
                  <a:gd name="T30" fmla="*/ 18 w 34"/>
                  <a:gd name="T31" fmla="*/ 0 h 40"/>
                  <a:gd name="T32" fmla="*/ 30 w 34"/>
                  <a:gd name="T33" fmla="*/ 5 h 40"/>
                  <a:gd name="T34" fmla="*/ 34 w 34"/>
                  <a:gd name="T35" fmla="*/ 17 h 40"/>
                  <a:gd name="T36" fmla="*/ 34 w 34"/>
                  <a:gd name="T37" fmla="*/ 21 h 40"/>
                  <a:gd name="T38" fmla="*/ 28 w 34"/>
                  <a:gd name="T39" fmla="*/ 16 h 40"/>
                  <a:gd name="T40" fmla="*/ 25 w 34"/>
                  <a:gd name="T41" fmla="*/ 8 h 40"/>
                  <a:gd name="T42" fmla="*/ 18 w 34"/>
                  <a:gd name="T43" fmla="*/ 6 h 40"/>
                  <a:gd name="T44" fmla="*/ 10 w 34"/>
                  <a:gd name="T45" fmla="*/ 9 h 40"/>
                  <a:gd name="T46" fmla="*/ 6 w 34"/>
                  <a:gd name="T47" fmla="*/ 16 h 40"/>
                  <a:gd name="T48" fmla="*/ 28 w 34"/>
                  <a:gd name="T49"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0">
                    <a:moveTo>
                      <a:pt x="34" y="21"/>
                    </a:moveTo>
                    <a:lnTo>
                      <a:pt x="6" y="21"/>
                    </a:lnTo>
                    <a:cubicBezTo>
                      <a:pt x="6" y="23"/>
                      <a:pt x="6" y="25"/>
                      <a:pt x="7" y="27"/>
                    </a:cubicBezTo>
                    <a:cubicBezTo>
                      <a:pt x="8" y="29"/>
                      <a:pt x="9" y="30"/>
                      <a:pt x="10" y="31"/>
                    </a:cubicBezTo>
                    <a:cubicBezTo>
                      <a:pt x="11" y="32"/>
                      <a:pt x="13" y="33"/>
                      <a:pt x="14" y="34"/>
                    </a:cubicBezTo>
                    <a:cubicBezTo>
                      <a:pt x="16" y="34"/>
                      <a:pt x="18" y="34"/>
                      <a:pt x="20" y="34"/>
                    </a:cubicBezTo>
                    <a:cubicBezTo>
                      <a:pt x="22" y="34"/>
                      <a:pt x="25" y="34"/>
                      <a:pt x="27" y="33"/>
                    </a:cubicBezTo>
                    <a:cubicBezTo>
                      <a:pt x="30" y="32"/>
                      <a:pt x="32" y="31"/>
                      <a:pt x="33" y="30"/>
                    </a:cubicBezTo>
                    <a:lnTo>
                      <a:pt x="33" y="30"/>
                    </a:lnTo>
                    <a:lnTo>
                      <a:pt x="33" y="37"/>
                    </a:lnTo>
                    <a:cubicBezTo>
                      <a:pt x="31" y="38"/>
                      <a:pt x="29" y="38"/>
                      <a:pt x="27" y="39"/>
                    </a:cubicBezTo>
                    <a:cubicBezTo>
                      <a:pt x="24" y="40"/>
                      <a:pt x="22" y="40"/>
                      <a:pt x="20" y="40"/>
                    </a:cubicBezTo>
                    <a:cubicBezTo>
                      <a:pt x="13" y="40"/>
                      <a:pt x="8" y="38"/>
                      <a:pt x="5" y="35"/>
                    </a:cubicBezTo>
                    <a:cubicBezTo>
                      <a:pt x="1" y="32"/>
                      <a:pt x="0" y="27"/>
                      <a:pt x="0" y="20"/>
                    </a:cubicBezTo>
                    <a:cubicBezTo>
                      <a:pt x="0" y="14"/>
                      <a:pt x="1" y="9"/>
                      <a:pt x="5" y="6"/>
                    </a:cubicBezTo>
                    <a:cubicBezTo>
                      <a:pt x="8" y="2"/>
                      <a:pt x="13" y="0"/>
                      <a:pt x="18" y="0"/>
                    </a:cubicBezTo>
                    <a:cubicBezTo>
                      <a:pt x="23" y="0"/>
                      <a:pt x="27" y="2"/>
                      <a:pt x="30" y="5"/>
                    </a:cubicBezTo>
                    <a:cubicBezTo>
                      <a:pt x="33" y="8"/>
                      <a:pt x="34" y="12"/>
                      <a:pt x="34" y="17"/>
                    </a:cubicBezTo>
                    <a:lnTo>
                      <a:pt x="34" y="21"/>
                    </a:lnTo>
                    <a:close/>
                    <a:moveTo>
                      <a:pt x="28" y="16"/>
                    </a:moveTo>
                    <a:cubicBezTo>
                      <a:pt x="28" y="13"/>
                      <a:pt x="27" y="10"/>
                      <a:pt x="25" y="8"/>
                    </a:cubicBezTo>
                    <a:cubicBezTo>
                      <a:pt x="24" y="7"/>
                      <a:pt x="21" y="6"/>
                      <a:pt x="18" y="6"/>
                    </a:cubicBezTo>
                    <a:cubicBezTo>
                      <a:pt x="14" y="6"/>
                      <a:pt x="12" y="7"/>
                      <a:pt x="10" y="9"/>
                    </a:cubicBezTo>
                    <a:cubicBezTo>
                      <a:pt x="8" y="11"/>
                      <a:pt x="6" y="13"/>
                      <a:pt x="6" y="16"/>
                    </a:cubicBezTo>
                    <a:lnTo>
                      <a:pt x="28"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75"/>
              <p:cNvSpPr>
                <a:spLocks/>
              </p:cNvSpPr>
              <p:nvPr/>
            </p:nvSpPr>
            <p:spPr bwMode="auto">
              <a:xfrm>
                <a:off x="3126" y="2632"/>
                <a:ext cx="11" cy="19"/>
              </a:xfrm>
              <a:custGeom>
                <a:avLst/>
                <a:gdLst>
                  <a:gd name="T0" fmla="*/ 23 w 23"/>
                  <a:gd name="T1" fmla="*/ 7 h 38"/>
                  <a:gd name="T2" fmla="*/ 23 w 23"/>
                  <a:gd name="T3" fmla="*/ 7 h 38"/>
                  <a:gd name="T4" fmla="*/ 20 w 23"/>
                  <a:gd name="T5" fmla="*/ 7 h 38"/>
                  <a:gd name="T6" fmla="*/ 17 w 23"/>
                  <a:gd name="T7" fmla="*/ 7 h 38"/>
                  <a:gd name="T8" fmla="*/ 11 w 23"/>
                  <a:gd name="T9" fmla="*/ 8 h 38"/>
                  <a:gd name="T10" fmla="*/ 6 w 23"/>
                  <a:gd name="T11" fmla="*/ 11 h 38"/>
                  <a:gd name="T12" fmla="*/ 6 w 23"/>
                  <a:gd name="T13" fmla="*/ 38 h 38"/>
                  <a:gd name="T14" fmla="*/ 0 w 23"/>
                  <a:gd name="T15" fmla="*/ 38 h 38"/>
                  <a:gd name="T16" fmla="*/ 0 w 23"/>
                  <a:gd name="T17" fmla="*/ 0 h 38"/>
                  <a:gd name="T18" fmla="*/ 6 w 23"/>
                  <a:gd name="T19" fmla="*/ 0 h 38"/>
                  <a:gd name="T20" fmla="*/ 6 w 23"/>
                  <a:gd name="T21" fmla="*/ 6 h 38"/>
                  <a:gd name="T22" fmla="*/ 13 w 23"/>
                  <a:gd name="T23" fmla="*/ 2 h 38"/>
                  <a:gd name="T24" fmla="*/ 18 w 23"/>
                  <a:gd name="T25" fmla="*/ 0 h 38"/>
                  <a:gd name="T26" fmla="*/ 21 w 23"/>
                  <a:gd name="T27" fmla="*/ 1 h 38"/>
                  <a:gd name="T28" fmla="*/ 23 w 23"/>
                  <a:gd name="T29" fmla="*/ 1 h 38"/>
                  <a:gd name="T30" fmla="*/ 23 w 23"/>
                  <a:gd name="T3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8">
                    <a:moveTo>
                      <a:pt x="23" y="7"/>
                    </a:moveTo>
                    <a:lnTo>
                      <a:pt x="23" y="7"/>
                    </a:lnTo>
                    <a:cubicBezTo>
                      <a:pt x="22" y="7"/>
                      <a:pt x="21" y="7"/>
                      <a:pt x="20" y="7"/>
                    </a:cubicBezTo>
                    <a:cubicBezTo>
                      <a:pt x="19" y="7"/>
                      <a:pt x="18" y="7"/>
                      <a:pt x="17" y="7"/>
                    </a:cubicBezTo>
                    <a:cubicBezTo>
                      <a:pt x="15" y="7"/>
                      <a:pt x="13" y="7"/>
                      <a:pt x="11" y="8"/>
                    </a:cubicBezTo>
                    <a:cubicBezTo>
                      <a:pt x="9" y="9"/>
                      <a:pt x="8" y="10"/>
                      <a:pt x="6" y="11"/>
                    </a:cubicBezTo>
                    <a:lnTo>
                      <a:pt x="6" y="38"/>
                    </a:lnTo>
                    <a:lnTo>
                      <a:pt x="0" y="38"/>
                    </a:lnTo>
                    <a:lnTo>
                      <a:pt x="0" y="0"/>
                    </a:lnTo>
                    <a:lnTo>
                      <a:pt x="6" y="0"/>
                    </a:lnTo>
                    <a:lnTo>
                      <a:pt x="6" y="6"/>
                    </a:lnTo>
                    <a:cubicBezTo>
                      <a:pt x="8" y="4"/>
                      <a:pt x="11" y="3"/>
                      <a:pt x="13" y="2"/>
                    </a:cubicBezTo>
                    <a:cubicBezTo>
                      <a:pt x="14" y="1"/>
                      <a:pt x="16" y="0"/>
                      <a:pt x="18" y="0"/>
                    </a:cubicBezTo>
                    <a:cubicBezTo>
                      <a:pt x="20" y="0"/>
                      <a:pt x="20" y="0"/>
                      <a:pt x="21" y="1"/>
                    </a:cubicBezTo>
                    <a:cubicBezTo>
                      <a:pt x="21" y="1"/>
                      <a:pt x="22" y="1"/>
                      <a:pt x="23" y="1"/>
                    </a:cubicBezTo>
                    <a:lnTo>
                      <a:pt x="2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76"/>
              <p:cNvSpPr>
                <a:spLocks/>
              </p:cNvSpPr>
              <p:nvPr/>
            </p:nvSpPr>
            <p:spPr bwMode="auto">
              <a:xfrm>
                <a:off x="3529" y="2492"/>
                <a:ext cx="19" cy="24"/>
              </a:xfrm>
              <a:custGeom>
                <a:avLst/>
                <a:gdLst>
                  <a:gd name="T0" fmla="*/ 19 w 19"/>
                  <a:gd name="T1" fmla="*/ 24 h 24"/>
                  <a:gd name="T2" fmla="*/ 16 w 19"/>
                  <a:gd name="T3" fmla="*/ 24 h 24"/>
                  <a:gd name="T4" fmla="*/ 16 w 19"/>
                  <a:gd name="T5" fmla="*/ 12 h 24"/>
                  <a:gd name="T6" fmla="*/ 4 w 19"/>
                  <a:gd name="T7" fmla="*/ 12 h 24"/>
                  <a:gd name="T8" fmla="*/ 4 w 19"/>
                  <a:gd name="T9" fmla="*/ 24 h 24"/>
                  <a:gd name="T10" fmla="*/ 0 w 19"/>
                  <a:gd name="T11" fmla="*/ 24 h 24"/>
                  <a:gd name="T12" fmla="*/ 0 w 19"/>
                  <a:gd name="T13" fmla="*/ 0 h 24"/>
                  <a:gd name="T14" fmla="*/ 4 w 19"/>
                  <a:gd name="T15" fmla="*/ 0 h 24"/>
                  <a:gd name="T16" fmla="*/ 4 w 19"/>
                  <a:gd name="T17" fmla="*/ 9 h 24"/>
                  <a:gd name="T18" fmla="*/ 16 w 19"/>
                  <a:gd name="T19" fmla="*/ 9 h 24"/>
                  <a:gd name="T20" fmla="*/ 16 w 19"/>
                  <a:gd name="T21" fmla="*/ 0 h 24"/>
                  <a:gd name="T22" fmla="*/ 19 w 19"/>
                  <a:gd name="T23" fmla="*/ 0 h 24"/>
                  <a:gd name="T24" fmla="*/ 19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19" y="24"/>
                    </a:moveTo>
                    <a:lnTo>
                      <a:pt x="16" y="24"/>
                    </a:lnTo>
                    <a:lnTo>
                      <a:pt x="16" y="12"/>
                    </a:lnTo>
                    <a:lnTo>
                      <a:pt x="4" y="12"/>
                    </a:lnTo>
                    <a:lnTo>
                      <a:pt x="4" y="24"/>
                    </a:lnTo>
                    <a:lnTo>
                      <a:pt x="0" y="24"/>
                    </a:lnTo>
                    <a:lnTo>
                      <a:pt x="0" y="0"/>
                    </a:lnTo>
                    <a:lnTo>
                      <a:pt x="4" y="0"/>
                    </a:lnTo>
                    <a:lnTo>
                      <a:pt x="4" y="9"/>
                    </a:lnTo>
                    <a:lnTo>
                      <a:pt x="16" y="9"/>
                    </a:lnTo>
                    <a:lnTo>
                      <a:pt x="16" y="0"/>
                    </a:lnTo>
                    <a:lnTo>
                      <a:pt x="19" y="0"/>
                    </a:lnTo>
                    <a:lnTo>
                      <a:pt x="19"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77"/>
              <p:cNvSpPr>
                <a:spLocks noEditPoints="1"/>
              </p:cNvSpPr>
              <p:nvPr/>
            </p:nvSpPr>
            <p:spPr bwMode="auto">
              <a:xfrm>
                <a:off x="3554" y="2492"/>
                <a:ext cx="21" cy="24"/>
              </a:xfrm>
              <a:custGeom>
                <a:avLst/>
                <a:gdLst>
                  <a:gd name="T0" fmla="*/ 43 w 43"/>
                  <a:gd name="T1" fmla="*/ 25 h 50"/>
                  <a:gd name="T2" fmla="*/ 40 w 43"/>
                  <a:gd name="T3" fmla="*/ 37 h 50"/>
                  <a:gd name="T4" fmla="*/ 32 w 43"/>
                  <a:gd name="T5" fmla="*/ 46 h 50"/>
                  <a:gd name="T6" fmla="*/ 24 w 43"/>
                  <a:gd name="T7" fmla="*/ 49 h 50"/>
                  <a:gd name="T8" fmla="*/ 13 w 43"/>
                  <a:gd name="T9" fmla="*/ 50 h 50"/>
                  <a:gd name="T10" fmla="*/ 0 w 43"/>
                  <a:gd name="T11" fmla="*/ 50 h 50"/>
                  <a:gd name="T12" fmla="*/ 0 w 43"/>
                  <a:gd name="T13" fmla="*/ 0 h 50"/>
                  <a:gd name="T14" fmla="*/ 13 w 43"/>
                  <a:gd name="T15" fmla="*/ 0 h 50"/>
                  <a:gd name="T16" fmla="*/ 25 w 43"/>
                  <a:gd name="T17" fmla="*/ 1 h 50"/>
                  <a:gd name="T18" fmla="*/ 32 w 43"/>
                  <a:gd name="T19" fmla="*/ 4 h 50"/>
                  <a:gd name="T20" fmla="*/ 40 w 43"/>
                  <a:gd name="T21" fmla="*/ 12 h 50"/>
                  <a:gd name="T22" fmla="*/ 43 w 43"/>
                  <a:gd name="T23" fmla="*/ 25 h 50"/>
                  <a:gd name="T24" fmla="*/ 36 w 43"/>
                  <a:gd name="T25" fmla="*/ 25 h 50"/>
                  <a:gd name="T26" fmla="*/ 34 w 43"/>
                  <a:gd name="T27" fmla="*/ 15 h 50"/>
                  <a:gd name="T28" fmla="*/ 28 w 43"/>
                  <a:gd name="T29" fmla="*/ 8 h 50"/>
                  <a:gd name="T30" fmla="*/ 21 w 43"/>
                  <a:gd name="T31" fmla="*/ 6 h 50"/>
                  <a:gd name="T32" fmla="*/ 13 w 43"/>
                  <a:gd name="T33" fmla="*/ 5 h 50"/>
                  <a:gd name="T34" fmla="*/ 7 w 43"/>
                  <a:gd name="T35" fmla="*/ 5 h 50"/>
                  <a:gd name="T36" fmla="*/ 7 w 43"/>
                  <a:gd name="T37" fmla="*/ 44 h 50"/>
                  <a:gd name="T38" fmla="*/ 13 w 43"/>
                  <a:gd name="T39" fmla="*/ 44 h 50"/>
                  <a:gd name="T40" fmla="*/ 22 w 43"/>
                  <a:gd name="T41" fmla="*/ 44 h 50"/>
                  <a:gd name="T42" fmla="*/ 28 w 43"/>
                  <a:gd name="T43" fmla="*/ 41 h 50"/>
                  <a:gd name="T44" fmla="*/ 34 w 43"/>
                  <a:gd name="T45" fmla="*/ 35 h 50"/>
                  <a:gd name="T46" fmla="*/ 36 w 43"/>
                  <a:gd name="T4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50">
                    <a:moveTo>
                      <a:pt x="43" y="25"/>
                    </a:moveTo>
                    <a:cubicBezTo>
                      <a:pt x="43" y="29"/>
                      <a:pt x="42" y="34"/>
                      <a:pt x="40" y="37"/>
                    </a:cubicBezTo>
                    <a:cubicBezTo>
                      <a:pt x="38" y="41"/>
                      <a:pt x="35" y="44"/>
                      <a:pt x="32" y="46"/>
                    </a:cubicBezTo>
                    <a:cubicBezTo>
                      <a:pt x="30" y="47"/>
                      <a:pt x="27" y="48"/>
                      <a:pt x="24" y="49"/>
                    </a:cubicBezTo>
                    <a:cubicBezTo>
                      <a:pt x="21" y="50"/>
                      <a:pt x="18" y="50"/>
                      <a:pt x="13" y="50"/>
                    </a:cubicBezTo>
                    <a:lnTo>
                      <a:pt x="0" y="50"/>
                    </a:lnTo>
                    <a:lnTo>
                      <a:pt x="0" y="0"/>
                    </a:lnTo>
                    <a:lnTo>
                      <a:pt x="13" y="0"/>
                    </a:lnTo>
                    <a:cubicBezTo>
                      <a:pt x="18" y="0"/>
                      <a:pt x="22" y="0"/>
                      <a:pt x="25" y="1"/>
                    </a:cubicBezTo>
                    <a:cubicBezTo>
                      <a:pt x="28" y="1"/>
                      <a:pt x="30" y="2"/>
                      <a:pt x="32" y="4"/>
                    </a:cubicBezTo>
                    <a:cubicBezTo>
                      <a:pt x="35" y="6"/>
                      <a:pt x="38" y="9"/>
                      <a:pt x="40" y="12"/>
                    </a:cubicBezTo>
                    <a:cubicBezTo>
                      <a:pt x="42" y="16"/>
                      <a:pt x="43" y="20"/>
                      <a:pt x="43" y="25"/>
                    </a:cubicBezTo>
                    <a:close/>
                    <a:moveTo>
                      <a:pt x="36" y="25"/>
                    </a:moveTo>
                    <a:cubicBezTo>
                      <a:pt x="36" y="21"/>
                      <a:pt x="35" y="18"/>
                      <a:pt x="34" y="15"/>
                    </a:cubicBezTo>
                    <a:cubicBezTo>
                      <a:pt x="32" y="12"/>
                      <a:pt x="30" y="10"/>
                      <a:pt x="28" y="8"/>
                    </a:cubicBezTo>
                    <a:cubicBezTo>
                      <a:pt x="26" y="7"/>
                      <a:pt x="24" y="7"/>
                      <a:pt x="21" y="6"/>
                    </a:cubicBezTo>
                    <a:cubicBezTo>
                      <a:pt x="19" y="6"/>
                      <a:pt x="16" y="5"/>
                      <a:pt x="13" y="5"/>
                    </a:cubicBezTo>
                    <a:lnTo>
                      <a:pt x="7" y="5"/>
                    </a:lnTo>
                    <a:lnTo>
                      <a:pt x="7" y="44"/>
                    </a:lnTo>
                    <a:lnTo>
                      <a:pt x="13" y="44"/>
                    </a:lnTo>
                    <a:cubicBezTo>
                      <a:pt x="17" y="44"/>
                      <a:pt x="19" y="44"/>
                      <a:pt x="22" y="44"/>
                    </a:cubicBezTo>
                    <a:cubicBezTo>
                      <a:pt x="24" y="43"/>
                      <a:pt x="26" y="42"/>
                      <a:pt x="28" y="41"/>
                    </a:cubicBezTo>
                    <a:cubicBezTo>
                      <a:pt x="31" y="39"/>
                      <a:pt x="33" y="37"/>
                      <a:pt x="34" y="35"/>
                    </a:cubicBezTo>
                    <a:cubicBezTo>
                      <a:pt x="35" y="32"/>
                      <a:pt x="36" y="29"/>
                      <a:pt x="36"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78"/>
              <p:cNvSpPr>
                <a:spLocks/>
              </p:cNvSpPr>
              <p:nvPr/>
            </p:nvSpPr>
            <p:spPr bwMode="auto">
              <a:xfrm>
                <a:off x="3580" y="2492"/>
                <a:ext cx="21" cy="24"/>
              </a:xfrm>
              <a:custGeom>
                <a:avLst/>
                <a:gdLst>
                  <a:gd name="T0" fmla="*/ 21 w 21"/>
                  <a:gd name="T1" fmla="*/ 24 h 24"/>
                  <a:gd name="T2" fmla="*/ 18 w 21"/>
                  <a:gd name="T3" fmla="*/ 24 h 24"/>
                  <a:gd name="T4" fmla="*/ 18 w 21"/>
                  <a:gd name="T5" fmla="*/ 3 h 24"/>
                  <a:gd name="T6" fmla="*/ 12 w 21"/>
                  <a:gd name="T7" fmla="*/ 17 h 24"/>
                  <a:gd name="T8" fmla="*/ 10 w 21"/>
                  <a:gd name="T9" fmla="*/ 17 h 24"/>
                  <a:gd name="T10" fmla="*/ 3 w 21"/>
                  <a:gd name="T11" fmla="*/ 3 h 24"/>
                  <a:gd name="T12" fmla="*/ 3 w 21"/>
                  <a:gd name="T13" fmla="*/ 24 h 24"/>
                  <a:gd name="T14" fmla="*/ 0 w 21"/>
                  <a:gd name="T15" fmla="*/ 24 h 24"/>
                  <a:gd name="T16" fmla="*/ 0 w 21"/>
                  <a:gd name="T17" fmla="*/ 0 h 24"/>
                  <a:gd name="T18" fmla="*/ 5 w 21"/>
                  <a:gd name="T19" fmla="*/ 0 h 24"/>
                  <a:gd name="T20" fmla="*/ 11 w 21"/>
                  <a:gd name="T21" fmla="*/ 13 h 24"/>
                  <a:gd name="T22" fmla="*/ 17 w 21"/>
                  <a:gd name="T23" fmla="*/ 0 h 24"/>
                  <a:gd name="T24" fmla="*/ 21 w 21"/>
                  <a:gd name="T25" fmla="*/ 0 h 24"/>
                  <a:gd name="T26" fmla="*/ 21 w 21"/>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4">
                    <a:moveTo>
                      <a:pt x="21" y="24"/>
                    </a:moveTo>
                    <a:lnTo>
                      <a:pt x="18" y="24"/>
                    </a:lnTo>
                    <a:lnTo>
                      <a:pt x="18" y="3"/>
                    </a:lnTo>
                    <a:lnTo>
                      <a:pt x="12" y="17"/>
                    </a:lnTo>
                    <a:lnTo>
                      <a:pt x="10" y="17"/>
                    </a:lnTo>
                    <a:lnTo>
                      <a:pt x="3" y="3"/>
                    </a:lnTo>
                    <a:lnTo>
                      <a:pt x="3" y="24"/>
                    </a:lnTo>
                    <a:lnTo>
                      <a:pt x="0" y="24"/>
                    </a:lnTo>
                    <a:lnTo>
                      <a:pt x="0" y="0"/>
                    </a:lnTo>
                    <a:lnTo>
                      <a:pt x="5" y="0"/>
                    </a:lnTo>
                    <a:lnTo>
                      <a:pt x="11" y="13"/>
                    </a:lnTo>
                    <a:lnTo>
                      <a:pt x="17" y="0"/>
                    </a:lnTo>
                    <a:lnTo>
                      <a:pt x="21" y="0"/>
                    </a:lnTo>
                    <a:lnTo>
                      <a:pt x="21"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79"/>
              <p:cNvSpPr>
                <a:spLocks/>
              </p:cNvSpPr>
              <p:nvPr/>
            </p:nvSpPr>
            <p:spPr bwMode="auto">
              <a:xfrm>
                <a:off x="3607" y="2492"/>
                <a:ext cx="10" cy="24"/>
              </a:xfrm>
              <a:custGeom>
                <a:avLst/>
                <a:gdLst>
                  <a:gd name="T0" fmla="*/ 10 w 10"/>
                  <a:gd name="T1" fmla="*/ 24 h 24"/>
                  <a:gd name="T2" fmla="*/ 0 w 10"/>
                  <a:gd name="T3" fmla="*/ 24 h 24"/>
                  <a:gd name="T4" fmla="*/ 0 w 10"/>
                  <a:gd name="T5" fmla="*/ 22 h 24"/>
                  <a:gd name="T6" fmla="*/ 3 w 10"/>
                  <a:gd name="T7" fmla="*/ 22 h 24"/>
                  <a:gd name="T8" fmla="*/ 3 w 10"/>
                  <a:gd name="T9" fmla="*/ 2 h 24"/>
                  <a:gd name="T10" fmla="*/ 0 w 10"/>
                  <a:gd name="T11" fmla="*/ 2 h 24"/>
                  <a:gd name="T12" fmla="*/ 0 w 10"/>
                  <a:gd name="T13" fmla="*/ 0 h 24"/>
                  <a:gd name="T14" fmla="*/ 10 w 10"/>
                  <a:gd name="T15" fmla="*/ 0 h 24"/>
                  <a:gd name="T16" fmla="*/ 10 w 10"/>
                  <a:gd name="T17" fmla="*/ 2 h 24"/>
                  <a:gd name="T18" fmla="*/ 6 w 10"/>
                  <a:gd name="T19" fmla="*/ 2 h 24"/>
                  <a:gd name="T20" fmla="*/ 6 w 10"/>
                  <a:gd name="T21" fmla="*/ 22 h 24"/>
                  <a:gd name="T22" fmla="*/ 10 w 10"/>
                  <a:gd name="T23" fmla="*/ 22 h 24"/>
                  <a:gd name="T24" fmla="*/ 10 w 10"/>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0" y="24"/>
                    </a:moveTo>
                    <a:lnTo>
                      <a:pt x="0" y="24"/>
                    </a:lnTo>
                    <a:lnTo>
                      <a:pt x="0" y="22"/>
                    </a:lnTo>
                    <a:lnTo>
                      <a:pt x="3" y="22"/>
                    </a:lnTo>
                    <a:lnTo>
                      <a:pt x="3" y="2"/>
                    </a:lnTo>
                    <a:lnTo>
                      <a:pt x="0" y="2"/>
                    </a:lnTo>
                    <a:lnTo>
                      <a:pt x="0" y="0"/>
                    </a:lnTo>
                    <a:lnTo>
                      <a:pt x="10" y="0"/>
                    </a:lnTo>
                    <a:lnTo>
                      <a:pt x="10" y="2"/>
                    </a:lnTo>
                    <a:lnTo>
                      <a:pt x="6" y="2"/>
                    </a:lnTo>
                    <a:lnTo>
                      <a:pt x="6" y="22"/>
                    </a:lnTo>
                    <a:lnTo>
                      <a:pt x="10" y="22"/>
                    </a:lnTo>
                    <a:lnTo>
                      <a:pt x="10"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80"/>
              <p:cNvSpPr>
                <a:spLocks noEditPoints="1"/>
              </p:cNvSpPr>
              <p:nvPr/>
            </p:nvSpPr>
            <p:spPr bwMode="auto">
              <a:xfrm>
                <a:off x="4006" y="2444"/>
                <a:ext cx="22" cy="24"/>
              </a:xfrm>
              <a:custGeom>
                <a:avLst/>
                <a:gdLst>
                  <a:gd name="T0" fmla="*/ 46 w 46"/>
                  <a:gd name="T1" fmla="*/ 50 h 50"/>
                  <a:gd name="T2" fmla="*/ 39 w 46"/>
                  <a:gd name="T3" fmla="*/ 50 h 50"/>
                  <a:gd name="T4" fmla="*/ 34 w 46"/>
                  <a:gd name="T5" fmla="*/ 36 h 50"/>
                  <a:gd name="T6" fmla="*/ 12 w 46"/>
                  <a:gd name="T7" fmla="*/ 36 h 50"/>
                  <a:gd name="T8" fmla="*/ 7 w 46"/>
                  <a:gd name="T9" fmla="*/ 50 h 50"/>
                  <a:gd name="T10" fmla="*/ 0 w 46"/>
                  <a:gd name="T11" fmla="*/ 50 h 50"/>
                  <a:gd name="T12" fmla="*/ 19 w 46"/>
                  <a:gd name="T13" fmla="*/ 0 h 50"/>
                  <a:gd name="T14" fmla="*/ 28 w 46"/>
                  <a:gd name="T15" fmla="*/ 0 h 50"/>
                  <a:gd name="T16" fmla="*/ 46 w 46"/>
                  <a:gd name="T17" fmla="*/ 50 h 50"/>
                  <a:gd name="T18" fmla="*/ 32 w 46"/>
                  <a:gd name="T19" fmla="*/ 31 h 50"/>
                  <a:gd name="T20" fmla="*/ 23 w 46"/>
                  <a:gd name="T21" fmla="*/ 6 h 50"/>
                  <a:gd name="T22" fmla="*/ 14 w 46"/>
                  <a:gd name="T23" fmla="*/ 31 h 50"/>
                  <a:gd name="T24" fmla="*/ 32 w 46"/>
                  <a:gd name="T25"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0">
                    <a:moveTo>
                      <a:pt x="46" y="50"/>
                    </a:moveTo>
                    <a:lnTo>
                      <a:pt x="39" y="50"/>
                    </a:lnTo>
                    <a:lnTo>
                      <a:pt x="34" y="36"/>
                    </a:lnTo>
                    <a:lnTo>
                      <a:pt x="12" y="36"/>
                    </a:lnTo>
                    <a:lnTo>
                      <a:pt x="7" y="50"/>
                    </a:lnTo>
                    <a:lnTo>
                      <a:pt x="0" y="50"/>
                    </a:lnTo>
                    <a:lnTo>
                      <a:pt x="19" y="0"/>
                    </a:lnTo>
                    <a:lnTo>
                      <a:pt x="28" y="0"/>
                    </a:lnTo>
                    <a:lnTo>
                      <a:pt x="46" y="50"/>
                    </a:lnTo>
                    <a:close/>
                    <a:moveTo>
                      <a:pt x="32" y="31"/>
                    </a:moveTo>
                    <a:lnTo>
                      <a:pt x="23" y="6"/>
                    </a:lnTo>
                    <a:lnTo>
                      <a:pt x="14" y="31"/>
                    </a:lnTo>
                    <a:lnTo>
                      <a:pt x="32"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81"/>
              <p:cNvSpPr>
                <a:spLocks/>
              </p:cNvSpPr>
              <p:nvPr/>
            </p:nvSpPr>
            <p:spPr bwMode="auto">
              <a:xfrm>
                <a:off x="4031" y="2450"/>
                <a:ext cx="15" cy="18"/>
              </a:xfrm>
              <a:custGeom>
                <a:avLst/>
                <a:gdLst>
                  <a:gd name="T0" fmla="*/ 32 w 32"/>
                  <a:gd name="T1" fmla="*/ 37 h 38"/>
                  <a:gd name="T2" fmla="*/ 26 w 32"/>
                  <a:gd name="T3" fmla="*/ 37 h 38"/>
                  <a:gd name="T4" fmla="*/ 26 w 32"/>
                  <a:gd name="T5" fmla="*/ 33 h 38"/>
                  <a:gd name="T6" fmla="*/ 20 w 32"/>
                  <a:gd name="T7" fmla="*/ 37 h 38"/>
                  <a:gd name="T8" fmla="*/ 13 w 32"/>
                  <a:gd name="T9" fmla="*/ 38 h 38"/>
                  <a:gd name="T10" fmla="*/ 4 w 32"/>
                  <a:gd name="T11" fmla="*/ 35 h 38"/>
                  <a:gd name="T12" fmla="*/ 0 w 32"/>
                  <a:gd name="T13" fmla="*/ 24 h 38"/>
                  <a:gd name="T14" fmla="*/ 0 w 32"/>
                  <a:gd name="T15" fmla="*/ 0 h 38"/>
                  <a:gd name="T16" fmla="*/ 7 w 32"/>
                  <a:gd name="T17" fmla="*/ 0 h 38"/>
                  <a:gd name="T18" fmla="*/ 7 w 32"/>
                  <a:gd name="T19" fmla="*/ 21 h 38"/>
                  <a:gd name="T20" fmla="*/ 7 w 32"/>
                  <a:gd name="T21" fmla="*/ 26 h 38"/>
                  <a:gd name="T22" fmla="*/ 8 w 32"/>
                  <a:gd name="T23" fmla="*/ 30 h 38"/>
                  <a:gd name="T24" fmla="*/ 11 w 32"/>
                  <a:gd name="T25" fmla="*/ 32 h 38"/>
                  <a:gd name="T26" fmla="*/ 15 w 32"/>
                  <a:gd name="T27" fmla="*/ 32 h 38"/>
                  <a:gd name="T28" fmla="*/ 20 w 32"/>
                  <a:gd name="T29" fmla="*/ 31 h 38"/>
                  <a:gd name="T30" fmla="*/ 26 w 32"/>
                  <a:gd name="T31" fmla="*/ 28 h 38"/>
                  <a:gd name="T32" fmla="*/ 26 w 32"/>
                  <a:gd name="T33" fmla="*/ 0 h 38"/>
                  <a:gd name="T34" fmla="*/ 32 w 32"/>
                  <a:gd name="T35" fmla="*/ 0 h 38"/>
                  <a:gd name="T36" fmla="*/ 32 w 32"/>
                  <a:gd name="T37"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38">
                    <a:moveTo>
                      <a:pt x="32" y="37"/>
                    </a:moveTo>
                    <a:lnTo>
                      <a:pt x="26" y="37"/>
                    </a:lnTo>
                    <a:lnTo>
                      <a:pt x="26" y="33"/>
                    </a:lnTo>
                    <a:cubicBezTo>
                      <a:pt x="24" y="35"/>
                      <a:pt x="21" y="36"/>
                      <a:pt x="20" y="37"/>
                    </a:cubicBezTo>
                    <a:cubicBezTo>
                      <a:pt x="18" y="38"/>
                      <a:pt x="15" y="38"/>
                      <a:pt x="13" y="38"/>
                    </a:cubicBezTo>
                    <a:cubicBezTo>
                      <a:pt x="9" y="38"/>
                      <a:pt x="6" y="37"/>
                      <a:pt x="4" y="35"/>
                    </a:cubicBezTo>
                    <a:cubicBezTo>
                      <a:pt x="2" y="32"/>
                      <a:pt x="0" y="29"/>
                      <a:pt x="0" y="24"/>
                    </a:cubicBezTo>
                    <a:lnTo>
                      <a:pt x="0" y="0"/>
                    </a:lnTo>
                    <a:lnTo>
                      <a:pt x="7" y="0"/>
                    </a:lnTo>
                    <a:lnTo>
                      <a:pt x="7" y="21"/>
                    </a:lnTo>
                    <a:cubicBezTo>
                      <a:pt x="7" y="23"/>
                      <a:pt x="7" y="25"/>
                      <a:pt x="7" y="26"/>
                    </a:cubicBezTo>
                    <a:cubicBezTo>
                      <a:pt x="7" y="27"/>
                      <a:pt x="8" y="29"/>
                      <a:pt x="8" y="30"/>
                    </a:cubicBezTo>
                    <a:cubicBezTo>
                      <a:pt x="9" y="31"/>
                      <a:pt x="10" y="31"/>
                      <a:pt x="11" y="32"/>
                    </a:cubicBezTo>
                    <a:cubicBezTo>
                      <a:pt x="12" y="32"/>
                      <a:pt x="13" y="32"/>
                      <a:pt x="15" y="32"/>
                    </a:cubicBezTo>
                    <a:cubicBezTo>
                      <a:pt x="16" y="32"/>
                      <a:pt x="18" y="32"/>
                      <a:pt x="20" y="31"/>
                    </a:cubicBezTo>
                    <a:cubicBezTo>
                      <a:pt x="22" y="30"/>
                      <a:pt x="24" y="29"/>
                      <a:pt x="26" y="28"/>
                    </a:cubicBezTo>
                    <a:lnTo>
                      <a:pt x="26" y="0"/>
                    </a:lnTo>
                    <a:lnTo>
                      <a:pt x="32" y="0"/>
                    </a:lnTo>
                    <a:lnTo>
                      <a:pt x="3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82"/>
              <p:cNvSpPr>
                <a:spLocks noEditPoints="1"/>
              </p:cNvSpPr>
              <p:nvPr/>
            </p:nvSpPr>
            <p:spPr bwMode="auto">
              <a:xfrm>
                <a:off x="4051" y="2443"/>
                <a:ext cx="16" cy="25"/>
              </a:xfrm>
              <a:custGeom>
                <a:avLst/>
                <a:gdLst>
                  <a:gd name="T0" fmla="*/ 33 w 33"/>
                  <a:gd name="T1" fmla="*/ 52 h 53"/>
                  <a:gd name="T2" fmla="*/ 27 w 33"/>
                  <a:gd name="T3" fmla="*/ 52 h 53"/>
                  <a:gd name="T4" fmla="*/ 27 w 33"/>
                  <a:gd name="T5" fmla="*/ 48 h 53"/>
                  <a:gd name="T6" fmla="*/ 21 w 33"/>
                  <a:gd name="T7" fmla="*/ 52 h 53"/>
                  <a:gd name="T8" fmla="*/ 15 w 33"/>
                  <a:gd name="T9" fmla="*/ 53 h 53"/>
                  <a:gd name="T10" fmla="*/ 4 w 33"/>
                  <a:gd name="T11" fmla="*/ 48 h 53"/>
                  <a:gd name="T12" fmla="*/ 0 w 33"/>
                  <a:gd name="T13" fmla="*/ 34 h 53"/>
                  <a:gd name="T14" fmla="*/ 1 w 33"/>
                  <a:gd name="T15" fmla="*/ 25 h 53"/>
                  <a:gd name="T16" fmla="*/ 5 w 33"/>
                  <a:gd name="T17" fmla="*/ 19 h 53"/>
                  <a:gd name="T18" fmla="*/ 10 w 33"/>
                  <a:gd name="T19" fmla="*/ 15 h 53"/>
                  <a:gd name="T20" fmla="*/ 17 w 33"/>
                  <a:gd name="T21" fmla="*/ 14 h 53"/>
                  <a:gd name="T22" fmla="*/ 22 w 33"/>
                  <a:gd name="T23" fmla="*/ 14 h 53"/>
                  <a:gd name="T24" fmla="*/ 27 w 33"/>
                  <a:gd name="T25" fmla="*/ 16 h 53"/>
                  <a:gd name="T26" fmla="*/ 27 w 33"/>
                  <a:gd name="T27" fmla="*/ 0 h 53"/>
                  <a:gd name="T28" fmla="*/ 33 w 33"/>
                  <a:gd name="T29" fmla="*/ 0 h 53"/>
                  <a:gd name="T30" fmla="*/ 33 w 33"/>
                  <a:gd name="T31" fmla="*/ 52 h 53"/>
                  <a:gd name="T32" fmla="*/ 27 w 33"/>
                  <a:gd name="T33" fmla="*/ 43 h 53"/>
                  <a:gd name="T34" fmla="*/ 27 w 33"/>
                  <a:gd name="T35" fmla="*/ 21 h 53"/>
                  <a:gd name="T36" fmla="*/ 22 w 33"/>
                  <a:gd name="T37" fmla="*/ 20 h 53"/>
                  <a:gd name="T38" fmla="*/ 18 w 33"/>
                  <a:gd name="T39" fmla="*/ 19 h 53"/>
                  <a:gd name="T40" fmla="*/ 9 w 33"/>
                  <a:gd name="T41" fmla="*/ 23 h 53"/>
                  <a:gd name="T42" fmla="*/ 6 w 33"/>
                  <a:gd name="T43" fmla="*/ 34 h 53"/>
                  <a:gd name="T44" fmla="*/ 9 w 33"/>
                  <a:gd name="T45" fmla="*/ 44 h 53"/>
                  <a:gd name="T46" fmla="*/ 16 w 33"/>
                  <a:gd name="T47" fmla="*/ 47 h 53"/>
                  <a:gd name="T48" fmla="*/ 22 w 33"/>
                  <a:gd name="T49" fmla="*/ 46 h 53"/>
                  <a:gd name="T50" fmla="*/ 27 w 33"/>
                  <a:gd name="T51"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3">
                    <a:moveTo>
                      <a:pt x="33" y="52"/>
                    </a:moveTo>
                    <a:lnTo>
                      <a:pt x="27" y="52"/>
                    </a:lnTo>
                    <a:lnTo>
                      <a:pt x="27" y="48"/>
                    </a:lnTo>
                    <a:cubicBezTo>
                      <a:pt x="25" y="50"/>
                      <a:pt x="23" y="51"/>
                      <a:pt x="21" y="52"/>
                    </a:cubicBezTo>
                    <a:cubicBezTo>
                      <a:pt x="19" y="53"/>
                      <a:pt x="17" y="53"/>
                      <a:pt x="15" y="53"/>
                    </a:cubicBezTo>
                    <a:cubicBezTo>
                      <a:pt x="10" y="53"/>
                      <a:pt x="7" y="52"/>
                      <a:pt x="4" y="48"/>
                    </a:cubicBezTo>
                    <a:cubicBezTo>
                      <a:pt x="1" y="45"/>
                      <a:pt x="0" y="40"/>
                      <a:pt x="0" y="34"/>
                    </a:cubicBezTo>
                    <a:cubicBezTo>
                      <a:pt x="0" y="31"/>
                      <a:pt x="0" y="28"/>
                      <a:pt x="1" y="25"/>
                    </a:cubicBezTo>
                    <a:cubicBezTo>
                      <a:pt x="2" y="23"/>
                      <a:pt x="3" y="21"/>
                      <a:pt x="5" y="19"/>
                    </a:cubicBezTo>
                    <a:cubicBezTo>
                      <a:pt x="7" y="17"/>
                      <a:pt x="8" y="16"/>
                      <a:pt x="10" y="15"/>
                    </a:cubicBezTo>
                    <a:cubicBezTo>
                      <a:pt x="12" y="14"/>
                      <a:pt x="14" y="14"/>
                      <a:pt x="17" y="14"/>
                    </a:cubicBezTo>
                    <a:cubicBezTo>
                      <a:pt x="19" y="14"/>
                      <a:pt x="20" y="14"/>
                      <a:pt x="22" y="14"/>
                    </a:cubicBezTo>
                    <a:cubicBezTo>
                      <a:pt x="23" y="15"/>
                      <a:pt x="25" y="15"/>
                      <a:pt x="27" y="16"/>
                    </a:cubicBezTo>
                    <a:lnTo>
                      <a:pt x="27" y="0"/>
                    </a:lnTo>
                    <a:lnTo>
                      <a:pt x="33" y="0"/>
                    </a:lnTo>
                    <a:lnTo>
                      <a:pt x="33" y="52"/>
                    </a:lnTo>
                    <a:close/>
                    <a:moveTo>
                      <a:pt x="27" y="43"/>
                    </a:moveTo>
                    <a:lnTo>
                      <a:pt x="27" y="21"/>
                    </a:lnTo>
                    <a:cubicBezTo>
                      <a:pt x="25" y="21"/>
                      <a:pt x="24" y="20"/>
                      <a:pt x="22" y="20"/>
                    </a:cubicBezTo>
                    <a:cubicBezTo>
                      <a:pt x="21" y="20"/>
                      <a:pt x="19" y="19"/>
                      <a:pt x="18" y="19"/>
                    </a:cubicBezTo>
                    <a:cubicBezTo>
                      <a:pt x="14" y="19"/>
                      <a:pt x="11" y="21"/>
                      <a:pt x="9" y="23"/>
                    </a:cubicBezTo>
                    <a:cubicBezTo>
                      <a:pt x="7" y="26"/>
                      <a:pt x="6" y="29"/>
                      <a:pt x="6" y="34"/>
                    </a:cubicBezTo>
                    <a:cubicBezTo>
                      <a:pt x="6" y="38"/>
                      <a:pt x="7" y="42"/>
                      <a:pt x="9" y="44"/>
                    </a:cubicBezTo>
                    <a:cubicBezTo>
                      <a:pt x="10" y="46"/>
                      <a:pt x="13" y="47"/>
                      <a:pt x="16" y="47"/>
                    </a:cubicBezTo>
                    <a:cubicBezTo>
                      <a:pt x="18" y="47"/>
                      <a:pt x="20" y="47"/>
                      <a:pt x="22" y="46"/>
                    </a:cubicBezTo>
                    <a:cubicBezTo>
                      <a:pt x="23" y="45"/>
                      <a:pt x="25" y="44"/>
                      <a:pt x="27"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83"/>
              <p:cNvSpPr>
                <a:spLocks noEditPoints="1"/>
              </p:cNvSpPr>
              <p:nvPr/>
            </p:nvSpPr>
            <p:spPr bwMode="auto">
              <a:xfrm>
                <a:off x="4073" y="2444"/>
                <a:ext cx="3" cy="24"/>
              </a:xfrm>
              <a:custGeom>
                <a:avLst/>
                <a:gdLst>
                  <a:gd name="T0" fmla="*/ 7 w 7"/>
                  <a:gd name="T1" fmla="*/ 6 h 50"/>
                  <a:gd name="T2" fmla="*/ 0 w 7"/>
                  <a:gd name="T3" fmla="*/ 6 h 50"/>
                  <a:gd name="T4" fmla="*/ 0 w 7"/>
                  <a:gd name="T5" fmla="*/ 0 h 50"/>
                  <a:gd name="T6" fmla="*/ 7 w 7"/>
                  <a:gd name="T7" fmla="*/ 0 h 50"/>
                  <a:gd name="T8" fmla="*/ 7 w 7"/>
                  <a:gd name="T9" fmla="*/ 6 h 50"/>
                  <a:gd name="T10" fmla="*/ 7 w 7"/>
                  <a:gd name="T11" fmla="*/ 50 h 50"/>
                  <a:gd name="T12" fmla="*/ 1 w 7"/>
                  <a:gd name="T13" fmla="*/ 50 h 50"/>
                  <a:gd name="T14" fmla="*/ 1 w 7"/>
                  <a:gd name="T15" fmla="*/ 13 h 50"/>
                  <a:gd name="T16" fmla="*/ 7 w 7"/>
                  <a:gd name="T17" fmla="*/ 13 h 50"/>
                  <a:gd name="T18" fmla="*/ 7 w 7"/>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7" y="6"/>
                    </a:moveTo>
                    <a:lnTo>
                      <a:pt x="0" y="6"/>
                    </a:lnTo>
                    <a:lnTo>
                      <a:pt x="0" y="0"/>
                    </a:lnTo>
                    <a:lnTo>
                      <a:pt x="7" y="0"/>
                    </a:lnTo>
                    <a:lnTo>
                      <a:pt x="7" y="6"/>
                    </a:lnTo>
                    <a:close/>
                    <a:moveTo>
                      <a:pt x="7" y="50"/>
                    </a:moveTo>
                    <a:lnTo>
                      <a:pt x="1" y="50"/>
                    </a:lnTo>
                    <a:lnTo>
                      <a:pt x="1" y="13"/>
                    </a:lnTo>
                    <a:lnTo>
                      <a:pt x="7" y="13"/>
                    </a:lnTo>
                    <a:lnTo>
                      <a:pt x="7" y="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84"/>
              <p:cNvSpPr>
                <a:spLocks noEditPoints="1"/>
              </p:cNvSpPr>
              <p:nvPr/>
            </p:nvSpPr>
            <p:spPr bwMode="auto">
              <a:xfrm>
                <a:off x="4081" y="2450"/>
                <a:ext cx="17" cy="18"/>
              </a:xfrm>
              <a:custGeom>
                <a:avLst/>
                <a:gdLst>
                  <a:gd name="T0" fmla="*/ 35 w 35"/>
                  <a:gd name="T1" fmla="*/ 20 h 39"/>
                  <a:gd name="T2" fmla="*/ 30 w 35"/>
                  <a:gd name="T3" fmla="*/ 34 h 39"/>
                  <a:gd name="T4" fmla="*/ 17 w 35"/>
                  <a:gd name="T5" fmla="*/ 39 h 39"/>
                  <a:gd name="T6" fmla="*/ 4 w 35"/>
                  <a:gd name="T7" fmla="*/ 34 h 39"/>
                  <a:gd name="T8" fmla="*/ 0 w 35"/>
                  <a:gd name="T9" fmla="*/ 20 h 39"/>
                  <a:gd name="T10" fmla="*/ 4 w 35"/>
                  <a:gd name="T11" fmla="*/ 5 h 39"/>
                  <a:gd name="T12" fmla="*/ 17 w 35"/>
                  <a:gd name="T13" fmla="*/ 0 h 39"/>
                  <a:gd name="T14" fmla="*/ 30 w 35"/>
                  <a:gd name="T15" fmla="*/ 5 h 39"/>
                  <a:gd name="T16" fmla="*/ 35 w 35"/>
                  <a:gd name="T17" fmla="*/ 20 h 39"/>
                  <a:gd name="T18" fmla="*/ 28 w 35"/>
                  <a:gd name="T19" fmla="*/ 20 h 39"/>
                  <a:gd name="T20" fmla="*/ 25 w 35"/>
                  <a:gd name="T21" fmla="*/ 9 h 39"/>
                  <a:gd name="T22" fmla="*/ 17 w 35"/>
                  <a:gd name="T23" fmla="*/ 5 h 39"/>
                  <a:gd name="T24" fmla="*/ 9 w 35"/>
                  <a:gd name="T25" fmla="*/ 9 h 39"/>
                  <a:gd name="T26" fmla="*/ 6 w 35"/>
                  <a:gd name="T27" fmla="*/ 20 h 39"/>
                  <a:gd name="T28" fmla="*/ 9 w 35"/>
                  <a:gd name="T29" fmla="*/ 30 h 39"/>
                  <a:gd name="T30" fmla="*/ 17 w 35"/>
                  <a:gd name="T31" fmla="*/ 34 h 39"/>
                  <a:gd name="T32" fmla="*/ 25 w 35"/>
                  <a:gd name="T33" fmla="*/ 30 h 39"/>
                  <a:gd name="T34" fmla="*/ 28 w 35"/>
                  <a:gd name="T3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9">
                    <a:moveTo>
                      <a:pt x="35" y="20"/>
                    </a:moveTo>
                    <a:cubicBezTo>
                      <a:pt x="35" y="26"/>
                      <a:pt x="33" y="31"/>
                      <a:pt x="30" y="34"/>
                    </a:cubicBezTo>
                    <a:cubicBezTo>
                      <a:pt x="27" y="38"/>
                      <a:pt x="22" y="39"/>
                      <a:pt x="17" y="39"/>
                    </a:cubicBezTo>
                    <a:cubicBezTo>
                      <a:pt x="12" y="39"/>
                      <a:pt x="8" y="38"/>
                      <a:pt x="4" y="34"/>
                    </a:cubicBezTo>
                    <a:cubicBezTo>
                      <a:pt x="1" y="31"/>
                      <a:pt x="0" y="26"/>
                      <a:pt x="0" y="20"/>
                    </a:cubicBezTo>
                    <a:cubicBezTo>
                      <a:pt x="0" y="13"/>
                      <a:pt x="1" y="9"/>
                      <a:pt x="4" y="5"/>
                    </a:cubicBezTo>
                    <a:cubicBezTo>
                      <a:pt x="8" y="1"/>
                      <a:pt x="12" y="0"/>
                      <a:pt x="17" y="0"/>
                    </a:cubicBezTo>
                    <a:cubicBezTo>
                      <a:pt x="22" y="0"/>
                      <a:pt x="27" y="1"/>
                      <a:pt x="30" y="5"/>
                    </a:cubicBezTo>
                    <a:cubicBezTo>
                      <a:pt x="33" y="9"/>
                      <a:pt x="35" y="13"/>
                      <a:pt x="35" y="20"/>
                    </a:cubicBezTo>
                    <a:close/>
                    <a:moveTo>
                      <a:pt x="28" y="20"/>
                    </a:moveTo>
                    <a:cubicBezTo>
                      <a:pt x="28" y="15"/>
                      <a:pt x="27" y="11"/>
                      <a:pt x="25" y="9"/>
                    </a:cubicBezTo>
                    <a:cubicBezTo>
                      <a:pt x="23" y="6"/>
                      <a:pt x="21" y="5"/>
                      <a:pt x="17" y="5"/>
                    </a:cubicBezTo>
                    <a:cubicBezTo>
                      <a:pt x="14" y="5"/>
                      <a:pt x="11" y="6"/>
                      <a:pt x="9" y="9"/>
                    </a:cubicBezTo>
                    <a:cubicBezTo>
                      <a:pt x="7" y="11"/>
                      <a:pt x="6" y="15"/>
                      <a:pt x="6" y="20"/>
                    </a:cubicBezTo>
                    <a:cubicBezTo>
                      <a:pt x="6" y="24"/>
                      <a:pt x="7" y="28"/>
                      <a:pt x="9" y="30"/>
                    </a:cubicBezTo>
                    <a:cubicBezTo>
                      <a:pt x="11" y="33"/>
                      <a:pt x="14" y="34"/>
                      <a:pt x="17" y="34"/>
                    </a:cubicBezTo>
                    <a:cubicBezTo>
                      <a:pt x="21" y="34"/>
                      <a:pt x="23" y="33"/>
                      <a:pt x="25" y="30"/>
                    </a:cubicBezTo>
                    <a:cubicBezTo>
                      <a:pt x="27" y="28"/>
                      <a:pt x="28" y="24"/>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85"/>
              <p:cNvSpPr>
                <a:spLocks/>
              </p:cNvSpPr>
              <p:nvPr/>
            </p:nvSpPr>
            <p:spPr bwMode="auto">
              <a:xfrm>
                <a:off x="4482" y="2163"/>
                <a:ext cx="25" cy="19"/>
              </a:xfrm>
              <a:custGeom>
                <a:avLst/>
                <a:gdLst>
                  <a:gd name="T0" fmla="*/ 30 w 51"/>
                  <a:gd name="T1" fmla="*/ 0 h 39"/>
                  <a:gd name="T2" fmla="*/ 40 w 51"/>
                  <a:gd name="T3" fmla="*/ 1 h 39"/>
                  <a:gd name="T4" fmla="*/ 46 w 51"/>
                  <a:gd name="T5" fmla="*/ 5 h 39"/>
                  <a:gd name="T6" fmla="*/ 50 w 51"/>
                  <a:gd name="T7" fmla="*/ 11 h 39"/>
                  <a:gd name="T8" fmla="*/ 51 w 51"/>
                  <a:gd name="T9" fmla="*/ 19 h 39"/>
                  <a:gd name="T10" fmla="*/ 50 w 51"/>
                  <a:gd name="T11" fmla="*/ 28 h 39"/>
                  <a:gd name="T12" fmla="*/ 46 w 51"/>
                  <a:gd name="T13" fmla="*/ 34 h 39"/>
                  <a:gd name="T14" fmla="*/ 40 w 51"/>
                  <a:gd name="T15" fmla="*/ 37 h 39"/>
                  <a:gd name="T16" fmla="*/ 30 w 51"/>
                  <a:gd name="T17" fmla="*/ 39 h 39"/>
                  <a:gd name="T18" fmla="*/ 0 w 51"/>
                  <a:gd name="T19" fmla="*/ 39 h 39"/>
                  <a:gd name="T20" fmla="*/ 0 w 51"/>
                  <a:gd name="T21" fmla="*/ 32 h 39"/>
                  <a:gd name="T22" fmla="*/ 30 w 51"/>
                  <a:gd name="T23" fmla="*/ 32 h 39"/>
                  <a:gd name="T24" fmla="*/ 37 w 51"/>
                  <a:gd name="T25" fmla="*/ 31 h 39"/>
                  <a:gd name="T26" fmla="*/ 41 w 51"/>
                  <a:gd name="T27" fmla="*/ 30 h 39"/>
                  <a:gd name="T28" fmla="*/ 45 w 51"/>
                  <a:gd name="T29" fmla="*/ 26 h 39"/>
                  <a:gd name="T30" fmla="*/ 46 w 51"/>
                  <a:gd name="T31" fmla="*/ 19 h 39"/>
                  <a:gd name="T32" fmla="*/ 45 w 51"/>
                  <a:gd name="T33" fmla="*/ 13 h 39"/>
                  <a:gd name="T34" fmla="*/ 41 w 51"/>
                  <a:gd name="T35" fmla="*/ 9 h 39"/>
                  <a:gd name="T36" fmla="*/ 37 w 51"/>
                  <a:gd name="T37" fmla="*/ 7 h 39"/>
                  <a:gd name="T38" fmla="*/ 31 w 51"/>
                  <a:gd name="T39" fmla="*/ 7 h 39"/>
                  <a:gd name="T40" fmla="*/ 0 w 51"/>
                  <a:gd name="T41" fmla="*/ 7 h 39"/>
                  <a:gd name="T42" fmla="*/ 0 w 51"/>
                  <a:gd name="T43" fmla="*/ 0 h 39"/>
                  <a:gd name="T44" fmla="*/ 30 w 5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9">
                    <a:moveTo>
                      <a:pt x="30" y="0"/>
                    </a:moveTo>
                    <a:cubicBezTo>
                      <a:pt x="34" y="0"/>
                      <a:pt x="37" y="0"/>
                      <a:pt x="40" y="1"/>
                    </a:cubicBezTo>
                    <a:cubicBezTo>
                      <a:pt x="42" y="2"/>
                      <a:pt x="45" y="3"/>
                      <a:pt x="46" y="5"/>
                    </a:cubicBezTo>
                    <a:cubicBezTo>
                      <a:pt x="48" y="7"/>
                      <a:pt x="49" y="9"/>
                      <a:pt x="50" y="11"/>
                    </a:cubicBezTo>
                    <a:cubicBezTo>
                      <a:pt x="51" y="14"/>
                      <a:pt x="51" y="16"/>
                      <a:pt x="51" y="19"/>
                    </a:cubicBezTo>
                    <a:cubicBezTo>
                      <a:pt x="51" y="23"/>
                      <a:pt x="51" y="25"/>
                      <a:pt x="50" y="28"/>
                    </a:cubicBezTo>
                    <a:cubicBezTo>
                      <a:pt x="49" y="30"/>
                      <a:pt x="48" y="32"/>
                      <a:pt x="46" y="34"/>
                    </a:cubicBezTo>
                    <a:cubicBezTo>
                      <a:pt x="45" y="35"/>
                      <a:pt x="42" y="37"/>
                      <a:pt x="40" y="37"/>
                    </a:cubicBezTo>
                    <a:cubicBezTo>
                      <a:pt x="37" y="38"/>
                      <a:pt x="34" y="39"/>
                      <a:pt x="30" y="39"/>
                    </a:cubicBezTo>
                    <a:lnTo>
                      <a:pt x="0" y="39"/>
                    </a:lnTo>
                    <a:lnTo>
                      <a:pt x="0" y="32"/>
                    </a:lnTo>
                    <a:lnTo>
                      <a:pt x="30" y="32"/>
                    </a:lnTo>
                    <a:cubicBezTo>
                      <a:pt x="33" y="32"/>
                      <a:pt x="35" y="32"/>
                      <a:pt x="37" y="31"/>
                    </a:cubicBezTo>
                    <a:cubicBezTo>
                      <a:pt x="39" y="31"/>
                      <a:pt x="40" y="30"/>
                      <a:pt x="41" y="30"/>
                    </a:cubicBezTo>
                    <a:cubicBezTo>
                      <a:pt x="43" y="29"/>
                      <a:pt x="44" y="27"/>
                      <a:pt x="45" y="26"/>
                    </a:cubicBezTo>
                    <a:cubicBezTo>
                      <a:pt x="45" y="24"/>
                      <a:pt x="46" y="22"/>
                      <a:pt x="46" y="19"/>
                    </a:cubicBezTo>
                    <a:cubicBezTo>
                      <a:pt x="46" y="17"/>
                      <a:pt x="45" y="15"/>
                      <a:pt x="45" y="13"/>
                    </a:cubicBezTo>
                    <a:cubicBezTo>
                      <a:pt x="44" y="12"/>
                      <a:pt x="43" y="10"/>
                      <a:pt x="41" y="9"/>
                    </a:cubicBezTo>
                    <a:cubicBezTo>
                      <a:pt x="40" y="8"/>
                      <a:pt x="38" y="8"/>
                      <a:pt x="37" y="7"/>
                    </a:cubicBezTo>
                    <a:cubicBezTo>
                      <a:pt x="35" y="7"/>
                      <a:pt x="33" y="7"/>
                      <a:pt x="31" y="7"/>
                    </a:cubicBezTo>
                    <a:lnTo>
                      <a:pt x="0" y="7"/>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86"/>
              <p:cNvSpPr>
                <a:spLocks/>
              </p:cNvSpPr>
              <p:nvPr/>
            </p:nvSpPr>
            <p:spPr bwMode="auto">
              <a:xfrm>
                <a:off x="4482" y="2139"/>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6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3 w 52"/>
                  <a:gd name="T35" fmla="*/ 35 h 38"/>
                  <a:gd name="T36" fmla="*/ 15 w 52"/>
                  <a:gd name="T37" fmla="*/ 38 h 38"/>
                  <a:gd name="T38" fmla="*/ 4 w 52"/>
                  <a:gd name="T39" fmla="*/ 33 h 38"/>
                  <a:gd name="T40" fmla="*/ 0 w 52"/>
                  <a:gd name="T41" fmla="*/ 19 h 38"/>
                  <a:gd name="T42" fmla="*/ 1 w 52"/>
                  <a:gd name="T43" fmla="*/ 10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30 h 38"/>
                  <a:gd name="T60" fmla="*/ 22 w 52"/>
                  <a:gd name="T61" fmla="*/ 24 h 38"/>
                  <a:gd name="T62" fmla="*/ 23 w 52"/>
                  <a:gd name="T63" fmla="*/ 18 h 38"/>
                  <a:gd name="T64" fmla="*/ 24 w 52"/>
                  <a:gd name="T65" fmla="*/ 11 h 38"/>
                  <a:gd name="T66" fmla="*/ 29 w 52"/>
                  <a:gd name="T67" fmla="*/ 3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4"/>
                      <a:pt x="52" y="16"/>
                      <a:pt x="52" y="20"/>
                    </a:cubicBezTo>
                    <a:cubicBezTo>
                      <a:pt x="52" y="23"/>
                      <a:pt x="52" y="27"/>
                      <a:pt x="51" y="30"/>
                    </a:cubicBezTo>
                    <a:cubicBezTo>
                      <a:pt x="51" y="33"/>
                      <a:pt x="50" y="35"/>
                      <a:pt x="48" y="38"/>
                    </a:cubicBezTo>
                    <a:lnTo>
                      <a:pt x="40" y="38"/>
                    </a:lnTo>
                    <a:lnTo>
                      <a:pt x="40" y="38"/>
                    </a:lnTo>
                    <a:cubicBezTo>
                      <a:pt x="42" y="35"/>
                      <a:pt x="44" y="33"/>
                      <a:pt x="45" y="29"/>
                    </a:cubicBezTo>
                    <a:cubicBezTo>
                      <a:pt x="46" y="26"/>
                      <a:pt x="46" y="23"/>
                      <a:pt x="46" y="20"/>
                    </a:cubicBezTo>
                    <a:cubicBezTo>
                      <a:pt x="46" y="16"/>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3" y="35"/>
                    </a:cubicBezTo>
                    <a:cubicBezTo>
                      <a:pt x="21" y="37"/>
                      <a:pt x="18" y="38"/>
                      <a:pt x="15" y="38"/>
                    </a:cubicBezTo>
                    <a:cubicBezTo>
                      <a:pt x="10" y="38"/>
                      <a:pt x="7" y="36"/>
                      <a:pt x="4" y="33"/>
                    </a:cubicBezTo>
                    <a:cubicBezTo>
                      <a:pt x="1" y="29"/>
                      <a:pt x="0" y="25"/>
                      <a:pt x="0" y="19"/>
                    </a:cubicBezTo>
                    <a:cubicBezTo>
                      <a:pt x="0" y="16"/>
                      <a:pt x="0" y="13"/>
                      <a:pt x="1" y="10"/>
                    </a:cubicBezTo>
                    <a:cubicBezTo>
                      <a:pt x="2" y="7"/>
                      <a:pt x="3" y="4"/>
                      <a:pt x="4" y="2"/>
                    </a:cubicBezTo>
                    <a:lnTo>
                      <a:pt x="12" y="2"/>
                    </a:lnTo>
                    <a:lnTo>
                      <a:pt x="12" y="2"/>
                    </a:lnTo>
                    <a:cubicBezTo>
                      <a:pt x="10" y="4"/>
                      <a:pt x="9" y="7"/>
                      <a:pt x="8" y="10"/>
                    </a:cubicBezTo>
                    <a:cubicBezTo>
                      <a:pt x="6" y="13"/>
                      <a:pt x="6" y="16"/>
                      <a:pt x="6" y="19"/>
                    </a:cubicBezTo>
                    <a:cubicBezTo>
                      <a:pt x="6" y="23"/>
                      <a:pt x="7" y="26"/>
                      <a:pt x="8" y="28"/>
                    </a:cubicBezTo>
                    <a:cubicBezTo>
                      <a:pt x="10" y="30"/>
                      <a:pt x="12" y="31"/>
                      <a:pt x="14" y="31"/>
                    </a:cubicBezTo>
                    <a:cubicBezTo>
                      <a:pt x="16" y="31"/>
                      <a:pt x="18" y="31"/>
                      <a:pt x="19" y="30"/>
                    </a:cubicBezTo>
                    <a:cubicBezTo>
                      <a:pt x="20" y="29"/>
                      <a:pt x="21" y="27"/>
                      <a:pt x="22" y="24"/>
                    </a:cubicBezTo>
                    <a:cubicBezTo>
                      <a:pt x="22" y="22"/>
                      <a:pt x="22" y="20"/>
                      <a:pt x="23" y="18"/>
                    </a:cubicBezTo>
                    <a:cubicBezTo>
                      <a:pt x="23" y="15"/>
                      <a:pt x="24" y="13"/>
                      <a:pt x="24" y="11"/>
                    </a:cubicBezTo>
                    <a:cubicBezTo>
                      <a:pt x="25" y="7"/>
                      <a:pt x="27" y="4"/>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87"/>
              <p:cNvSpPr>
                <a:spLocks noEditPoints="1"/>
              </p:cNvSpPr>
              <p:nvPr/>
            </p:nvSpPr>
            <p:spPr bwMode="auto">
              <a:xfrm>
                <a:off x="4482" y="2116"/>
                <a:ext cx="24" cy="18"/>
              </a:xfrm>
              <a:custGeom>
                <a:avLst/>
                <a:gdLst>
                  <a:gd name="T0" fmla="*/ 35 w 50"/>
                  <a:gd name="T1" fmla="*/ 0 h 38"/>
                  <a:gd name="T2" fmla="*/ 41 w 50"/>
                  <a:gd name="T3" fmla="*/ 1 h 38"/>
                  <a:gd name="T4" fmla="*/ 46 w 50"/>
                  <a:gd name="T5" fmla="*/ 5 h 38"/>
                  <a:gd name="T6" fmla="*/ 49 w 50"/>
                  <a:gd name="T7" fmla="*/ 12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10 h 38"/>
                  <a:gd name="T20" fmla="*/ 6 w 50"/>
                  <a:gd name="T21" fmla="*/ 6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8 h 38"/>
                  <a:gd name="T42" fmla="*/ 6 w 50"/>
                  <a:gd name="T43" fmla="*/ 23 h 38"/>
                  <a:gd name="T44" fmla="*/ 6 w 50"/>
                  <a:gd name="T45" fmla="*/ 31 h 38"/>
                  <a:gd name="T46" fmla="*/ 20 w 50"/>
                  <a:gd name="T47" fmla="*/ 31 h 38"/>
                  <a:gd name="T48" fmla="*/ 20 w 50"/>
                  <a:gd name="T49" fmla="*/ 23 h 38"/>
                  <a:gd name="T50" fmla="*/ 20 w 50"/>
                  <a:gd name="T51" fmla="*/ 18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1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1"/>
                      <a:pt x="41" y="1"/>
                    </a:cubicBezTo>
                    <a:cubicBezTo>
                      <a:pt x="43" y="2"/>
                      <a:pt x="45" y="4"/>
                      <a:pt x="46" y="5"/>
                    </a:cubicBezTo>
                    <a:cubicBezTo>
                      <a:pt x="48" y="7"/>
                      <a:pt x="49" y="9"/>
                      <a:pt x="49" y="12"/>
                    </a:cubicBezTo>
                    <a:cubicBezTo>
                      <a:pt x="50" y="14"/>
                      <a:pt x="50" y="17"/>
                      <a:pt x="50" y="20"/>
                    </a:cubicBezTo>
                    <a:lnTo>
                      <a:pt x="50" y="38"/>
                    </a:lnTo>
                    <a:lnTo>
                      <a:pt x="0" y="38"/>
                    </a:lnTo>
                    <a:lnTo>
                      <a:pt x="0" y="23"/>
                    </a:lnTo>
                    <a:cubicBezTo>
                      <a:pt x="0" y="19"/>
                      <a:pt x="0" y="17"/>
                      <a:pt x="0" y="15"/>
                    </a:cubicBezTo>
                    <a:cubicBezTo>
                      <a:pt x="1" y="13"/>
                      <a:pt x="1" y="11"/>
                      <a:pt x="2" y="10"/>
                    </a:cubicBezTo>
                    <a:cubicBezTo>
                      <a:pt x="3" y="8"/>
                      <a:pt x="4" y="6"/>
                      <a:pt x="6" y="6"/>
                    </a:cubicBezTo>
                    <a:cubicBezTo>
                      <a:pt x="7" y="5"/>
                      <a:pt x="9" y="4"/>
                      <a:pt x="11" y="4"/>
                    </a:cubicBezTo>
                    <a:cubicBezTo>
                      <a:pt x="14" y="4"/>
                      <a:pt x="16" y="5"/>
                      <a:pt x="17" y="6"/>
                    </a:cubicBezTo>
                    <a:cubicBezTo>
                      <a:pt x="19" y="7"/>
                      <a:pt x="20" y="9"/>
                      <a:pt x="21" y="11"/>
                    </a:cubicBezTo>
                    <a:lnTo>
                      <a:pt x="22" y="11"/>
                    </a:lnTo>
                    <a:cubicBezTo>
                      <a:pt x="22" y="8"/>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8"/>
                    </a:cubicBezTo>
                    <a:cubicBezTo>
                      <a:pt x="6" y="19"/>
                      <a:pt x="6" y="21"/>
                      <a:pt x="6" y="23"/>
                    </a:cubicBezTo>
                    <a:lnTo>
                      <a:pt x="6" y="31"/>
                    </a:lnTo>
                    <a:lnTo>
                      <a:pt x="20" y="31"/>
                    </a:lnTo>
                    <a:lnTo>
                      <a:pt x="20" y="23"/>
                    </a:lnTo>
                    <a:cubicBezTo>
                      <a:pt x="20" y="21"/>
                      <a:pt x="20" y="19"/>
                      <a:pt x="20" y="18"/>
                    </a:cubicBezTo>
                    <a:cubicBezTo>
                      <a:pt x="20" y="16"/>
                      <a:pt x="19" y="15"/>
                      <a:pt x="19" y="14"/>
                    </a:cubicBezTo>
                    <a:cubicBezTo>
                      <a:pt x="18" y="13"/>
                      <a:pt x="17" y="12"/>
                      <a:pt x="16" y="12"/>
                    </a:cubicBezTo>
                    <a:cubicBezTo>
                      <a:pt x="15" y="12"/>
                      <a:pt x="14" y="11"/>
                      <a:pt x="12" y="11"/>
                    </a:cubicBezTo>
                    <a:close/>
                    <a:moveTo>
                      <a:pt x="35" y="7"/>
                    </a:moveTo>
                    <a:cubicBezTo>
                      <a:pt x="33" y="7"/>
                      <a:pt x="32" y="7"/>
                      <a:pt x="30" y="8"/>
                    </a:cubicBezTo>
                    <a:cubicBezTo>
                      <a:pt x="29" y="9"/>
                      <a:pt x="28" y="10"/>
                      <a:pt x="27" y="11"/>
                    </a:cubicBezTo>
                    <a:cubicBezTo>
                      <a:pt x="27" y="12"/>
                      <a:pt x="26" y="14"/>
                      <a:pt x="26" y="15"/>
                    </a:cubicBezTo>
                    <a:cubicBezTo>
                      <a:pt x="26" y="17"/>
                      <a:pt x="26" y="19"/>
                      <a:pt x="26" y="21"/>
                    </a:cubicBezTo>
                    <a:lnTo>
                      <a:pt x="26" y="31"/>
                    </a:lnTo>
                    <a:lnTo>
                      <a:pt x="45" y="31"/>
                    </a:lnTo>
                    <a:lnTo>
                      <a:pt x="45" y="22"/>
                    </a:lnTo>
                    <a:cubicBezTo>
                      <a:pt x="45" y="19"/>
                      <a:pt x="44" y="17"/>
                      <a:pt x="44" y="15"/>
                    </a:cubicBezTo>
                    <a:cubicBezTo>
                      <a:pt x="44" y="13"/>
                      <a:pt x="43" y="12"/>
                      <a:pt x="43" y="11"/>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88"/>
              <p:cNvSpPr>
                <a:spLocks/>
              </p:cNvSpPr>
              <p:nvPr/>
            </p:nvSpPr>
            <p:spPr bwMode="auto">
              <a:xfrm>
                <a:off x="4482" y="2084"/>
                <a:ext cx="24" cy="17"/>
              </a:xfrm>
              <a:custGeom>
                <a:avLst/>
                <a:gdLst>
                  <a:gd name="T0" fmla="*/ 51 w 51"/>
                  <a:gd name="T1" fmla="*/ 0 h 35"/>
                  <a:gd name="T2" fmla="*/ 51 w 51"/>
                  <a:gd name="T3" fmla="*/ 35 h 35"/>
                  <a:gd name="T4" fmla="*/ 44 w 51"/>
                  <a:gd name="T5" fmla="*/ 35 h 35"/>
                  <a:gd name="T6" fmla="*/ 38 w 51"/>
                  <a:gd name="T7" fmla="*/ 27 h 35"/>
                  <a:gd name="T8" fmla="*/ 32 w 51"/>
                  <a:gd name="T9" fmla="*/ 21 h 35"/>
                  <a:gd name="T10" fmla="*/ 22 w 51"/>
                  <a:gd name="T11" fmla="*/ 12 h 35"/>
                  <a:gd name="T12" fmla="*/ 14 w 51"/>
                  <a:gd name="T13" fmla="*/ 10 h 35"/>
                  <a:gd name="T14" fmla="*/ 8 w 51"/>
                  <a:gd name="T15" fmla="*/ 12 h 35"/>
                  <a:gd name="T16" fmla="*/ 6 w 51"/>
                  <a:gd name="T17" fmla="*/ 19 h 35"/>
                  <a:gd name="T18" fmla="*/ 7 w 51"/>
                  <a:gd name="T19" fmla="*/ 26 h 35"/>
                  <a:gd name="T20" fmla="*/ 10 w 51"/>
                  <a:gd name="T21" fmla="*/ 33 h 35"/>
                  <a:gd name="T22" fmla="*/ 10 w 51"/>
                  <a:gd name="T23" fmla="*/ 33 h 35"/>
                  <a:gd name="T24" fmla="*/ 3 w 51"/>
                  <a:gd name="T25" fmla="*/ 33 h 35"/>
                  <a:gd name="T26" fmla="*/ 1 w 51"/>
                  <a:gd name="T27" fmla="*/ 27 h 35"/>
                  <a:gd name="T28" fmla="*/ 0 w 51"/>
                  <a:gd name="T29" fmla="*/ 19 h 35"/>
                  <a:gd name="T30" fmla="*/ 4 w 51"/>
                  <a:gd name="T31" fmla="*/ 7 h 35"/>
                  <a:gd name="T32" fmla="*/ 14 w 51"/>
                  <a:gd name="T33" fmla="*/ 3 h 35"/>
                  <a:gd name="T34" fmla="*/ 19 w 51"/>
                  <a:gd name="T35" fmla="*/ 3 h 35"/>
                  <a:gd name="T36" fmla="*/ 24 w 51"/>
                  <a:gd name="T37" fmla="*/ 5 h 35"/>
                  <a:gd name="T38" fmla="*/ 28 w 51"/>
                  <a:gd name="T39" fmla="*/ 9 h 35"/>
                  <a:gd name="T40" fmla="*/ 33 w 51"/>
                  <a:gd name="T41" fmla="*/ 13 h 35"/>
                  <a:gd name="T42" fmla="*/ 39 w 51"/>
                  <a:gd name="T43" fmla="*/ 20 h 35"/>
                  <a:gd name="T44" fmla="*/ 46 w 51"/>
                  <a:gd name="T45" fmla="*/ 28 h 35"/>
                  <a:gd name="T46" fmla="*/ 46 w 51"/>
                  <a:gd name="T47" fmla="*/ 0 h 35"/>
                  <a:gd name="T48" fmla="*/ 51 w 51"/>
                  <a:gd name="T4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5">
                    <a:moveTo>
                      <a:pt x="51" y="0"/>
                    </a:moveTo>
                    <a:lnTo>
                      <a:pt x="51" y="35"/>
                    </a:lnTo>
                    <a:lnTo>
                      <a:pt x="44" y="35"/>
                    </a:lnTo>
                    <a:lnTo>
                      <a:pt x="38" y="27"/>
                    </a:lnTo>
                    <a:cubicBezTo>
                      <a:pt x="36" y="25"/>
                      <a:pt x="34" y="23"/>
                      <a:pt x="32" y="21"/>
                    </a:cubicBezTo>
                    <a:cubicBezTo>
                      <a:pt x="28" y="16"/>
                      <a:pt x="25" y="14"/>
                      <a:pt x="22" y="12"/>
                    </a:cubicBezTo>
                    <a:cubicBezTo>
                      <a:pt x="20" y="10"/>
                      <a:pt x="17" y="10"/>
                      <a:pt x="14" y="10"/>
                    </a:cubicBezTo>
                    <a:cubicBezTo>
                      <a:pt x="12" y="10"/>
                      <a:pt x="10" y="10"/>
                      <a:pt x="8" y="12"/>
                    </a:cubicBezTo>
                    <a:cubicBezTo>
                      <a:pt x="7" y="14"/>
                      <a:pt x="6" y="16"/>
                      <a:pt x="6" y="19"/>
                    </a:cubicBezTo>
                    <a:cubicBezTo>
                      <a:pt x="6" y="21"/>
                      <a:pt x="6" y="24"/>
                      <a:pt x="7" y="26"/>
                    </a:cubicBezTo>
                    <a:cubicBezTo>
                      <a:pt x="8" y="28"/>
                      <a:pt x="9" y="31"/>
                      <a:pt x="10" y="33"/>
                    </a:cubicBezTo>
                    <a:lnTo>
                      <a:pt x="10" y="33"/>
                    </a:lnTo>
                    <a:lnTo>
                      <a:pt x="3" y="33"/>
                    </a:lnTo>
                    <a:cubicBezTo>
                      <a:pt x="2" y="32"/>
                      <a:pt x="2" y="30"/>
                      <a:pt x="1" y="27"/>
                    </a:cubicBezTo>
                    <a:cubicBezTo>
                      <a:pt x="0" y="24"/>
                      <a:pt x="0" y="22"/>
                      <a:pt x="0" y="19"/>
                    </a:cubicBezTo>
                    <a:cubicBezTo>
                      <a:pt x="0" y="14"/>
                      <a:pt x="1" y="10"/>
                      <a:pt x="4" y="7"/>
                    </a:cubicBezTo>
                    <a:cubicBezTo>
                      <a:pt x="6" y="4"/>
                      <a:pt x="10" y="3"/>
                      <a:pt x="14" y="3"/>
                    </a:cubicBezTo>
                    <a:cubicBezTo>
                      <a:pt x="16" y="3"/>
                      <a:pt x="18" y="3"/>
                      <a:pt x="19" y="3"/>
                    </a:cubicBezTo>
                    <a:cubicBezTo>
                      <a:pt x="21" y="4"/>
                      <a:pt x="22" y="5"/>
                      <a:pt x="24" y="5"/>
                    </a:cubicBezTo>
                    <a:cubicBezTo>
                      <a:pt x="25" y="6"/>
                      <a:pt x="27" y="7"/>
                      <a:pt x="28" y="9"/>
                    </a:cubicBezTo>
                    <a:cubicBezTo>
                      <a:pt x="29" y="10"/>
                      <a:pt x="31" y="11"/>
                      <a:pt x="33" y="13"/>
                    </a:cubicBezTo>
                    <a:cubicBezTo>
                      <a:pt x="35" y="15"/>
                      <a:pt x="37" y="18"/>
                      <a:pt x="39" y="20"/>
                    </a:cubicBezTo>
                    <a:cubicBezTo>
                      <a:pt x="42" y="23"/>
                      <a:pt x="44" y="25"/>
                      <a:pt x="46" y="28"/>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89"/>
              <p:cNvSpPr>
                <a:spLocks/>
              </p:cNvSpPr>
              <p:nvPr/>
            </p:nvSpPr>
            <p:spPr bwMode="auto">
              <a:xfrm>
                <a:off x="4488" y="2063"/>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3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3"/>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90"/>
              <p:cNvSpPr>
                <a:spLocks/>
              </p:cNvSpPr>
              <p:nvPr/>
            </p:nvSpPr>
            <p:spPr bwMode="auto">
              <a:xfrm>
                <a:off x="4482" y="1758"/>
                <a:ext cx="25" cy="18"/>
              </a:xfrm>
              <a:custGeom>
                <a:avLst/>
                <a:gdLst>
                  <a:gd name="T0" fmla="*/ 30 w 51"/>
                  <a:gd name="T1" fmla="*/ 0 h 38"/>
                  <a:gd name="T2" fmla="*/ 40 w 51"/>
                  <a:gd name="T3" fmla="*/ 1 h 38"/>
                  <a:gd name="T4" fmla="*/ 46 w 51"/>
                  <a:gd name="T5" fmla="*/ 5 h 38"/>
                  <a:gd name="T6" fmla="*/ 50 w 51"/>
                  <a:gd name="T7" fmla="*/ 11 h 38"/>
                  <a:gd name="T8" fmla="*/ 51 w 51"/>
                  <a:gd name="T9" fmla="*/ 19 h 38"/>
                  <a:gd name="T10" fmla="*/ 50 w 51"/>
                  <a:gd name="T11" fmla="*/ 27 h 38"/>
                  <a:gd name="T12" fmla="*/ 46 w 51"/>
                  <a:gd name="T13" fmla="*/ 33 h 38"/>
                  <a:gd name="T14" fmla="*/ 40 w 51"/>
                  <a:gd name="T15" fmla="*/ 37 h 38"/>
                  <a:gd name="T16" fmla="*/ 30 w 51"/>
                  <a:gd name="T17" fmla="*/ 38 h 38"/>
                  <a:gd name="T18" fmla="*/ 0 w 51"/>
                  <a:gd name="T19" fmla="*/ 38 h 38"/>
                  <a:gd name="T20" fmla="*/ 0 w 51"/>
                  <a:gd name="T21" fmla="*/ 32 h 38"/>
                  <a:gd name="T22" fmla="*/ 30 w 51"/>
                  <a:gd name="T23" fmla="*/ 32 h 38"/>
                  <a:gd name="T24" fmla="*/ 37 w 51"/>
                  <a:gd name="T25" fmla="*/ 31 h 38"/>
                  <a:gd name="T26" fmla="*/ 41 w 51"/>
                  <a:gd name="T27" fmla="*/ 29 h 38"/>
                  <a:gd name="T28" fmla="*/ 45 w 51"/>
                  <a:gd name="T29" fmla="*/ 25 h 38"/>
                  <a:gd name="T30" fmla="*/ 46 w 51"/>
                  <a:gd name="T31" fmla="*/ 19 h 38"/>
                  <a:gd name="T32" fmla="*/ 45 w 51"/>
                  <a:gd name="T33" fmla="*/ 13 h 38"/>
                  <a:gd name="T34" fmla="*/ 41 w 51"/>
                  <a:gd name="T35" fmla="*/ 9 h 38"/>
                  <a:gd name="T36" fmla="*/ 37 w 51"/>
                  <a:gd name="T37" fmla="*/ 7 h 38"/>
                  <a:gd name="T38" fmla="*/ 31 w 51"/>
                  <a:gd name="T39" fmla="*/ 6 h 38"/>
                  <a:gd name="T40" fmla="*/ 0 w 51"/>
                  <a:gd name="T41" fmla="*/ 6 h 38"/>
                  <a:gd name="T42" fmla="*/ 0 w 51"/>
                  <a:gd name="T43" fmla="*/ 0 h 38"/>
                  <a:gd name="T44" fmla="*/ 30 w 51"/>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8">
                    <a:moveTo>
                      <a:pt x="30" y="0"/>
                    </a:moveTo>
                    <a:cubicBezTo>
                      <a:pt x="34" y="0"/>
                      <a:pt x="37" y="0"/>
                      <a:pt x="40" y="1"/>
                    </a:cubicBezTo>
                    <a:cubicBezTo>
                      <a:pt x="42" y="2"/>
                      <a:pt x="45" y="3"/>
                      <a:pt x="46" y="5"/>
                    </a:cubicBezTo>
                    <a:cubicBezTo>
                      <a:pt x="48" y="7"/>
                      <a:pt x="49" y="9"/>
                      <a:pt x="50" y="11"/>
                    </a:cubicBezTo>
                    <a:cubicBezTo>
                      <a:pt x="51" y="13"/>
                      <a:pt x="51" y="16"/>
                      <a:pt x="51" y="19"/>
                    </a:cubicBezTo>
                    <a:cubicBezTo>
                      <a:pt x="51" y="22"/>
                      <a:pt x="51" y="25"/>
                      <a:pt x="50" y="27"/>
                    </a:cubicBezTo>
                    <a:cubicBezTo>
                      <a:pt x="49" y="30"/>
                      <a:pt x="48" y="32"/>
                      <a:pt x="46" y="33"/>
                    </a:cubicBezTo>
                    <a:cubicBezTo>
                      <a:pt x="45" y="35"/>
                      <a:pt x="42" y="36"/>
                      <a:pt x="40" y="37"/>
                    </a:cubicBezTo>
                    <a:cubicBezTo>
                      <a:pt x="37" y="38"/>
                      <a:pt x="34" y="38"/>
                      <a:pt x="30" y="38"/>
                    </a:cubicBezTo>
                    <a:lnTo>
                      <a:pt x="0" y="38"/>
                    </a:lnTo>
                    <a:lnTo>
                      <a:pt x="0" y="32"/>
                    </a:lnTo>
                    <a:lnTo>
                      <a:pt x="30" y="32"/>
                    </a:lnTo>
                    <a:cubicBezTo>
                      <a:pt x="33" y="32"/>
                      <a:pt x="35" y="32"/>
                      <a:pt x="37" y="31"/>
                    </a:cubicBezTo>
                    <a:cubicBezTo>
                      <a:pt x="39" y="31"/>
                      <a:pt x="40" y="30"/>
                      <a:pt x="41" y="29"/>
                    </a:cubicBezTo>
                    <a:cubicBezTo>
                      <a:pt x="43" y="28"/>
                      <a:pt x="44" y="27"/>
                      <a:pt x="45" y="25"/>
                    </a:cubicBezTo>
                    <a:cubicBezTo>
                      <a:pt x="45" y="24"/>
                      <a:pt x="46" y="21"/>
                      <a:pt x="46" y="19"/>
                    </a:cubicBezTo>
                    <a:cubicBezTo>
                      <a:pt x="46" y="17"/>
                      <a:pt x="45" y="15"/>
                      <a:pt x="45" y="13"/>
                    </a:cubicBezTo>
                    <a:cubicBezTo>
                      <a:pt x="44" y="11"/>
                      <a:pt x="43" y="10"/>
                      <a:pt x="41" y="9"/>
                    </a:cubicBezTo>
                    <a:cubicBezTo>
                      <a:pt x="40" y="8"/>
                      <a:pt x="38" y="7"/>
                      <a:pt x="37" y="7"/>
                    </a:cubicBezTo>
                    <a:cubicBezTo>
                      <a:pt x="35" y="7"/>
                      <a:pt x="33" y="6"/>
                      <a:pt x="31" y="6"/>
                    </a:cubicBezTo>
                    <a:lnTo>
                      <a:pt x="0" y="6"/>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91"/>
              <p:cNvSpPr>
                <a:spLocks/>
              </p:cNvSpPr>
              <p:nvPr/>
            </p:nvSpPr>
            <p:spPr bwMode="auto">
              <a:xfrm>
                <a:off x="4482" y="1734"/>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6 w 52"/>
                  <a:gd name="T21" fmla="*/ 21 h 39"/>
                  <a:gd name="T22" fmla="*/ 44 w 52"/>
                  <a:gd name="T23" fmla="*/ 11 h 39"/>
                  <a:gd name="T24" fmla="*/ 38 w 52"/>
                  <a:gd name="T25" fmla="*/ 7 h 39"/>
                  <a:gd name="T26" fmla="*/ 33 w 52"/>
                  <a:gd name="T27" fmla="*/ 9 h 39"/>
                  <a:gd name="T28" fmla="*/ 31 w 52"/>
                  <a:gd name="T29" fmla="*/ 14 h 39"/>
                  <a:gd name="T30" fmla="*/ 29 w 52"/>
                  <a:gd name="T31" fmla="*/ 20 h 39"/>
                  <a:gd name="T32" fmla="*/ 28 w 52"/>
                  <a:gd name="T33" fmla="*/ 26 h 39"/>
                  <a:gd name="T34" fmla="*/ 23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1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10"/>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6" y="23"/>
                      <a:pt x="46" y="21"/>
                    </a:cubicBezTo>
                    <a:cubicBezTo>
                      <a:pt x="46" y="16"/>
                      <a:pt x="46" y="13"/>
                      <a:pt x="44" y="11"/>
                    </a:cubicBezTo>
                    <a:cubicBezTo>
                      <a:pt x="43" y="9"/>
                      <a:pt x="41" y="7"/>
                      <a:pt x="38" y="7"/>
                    </a:cubicBezTo>
                    <a:cubicBezTo>
                      <a:pt x="36" y="7"/>
                      <a:pt x="34" y="8"/>
                      <a:pt x="33" y="9"/>
                    </a:cubicBezTo>
                    <a:cubicBezTo>
                      <a:pt x="32" y="10"/>
                      <a:pt x="31" y="12"/>
                      <a:pt x="31" y="14"/>
                    </a:cubicBezTo>
                    <a:cubicBezTo>
                      <a:pt x="30" y="16"/>
                      <a:pt x="30" y="18"/>
                      <a:pt x="29" y="20"/>
                    </a:cubicBezTo>
                    <a:cubicBezTo>
                      <a:pt x="29" y="21"/>
                      <a:pt x="29" y="24"/>
                      <a:pt x="28" y="26"/>
                    </a:cubicBezTo>
                    <a:cubicBezTo>
                      <a:pt x="27" y="30"/>
                      <a:pt x="26" y="34"/>
                      <a:pt x="23" y="36"/>
                    </a:cubicBezTo>
                    <a:cubicBezTo>
                      <a:pt x="21" y="38"/>
                      <a:pt x="18" y="39"/>
                      <a:pt x="15" y="39"/>
                    </a:cubicBezTo>
                    <a:cubicBezTo>
                      <a:pt x="10" y="39"/>
                      <a:pt x="7" y="37"/>
                      <a:pt x="4" y="34"/>
                    </a:cubicBezTo>
                    <a:cubicBezTo>
                      <a:pt x="1" y="30"/>
                      <a:pt x="0" y="25"/>
                      <a:pt x="0" y="20"/>
                    </a:cubicBezTo>
                    <a:cubicBezTo>
                      <a:pt x="0" y="16"/>
                      <a:pt x="0" y="13"/>
                      <a:pt x="1" y="10"/>
                    </a:cubicBezTo>
                    <a:cubicBezTo>
                      <a:pt x="2" y="7"/>
                      <a:pt x="3" y="5"/>
                      <a:pt x="4" y="2"/>
                    </a:cubicBezTo>
                    <a:lnTo>
                      <a:pt x="12" y="2"/>
                    </a:lnTo>
                    <a:lnTo>
                      <a:pt x="12" y="3"/>
                    </a:lnTo>
                    <a:cubicBezTo>
                      <a:pt x="10" y="5"/>
                      <a:pt x="9" y="7"/>
                      <a:pt x="8" y="11"/>
                    </a:cubicBezTo>
                    <a:cubicBezTo>
                      <a:pt x="6" y="14"/>
                      <a:pt x="6" y="17"/>
                      <a:pt x="6" y="20"/>
                    </a:cubicBezTo>
                    <a:cubicBezTo>
                      <a:pt x="6" y="24"/>
                      <a:pt x="7" y="27"/>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4"/>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92"/>
              <p:cNvSpPr>
                <a:spLocks noEditPoints="1"/>
              </p:cNvSpPr>
              <p:nvPr/>
            </p:nvSpPr>
            <p:spPr bwMode="auto">
              <a:xfrm>
                <a:off x="4482" y="1711"/>
                <a:ext cx="24" cy="18"/>
              </a:xfrm>
              <a:custGeom>
                <a:avLst/>
                <a:gdLst>
                  <a:gd name="T0" fmla="*/ 35 w 50"/>
                  <a:gd name="T1" fmla="*/ 0 h 38"/>
                  <a:gd name="T2" fmla="*/ 41 w 50"/>
                  <a:gd name="T3" fmla="*/ 1 h 38"/>
                  <a:gd name="T4" fmla="*/ 46 w 50"/>
                  <a:gd name="T5" fmla="*/ 5 h 38"/>
                  <a:gd name="T6" fmla="*/ 49 w 50"/>
                  <a:gd name="T7" fmla="*/ 11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9 h 38"/>
                  <a:gd name="T20" fmla="*/ 6 w 50"/>
                  <a:gd name="T21" fmla="*/ 5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7 h 38"/>
                  <a:gd name="T42" fmla="*/ 6 w 50"/>
                  <a:gd name="T43" fmla="*/ 23 h 38"/>
                  <a:gd name="T44" fmla="*/ 6 w 50"/>
                  <a:gd name="T45" fmla="*/ 31 h 38"/>
                  <a:gd name="T46" fmla="*/ 20 w 50"/>
                  <a:gd name="T47" fmla="*/ 31 h 38"/>
                  <a:gd name="T48" fmla="*/ 20 w 50"/>
                  <a:gd name="T49" fmla="*/ 22 h 38"/>
                  <a:gd name="T50" fmla="*/ 20 w 50"/>
                  <a:gd name="T51" fmla="*/ 17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0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0"/>
                      <a:pt x="41" y="1"/>
                    </a:cubicBezTo>
                    <a:cubicBezTo>
                      <a:pt x="43" y="2"/>
                      <a:pt x="45" y="3"/>
                      <a:pt x="46" y="5"/>
                    </a:cubicBezTo>
                    <a:cubicBezTo>
                      <a:pt x="48" y="7"/>
                      <a:pt x="49" y="9"/>
                      <a:pt x="49" y="11"/>
                    </a:cubicBezTo>
                    <a:cubicBezTo>
                      <a:pt x="50" y="13"/>
                      <a:pt x="50" y="16"/>
                      <a:pt x="50" y="20"/>
                    </a:cubicBezTo>
                    <a:lnTo>
                      <a:pt x="50" y="38"/>
                    </a:lnTo>
                    <a:lnTo>
                      <a:pt x="0" y="38"/>
                    </a:lnTo>
                    <a:lnTo>
                      <a:pt x="0" y="23"/>
                    </a:lnTo>
                    <a:cubicBezTo>
                      <a:pt x="0" y="19"/>
                      <a:pt x="0" y="16"/>
                      <a:pt x="0" y="15"/>
                    </a:cubicBezTo>
                    <a:cubicBezTo>
                      <a:pt x="1" y="13"/>
                      <a:pt x="1" y="11"/>
                      <a:pt x="2" y="9"/>
                    </a:cubicBezTo>
                    <a:cubicBezTo>
                      <a:pt x="3" y="7"/>
                      <a:pt x="4" y="6"/>
                      <a:pt x="6" y="5"/>
                    </a:cubicBezTo>
                    <a:cubicBezTo>
                      <a:pt x="7" y="4"/>
                      <a:pt x="9" y="4"/>
                      <a:pt x="11" y="4"/>
                    </a:cubicBezTo>
                    <a:cubicBezTo>
                      <a:pt x="14" y="4"/>
                      <a:pt x="16" y="5"/>
                      <a:pt x="17" y="6"/>
                    </a:cubicBezTo>
                    <a:cubicBezTo>
                      <a:pt x="19" y="7"/>
                      <a:pt x="20" y="9"/>
                      <a:pt x="21" y="11"/>
                    </a:cubicBezTo>
                    <a:lnTo>
                      <a:pt x="22" y="11"/>
                    </a:lnTo>
                    <a:cubicBezTo>
                      <a:pt x="22" y="7"/>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7"/>
                    </a:cubicBezTo>
                    <a:cubicBezTo>
                      <a:pt x="6" y="19"/>
                      <a:pt x="6" y="21"/>
                      <a:pt x="6" y="23"/>
                    </a:cubicBezTo>
                    <a:lnTo>
                      <a:pt x="6" y="31"/>
                    </a:lnTo>
                    <a:lnTo>
                      <a:pt x="20" y="31"/>
                    </a:lnTo>
                    <a:lnTo>
                      <a:pt x="20" y="22"/>
                    </a:lnTo>
                    <a:cubicBezTo>
                      <a:pt x="20" y="20"/>
                      <a:pt x="20" y="19"/>
                      <a:pt x="20" y="17"/>
                    </a:cubicBezTo>
                    <a:cubicBezTo>
                      <a:pt x="20" y="16"/>
                      <a:pt x="19" y="15"/>
                      <a:pt x="19" y="14"/>
                    </a:cubicBezTo>
                    <a:cubicBezTo>
                      <a:pt x="18" y="13"/>
                      <a:pt x="17" y="12"/>
                      <a:pt x="16" y="12"/>
                    </a:cubicBezTo>
                    <a:cubicBezTo>
                      <a:pt x="15" y="11"/>
                      <a:pt x="14" y="11"/>
                      <a:pt x="12" y="11"/>
                    </a:cubicBezTo>
                    <a:close/>
                    <a:moveTo>
                      <a:pt x="35" y="7"/>
                    </a:moveTo>
                    <a:cubicBezTo>
                      <a:pt x="33" y="7"/>
                      <a:pt x="32" y="7"/>
                      <a:pt x="30" y="8"/>
                    </a:cubicBezTo>
                    <a:cubicBezTo>
                      <a:pt x="29" y="8"/>
                      <a:pt x="28" y="9"/>
                      <a:pt x="27" y="11"/>
                    </a:cubicBezTo>
                    <a:cubicBezTo>
                      <a:pt x="27" y="12"/>
                      <a:pt x="26" y="13"/>
                      <a:pt x="26" y="15"/>
                    </a:cubicBezTo>
                    <a:cubicBezTo>
                      <a:pt x="26" y="16"/>
                      <a:pt x="26" y="18"/>
                      <a:pt x="26" y="21"/>
                    </a:cubicBezTo>
                    <a:lnTo>
                      <a:pt x="26" y="31"/>
                    </a:lnTo>
                    <a:lnTo>
                      <a:pt x="45" y="31"/>
                    </a:lnTo>
                    <a:lnTo>
                      <a:pt x="45" y="22"/>
                    </a:lnTo>
                    <a:cubicBezTo>
                      <a:pt x="45" y="19"/>
                      <a:pt x="44" y="17"/>
                      <a:pt x="44" y="15"/>
                    </a:cubicBezTo>
                    <a:cubicBezTo>
                      <a:pt x="44" y="13"/>
                      <a:pt x="43" y="12"/>
                      <a:pt x="43" y="10"/>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93"/>
              <p:cNvSpPr>
                <a:spLocks/>
              </p:cNvSpPr>
              <p:nvPr/>
            </p:nvSpPr>
            <p:spPr bwMode="auto">
              <a:xfrm>
                <a:off x="4482" y="1679"/>
                <a:ext cx="24" cy="16"/>
              </a:xfrm>
              <a:custGeom>
                <a:avLst/>
                <a:gdLst>
                  <a:gd name="T0" fmla="*/ 51 w 51"/>
                  <a:gd name="T1" fmla="*/ 0 h 34"/>
                  <a:gd name="T2" fmla="*/ 51 w 51"/>
                  <a:gd name="T3" fmla="*/ 34 h 34"/>
                  <a:gd name="T4" fmla="*/ 44 w 51"/>
                  <a:gd name="T5" fmla="*/ 34 h 34"/>
                  <a:gd name="T6" fmla="*/ 38 w 51"/>
                  <a:gd name="T7" fmla="*/ 27 h 34"/>
                  <a:gd name="T8" fmla="*/ 32 w 51"/>
                  <a:gd name="T9" fmla="*/ 21 h 34"/>
                  <a:gd name="T10" fmla="*/ 22 w 51"/>
                  <a:gd name="T11" fmla="*/ 12 h 34"/>
                  <a:gd name="T12" fmla="*/ 14 w 51"/>
                  <a:gd name="T13" fmla="*/ 9 h 34"/>
                  <a:gd name="T14" fmla="*/ 8 w 51"/>
                  <a:gd name="T15" fmla="*/ 12 h 34"/>
                  <a:gd name="T16" fmla="*/ 6 w 51"/>
                  <a:gd name="T17" fmla="*/ 19 h 34"/>
                  <a:gd name="T18" fmla="*/ 7 w 51"/>
                  <a:gd name="T19" fmla="*/ 26 h 34"/>
                  <a:gd name="T20" fmla="*/ 10 w 51"/>
                  <a:gd name="T21" fmla="*/ 33 h 34"/>
                  <a:gd name="T22" fmla="*/ 10 w 51"/>
                  <a:gd name="T23" fmla="*/ 33 h 34"/>
                  <a:gd name="T24" fmla="*/ 3 w 51"/>
                  <a:gd name="T25" fmla="*/ 33 h 34"/>
                  <a:gd name="T26" fmla="*/ 1 w 51"/>
                  <a:gd name="T27" fmla="*/ 27 h 34"/>
                  <a:gd name="T28" fmla="*/ 0 w 51"/>
                  <a:gd name="T29" fmla="*/ 19 h 34"/>
                  <a:gd name="T30" fmla="*/ 4 w 51"/>
                  <a:gd name="T31" fmla="*/ 7 h 34"/>
                  <a:gd name="T32" fmla="*/ 14 w 51"/>
                  <a:gd name="T33" fmla="*/ 2 h 34"/>
                  <a:gd name="T34" fmla="*/ 19 w 51"/>
                  <a:gd name="T35" fmla="*/ 3 h 34"/>
                  <a:gd name="T36" fmla="*/ 24 w 51"/>
                  <a:gd name="T37" fmla="*/ 5 h 34"/>
                  <a:gd name="T38" fmla="*/ 28 w 51"/>
                  <a:gd name="T39" fmla="*/ 8 h 34"/>
                  <a:gd name="T40" fmla="*/ 33 w 51"/>
                  <a:gd name="T41" fmla="*/ 13 h 34"/>
                  <a:gd name="T42" fmla="*/ 39 w 51"/>
                  <a:gd name="T43" fmla="*/ 20 h 34"/>
                  <a:gd name="T44" fmla="*/ 46 w 51"/>
                  <a:gd name="T45" fmla="*/ 27 h 34"/>
                  <a:gd name="T46" fmla="*/ 46 w 51"/>
                  <a:gd name="T47" fmla="*/ 0 h 34"/>
                  <a:gd name="T48" fmla="*/ 51 w 51"/>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4">
                    <a:moveTo>
                      <a:pt x="51" y="0"/>
                    </a:moveTo>
                    <a:lnTo>
                      <a:pt x="51" y="34"/>
                    </a:lnTo>
                    <a:lnTo>
                      <a:pt x="44" y="34"/>
                    </a:lnTo>
                    <a:lnTo>
                      <a:pt x="38" y="27"/>
                    </a:lnTo>
                    <a:cubicBezTo>
                      <a:pt x="36" y="25"/>
                      <a:pt x="34" y="23"/>
                      <a:pt x="32" y="21"/>
                    </a:cubicBezTo>
                    <a:cubicBezTo>
                      <a:pt x="28" y="16"/>
                      <a:pt x="25" y="13"/>
                      <a:pt x="22" y="12"/>
                    </a:cubicBezTo>
                    <a:cubicBezTo>
                      <a:pt x="20" y="10"/>
                      <a:pt x="17" y="9"/>
                      <a:pt x="14" y="9"/>
                    </a:cubicBezTo>
                    <a:cubicBezTo>
                      <a:pt x="12" y="9"/>
                      <a:pt x="10" y="10"/>
                      <a:pt x="8" y="12"/>
                    </a:cubicBezTo>
                    <a:cubicBezTo>
                      <a:pt x="7" y="14"/>
                      <a:pt x="6" y="16"/>
                      <a:pt x="6" y="19"/>
                    </a:cubicBezTo>
                    <a:cubicBezTo>
                      <a:pt x="6" y="21"/>
                      <a:pt x="6" y="23"/>
                      <a:pt x="7" y="26"/>
                    </a:cubicBezTo>
                    <a:cubicBezTo>
                      <a:pt x="8" y="28"/>
                      <a:pt x="9" y="30"/>
                      <a:pt x="10" y="33"/>
                    </a:cubicBezTo>
                    <a:lnTo>
                      <a:pt x="10" y="33"/>
                    </a:lnTo>
                    <a:lnTo>
                      <a:pt x="3" y="33"/>
                    </a:lnTo>
                    <a:cubicBezTo>
                      <a:pt x="2" y="31"/>
                      <a:pt x="2" y="29"/>
                      <a:pt x="1" y="27"/>
                    </a:cubicBezTo>
                    <a:cubicBezTo>
                      <a:pt x="0" y="24"/>
                      <a:pt x="0" y="21"/>
                      <a:pt x="0" y="19"/>
                    </a:cubicBezTo>
                    <a:cubicBezTo>
                      <a:pt x="0" y="14"/>
                      <a:pt x="1" y="10"/>
                      <a:pt x="4" y="7"/>
                    </a:cubicBezTo>
                    <a:cubicBezTo>
                      <a:pt x="6" y="4"/>
                      <a:pt x="10" y="2"/>
                      <a:pt x="14" y="2"/>
                    </a:cubicBezTo>
                    <a:cubicBezTo>
                      <a:pt x="16" y="2"/>
                      <a:pt x="18" y="3"/>
                      <a:pt x="19" y="3"/>
                    </a:cubicBezTo>
                    <a:cubicBezTo>
                      <a:pt x="21" y="4"/>
                      <a:pt x="22" y="4"/>
                      <a:pt x="24" y="5"/>
                    </a:cubicBezTo>
                    <a:cubicBezTo>
                      <a:pt x="25" y="6"/>
                      <a:pt x="27" y="7"/>
                      <a:pt x="28" y="8"/>
                    </a:cubicBezTo>
                    <a:cubicBezTo>
                      <a:pt x="29" y="10"/>
                      <a:pt x="31" y="11"/>
                      <a:pt x="33" y="13"/>
                    </a:cubicBezTo>
                    <a:cubicBezTo>
                      <a:pt x="35" y="15"/>
                      <a:pt x="37" y="18"/>
                      <a:pt x="39" y="20"/>
                    </a:cubicBezTo>
                    <a:cubicBezTo>
                      <a:pt x="42" y="23"/>
                      <a:pt x="44" y="25"/>
                      <a:pt x="46" y="27"/>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94"/>
              <p:cNvSpPr>
                <a:spLocks/>
              </p:cNvSpPr>
              <p:nvPr/>
            </p:nvSpPr>
            <p:spPr bwMode="auto">
              <a:xfrm>
                <a:off x="4488" y="1658"/>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4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4"/>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95"/>
              <p:cNvSpPr>
                <a:spLocks/>
              </p:cNvSpPr>
              <p:nvPr/>
            </p:nvSpPr>
            <p:spPr bwMode="auto">
              <a:xfrm>
                <a:off x="4363" y="2617"/>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2 h 16"/>
                  <a:gd name="T12" fmla="*/ 10 w 25"/>
                  <a:gd name="T13" fmla="*/ 12 h 16"/>
                  <a:gd name="T14" fmla="*/ 10 w 25"/>
                  <a:gd name="T15" fmla="*/ 0 h 16"/>
                  <a:gd name="T16" fmla="*/ 13 w 25"/>
                  <a:gd name="T17" fmla="*/ 0 h 16"/>
                  <a:gd name="T18" fmla="*/ 13 w 25"/>
                  <a:gd name="T19" fmla="*/ 12 h 16"/>
                  <a:gd name="T20" fmla="*/ 22 w 25"/>
                  <a:gd name="T21" fmla="*/ 12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2"/>
                    </a:lnTo>
                    <a:lnTo>
                      <a:pt x="10" y="12"/>
                    </a:lnTo>
                    <a:lnTo>
                      <a:pt x="10" y="0"/>
                    </a:lnTo>
                    <a:lnTo>
                      <a:pt x="13" y="0"/>
                    </a:lnTo>
                    <a:lnTo>
                      <a:pt x="13" y="12"/>
                    </a:lnTo>
                    <a:lnTo>
                      <a:pt x="22" y="12"/>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96"/>
              <p:cNvSpPr>
                <a:spLocks/>
              </p:cNvSpPr>
              <p:nvPr/>
            </p:nvSpPr>
            <p:spPr bwMode="auto">
              <a:xfrm>
                <a:off x="4363" y="2594"/>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97"/>
              <p:cNvSpPr>
                <a:spLocks/>
              </p:cNvSpPr>
              <p:nvPr/>
            </p:nvSpPr>
            <p:spPr bwMode="auto">
              <a:xfrm>
                <a:off x="4363" y="2573"/>
                <a:ext cx="25" cy="18"/>
              </a:xfrm>
              <a:custGeom>
                <a:avLst/>
                <a:gdLst>
                  <a:gd name="T0" fmla="*/ 25 w 25"/>
                  <a:gd name="T1" fmla="*/ 0 h 18"/>
                  <a:gd name="T2" fmla="*/ 25 w 25"/>
                  <a:gd name="T3" fmla="*/ 3 h 18"/>
                  <a:gd name="T4" fmla="*/ 13 w 25"/>
                  <a:gd name="T5" fmla="*/ 3 h 18"/>
                  <a:gd name="T6" fmla="*/ 13 w 25"/>
                  <a:gd name="T7" fmla="*/ 15 h 18"/>
                  <a:gd name="T8" fmla="*/ 25 w 25"/>
                  <a:gd name="T9" fmla="*/ 15 h 18"/>
                  <a:gd name="T10" fmla="*/ 25 w 25"/>
                  <a:gd name="T11" fmla="*/ 18 h 18"/>
                  <a:gd name="T12" fmla="*/ 0 w 25"/>
                  <a:gd name="T13" fmla="*/ 18 h 18"/>
                  <a:gd name="T14" fmla="*/ 0 w 25"/>
                  <a:gd name="T15" fmla="*/ 15 h 18"/>
                  <a:gd name="T16" fmla="*/ 10 w 25"/>
                  <a:gd name="T17" fmla="*/ 15 h 18"/>
                  <a:gd name="T18" fmla="*/ 10 w 25"/>
                  <a:gd name="T19" fmla="*/ 3 h 18"/>
                  <a:gd name="T20" fmla="*/ 0 w 25"/>
                  <a:gd name="T21" fmla="*/ 3 h 18"/>
                  <a:gd name="T22" fmla="*/ 0 w 25"/>
                  <a:gd name="T23" fmla="*/ 0 h 18"/>
                  <a:gd name="T24" fmla="*/ 25 w 2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25" y="0"/>
                    </a:moveTo>
                    <a:lnTo>
                      <a:pt x="25" y="3"/>
                    </a:lnTo>
                    <a:lnTo>
                      <a:pt x="13" y="3"/>
                    </a:lnTo>
                    <a:lnTo>
                      <a:pt x="13" y="15"/>
                    </a:lnTo>
                    <a:lnTo>
                      <a:pt x="25" y="15"/>
                    </a:lnTo>
                    <a:lnTo>
                      <a:pt x="25" y="18"/>
                    </a:lnTo>
                    <a:lnTo>
                      <a:pt x="0" y="18"/>
                    </a:lnTo>
                    <a:lnTo>
                      <a:pt x="0" y="15"/>
                    </a:lnTo>
                    <a:lnTo>
                      <a:pt x="10" y="15"/>
                    </a:lnTo>
                    <a:lnTo>
                      <a:pt x="1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98"/>
              <p:cNvSpPr>
                <a:spLocks/>
              </p:cNvSpPr>
              <p:nvPr/>
            </p:nvSpPr>
            <p:spPr bwMode="auto">
              <a:xfrm>
                <a:off x="4363" y="2550"/>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99"/>
              <p:cNvSpPr>
                <a:spLocks noEditPoints="1"/>
              </p:cNvSpPr>
              <p:nvPr/>
            </p:nvSpPr>
            <p:spPr bwMode="auto">
              <a:xfrm>
                <a:off x="4363" y="2525"/>
                <a:ext cx="25" cy="20"/>
              </a:xfrm>
              <a:custGeom>
                <a:avLst/>
                <a:gdLst>
                  <a:gd name="T0" fmla="*/ 51 w 51"/>
                  <a:gd name="T1" fmla="*/ 0 h 42"/>
                  <a:gd name="T2" fmla="*/ 51 w 51"/>
                  <a:gd name="T3" fmla="*/ 9 h 42"/>
                  <a:gd name="T4" fmla="*/ 31 w 51"/>
                  <a:gd name="T5" fmla="*/ 26 h 42"/>
                  <a:gd name="T6" fmla="*/ 31 w 51"/>
                  <a:gd name="T7" fmla="*/ 35 h 42"/>
                  <a:gd name="T8" fmla="*/ 51 w 51"/>
                  <a:gd name="T9" fmla="*/ 35 h 42"/>
                  <a:gd name="T10" fmla="*/ 51 w 51"/>
                  <a:gd name="T11" fmla="*/ 42 h 42"/>
                  <a:gd name="T12" fmla="*/ 0 w 51"/>
                  <a:gd name="T13" fmla="*/ 42 h 42"/>
                  <a:gd name="T14" fmla="*/ 0 w 51"/>
                  <a:gd name="T15" fmla="*/ 28 h 42"/>
                  <a:gd name="T16" fmla="*/ 1 w 51"/>
                  <a:gd name="T17" fmla="*/ 20 h 42"/>
                  <a:gd name="T18" fmla="*/ 3 w 51"/>
                  <a:gd name="T19" fmla="*/ 15 h 42"/>
                  <a:gd name="T20" fmla="*/ 7 w 51"/>
                  <a:gd name="T21" fmla="*/ 10 h 42"/>
                  <a:gd name="T22" fmla="*/ 14 w 51"/>
                  <a:gd name="T23" fmla="*/ 9 h 42"/>
                  <a:gd name="T24" fmla="*/ 23 w 51"/>
                  <a:gd name="T25" fmla="*/ 12 h 42"/>
                  <a:gd name="T26" fmla="*/ 29 w 51"/>
                  <a:gd name="T27" fmla="*/ 19 h 42"/>
                  <a:gd name="T28" fmla="*/ 51 w 51"/>
                  <a:gd name="T29" fmla="*/ 0 h 42"/>
                  <a:gd name="T30" fmla="*/ 14 w 51"/>
                  <a:gd name="T31" fmla="*/ 16 h 42"/>
                  <a:gd name="T32" fmla="*/ 11 w 51"/>
                  <a:gd name="T33" fmla="*/ 17 h 42"/>
                  <a:gd name="T34" fmla="*/ 8 w 51"/>
                  <a:gd name="T35" fmla="*/ 19 h 42"/>
                  <a:gd name="T36" fmla="*/ 6 w 51"/>
                  <a:gd name="T37" fmla="*/ 23 h 42"/>
                  <a:gd name="T38" fmla="*/ 6 w 51"/>
                  <a:gd name="T39" fmla="*/ 27 h 42"/>
                  <a:gd name="T40" fmla="*/ 6 w 51"/>
                  <a:gd name="T41" fmla="*/ 35 h 42"/>
                  <a:gd name="T42" fmla="*/ 25 w 51"/>
                  <a:gd name="T43" fmla="*/ 35 h 42"/>
                  <a:gd name="T44" fmla="*/ 25 w 51"/>
                  <a:gd name="T45" fmla="*/ 28 h 42"/>
                  <a:gd name="T46" fmla="*/ 25 w 51"/>
                  <a:gd name="T47" fmla="*/ 23 h 42"/>
                  <a:gd name="T48" fmla="*/ 22 w 51"/>
                  <a:gd name="T49" fmla="*/ 19 h 42"/>
                  <a:gd name="T50" fmla="*/ 19 w 51"/>
                  <a:gd name="T51" fmla="*/ 17 h 42"/>
                  <a:gd name="T52" fmla="*/ 14 w 51"/>
                  <a:gd name="T53"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42">
                    <a:moveTo>
                      <a:pt x="51" y="0"/>
                    </a:moveTo>
                    <a:lnTo>
                      <a:pt x="51" y="9"/>
                    </a:lnTo>
                    <a:lnTo>
                      <a:pt x="31" y="26"/>
                    </a:lnTo>
                    <a:lnTo>
                      <a:pt x="31" y="35"/>
                    </a:lnTo>
                    <a:lnTo>
                      <a:pt x="51" y="35"/>
                    </a:lnTo>
                    <a:lnTo>
                      <a:pt x="51" y="42"/>
                    </a:lnTo>
                    <a:lnTo>
                      <a:pt x="0" y="42"/>
                    </a:lnTo>
                    <a:lnTo>
                      <a:pt x="0" y="28"/>
                    </a:lnTo>
                    <a:cubicBezTo>
                      <a:pt x="0" y="25"/>
                      <a:pt x="1" y="22"/>
                      <a:pt x="1" y="20"/>
                    </a:cubicBezTo>
                    <a:cubicBezTo>
                      <a:pt x="1" y="18"/>
                      <a:pt x="2" y="16"/>
                      <a:pt x="3" y="15"/>
                    </a:cubicBezTo>
                    <a:cubicBezTo>
                      <a:pt x="4" y="13"/>
                      <a:pt x="6" y="11"/>
                      <a:pt x="7" y="10"/>
                    </a:cubicBezTo>
                    <a:cubicBezTo>
                      <a:pt x="9" y="9"/>
                      <a:pt x="11" y="9"/>
                      <a:pt x="14" y="9"/>
                    </a:cubicBezTo>
                    <a:cubicBezTo>
                      <a:pt x="18" y="9"/>
                      <a:pt x="21" y="10"/>
                      <a:pt x="23" y="12"/>
                    </a:cubicBezTo>
                    <a:cubicBezTo>
                      <a:pt x="26" y="13"/>
                      <a:pt x="27" y="16"/>
                      <a:pt x="29" y="19"/>
                    </a:cubicBezTo>
                    <a:lnTo>
                      <a:pt x="51" y="0"/>
                    </a:lnTo>
                    <a:close/>
                    <a:moveTo>
                      <a:pt x="14" y="16"/>
                    </a:moveTo>
                    <a:cubicBezTo>
                      <a:pt x="13" y="16"/>
                      <a:pt x="12" y="16"/>
                      <a:pt x="11" y="17"/>
                    </a:cubicBezTo>
                    <a:cubicBezTo>
                      <a:pt x="10" y="17"/>
                      <a:pt x="9" y="18"/>
                      <a:pt x="8" y="19"/>
                    </a:cubicBezTo>
                    <a:cubicBezTo>
                      <a:pt x="7" y="20"/>
                      <a:pt x="7" y="21"/>
                      <a:pt x="6" y="23"/>
                    </a:cubicBezTo>
                    <a:cubicBezTo>
                      <a:pt x="6" y="24"/>
                      <a:pt x="6" y="25"/>
                      <a:pt x="6" y="27"/>
                    </a:cubicBezTo>
                    <a:lnTo>
                      <a:pt x="6" y="35"/>
                    </a:lnTo>
                    <a:lnTo>
                      <a:pt x="25" y="35"/>
                    </a:lnTo>
                    <a:lnTo>
                      <a:pt x="25" y="28"/>
                    </a:lnTo>
                    <a:cubicBezTo>
                      <a:pt x="25" y="26"/>
                      <a:pt x="25" y="24"/>
                      <a:pt x="25" y="23"/>
                    </a:cubicBezTo>
                    <a:cubicBezTo>
                      <a:pt x="24" y="21"/>
                      <a:pt x="23" y="20"/>
                      <a:pt x="22" y="19"/>
                    </a:cubicBezTo>
                    <a:cubicBezTo>
                      <a:pt x="21" y="18"/>
                      <a:pt x="20" y="17"/>
                      <a:pt x="19" y="17"/>
                    </a:cubicBezTo>
                    <a:cubicBezTo>
                      <a:pt x="18" y="16"/>
                      <a:pt x="16" y="16"/>
                      <a:pt x="14" y="1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00"/>
              <p:cNvSpPr>
                <a:spLocks/>
              </p:cNvSpPr>
              <p:nvPr/>
            </p:nvSpPr>
            <p:spPr bwMode="auto">
              <a:xfrm>
                <a:off x="4363" y="2504"/>
                <a:ext cx="25" cy="18"/>
              </a:xfrm>
              <a:custGeom>
                <a:avLst/>
                <a:gdLst>
                  <a:gd name="T0" fmla="*/ 25 w 25"/>
                  <a:gd name="T1" fmla="*/ 0 h 18"/>
                  <a:gd name="T2" fmla="*/ 25 w 25"/>
                  <a:gd name="T3" fmla="*/ 4 h 18"/>
                  <a:gd name="T4" fmla="*/ 3 w 25"/>
                  <a:gd name="T5" fmla="*/ 15 h 18"/>
                  <a:gd name="T6" fmla="*/ 25 w 25"/>
                  <a:gd name="T7" fmla="*/ 15 h 18"/>
                  <a:gd name="T8" fmla="*/ 25 w 25"/>
                  <a:gd name="T9" fmla="*/ 18 h 18"/>
                  <a:gd name="T10" fmla="*/ 0 w 25"/>
                  <a:gd name="T11" fmla="*/ 18 h 18"/>
                  <a:gd name="T12" fmla="*/ 0 w 25"/>
                  <a:gd name="T13" fmla="*/ 13 h 18"/>
                  <a:gd name="T14" fmla="*/ 20 w 25"/>
                  <a:gd name="T15" fmla="*/ 3 h 18"/>
                  <a:gd name="T16" fmla="*/ 0 w 25"/>
                  <a:gd name="T17" fmla="*/ 3 h 18"/>
                  <a:gd name="T18" fmla="*/ 0 w 25"/>
                  <a:gd name="T19" fmla="*/ 0 h 18"/>
                  <a:gd name="T20" fmla="*/ 25 w 25"/>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25" y="0"/>
                    </a:moveTo>
                    <a:lnTo>
                      <a:pt x="25" y="4"/>
                    </a:lnTo>
                    <a:lnTo>
                      <a:pt x="3" y="15"/>
                    </a:lnTo>
                    <a:lnTo>
                      <a:pt x="25" y="15"/>
                    </a:lnTo>
                    <a:lnTo>
                      <a:pt x="25" y="18"/>
                    </a:lnTo>
                    <a:lnTo>
                      <a:pt x="0" y="18"/>
                    </a:lnTo>
                    <a:lnTo>
                      <a:pt x="0" y="13"/>
                    </a:lnTo>
                    <a:lnTo>
                      <a:pt x="2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101"/>
              <p:cNvSpPr>
                <a:spLocks/>
              </p:cNvSpPr>
              <p:nvPr/>
            </p:nvSpPr>
            <p:spPr bwMode="auto">
              <a:xfrm>
                <a:off x="4363" y="2481"/>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102"/>
              <p:cNvSpPr>
                <a:spLocks/>
              </p:cNvSpPr>
              <p:nvPr/>
            </p:nvSpPr>
            <p:spPr bwMode="auto">
              <a:xfrm>
                <a:off x="4363" y="2459"/>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103"/>
              <p:cNvSpPr>
                <a:spLocks noEditPoints="1"/>
              </p:cNvSpPr>
              <p:nvPr/>
            </p:nvSpPr>
            <p:spPr bwMode="auto">
              <a:xfrm>
                <a:off x="3018" y="2266"/>
                <a:ext cx="24" cy="20"/>
              </a:xfrm>
              <a:custGeom>
                <a:avLst/>
                <a:gdLst>
                  <a:gd name="T0" fmla="*/ 25 w 50"/>
                  <a:gd name="T1" fmla="*/ 0 h 42"/>
                  <a:gd name="T2" fmla="*/ 38 w 50"/>
                  <a:gd name="T3" fmla="*/ 3 h 42"/>
                  <a:gd name="T4" fmla="*/ 46 w 50"/>
                  <a:gd name="T5" fmla="*/ 11 h 42"/>
                  <a:gd name="T6" fmla="*/ 49 w 50"/>
                  <a:gd name="T7" fmla="*/ 18 h 42"/>
                  <a:gd name="T8" fmla="*/ 50 w 50"/>
                  <a:gd name="T9" fmla="*/ 30 h 42"/>
                  <a:gd name="T10" fmla="*/ 50 w 50"/>
                  <a:gd name="T11" fmla="*/ 42 h 42"/>
                  <a:gd name="T12" fmla="*/ 0 w 50"/>
                  <a:gd name="T13" fmla="*/ 42 h 42"/>
                  <a:gd name="T14" fmla="*/ 0 w 50"/>
                  <a:gd name="T15" fmla="*/ 30 h 42"/>
                  <a:gd name="T16" fmla="*/ 1 w 50"/>
                  <a:gd name="T17" fmla="*/ 18 h 42"/>
                  <a:gd name="T18" fmla="*/ 4 w 50"/>
                  <a:gd name="T19" fmla="*/ 11 h 42"/>
                  <a:gd name="T20" fmla="*/ 13 w 50"/>
                  <a:gd name="T21" fmla="*/ 3 h 42"/>
                  <a:gd name="T22" fmla="*/ 25 w 50"/>
                  <a:gd name="T23" fmla="*/ 0 h 42"/>
                  <a:gd name="T24" fmla="*/ 25 w 50"/>
                  <a:gd name="T25" fmla="*/ 7 h 42"/>
                  <a:gd name="T26" fmla="*/ 15 w 50"/>
                  <a:gd name="T27" fmla="*/ 9 h 42"/>
                  <a:gd name="T28" fmla="*/ 9 w 50"/>
                  <a:gd name="T29" fmla="*/ 15 h 42"/>
                  <a:gd name="T30" fmla="*/ 7 w 50"/>
                  <a:gd name="T31" fmla="*/ 21 h 42"/>
                  <a:gd name="T32" fmla="*/ 6 w 50"/>
                  <a:gd name="T33" fmla="*/ 29 h 42"/>
                  <a:gd name="T34" fmla="*/ 6 w 50"/>
                  <a:gd name="T35" fmla="*/ 36 h 42"/>
                  <a:gd name="T36" fmla="*/ 45 w 50"/>
                  <a:gd name="T37" fmla="*/ 36 h 42"/>
                  <a:gd name="T38" fmla="*/ 45 w 50"/>
                  <a:gd name="T39" fmla="*/ 29 h 42"/>
                  <a:gd name="T40" fmla="*/ 44 w 50"/>
                  <a:gd name="T41" fmla="*/ 21 h 42"/>
                  <a:gd name="T42" fmla="*/ 41 w 50"/>
                  <a:gd name="T43" fmla="*/ 14 h 42"/>
                  <a:gd name="T44" fmla="*/ 35 w 50"/>
                  <a:gd name="T45" fmla="*/ 9 h 42"/>
                  <a:gd name="T46" fmla="*/ 25 w 50"/>
                  <a:gd name="T4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2">
                    <a:moveTo>
                      <a:pt x="25" y="0"/>
                    </a:moveTo>
                    <a:cubicBezTo>
                      <a:pt x="30" y="0"/>
                      <a:pt x="34" y="1"/>
                      <a:pt x="38" y="3"/>
                    </a:cubicBezTo>
                    <a:cubicBezTo>
                      <a:pt x="41" y="5"/>
                      <a:pt x="44" y="7"/>
                      <a:pt x="46" y="11"/>
                    </a:cubicBezTo>
                    <a:cubicBezTo>
                      <a:pt x="48" y="13"/>
                      <a:pt x="49" y="16"/>
                      <a:pt x="49" y="18"/>
                    </a:cubicBezTo>
                    <a:cubicBezTo>
                      <a:pt x="50" y="21"/>
                      <a:pt x="50" y="25"/>
                      <a:pt x="50" y="30"/>
                    </a:cubicBezTo>
                    <a:lnTo>
                      <a:pt x="50" y="42"/>
                    </a:lnTo>
                    <a:lnTo>
                      <a:pt x="0" y="42"/>
                    </a:lnTo>
                    <a:lnTo>
                      <a:pt x="0" y="30"/>
                    </a:lnTo>
                    <a:cubicBezTo>
                      <a:pt x="0" y="25"/>
                      <a:pt x="0" y="21"/>
                      <a:pt x="1" y="18"/>
                    </a:cubicBezTo>
                    <a:cubicBezTo>
                      <a:pt x="2" y="15"/>
                      <a:pt x="3" y="13"/>
                      <a:pt x="4" y="11"/>
                    </a:cubicBezTo>
                    <a:cubicBezTo>
                      <a:pt x="6" y="7"/>
                      <a:pt x="9" y="5"/>
                      <a:pt x="13" y="3"/>
                    </a:cubicBezTo>
                    <a:cubicBezTo>
                      <a:pt x="16" y="1"/>
                      <a:pt x="20" y="0"/>
                      <a:pt x="25" y="0"/>
                    </a:cubicBezTo>
                    <a:close/>
                    <a:moveTo>
                      <a:pt x="25" y="7"/>
                    </a:moveTo>
                    <a:cubicBezTo>
                      <a:pt x="21" y="7"/>
                      <a:pt x="18" y="7"/>
                      <a:pt x="15" y="9"/>
                    </a:cubicBezTo>
                    <a:cubicBezTo>
                      <a:pt x="13" y="10"/>
                      <a:pt x="10" y="12"/>
                      <a:pt x="9" y="15"/>
                    </a:cubicBezTo>
                    <a:cubicBezTo>
                      <a:pt x="8" y="17"/>
                      <a:pt x="7" y="19"/>
                      <a:pt x="7" y="21"/>
                    </a:cubicBezTo>
                    <a:cubicBezTo>
                      <a:pt x="6" y="24"/>
                      <a:pt x="6" y="26"/>
                      <a:pt x="6" y="29"/>
                    </a:cubicBezTo>
                    <a:lnTo>
                      <a:pt x="6" y="36"/>
                    </a:lnTo>
                    <a:lnTo>
                      <a:pt x="45" y="36"/>
                    </a:lnTo>
                    <a:lnTo>
                      <a:pt x="45" y="29"/>
                    </a:lnTo>
                    <a:cubicBezTo>
                      <a:pt x="45" y="26"/>
                      <a:pt x="44" y="23"/>
                      <a:pt x="44" y="21"/>
                    </a:cubicBezTo>
                    <a:cubicBezTo>
                      <a:pt x="43" y="18"/>
                      <a:pt x="43" y="16"/>
                      <a:pt x="41" y="14"/>
                    </a:cubicBezTo>
                    <a:cubicBezTo>
                      <a:pt x="40" y="12"/>
                      <a:pt x="38" y="10"/>
                      <a:pt x="35" y="9"/>
                    </a:cubicBezTo>
                    <a:cubicBezTo>
                      <a:pt x="32" y="7"/>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104"/>
              <p:cNvSpPr>
                <a:spLocks/>
              </p:cNvSpPr>
              <p:nvPr/>
            </p:nvSpPr>
            <p:spPr bwMode="auto">
              <a:xfrm>
                <a:off x="3018" y="2243"/>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7 w 52"/>
                  <a:gd name="T21" fmla="*/ 20 h 39"/>
                  <a:gd name="T22" fmla="*/ 44 w 52"/>
                  <a:gd name="T23" fmla="*/ 11 h 39"/>
                  <a:gd name="T24" fmla="*/ 38 w 52"/>
                  <a:gd name="T25" fmla="*/ 7 h 39"/>
                  <a:gd name="T26" fmla="*/ 33 w 52"/>
                  <a:gd name="T27" fmla="*/ 9 h 39"/>
                  <a:gd name="T28" fmla="*/ 31 w 52"/>
                  <a:gd name="T29" fmla="*/ 14 h 39"/>
                  <a:gd name="T30" fmla="*/ 29 w 52"/>
                  <a:gd name="T31" fmla="*/ 19 h 39"/>
                  <a:gd name="T32" fmla="*/ 28 w 52"/>
                  <a:gd name="T33" fmla="*/ 26 h 39"/>
                  <a:gd name="T34" fmla="*/ 24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0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9"/>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7" y="23"/>
                      <a:pt x="47" y="20"/>
                    </a:cubicBezTo>
                    <a:cubicBezTo>
                      <a:pt x="47" y="16"/>
                      <a:pt x="46" y="13"/>
                      <a:pt x="44" y="11"/>
                    </a:cubicBezTo>
                    <a:cubicBezTo>
                      <a:pt x="43" y="8"/>
                      <a:pt x="41" y="7"/>
                      <a:pt x="38" y="7"/>
                    </a:cubicBezTo>
                    <a:cubicBezTo>
                      <a:pt x="36" y="7"/>
                      <a:pt x="34" y="8"/>
                      <a:pt x="33" y="9"/>
                    </a:cubicBezTo>
                    <a:cubicBezTo>
                      <a:pt x="32" y="10"/>
                      <a:pt x="31" y="12"/>
                      <a:pt x="31" y="14"/>
                    </a:cubicBezTo>
                    <a:cubicBezTo>
                      <a:pt x="30" y="16"/>
                      <a:pt x="30" y="17"/>
                      <a:pt x="29" y="19"/>
                    </a:cubicBezTo>
                    <a:cubicBezTo>
                      <a:pt x="29" y="21"/>
                      <a:pt x="29" y="23"/>
                      <a:pt x="28" y="26"/>
                    </a:cubicBezTo>
                    <a:cubicBezTo>
                      <a:pt x="27" y="30"/>
                      <a:pt x="26" y="33"/>
                      <a:pt x="24" y="36"/>
                    </a:cubicBezTo>
                    <a:cubicBezTo>
                      <a:pt x="21" y="38"/>
                      <a:pt x="18" y="39"/>
                      <a:pt x="15" y="39"/>
                    </a:cubicBezTo>
                    <a:cubicBezTo>
                      <a:pt x="10" y="39"/>
                      <a:pt x="7" y="37"/>
                      <a:pt x="4" y="34"/>
                    </a:cubicBezTo>
                    <a:cubicBezTo>
                      <a:pt x="2" y="30"/>
                      <a:pt x="0" y="25"/>
                      <a:pt x="0" y="20"/>
                    </a:cubicBezTo>
                    <a:cubicBezTo>
                      <a:pt x="0" y="16"/>
                      <a:pt x="1" y="13"/>
                      <a:pt x="1" y="10"/>
                    </a:cubicBezTo>
                    <a:cubicBezTo>
                      <a:pt x="2" y="7"/>
                      <a:pt x="3" y="5"/>
                      <a:pt x="4" y="2"/>
                    </a:cubicBezTo>
                    <a:lnTo>
                      <a:pt x="12" y="2"/>
                    </a:lnTo>
                    <a:lnTo>
                      <a:pt x="12" y="3"/>
                    </a:lnTo>
                    <a:cubicBezTo>
                      <a:pt x="10" y="5"/>
                      <a:pt x="9" y="7"/>
                      <a:pt x="8" y="10"/>
                    </a:cubicBezTo>
                    <a:cubicBezTo>
                      <a:pt x="7" y="14"/>
                      <a:pt x="6" y="17"/>
                      <a:pt x="6" y="20"/>
                    </a:cubicBezTo>
                    <a:cubicBezTo>
                      <a:pt x="6" y="24"/>
                      <a:pt x="7" y="26"/>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3"/>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5"/>
              <p:cNvSpPr>
                <a:spLocks/>
              </p:cNvSpPr>
              <p:nvPr/>
            </p:nvSpPr>
            <p:spPr bwMode="auto">
              <a:xfrm>
                <a:off x="3018" y="2230"/>
                <a:ext cx="24" cy="9"/>
              </a:xfrm>
              <a:custGeom>
                <a:avLst/>
                <a:gdLst>
                  <a:gd name="T0" fmla="*/ 24 w 24"/>
                  <a:gd name="T1" fmla="*/ 0 h 9"/>
                  <a:gd name="T2" fmla="*/ 24 w 24"/>
                  <a:gd name="T3" fmla="*/ 9 h 9"/>
                  <a:gd name="T4" fmla="*/ 22 w 24"/>
                  <a:gd name="T5" fmla="*/ 9 h 9"/>
                  <a:gd name="T6" fmla="*/ 22 w 24"/>
                  <a:gd name="T7" fmla="*/ 6 h 9"/>
                  <a:gd name="T8" fmla="*/ 3 w 24"/>
                  <a:gd name="T9" fmla="*/ 6 h 9"/>
                  <a:gd name="T10" fmla="*/ 3 w 24"/>
                  <a:gd name="T11" fmla="*/ 9 h 9"/>
                  <a:gd name="T12" fmla="*/ 0 w 24"/>
                  <a:gd name="T13" fmla="*/ 9 h 9"/>
                  <a:gd name="T14" fmla="*/ 0 w 24"/>
                  <a:gd name="T15" fmla="*/ 0 h 9"/>
                  <a:gd name="T16" fmla="*/ 3 w 24"/>
                  <a:gd name="T17" fmla="*/ 0 h 9"/>
                  <a:gd name="T18" fmla="*/ 3 w 24"/>
                  <a:gd name="T19" fmla="*/ 3 h 9"/>
                  <a:gd name="T20" fmla="*/ 22 w 24"/>
                  <a:gd name="T21" fmla="*/ 3 h 9"/>
                  <a:gd name="T22" fmla="*/ 22 w 24"/>
                  <a:gd name="T23" fmla="*/ 0 h 9"/>
                  <a:gd name="T24" fmla="*/ 24 w 2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24" y="0"/>
                    </a:moveTo>
                    <a:lnTo>
                      <a:pt x="24" y="9"/>
                    </a:lnTo>
                    <a:lnTo>
                      <a:pt x="22" y="9"/>
                    </a:lnTo>
                    <a:lnTo>
                      <a:pt x="22" y="6"/>
                    </a:lnTo>
                    <a:lnTo>
                      <a:pt x="3" y="6"/>
                    </a:lnTo>
                    <a:lnTo>
                      <a:pt x="3" y="9"/>
                    </a:lnTo>
                    <a:lnTo>
                      <a:pt x="0" y="9"/>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6"/>
              <p:cNvSpPr>
                <a:spLocks/>
              </p:cNvSpPr>
              <p:nvPr/>
            </p:nvSpPr>
            <p:spPr bwMode="auto">
              <a:xfrm>
                <a:off x="3017" y="2203"/>
                <a:ext cx="32" cy="10"/>
              </a:xfrm>
              <a:custGeom>
                <a:avLst/>
                <a:gdLst>
                  <a:gd name="T0" fmla="*/ 66 w 66"/>
                  <a:gd name="T1" fmla="*/ 0 h 21"/>
                  <a:gd name="T2" fmla="*/ 66 w 66"/>
                  <a:gd name="T3" fmla="*/ 8 h 21"/>
                  <a:gd name="T4" fmla="*/ 51 w 66"/>
                  <a:gd name="T5" fmla="*/ 17 h 21"/>
                  <a:gd name="T6" fmla="*/ 33 w 66"/>
                  <a:gd name="T7" fmla="*/ 21 h 21"/>
                  <a:gd name="T8" fmla="*/ 15 w 66"/>
                  <a:gd name="T9" fmla="*/ 17 h 21"/>
                  <a:gd name="T10" fmla="*/ 0 w 66"/>
                  <a:gd name="T11" fmla="*/ 8 h 21"/>
                  <a:gd name="T12" fmla="*/ 0 w 66"/>
                  <a:gd name="T13" fmla="*/ 0 h 21"/>
                  <a:gd name="T14" fmla="*/ 0 w 66"/>
                  <a:gd name="T15" fmla="*/ 0 h 21"/>
                  <a:gd name="T16" fmla="*/ 6 w 66"/>
                  <a:gd name="T17" fmla="*/ 6 h 21"/>
                  <a:gd name="T18" fmla="*/ 13 w 66"/>
                  <a:gd name="T19" fmla="*/ 10 h 21"/>
                  <a:gd name="T20" fmla="*/ 23 w 66"/>
                  <a:gd name="T21" fmla="*/ 14 h 21"/>
                  <a:gd name="T22" fmla="*/ 33 w 66"/>
                  <a:gd name="T23" fmla="*/ 15 h 21"/>
                  <a:gd name="T24" fmla="*/ 44 w 66"/>
                  <a:gd name="T25" fmla="*/ 14 h 21"/>
                  <a:gd name="T26" fmla="*/ 53 w 66"/>
                  <a:gd name="T27" fmla="*/ 10 h 21"/>
                  <a:gd name="T28" fmla="*/ 60 w 66"/>
                  <a:gd name="T29" fmla="*/ 6 h 21"/>
                  <a:gd name="T30" fmla="*/ 66 w 66"/>
                  <a:gd name="T31" fmla="*/ 0 h 21"/>
                  <a:gd name="T32" fmla="*/ 66 w 66"/>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66" y="0"/>
                    </a:moveTo>
                    <a:lnTo>
                      <a:pt x="66" y="8"/>
                    </a:lnTo>
                    <a:cubicBezTo>
                      <a:pt x="62" y="12"/>
                      <a:pt x="57" y="15"/>
                      <a:pt x="51" y="17"/>
                    </a:cubicBezTo>
                    <a:cubicBezTo>
                      <a:pt x="46" y="20"/>
                      <a:pt x="40" y="21"/>
                      <a:pt x="33" y="21"/>
                    </a:cubicBezTo>
                    <a:cubicBezTo>
                      <a:pt x="26" y="21"/>
                      <a:pt x="20" y="20"/>
                      <a:pt x="15" y="17"/>
                    </a:cubicBezTo>
                    <a:cubicBezTo>
                      <a:pt x="9" y="15"/>
                      <a:pt x="4" y="12"/>
                      <a:pt x="0" y="8"/>
                    </a:cubicBezTo>
                    <a:lnTo>
                      <a:pt x="0" y="0"/>
                    </a:lnTo>
                    <a:lnTo>
                      <a:pt x="0" y="0"/>
                    </a:lnTo>
                    <a:cubicBezTo>
                      <a:pt x="2" y="2"/>
                      <a:pt x="4" y="4"/>
                      <a:pt x="6" y="6"/>
                    </a:cubicBezTo>
                    <a:cubicBezTo>
                      <a:pt x="8" y="7"/>
                      <a:pt x="11" y="9"/>
                      <a:pt x="13" y="10"/>
                    </a:cubicBezTo>
                    <a:cubicBezTo>
                      <a:pt x="16" y="12"/>
                      <a:pt x="19" y="13"/>
                      <a:pt x="23" y="14"/>
                    </a:cubicBezTo>
                    <a:cubicBezTo>
                      <a:pt x="26" y="14"/>
                      <a:pt x="29" y="15"/>
                      <a:pt x="33" y="15"/>
                    </a:cubicBezTo>
                    <a:cubicBezTo>
                      <a:pt x="37" y="15"/>
                      <a:pt x="40" y="14"/>
                      <a:pt x="44" y="14"/>
                    </a:cubicBezTo>
                    <a:cubicBezTo>
                      <a:pt x="47" y="13"/>
                      <a:pt x="50" y="12"/>
                      <a:pt x="53" y="10"/>
                    </a:cubicBezTo>
                    <a:cubicBezTo>
                      <a:pt x="56" y="9"/>
                      <a:pt x="58" y="7"/>
                      <a:pt x="60" y="6"/>
                    </a:cubicBezTo>
                    <a:cubicBezTo>
                      <a:pt x="63" y="4"/>
                      <a:pt x="64" y="2"/>
                      <a:pt x="66" y="0"/>
                    </a:cubicBezTo>
                    <a:lnTo>
                      <a:pt x="6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7"/>
              <p:cNvSpPr>
                <a:spLocks noEditPoints="1"/>
              </p:cNvSpPr>
              <p:nvPr/>
            </p:nvSpPr>
            <p:spPr bwMode="auto">
              <a:xfrm>
                <a:off x="3018" y="2177"/>
                <a:ext cx="24" cy="21"/>
              </a:xfrm>
              <a:custGeom>
                <a:avLst/>
                <a:gdLst>
                  <a:gd name="T0" fmla="*/ 25 w 50"/>
                  <a:gd name="T1" fmla="*/ 0 h 43"/>
                  <a:gd name="T2" fmla="*/ 38 w 50"/>
                  <a:gd name="T3" fmla="*/ 3 h 43"/>
                  <a:gd name="T4" fmla="*/ 46 w 50"/>
                  <a:gd name="T5" fmla="*/ 11 h 43"/>
                  <a:gd name="T6" fmla="*/ 49 w 50"/>
                  <a:gd name="T7" fmla="*/ 19 h 43"/>
                  <a:gd name="T8" fmla="*/ 50 w 50"/>
                  <a:gd name="T9" fmla="*/ 30 h 43"/>
                  <a:gd name="T10" fmla="*/ 50 w 50"/>
                  <a:gd name="T11" fmla="*/ 43 h 43"/>
                  <a:gd name="T12" fmla="*/ 0 w 50"/>
                  <a:gd name="T13" fmla="*/ 43 h 43"/>
                  <a:gd name="T14" fmla="*/ 0 w 50"/>
                  <a:gd name="T15" fmla="*/ 30 h 43"/>
                  <a:gd name="T16" fmla="*/ 1 w 50"/>
                  <a:gd name="T17" fmla="*/ 18 h 43"/>
                  <a:gd name="T18" fmla="*/ 4 w 50"/>
                  <a:gd name="T19" fmla="*/ 11 h 43"/>
                  <a:gd name="T20" fmla="*/ 13 w 50"/>
                  <a:gd name="T21" fmla="*/ 3 h 43"/>
                  <a:gd name="T22" fmla="*/ 25 w 50"/>
                  <a:gd name="T23" fmla="*/ 0 h 43"/>
                  <a:gd name="T24" fmla="*/ 25 w 50"/>
                  <a:gd name="T25" fmla="*/ 7 h 43"/>
                  <a:gd name="T26" fmla="*/ 15 w 50"/>
                  <a:gd name="T27" fmla="*/ 9 h 43"/>
                  <a:gd name="T28" fmla="*/ 9 w 50"/>
                  <a:gd name="T29" fmla="*/ 15 h 43"/>
                  <a:gd name="T30" fmla="*/ 7 w 50"/>
                  <a:gd name="T31" fmla="*/ 22 h 43"/>
                  <a:gd name="T32" fmla="*/ 6 w 50"/>
                  <a:gd name="T33" fmla="*/ 30 h 43"/>
                  <a:gd name="T34" fmla="*/ 6 w 50"/>
                  <a:gd name="T35" fmla="*/ 36 h 43"/>
                  <a:gd name="T36" fmla="*/ 45 w 50"/>
                  <a:gd name="T37" fmla="*/ 36 h 43"/>
                  <a:gd name="T38" fmla="*/ 45 w 50"/>
                  <a:gd name="T39" fmla="*/ 30 h 43"/>
                  <a:gd name="T40" fmla="*/ 44 w 50"/>
                  <a:gd name="T41" fmla="*/ 21 h 43"/>
                  <a:gd name="T42" fmla="*/ 41 w 50"/>
                  <a:gd name="T43" fmla="*/ 15 h 43"/>
                  <a:gd name="T44" fmla="*/ 35 w 50"/>
                  <a:gd name="T45" fmla="*/ 9 h 43"/>
                  <a:gd name="T46" fmla="*/ 25 w 50"/>
                  <a:gd name="T47"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3">
                    <a:moveTo>
                      <a:pt x="25" y="0"/>
                    </a:moveTo>
                    <a:cubicBezTo>
                      <a:pt x="30" y="0"/>
                      <a:pt x="34" y="1"/>
                      <a:pt x="38" y="3"/>
                    </a:cubicBezTo>
                    <a:cubicBezTo>
                      <a:pt x="41" y="5"/>
                      <a:pt x="44" y="8"/>
                      <a:pt x="46" y="11"/>
                    </a:cubicBezTo>
                    <a:cubicBezTo>
                      <a:pt x="48" y="13"/>
                      <a:pt x="49" y="16"/>
                      <a:pt x="49" y="19"/>
                    </a:cubicBezTo>
                    <a:cubicBezTo>
                      <a:pt x="50" y="22"/>
                      <a:pt x="50" y="25"/>
                      <a:pt x="50" y="30"/>
                    </a:cubicBezTo>
                    <a:lnTo>
                      <a:pt x="50" y="43"/>
                    </a:lnTo>
                    <a:lnTo>
                      <a:pt x="0" y="43"/>
                    </a:lnTo>
                    <a:lnTo>
                      <a:pt x="0" y="30"/>
                    </a:lnTo>
                    <a:cubicBezTo>
                      <a:pt x="0" y="25"/>
                      <a:pt x="0" y="21"/>
                      <a:pt x="1" y="18"/>
                    </a:cubicBezTo>
                    <a:cubicBezTo>
                      <a:pt x="2" y="15"/>
                      <a:pt x="3" y="13"/>
                      <a:pt x="4" y="11"/>
                    </a:cubicBezTo>
                    <a:cubicBezTo>
                      <a:pt x="6" y="8"/>
                      <a:pt x="9" y="5"/>
                      <a:pt x="13" y="3"/>
                    </a:cubicBezTo>
                    <a:cubicBezTo>
                      <a:pt x="16" y="1"/>
                      <a:pt x="20" y="0"/>
                      <a:pt x="25" y="0"/>
                    </a:cubicBezTo>
                    <a:close/>
                    <a:moveTo>
                      <a:pt x="25" y="7"/>
                    </a:moveTo>
                    <a:cubicBezTo>
                      <a:pt x="21" y="7"/>
                      <a:pt x="18" y="8"/>
                      <a:pt x="15" y="9"/>
                    </a:cubicBezTo>
                    <a:cubicBezTo>
                      <a:pt x="13" y="11"/>
                      <a:pt x="10" y="13"/>
                      <a:pt x="9" y="15"/>
                    </a:cubicBezTo>
                    <a:cubicBezTo>
                      <a:pt x="8" y="17"/>
                      <a:pt x="7" y="19"/>
                      <a:pt x="7" y="22"/>
                    </a:cubicBezTo>
                    <a:cubicBezTo>
                      <a:pt x="6" y="24"/>
                      <a:pt x="6" y="27"/>
                      <a:pt x="6" y="30"/>
                    </a:cubicBezTo>
                    <a:lnTo>
                      <a:pt x="6" y="36"/>
                    </a:lnTo>
                    <a:lnTo>
                      <a:pt x="45" y="36"/>
                    </a:lnTo>
                    <a:lnTo>
                      <a:pt x="45" y="30"/>
                    </a:lnTo>
                    <a:cubicBezTo>
                      <a:pt x="45" y="26"/>
                      <a:pt x="44" y="24"/>
                      <a:pt x="44" y="21"/>
                    </a:cubicBezTo>
                    <a:cubicBezTo>
                      <a:pt x="43" y="19"/>
                      <a:pt x="43" y="17"/>
                      <a:pt x="41" y="15"/>
                    </a:cubicBezTo>
                    <a:cubicBezTo>
                      <a:pt x="40" y="12"/>
                      <a:pt x="38" y="10"/>
                      <a:pt x="35" y="9"/>
                    </a:cubicBezTo>
                    <a:cubicBezTo>
                      <a:pt x="32" y="8"/>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8"/>
              <p:cNvSpPr>
                <a:spLocks/>
              </p:cNvSpPr>
              <p:nvPr/>
            </p:nvSpPr>
            <p:spPr bwMode="auto">
              <a:xfrm>
                <a:off x="3018" y="2163"/>
                <a:ext cx="24" cy="10"/>
              </a:xfrm>
              <a:custGeom>
                <a:avLst/>
                <a:gdLst>
                  <a:gd name="T0" fmla="*/ 24 w 24"/>
                  <a:gd name="T1" fmla="*/ 0 h 10"/>
                  <a:gd name="T2" fmla="*/ 24 w 24"/>
                  <a:gd name="T3" fmla="*/ 10 h 10"/>
                  <a:gd name="T4" fmla="*/ 22 w 24"/>
                  <a:gd name="T5" fmla="*/ 10 h 10"/>
                  <a:gd name="T6" fmla="*/ 22 w 24"/>
                  <a:gd name="T7" fmla="*/ 7 h 10"/>
                  <a:gd name="T8" fmla="*/ 3 w 24"/>
                  <a:gd name="T9" fmla="*/ 7 h 10"/>
                  <a:gd name="T10" fmla="*/ 3 w 24"/>
                  <a:gd name="T11" fmla="*/ 10 h 10"/>
                  <a:gd name="T12" fmla="*/ 0 w 24"/>
                  <a:gd name="T13" fmla="*/ 10 h 10"/>
                  <a:gd name="T14" fmla="*/ 0 w 24"/>
                  <a:gd name="T15" fmla="*/ 0 h 10"/>
                  <a:gd name="T16" fmla="*/ 3 w 24"/>
                  <a:gd name="T17" fmla="*/ 0 h 10"/>
                  <a:gd name="T18" fmla="*/ 3 w 24"/>
                  <a:gd name="T19" fmla="*/ 3 h 10"/>
                  <a:gd name="T20" fmla="*/ 22 w 24"/>
                  <a:gd name="T21" fmla="*/ 3 h 10"/>
                  <a:gd name="T22" fmla="*/ 22 w 24"/>
                  <a:gd name="T23" fmla="*/ 0 h 10"/>
                  <a:gd name="T24" fmla="*/ 24 w 2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0">
                    <a:moveTo>
                      <a:pt x="24" y="0"/>
                    </a:moveTo>
                    <a:lnTo>
                      <a:pt x="24" y="10"/>
                    </a:lnTo>
                    <a:lnTo>
                      <a:pt x="22" y="10"/>
                    </a:lnTo>
                    <a:lnTo>
                      <a:pt x="22" y="7"/>
                    </a:lnTo>
                    <a:lnTo>
                      <a:pt x="3" y="7"/>
                    </a:lnTo>
                    <a:lnTo>
                      <a:pt x="3" y="10"/>
                    </a:lnTo>
                    <a:lnTo>
                      <a:pt x="0" y="10"/>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9"/>
              <p:cNvSpPr>
                <a:spLocks/>
              </p:cNvSpPr>
              <p:nvPr/>
            </p:nvSpPr>
            <p:spPr bwMode="auto">
              <a:xfrm>
                <a:off x="3018" y="2140"/>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7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4 w 52"/>
                  <a:gd name="T35" fmla="*/ 35 h 38"/>
                  <a:gd name="T36" fmla="*/ 15 w 52"/>
                  <a:gd name="T37" fmla="*/ 38 h 38"/>
                  <a:gd name="T38" fmla="*/ 4 w 52"/>
                  <a:gd name="T39" fmla="*/ 33 h 38"/>
                  <a:gd name="T40" fmla="*/ 0 w 52"/>
                  <a:gd name="T41" fmla="*/ 19 h 38"/>
                  <a:gd name="T42" fmla="*/ 1 w 52"/>
                  <a:gd name="T43" fmla="*/ 9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29 h 38"/>
                  <a:gd name="T60" fmla="*/ 22 w 52"/>
                  <a:gd name="T61" fmla="*/ 24 h 38"/>
                  <a:gd name="T62" fmla="*/ 23 w 52"/>
                  <a:gd name="T63" fmla="*/ 18 h 38"/>
                  <a:gd name="T64" fmla="*/ 24 w 52"/>
                  <a:gd name="T65" fmla="*/ 11 h 38"/>
                  <a:gd name="T66" fmla="*/ 29 w 52"/>
                  <a:gd name="T67" fmla="*/ 2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3"/>
                      <a:pt x="52" y="16"/>
                      <a:pt x="52" y="20"/>
                    </a:cubicBezTo>
                    <a:cubicBezTo>
                      <a:pt x="52" y="23"/>
                      <a:pt x="52" y="27"/>
                      <a:pt x="51" y="30"/>
                    </a:cubicBezTo>
                    <a:cubicBezTo>
                      <a:pt x="51" y="32"/>
                      <a:pt x="50" y="35"/>
                      <a:pt x="48" y="38"/>
                    </a:cubicBezTo>
                    <a:lnTo>
                      <a:pt x="40" y="38"/>
                    </a:lnTo>
                    <a:lnTo>
                      <a:pt x="40" y="38"/>
                    </a:lnTo>
                    <a:cubicBezTo>
                      <a:pt x="42" y="35"/>
                      <a:pt x="44" y="32"/>
                      <a:pt x="45" y="29"/>
                    </a:cubicBezTo>
                    <a:cubicBezTo>
                      <a:pt x="46" y="26"/>
                      <a:pt x="47" y="23"/>
                      <a:pt x="47" y="20"/>
                    </a:cubicBezTo>
                    <a:cubicBezTo>
                      <a:pt x="47" y="15"/>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4" y="35"/>
                    </a:cubicBezTo>
                    <a:cubicBezTo>
                      <a:pt x="21" y="37"/>
                      <a:pt x="18" y="38"/>
                      <a:pt x="15" y="38"/>
                    </a:cubicBezTo>
                    <a:cubicBezTo>
                      <a:pt x="10" y="38"/>
                      <a:pt x="7" y="36"/>
                      <a:pt x="4" y="33"/>
                    </a:cubicBezTo>
                    <a:cubicBezTo>
                      <a:pt x="2" y="29"/>
                      <a:pt x="0" y="25"/>
                      <a:pt x="0" y="19"/>
                    </a:cubicBezTo>
                    <a:cubicBezTo>
                      <a:pt x="0" y="16"/>
                      <a:pt x="1" y="12"/>
                      <a:pt x="1" y="9"/>
                    </a:cubicBezTo>
                    <a:cubicBezTo>
                      <a:pt x="2" y="6"/>
                      <a:pt x="3" y="4"/>
                      <a:pt x="4" y="2"/>
                    </a:cubicBezTo>
                    <a:lnTo>
                      <a:pt x="12" y="2"/>
                    </a:lnTo>
                    <a:lnTo>
                      <a:pt x="12" y="2"/>
                    </a:lnTo>
                    <a:cubicBezTo>
                      <a:pt x="10" y="4"/>
                      <a:pt x="9" y="6"/>
                      <a:pt x="8" y="10"/>
                    </a:cubicBezTo>
                    <a:cubicBezTo>
                      <a:pt x="7" y="13"/>
                      <a:pt x="6" y="16"/>
                      <a:pt x="6" y="19"/>
                    </a:cubicBezTo>
                    <a:cubicBezTo>
                      <a:pt x="6" y="23"/>
                      <a:pt x="7" y="26"/>
                      <a:pt x="8" y="28"/>
                    </a:cubicBezTo>
                    <a:cubicBezTo>
                      <a:pt x="10" y="30"/>
                      <a:pt x="12" y="31"/>
                      <a:pt x="14" y="31"/>
                    </a:cubicBezTo>
                    <a:cubicBezTo>
                      <a:pt x="16" y="31"/>
                      <a:pt x="18" y="31"/>
                      <a:pt x="19" y="29"/>
                    </a:cubicBezTo>
                    <a:cubicBezTo>
                      <a:pt x="20" y="28"/>
                      <a:pt x="21" y="26"/>
                      <a:pt x="22" y="24"/>
                    </a:cubicBezTo>
                    <a:cubicBezTo>
                      <a:pt x="22" y="22"/>
                      <a:pt x="22" y="20"/>
                      <a:pt x="23" y="18"/>
                    </a:cubicBezTo>
                    <a:cubicBezTo>
                      <a:pt x="23" y="15"/>
                      <a:pt x="24" y="13"/>
                      <a:pt x="24" y="11"/>
                    </a:cubicBezTo>
                    <a:cubicBezTo>
                      <a:pt x="25" y="7"/>
                      <a:pt x="27" y="4"/>
                      <a:pt x="29" y="2"/>
                    </a:cubicBezTo>
                    <a:cubicBezTo>
                      <a:pt x="31" y="0"/>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10"/>
              <p:cNvSpPr>
                <a:spLocks noEditPoints="1"/>
              </p:cNvSpPr>
              <p:nvPr/>
            </p:nvSpPr>
            <p:spPr bwMode="auto">
              <a:xfrm>
                <a:off x="3018" y="2119"/>
                <a:ext cx="24" cy="16"/>
              </a:xfrm>
              <a:custGeom>
                <a:avLst/>
                <a:gdLst>
                  <a:gd name="T0" fmla="*/ 15 w 50"/>
                  <a:gd name="T1" fmla="*/ 0 h 33"/>
                  <a:gd name="T2" fmla="*/ 22 w 50"/>
                  <a:gd name="T3" fmla="*/ 1 h 33"/>
                  <a:gd name="T4" fmla="*/ 26 w 50"/>
                  <a:gd name="T5" fmla="*/ 4 h 33"/>
                  <a:gd name="T6" fmla="*/ 30 w 50"/>
                  <a:gd name="T7" fmla="*/ 10 h 33"/>
                  <a:gd name="T8" fmla="*/ 32 w 50"/>
                  <a:gd name="T9" fmla="*/ 19 h 33"/>
                  <a:gd name="T10" fmla="*/ 32 w 50"/>
                  <a:gd name="T11" fmla="*/ 26 h 33"/>
                  <a:gd name="T12" fmla="*/ 50 w 50"/>
                  <a:gd name="T13" fmla="*/ 26 h 33"/>
                  <a:gd name="T14" fmla="*/ 50 w 50"/>
                  <a:gd name="T15" fmla="*/ 33 h 33"/>
                  <a:gd name="T16" fmla="*/ 0 w 50"/>
                  <a:gd name="T17" fmla="*/ 33 h 33"/>
                  <a:gd name="T18" fmla="*/ 0 w 50"/>
                  <a:gd name="T19" fmla="*/ 19 h 33"/>
                  <a:gd name="T20" fmla="*/ 1 w 50"/>
                  <a:gd name="T21" fmla="*/ 11 h 33"/>
                  <a:gd name="T22" fmla="*/ 3 w 50"/>
                  <a:gd name="T23" fmla="*/ 6 h 33"/>
                  <a:gd name="T24" fmla="*/ 8 w 50"/>
                  <a:gd name="T25" fmla="*/ 1 h 33"/>
                  <a:gd name="T26" fmla="*/ 15 w 50"/>
                  <a:gd name="T27" fmla="*/ 0 h 33"/>
                  <a:gd name="T28" fmla="*/ 15 w 50"/>
                  <a:gd name="T29" fmla="*/ 7 h 33"/>
                  <a:gd name="T30" fmla="*/ 11 w 50"/>
                  <a:gd name="T31" fmla="*/ 8 h 33"/>
                  <a:gd name="T32" fmla="*/ 8 w 50"/>
                  <a:gd name="T33" fmla="*/ 11 h 33"/>
                  <a:gd name="T34" fmla="*/ 6 w 50"/>
                  <a:gd name="T35" fmla="*/ 14 h 33"/>
                  <a:gd name="T36" fmla="*/ 6 w 50"/>
                  <a:gd name="T37" fmla="*/ 19 h 33"/>
                  <a:gd name="T38" fmla="*/ 6 w 50"/>
                  <a:gd name="T39" fmla="*/ 26 h 33"/>
                  <a:gd name="T40" fmla="*/ 26 w 50"/>
                  <a:gd name="T41" fmla="*/ 26 h 33"/>
                  <a:gd name="T42" fmla="*/ 26 w 50"/>
                  <a:gd name="T43" fmla="*/ 20 h 33"/>
                  <a:gd name="T44" fmla="*/ 25 w 50"/>
                  <a:gd name="T45" fmla="*/ 14 h 33"/>
                  <a:gd name="T46" fmla="*/ 23 w 50"/>
                  <a:gd name="T47" fmla="*/ 10 h 33"/>
                  <a:gd name="T48" fmla="*/ 19 w 50"/>
                  <a:gd name="T49" fmla="*/ 8 h 33"/>
                  <a:gd name="T50" fmla="*/ 15 w 50"/>
                  <a:gd name="T5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3">
                    <a:moveTo>
                      <a:pt x="15" y="0"/>
                    </a:moveTo>
                    <a:cubicBezTo>
                      <a:pt x="18" y="0"/>
                      <a:pt x="20" y="0"/>
                      <a:pt x="22" y="1"/>
                    </a:cubicBezTo>
                    <a:cubicBezTo>
                      <a:pt x="23" y="2"/>
                      <a:pt x="25" y="3"/>
                      <a:pt x="26" y="4"/>
                    </a:cubicBezTo>
                    <a:cubicBezTo>
                      <a:pt x="28" y="6"/>
                      <a:pt x="29" y="8"/>
                      <a:pt x="30" y="10"/>
                    </a:cubicBezTo>
                    <a:cubicBezTo>
                      <a:pt x="31" y="13"/>
                      <a:pt x="32" y="16"/>
                      <a:pt x="32" y="19"/>
                    </a:cubicBezTo>
                    <a:lnTo>
                      <a:pt x="32" y="26"/>
                    </a:lnTo>
                    <a:lnTo>
                      <a:pt x="50" y="26"/>
                    </a:lnTo>
                    <a:lnTo>
                      <a:pt x="50" y="33"/>
                    </a:lnTo>
                    <a:lnTo>
                      <a:pt x="0" y="33"/>
                    </a:lnTo>
                    <a:lnTo>
                      <a:pt x="0" y="19"/>
                    </a:lnTo>
                    <a:cubicBezTo>
                      <a:pt x="0" y="16"/>
                      <a:pt x="0" y="14"/>
                      <a:pt x="1" y="11"/>
                    </a:cubicBezTo>
                    <a:cubicBezTo>
                      <a:pt x="1" y="9"/>
                      <a:pt x="2" y="8"/>
                      <a:pt x="3" y="6"/>
                    </a:cubicBezTo>
                    <a:cubicBezTo>
                      <a:pt x="5" y="4"/>
                      <a:pt x="6" y="3"/>
                      <a:pt x="8" y="1"/>
                    </a:cubicBezTo>
                    <a:cubicBezTo>
                      <a:pt x="10" y="0"/>
                      <a:pt x="12" y="0"/>
                      <a:pt x="15" y="0"/>
                    </a:cubicBezTo>
                    <a:close/>
                    <a:moveTo>
                      <a:pt x="15" y="7"/>
                    </a:moveTo>
                    <a:cubicBezTo>
                      <a:pt x="14" y="7"/>
                      <a:pt x="12" y="7"/>
                      <a:pt x="11" y="8"/>
                    </a:cubicBezTo>
                    <a:cubicBezTo>
                      <a:pt x="10" y="8"/>
                      <a:pt x="9" y="9"/>
                      <a:pt x="8" y="11"/>
                    </a:cubicBezTo>
                    <a:cubicBezTo>
                      <a:pt x="7" y="12"/>
                      <a:pt x="7" y="13"/>
                      <a:pt x="6" y="14"/>
                    </a:cubicBezTo>
                    <a:cubicBezTo>
                      <a:pt x="6" y="16"/>
                      <a:pt x="6" y="17"/>
                      <a:pt x="6" y="19"/>
                    </a:cubicBezTo>
                    <a:lnTo>
                      <a:pt x="6" y="26"/>
                    </a:lnTo>
                    <a:lnTo>
                      <a:pt x="26" y="26"/>
                    </a:lnTo>
                    <a:lnTo>
                      <a:pt x="26" y="20"/>
                    </a:lnTo>
                    <a:cubicBezTo>
                      <a:pt x="26" y="18"/>
                      <a:pt x="26" y="16"/>
                      <a:pt x="25" y="14"/>
                    </a:cubicBezTo>
                    <a:cubicBezTo>
                      <a:pt x="25" y="12"/>
                      <a:pt x="24" y="11"/>
                      <a:pt x="23" y="10"/>
                    </a:cubicBezTo>
                    <a:cubicBezTo>
                      <a:pt x="22" y="9"/>
                      <a:pt x="21" y="8"/>
                      <a:pt x="19" y="8"/>
                    </a:cubicBezTo>
                    <a:cubicBezTo>
                      <a:pt x="18" y="7"/>
                      <a:pt x="17" y="7"/>
                      <a:pt x="1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11"/>
              <p:cNvSpPr>
                <a:spLocks/>
              </p:cNvSpPr>
              <p:nvPr/>
            </p:nvSpPr>
            <p:spPr bwMode="auto">
              <a:xfrm>
                <a:off x="3018" y="2100"/>
                <a:ext cx="24" cy="15"/>
              </a:xfrm>
              <a:custGeom>
                <a:avLst/>
                <a:gdLst>
                  <a:gd name="T0" fmla="*/ 24 w 24"/>
                  <a:gd name="T1" fmla="*/ 0 h 15"/>
                  <a:gd name="T2" fmla="*/ 24 w 24"/>
                  <a:gd name="T3" fmla="*/ 15 h 15"/>
                  <a:gd name="T4" fmla="*/ 0 w 24"/>
                  <a:gd name="T5" fmla="*/ 15 h 15"/>
                  <a:gd name="T6" fmla="*/ 0 w 24"/>
                  <a:gd name="T7" fmla="*/ 12 h 15"/>
                  <a:gd name="T8" fmla="*/ 21 w 24"/>
                  <a:gd name="T9" fmla="*/ 12 h 15"/>
                  <a:gd name="T10" fmla="*/ 21 w 24"/>
                  <a:gd name="T11" fmla="*/ 0 h 15"/>
                  <a:gd name="T12" fmla="*/ 24 w 2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4" h="15">
                    <a:moveTo>
                      <a:pt x="24" y="0"/>
                    </a:moveTo>
                    <a:lnTo>
                      <a:pt x="24" y="15"/>
                    </a:lnTo>
                    <a:lnTo>
                      <a:pt x="0" y="15"/>
                    </a:lnTo>
                    <a:lnTo>
                      <a:pt x="0" y="12"/>
                    </a:lnTo>
                    <a:lnTo>
                      <a:pt x="21" y="12"/>
                    </a:lnTo>
                    <a:lnTo>
                      <a:pt x="21"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112"/>
              <p:cNvSpPr>
                <a:spLocks noEditPoints="1"/>
              </p:cNvSpPr>
              <p:nvPr/>
            </p:nvSpPr>
            <p:spPr bwMode="auto">
              <a:xfrm>
                <a:off x="3018" y="2077"/>
                <a:ext cx="24" cy="22"/>
              </a:xfrm>
              <a:custGeom>
                <a:avLst/>
                <a:gdLst>
                  <a:gd name="T0" fmla="*/ 50 w 50"/>
                  <a:gd name="T1" fmla="*/ 0 h 45"/>
                  <a:gd name="T2" fmla="*/ 50 w 50"/>
                  <a:gd name="T3" fmla="*/ 7 h 45"/>
                  <a:gd name="T4" fmla="*/ 36 w 50"/>
                  <a:gd name="T5" fmla="*/ 12 h 45"/>
                  <a:gd name="T6" fmla="*/ 36 w 50"/>
                  <a:gd name="T7" fmla="*/ 34 h 45"/>
                  <a:gd name="T8" fmla="*/ 50 w 50"/>
                  <a:gd name="T9" fmla="*/ 39 h 45"/>
                  <a:gd name="T10" fmla="*/ 50 w 50"/>
                  <a:gd name="T11" fmla="*/ 45 h 45"/>
                  <a:gd name="T12" fmla="*/ 0 w 50"/>
                  <a:gd name="T13" fmla="*/ 27 h 45"/>
                  <a:gd name="T14" fmla="*/ 0 w 50"/>
                  <a:gd name="T15" fmla="*/ 18 h 45"/>
                  <a:gd name="T16" fmla="*/ 50 w 50"/>
                  <a:gd name="T17" fmla="*/ 0 h 45"/>
                  <a:gd name="T18" fmla="*/ 31 w 50"/>
                  <a:gd name="T19" fmla="*/ 14 h 45"/>
                  <a:gd name="T20" fmla="*/ 6 w 50"/>
                  <a:gd name="T21" fmla="*/ 23 h 45"/>
                  <a:gd name="T22" fmla="*/ 31 w 50"/>
                  <a:gd name="T23" fmla="*/ 32 h 45"/>
                  <a:gd name="T24" fmla="*/ 31 w 50"/>
                  <a:gd name="T2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50" y="0"/>
                    </a:moveTo>
                    <a:lnTo>
                      <a:pt x="50" y="7"/>
                    </a:lnTo>
                    <a:lnTo>
                      <a:pt x="36" y="12"/>
                    </a:lnTo>
                    <a:lnTo>
                      <a:pt x="36" y="34"/>
                    </a:lnTo>
                    <a:lnTo>
                      <a:pt x="50" y="39"/>
                    </a:lnTo>
                    <a:lnTo>
                      <a:pt x="50" y="45"/>
                    </a:lnTo>
                    <a:lnTo>
                      <a:pt x="0" y="27"/>
                    </a:lnTo>
                    <a:lnTo>
                      <a:pt x="0" y="18"/>
                    </a:lnTo>
                    <a:lnTo>
                      <a:pt x="50" y="0"/>
                    </a:lnTo>
                    <a:close/>
                    <a:moveTo>
                      <a:pt x="31" y="14"/>
                    </a:moveTo>
                    <a:lnTo>
                      <a:pt x="6" y="23"/>
                    </a:lnTo>
                    <a:lnTo>
                      <a:pt x="31" y="32"/>
                    </a:lnTo>
                    <a:lnTo>
                      <a:pt x="31"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113"/>
              <p:cNvSpPr>
                <a:spLocks/>
              </p:cNvSpPr>
              <p:nvPr/>
            </p:nvSpPr>
            <p:spPr bwMode="auto">
              <a:xfrm>
                <a:off x="3018" y="2058"/>
                <a:ext cx="24" cy="20"/>
              </a:xfrm>
              <a:custGeom>
                <a:avLst/>
                <a:gdLst>
                  <a:gd name="T0" fmla="*/ 0 w 24"/>
                  <a:gd name="T1" fmla="*/ 0 h 20"/>
                  <a:gd name="T2" fmla="*/ 14 w 24"/>
                  <a:gd name="T3" fmla="*/ 8 h 20"/>
                  <a:gd name="T4" fmla="*/ 24 w 24"/>
                  <a:gd name="T5" fmla="*/ 8 h 20"/>
                  <a:gd name="T6" fmla="*/ 24 w 24"/>
                  <a:gd name="T7" fmla="*/ 12 h 20"/>
                  <a:gd name="T8" fmla="*/ 14 w 24"/>
                  <a:gd name="T9" fmla="*/ 12 h 20"/>
                  <a:gd name="T10" fmla="*/ 0 w 24"/>
                  <a:gd name="T11" fmla="*/ 20 h 20"/>
                  <a:gd name="T12" fmla="*/ 0 w 24"/>
                  <a:gd name="T13" fmla="*/ 17 h 20"/>
                  <a:gd name="T14" fmla="*/ 11 w 24"/>
                  <a:gd name="T15" fmla="*/ 10 h 20"/>
                  <a:gd name="T16" fmla="*/ 0 w 24"/>
                  <a:gd name="T17" fmla="*/ 3 h 20"/>
                  <a:gd name="T18" fmla="*/ 0 w 24"/>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0" y="0"/>
                    </a:moveTo>
                    <a:lnTo>
                      <a:pt x="14" y="8"/>
                    </a:lnTo>
                    <a:lnTo>
                      <a:pt x="24" y="8"/>
                    </a:lnTo>
                    <a:lnTo>
                      <a:pt x="24" y="12"/>
                    </a:lnTo>
                    <a:lnTo>
                      <a:pt x="14" y="12"/>
                    </a:lnTo>
                    <a:lnTo>
                      <a:pt x="0" y="20"/>
                    </a:lnTo>
                    <a:lnTo>
                      <a:pt x="0" y="17"/>
                    </a:lnTo>
                    <a:lnTo>
                      <a:pt x="11" y="10"/>
                    </a:lnTo>
                    <a:lnTo>
                      <a:pt x="0" y="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114"/>
              <p:cNvSpPr>
                <a:spLocks/>
              </p:cNvSpPr>
              <p:nvPr/>
            </p:nvSpPr>
            <p:spPr bwMode="auto">
              <a:xfrm>
                <a:off x="3017" y="2046"/>
                <a:ext cx="32" cy="9"/>
              </a:xfrm>
              <a:custGeom>
                <a:avLst/>
                <a:gdLst>
                  <a:gd name="T0" fmla="*/ 33 w 66"/>
                  <a:gd name="T1" fmla="*/ 0 h 20"/>
                  <a:gd name="T2" fmla="*/ 51 w 66"/>
                  <a:gd name="T3" fmla="*/ 3 h 20"/>
                  <a:gd name="T4" fmla="*/ 66 w 66"/>
                  <a:gd name="T5" fmla="*/ 12 h 20"/>
                  <a:gd name="T6" fmla="*/ 66 w 66"/>
                  <a:gd name="T7" fmla="*/ 20 h 20"/>
                  <a:gd name="T8" fmla="*/ 66 w 66"/>
                  <a:gd name="T9" fmla="*/ 20 h 20"/>
                  <a:gd name="T10" fmla="*/ 60 w 66"/>
                  <a:gd name="T11" fmla="*/ 15 h 20"/>
                  <a:gd name="T12" fmla="*/ 53 w 66"/>
                  <a:gd name="T13" fmla="*/ 10 h 20"/>
                  <a:gd name="T14" fmla="*/ 44 w 66"/>
                  <a:gd name="T15" fmla="*/ 7 h 20"/>
                  <a:gd name="T16" fmla="*/ 33 w 66"/>
                  <a:gd name="T17" fmla="*/ 6 h 20"/>
                  <a:gd name="T18" fmla="*/ 23 w 66"/>
                  <a:gd name="T19" fmla="*/ 7 h 20"/>
                  <a:gd name="T20" fmla="*/ 13 w 66"/>
                  <a:gd name="T21" fmla="*/ 10 h 20"/>
                  <a:gd name="T22" fmla="*/ 6 w 66"/>
                  <a:gd name="T23" fmla="*/ 15 h 20"/>
                  <a:gd name="T24" fmla="*/ 0 w 66"/>
                  <a:gd name="T25" fmla="*/ 20 h 20"/>
                  <a:gd name="T26" fmla="*/ 0 w 66"/>
                  <a:gd name="T27" fmla="*/ 20 h 20"/>
                  <a:gd name="T28" fmla="*/ 0 w 66"/>
                  <a:gd name="T29" fmla="*/ 12 h 20"/>
                  <a:gd name="T30" fmla="*/ 15 w 66"/>
                  <a:gd name="T31" fmla="*/ 3 h 20"/>
                  <a:gd name="T32" fmla="*/ 33 w 66"/>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33" y="0"/>
                    </a:move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3" y="10"/>
                    </a:cubicBezTo>
                    <a:cubicBezTo>
                      <a:pt x="11" y="12"/>
                      <a:pt x="8" y="13"/>
                      <a:pt x="6" y="15"/>
                    </a:cubicBezTo>
                    <a:cubicBezTo>
                      <a:pt x="4" y="17"/>
                      <a:pt x="2" y="18"/>
                      <a:pt x="0" y="20"/>
                    </a:cubicBezTo>
                    <a:lnTo>
                      <a:pt x="0" y="20"/>
                    </a:lnTo>
                    <a:lnTo>
                      <a:pt x="0" y="12"/>
                    </a:lnTo>
                    <a:cubicBezTo>
                      <a:pt x="4" y="8"/>
                      <a:pt x="9" y="5"/>
                      <a:pt x="15" y="3"/>
                    </a:cubicBezTo>
                    <a:cubicBezTo>
                      <a:pt x="20" y="1"/>
                      <a:pt x="26" y="0"/>
                      <a:pt x="33"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115"/>
              <p:cNvSpPr>
                <a:spLocks/>
              </p:cNvSpPr>
              <p:nvPr/>
            </p:nvSpPr>
            <p:spPr bwMode="auto">
              <a:xfrm>
                <a:off x="3942" y="2358"/>
                <a:ext cx="25" cy="20"/>
              </a:xfrm>
              <a:custGeom>
                <a:avLst/>
                <a:gdLst>
                  <a:gd name="T0" fmla="*/ 5 w 52"/>
                  <a:gd name="T1" fmla="*/ 42 h 42"/>
                  <a:gd name="T2" fmla="*/ 3 w 52"/>
                  <a:gd name="T3" fmla="*/ 39 h 42"/>
                  <a:gd name="T4" fmla="*/ 2 w 52"/>
                  <a:gd name="T5" fmla="*/ 35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2 h 42"/>
                  <a:gd name="T34" fmla="*/ 45 w 52"/>
                  <a:gd name="T35" fmla="*/ 33 h 42"/>
                  <a:gd name="T36" fmla="*/ 46 w 52"/>
                  <a:gd name="T37" fmla="*/ 25 h 42"/>
                  <a:gd name="T38" fmla="*/ 45 w 52"/>
                  <a:gd name="T39" fmla="*/ 18 h 42"/>
                  <a:gd name="T40" fmla="*/ 41 w 52"/>
                  <a:gd name="T41" fmla="*/ 12 h 42"/>
                  <a:gd name="T42" fmla="*/ 35 w 52"/>
                  <a:gd name="T43" fmla="*/ 9 h 42"/>
                  <a:gd name="T44" fmla="*/ 26 w 52"/>
                  <a:gd name="T45" fmla="*/ 7 h 42"/>
                  <a:gd name="T46" fmla="*/ 17 w 52"/>
                  <a:gd name="T47" fmla="*/ 9 h 42"/>
                  <a:gd name="T48" fmla="*/ 11 w 52"/>
                  <a:gd name="T49" fmla="*/ 13 h 42"/>
                  <a:gd name="T50" fmla="*/ 7 w 52"/>
                  <a:gd name="T51" fmla="*/ 18 h 42"/>
                  <a:gd name="T52" fmla="*/ 6 w 52"/>
                  <a:gd name="T53" fmla="*/ 25 h 42"/>
                  <a:gd name="T54" fmla="*/ 7 w 52"/>
                  <a:gd name="T55" fmla="*/ 34 h 42"/>
                  <a:gd name="T56" fmla="*/ 12 w 52"/>
                  <a:gd name="T57" fmla="*/ 42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40"/>
                      <a:pt x="3" y="39"/>
                    </a:cubicBezTo>
                    <a:cubicBezTo>
                      <a:pt x="3" y="38"/>
                      <a:pt x="2" y="36"/>
                      <a:pt x="2" y="35"/>
                    </a:cubicBezTo>
                    <a:cubicBezTo>
                      <a:pt x="1" y="33"/>
                      <a:pt x="1" y="32"/>
                      <a:pt x="0" y="30"/>
                    </a:cubicBezTo>
                    <a:cubicBezTo>
                      <a:pt x="0" y="29"/>
                      <a:pt x="0" y="27"/>
                      <a:pt x="0" y="25"/>
                    </a:cubicBezTo>
                    <a:cubicBezTo>
                      <a:pt x="0" y="21"/>
                      <a:pt x="0" y="18"/>
                      <a:pt x="1" y="15"/>
                    </a:cubicBezTo>
                    <a:cubicBezTo>
                      <a:pt x="3" y="12"/>
                      <a:pt x="4" y="10"/>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8"/>
                      <a:pt x="52" y="30"/>
                      <a:pt x="51" y="33"/>
                    </a:cubicBezTo>
                    <a:cubicBezTo>
                      <a:pt x="50" y="36"/>
                      <a:pt x="49" y="39"/>
                      <a:pt x="48" y="42"/>
                    </a:cubicBezTo>
                    <a:lnTo>
                      <a:pt x="40" y="42"/>
                    </a:lnTo>
                    <a:lnTo>
                      <a:pt x="40" y="42"/>
                    </a:lnTo>
                    <a:cubicBezTo>
                      <a:pt x="42" y="39"/>
                      <a:pt x="44" y="36"/>
                      <a:pt x="45" y="33"/>
                    </a:cubicBezTo>
                    <a:cubicBezTo>
                      <a:pt x="46" y="31"/>
                      <a:pt x="46" y="28"/>
                      <a:pt x="46" y="25"/>
                    </a:cubicBezTo>
                    <a:cubicBezTo>
                      <a:pt x="46" y="22"/>
                      <a:pt x="46" y="20"/>
                      <a:pt x="45" y="18"/>
                    </a:cubicBezTo>
                    <a:cubicBezTo>
                      <a:pt x="44" y="16"/>
                      <a:pt x="43" y="14"/>
                      <a:pt x="41" y="12"/>
                    </a:cubicBezTo>
                    <a:cubicBezTo>
                      <a:pt x="40" y="11"/>
                      <a:pt x="37" y="10"/>
                      <a:pt x="35" y="9"/>
                    </a:cubicBezTo>
                    <a:cubicBezTo>
                      <a:pt x="32" y="8"/>
                      <a:pt x="29" y="7"/>
                      <a:pt x="26" y="7"/>
                    </a:cubicBezTo>
                    <a:cubicBezTo>
                      <a:pt x="22" y="7"/>
                      <a:pt x="19" y="8"/>
                      <a:pt x="17" y="9"/>
                    </a:cubicBezTo>
                    <a:cubicBezTo>
                      <a:pt x="14" y="10"/>
                      <a:pt x="12" y="11"/>
                      <a:pt x="11" y="13"/>
                    </a:cubicBezTo>
                    <a:cubicBezTo>
                      <a:pt x="9" y="14"/>
                      <a:pt x="8" y="16"/>
                      <a:pt x="7" y="18"/>
                    </a:cubicBezTo>
                    <a:cubicBezTo>
                      <a:pt x="6" y="20"/>
                      <a:pt x="6" y="22"/>
                      <a:pt x="6" y="25"/>
                    </a:cubicBezTo>
                    <a:cubicBezTo>
                      <a:pt x="6" y="28"/>
                      <a:pt x="6" y="31"/>
                      <a:pt x="7" y="34"/>
                    </a:cubicBezTo>
                    <a:cubicBezTo>
                      <a:pt x="9" y="37"/>
                      <a:pt x="10" y="39"/>
                      <a:pt x="12" y="42"/>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116"/>
              <p:cNvSpPr>
                <a:spLocks/>
              </p:cNvSpPr>
              <p:nvPr/>
            </p:nvSpPr>
            <p:spPr bwMode="auto">
              <a:xfrm>
                <a:off x="3942" y="2382"/>
                <a:ext cx="25" cy="18"/>
              </a:xfrm>
              <a:custGeom>
                <a:avLst/>
                <a:gdLst>
                  <a:gd name="T0" fmla="*/ 15 w 52"/>
                  <a:gd name="T1" fmla="*/ 39 h 39"/>
                  <a:gd name="T2" fmla="*/ 9 w 52"/>
                  <a:gd name="T3" fmla="*/ 38 h 39"/>
                  <a:gd name="T4" fmla="*/ 5 w 52"/>
                  <a:gd name="T5" fmla="*/ 34 h 39"/>
                  <a:gd name="T6" fmla="*/ 1 w 52"/>
                  <a:gd name="T7" fmla="*/ 28 h 39"/>
                  <a:gd name="T8" fmla="*/ 0 w 52"/>
                  <a:gd name="T9" fmla="*/ 19 h 39"/>
                  <a:gd name="T10" fmla="*/ 1 w 52"/>
                  <a:gd name="T11" fmla="*/ 9 h 39"/>
                  <a:gd name="T12" fmla="*/ 4 w 52"/>
                  <a:gd name="T13" fmla="*/ 0 h 39"/>
                  <a:gd name="T14" fmla="*/ 12 w 52"/>
                  <a:gd name="T15" fmla="*/ 0 h 39"/>
                  <a:gd name="T16" fmla="*/ 12 w 52"/>
                  <a:gd name="T17" fmla="*/ 1 h 39"/>
                  <a:gd name="T18" fmla="*/ 7 w 52"/>
                  <a:gd name="T19" fmla="*/ 10 h 39"/>
                  <a:gd name="T20" fmla="*/ 6 w 52"/>
                  <a:gd name="T21" fmla="*/ 19 h 39"/>
                  <a:gd name="T22" fmla="*/ 8 w 52"/>
                  <a:gd name="T23" fmla="*/ 29 h 39"/>
                  <a:gd name="T24" fmla="*/ 14 w 52"/>
                  <a:gd name="T25" fmla="*/ 32 h 39"/>
                  <a:gd name="T26" fmla="*/ 19 w 52"/>
                  <a:gd name="T27" fmla="*/ 31 h 39"/>
                  <a:gd name="T28" fmla="*/ 22 w 52"/>
                  <a:gd name="T29" fmla="*/ 26 h 39"/>
                  <a:gd name="T30" fmla="*/ 23 w 52"/>
                  <a:gd name="T31" fmla="*/ 20 h 39"/>
                  <a:gd name="T32" fmla="*/ 24 w 52"/>
                  <a:gd name="T33" fmla="*/ 14 h 39"/>
                  <a:gd name="T34" fmla="*/ 29 w 52"/>
                  <a:gd name="T35" fmla="*/ 4 h 39"/>
                  <a:gd name="T36" fmla="*/ 38 w 52"/>
                  <a:gd name="T37" fmla="*/ 1 h 39"/>
                  <a:gd name="T38" fmla="*/ 48 w 52"/>
                  <a:gd name="T39" fmla="*/ 6 h 39"/>
                  <a:gd name="T40" fmla="*/ 52 w 52"/>
                  <a:gd name="T41" fmla="*/ 20 h 39"/>
                  <a:gd name="T42" fmla="*/ 51 w 52"/>
                  <a:gd name="T43" fmla="*/ 29 h 39"/>
                  <a:gd name="T44" fmla="*/ 49 w 52"/>
                  <a:gd name="T45" fmla="*/ 37 h 39"/>
                  <a:gd name="T46" fmla="*/ 41 w 52"/>
                  <a:gd name="T47" fmla="*/ 37 h 39"/>
                  <a:gd name="T48" fmla="*/ 41 w 52"/>
                  <a:gd name="T49" fmla="*/ 37 h 39"/>
                  <a:gd name="T50" fmla="*/ 45 w 52"/>
                  <a:gd name="T51" fmla="*/ 29 h 39"/>
                  <a:gd name="T52" fmla="*/ 46 w 52"/>
                  <a:gd name="T53" fmla="*/ 20 h 39"/>
                  <a:gd name="T54" fmla="*/ 44 w 52"/>
                  <a:gd name="T55" fmla="*/ 11 h 39"/>
                  <a:gd name="T56" fmla="*/ 38 w 52"/>
                  <a:gd name="T57" fmla="*/ 8 h 39"/>
                  <a:gd name="T58" fmla="*/ 33 w 52"/>
                  <a:gd name="T59" fmla="*/ 9 h 39"/>
                  <a:gd name="T60" fmla="*/ 31 w 52"/>
                  <a:gd name="T61" fmla="*/ 15 h 39"/>
                  <a:gd name="T62" fmla="*/ 30 w 52"/>
                  <a:gd name="T63" fmla="*/ 21 h 39"/>
                  <a:gd name="T64" fmla="*/ 28 w 52"/>
                  <a:gd name="T65" fmla="*/ 28 h 39"/>
                  <a:gd name="T66" fmla="*/ 24 w 52"/>
                  <a:gd name="T67" fmla="*/ 36 h 39"/>
                  <a:gd name="T68" fmla="*/ 15 w 52"/>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15" y="39"/>
                    </a:moveTo>
                    <a:cubicBezTo>
                      <a:pt x="13" y="39"/>
                      <a:pt x="11" y="39"/>
                      <a:pt x="9" y="38"/>
                    </a:cubicBezTo>
                    <a:cubicBezTo>
                      <a:pt x="8" y="37"/>
                      <a:pt x="6" y="36"/>
                      <a:pt x="5" y="34"/>
                    </a:cubicBezTo>
                    <a:cubicBezTo>
                      <a:pt x="3" y="32"/>
                      <a:pt x="2" y="30"/>
                      <a:pt x="1" y="28"/>
                    </a:cubicBezTo>
                    <a:cubicBezTo>
                      <a:pt x="0" y="25"/>
                      <a:pt x="0" y="22"/>
                      <a:pt x="0" y="19"/>
                    </a:cubicBezTo>
                    <a:cubicBezTo>
                      <a:pt x="0" y="15"/>
                      <a:pt x="0" y="12"/>
                      <a:pt x="1" y="9"/>
                    </a:cubicBezTo>
                    <a:cubicBezTo>
                      <a:pt x="2" y="6"/>
                      <a:pt x="3" y="3"/>
                      <a:pt x="4" y="0"/>
                    </a:cubicBezTo>
                    <a:lnTo>
                      <a:pt x="12" y="0"/>
                    </a:lnTo>
                    <a:lnTo>
                      <a:pt x="12" y="1"/>
                    </a:lnTo>
                    <a:cubicBezTo>
                      <a:pt x="10" y="3"/>
                      <a:pt x="9" y="6"/>
                      <a:pt x="7" y="10"/>
                    </a:cubicBezTo>
                    <a:cubicBezTo>
                      <a:pt x="6" y="13"/>
                      <a:pt x="6" y="16"/>
                      <a:pt x="6" y="19"/>
                    </a:cubicBezTo>
                    <a:cubicBezTo>
                      <a:pt x="6" y="23"/>
                      <a:pt x="7" y="26"/>
                      <a:pt x="8" y="29"/>
                    </a:cubicBezTo>
                    <a:cubicBezTo>
                      <a:pt x="10" y="31"/>
                      <a:pt x="12" y="32"/>
                      <a:pt x="14" y="32"/>
                    </a:cubicBezTo>
                    <a:cubicBezTo>
                      <a:pt x="17" y="32"/>
                      <a:pt x="18" y="32"/>
                      <a:pt x="19" y="31"/>
                    </a:cubicBezTo>
                    <a:cubicBezTo>
                      <a:pt x="20" y="30"/>
                      <a:pt x="21" y="28"/>
                      <a:pt x="22" y="26"/>
                    </a:cubicBezTo>
                    <a:cubicBezTo>
                      <a:pt x="22" y="24"/>
                      <a:pt x="23" y="22"/>
                      <a:pt x="23" y="20"/>
                    </a:cubicBezTo>
                    <a:cubicBezTo>
                      <a:pt x="23" y="18"/>
                      <a:pt x="23" y="16"/>
                      <a:pt x="24" y="14"/>
                    </a:cubicBezTo>
                    <a:cubicBezTo>
                      <a:pt x="25" y="9"/>
                      <a:pt x="26" y="6"/>
                      <a:pt x="29" y="4"/>
                    </a:cubicBezTo>
                    <a:cubicBezTo>
                      <a:pt x="31" y="2"/>
                      <a:pt x="34" y="1"/>
                      <a:pt x="38" y="1"/>
                    </a:cubicBezTo>
                    <a:cubicBezTo>
                      <a:pt x="42" y="1"/>
                      <a:pt x="45" y="3"/>
                      <a:pt x="48" y="6"/>
                    </a:cubicBezTo>
                    <a:cubicBezTo>
                      <a:pt x="51" y="10"/>
                      <a:pt x="52" y="14"/>
                      <a:pt x="52" y="20"/>
                    </a:cubicBezTo>
                    <a:cubicBezTo>
                      <a:pt x="52" y="23"/>
                      <a:pt x="52" y="26"/>
                      <a:pt x="51" y="29"/>
                    </a:cubicBezTo>
                    <a:cubicBezTo>
                      <a:pt x="50" y="32"/>
                      <a:pt x="50" y="35"/>
                      <a:pt x="49" y="37"/>
                    </a:cubicBezTo>
                    <a:lnTo>
                      <a:pt x="41" y="37"/>
                    </a:lnTo>
                    <a:lnTo>
                      <a:pt x="41" y="37"/>
                    </a:lnTo>
                    <a:cubicBezTo>
                      <a:pt x="42" y="35"/>
                      <a:pt x="44" y="32"/>
                      <a:pt x="45" y="29"/>
                    </a:cubicBezTo>
                    <a:cubicBezTo>
                      <a:pt x="46" y="26"/>
                      <a:pt x="46" y="23"/>
                      <a:pt x="46" y="20"/>
                    </a:cubicBezTo>
                    <a:cubicBezTo>
                      <a:pt x="46" y="16"/>
                      <a:pt x="46" y="13"/>
                      <a:pt x="44" y="11"/>
                    </a:cubicBezTo>
                    <a:cubicBezTo>
                      <a:pt x="43" y="9"/>
                      <a:pt x="41" y="8"/>
                      <a:pt x="38" y="8"/>
                    </a:cubicBezTo>
                    <a:cubicBezTo>
                      <a:pt x="36" y="8"/>
                      <a:pt x="35" y="8"/>
                      <a:pt x="33" y="9"/>
                    </a:cubicBezTo>
                    <a:cubicBezTo>
                      <a:pt x="32" y="10"/>
                      <a:pt x="31" y="12"/>
                      <a:pt x="31" y="15"/>
                    </a:cubicBezTo>
                    <a:cubicBezTo>
                      <a:pt x="30" y="16"/>
                      <a:pt x="30" y="19"/>
                      <a:pt x="30" y="21"/>
                    </a:cubicBezTo>
                    <a:cubicBezTo>
                      <a:pt x="29" y="24"/>
                      <a:pt x="29" y="26"/>
                      <a:pt x="28" y="28"/>
                    </a:cubicBezTo>
                    <a:cubicBezTo>
                      <a:pt x="27" y="32"/>
                      <a:pt x="26" y="34"/>
                      <a:pt x="24" y="36"/>
                    </a:cubicBezTo>
                    <a:cubicBezTo>
                      <a:pt x="22" y="38"/>
                      <a:pt x="19" y="39"/>
                      <a:pt x="15" y="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117"/>
              <p:cNvSpPr>
                <a:spLocks/>
              </p:cNvSpPr>
              <p:nvPr/>
            </p:nvSpPr>
            <p:spPr bwMode="auto">
              <a:xfrm>
                <a:off x="3942" y="2405"/>
                <a:ext cx="24" cy="9"/>
              </a:xfrm>
              <a:custGeom>
                <a:avLst/>
                <a:gdLst>
                  <a:gd name="T0" fmla="*/ 0 w 24"/>
                  <a:gd name="T1" fmla="*/ 9 h 9"/>
                  <a:gd name="T2" fmla="*/ 0 w 24"/>
                  <a:gd name="T3" fmla="*/ 0 h 9"/>
                  <a:gd name="T4" fmla="*/ 3 w 24"/>
                  <a:gd name="T5" fmla="*/ 0 h 9"/>
                  <a:gd name="T6" fmla="*/ 3 w 24"/>
                  <a:gd name="T7" fmla="*/ 2 h 9"/>
                  <a:gd name="T8" fmla="*/ 22 w 24"/>
                  <a:gd name="T9" fmla="*/ 2 h 9"/>
                  <a:gd name="T10" fmla="*/ 22 w 24"/>
                  <a:gd name="T11" fmla="*/ 0 h 9"/>
                  <a:gd name="T12" fmla="*/ 24 w 24"/>
                  <a:gd name="T13" fmla="*/ 0 h 9"/>
                  <a:gd name="T14" fmla="*/ 24 w 24"/>
                  <a:gd name="T15" fmla="*/ 9 h 9"/>
                  <a:gd name="T16" fmla="*/ 22 w 24"/>
                  <a:gd name="T17" fmla="*/ 9 h 9"/>
                  <a:gd name="T18" fmla="*/ 22 w 24"/>
                  <a:gd name="T19" fmla="*/ 6 h 9"/>
                  <a:gd name="T20" fmla="*/ 3 w 24"/>
                  <a:gd name="T21" fmla="*/ 6 h 9"/>
                  <a:gd name="T22" fmla="*/ 3 w 24"/>
                  <a:gd name="T23" fmla="*/ 9 h 9"/>
                  <a:gd name="T24" fmla="*/ 0 w 24"/>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0" y="9"/>
                    </a:moveTo>
                    <a:lnTo>
                      <a:pt x="0" y="0"/>
                    </a:lnTo>
                    <a:lnTo>
                      <a:pt x="3" y="0"/>
                    </a:lnTo>
                    <a:lnTo>
                      <a:pt x="3" y="2"/>
                    </a:lnTo>
                    <a:lnTo>
                      <a:pt x="22" y="2"/>
                    </a:lnTo>
                    <a:lnTo>
                      <a:pt x="22" y="0"/>
                    </a:lnTo>
                    <a:lnTo>
                      <a:pt x="24" y="0"/>
                    </a:lnTo>
                    <a:lnTo>
                      <a:pt x="24" y="9"/>
                    </a:lnTo>
                    <a:lnTo>
                      <a:pt x="22" y="9"/>
                    </a:lnTo>
                    <a:lnTo>
                      <a:pt x="22" y="6"/>
                    </a:lnTo>
                    <a:lnTo>
                      <a:pt x="3" y="6"/>
                    </a:lnTo>
                    <a:lnTo>
                      <a:pt x="3" y="9"/>
                    </a:lnTo>
                    <a:lnTo>
                      <a:pt x="0"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118"/>
              <p:cNvSpPr>
                <a:spLocks/>
              </p:cNvSpPr>
              <p:nvPr/>
            </p:nvSpPr>
            <p:spPr bwMode="auto">
              <a:xfrm>
                <a:off x="3936" y="2431"/>
                <a:ext cx="31" cy="10"/>
              </a:xfrm>
              <a:custGeom>
                <a:avLst/>
                <a:gdLst>
                  <a:gd name="T0" fmla="*/ 0 w 66"/>
                  <a:gd name="T1" fmla="*/ 20 h 20"/>
                  <a:gd name="T2" fmla="*/ 0 w 66"/>
                  <a:gd name="T3" fmla="*/ 12 h 20"/>
                  <a:gd name="T4" fmla="*/ 15 w 66"/>
                  <a:gd name="T5" fmla="*/ 3 h 20"/>
                  <a:gd name="T6" fmla="*/ 33 w 66"/>
                  <a:gd name="T7" fmla="*/ 0 h 20"/>
                  <a:gd name="T8" fmla="*/ 51 w 66"/>
                  <a:gd name="T9" fmla="*/ 3 h 20"/>
                  <a:gd name="T10" fmla="*/ 66 w 66"/>
                  <a:gd name="T11" fmla="*/ 12 h 20"/>
                  <a:gd name="T12" fmla="*/ 66 w 66"/>
                  <a:gd name="T13" fmla="*/ 20 h 20"/>
                  <a:gd name="T14" fmla="*/ 66 w 66"/>
                  <a:gd name="T15" fmla="*/ 20 h 20"/>
                  <a:gd name="T16" fmla="*/ 60 w 66"/>
                  <a:gd name="T17" fmla="*/ 15 h 20"/>
                  <a:gd name="T18" fmla="*/ 53 w 66"/>
                  <a:gd name="T19" fmla="*/ 10 h 20"/>
                  <a:gd name="T20" fmla="*/ 44 w 66"/>
                  <a:gd name="T21" fmla="*/ 7 h 20"/>
                  <a:gd name="T22" fmla="*/ 33 w 66"/>
                  <a:gd name="T23" fmla="*/ 6 h 20"/>
                  <a:gd name="T24" fmla="*/ 23 w 66"/>
                  <a:gd name="T25" fmla="*/ 7 h 20"/>
                  <a:gd name="T26" fmla="*/ 14 w 66"/>
                  <a:gd name="T27" fmla="*/ 10 h 20"/>
                  <a:gd name="T28" fmla="*/ 6 w 66"/>
                  <a:gd name="T29" fmla="*/ 15 h 20"/>
                  <a:gd name="T30" fmla="*/ 0 w 66"/>
                  <a:gd name="T31" fmla="*/ 20 h 20"/>
                  <a:gd name="T32" fmla="*/ 0 w 66"/>
                  <a:gd name="T3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0" y="20"/>
                    </a:moveTo>
                    <a:lnTo>
                      <a:pt x="0" y="12"/>
                    </a:lnTo>
                    <a:cubicBezTo>
                      <a:pt x="5" y="8"/>
                      <a:pt x="10" y="5"/>
                      <a:pt x="15" y="3"/>
                    </a:cubicBezTo>
                    <a:cubicBezTo>
                      <a:pt x="20" y="1"/>
                      <a:pt x="26" y="0"/>
                      <a:pt x="33" y="0"/>
                    </a:cubicBez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4" y="10"/>
                    </a:cubicBezTo>
                    <a:cubicBezTo>
                      <a:pt x="11" y="12"/>
                      <a:pt x="8" y="13"/>
                      <a:pt x="6" y="15"/>
                    </a:cubicBezTo>
                    <a:cubicBezTo>
                      <a:pt x="4" y="17"/>
                      <a:pt x="2" y="18"/>
                      <a:pt x="0" y="20"/>
                    </a:cubicBezTo>
                    <a:lnTo>
                      <a:pt x="0"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119"/>
              <p:cNvSpPr>
                <a:spLocks/>
              </p:cNvSpPr>
              <p:nvPr/>
            </p:nvSpPr>
            <p:spPr bwMode="auto">
              <a:xfrm>
                <a:off x="3942" y="2445"/>
                <a:ext cx="25" cy="20"/>
              </a:xfrm>
              <a:custGeom>
                <a:avLst/>
                <a:gdLst>
                  <a:gd name="T0" fmla="*/ 5 w 52"/>
                  <a:gd name="T1" fmla="*/ 42 h 42"/>
                  <a:gd name="T2" fmla="*/ 3 w 52"/>
                  <a:gd name="T3" fmla="*/ 38 h 42"/>
                  <a:gd name="T4" fmla="*/ 2 w 52"/>
                  <a:gd name="T5" fmla="*/ 34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1 h 42"/>
                  <a:gd name="T34" fmla="*/ 45 w 52"/>
                  <a:gd name="T35" fmla="*/ 33 h 42"/>
                  <a:gd name="T36" fmla="*/ 46 w 52"/>
                  <a:gd name="T37" fmla="*/ 24 h 42"/>
                  <a:gd name="T38" fmla="*/ 45 w 52"/>
                  <a:gd name="T39" fmla="*/ 17 h 42"/>
                  <a:gd name="T40" fmla="*/ 41 w 52"/>
                  <a:gd name="T41" fmla="*/ 12 h 42"/>
                  <a:gd name="T42" fmla="*/ 35 w 52"/>
                  <a:gd name="T43" fmla="*/ 8 h 42"/>
                  <a:gd name="T44" fmla="*/ 26 w 52"/>
                  <a:gd name="T45" fmla="*/ 7 h 42"/>
                  <a:gd name="T46" fmla="*/ 17 w 52"/>
                  <a:gd name="T47" fmla="*/ 8 h 42"/>
                  <a:gd name="T48" fmla="*/ 11 w 52"/>
                  <a:gd name="T49" fmla="*/ 12 h 42"/>
                  <a:gd name="T50" fmla="*/ 7 w 52"/>
                  <a:gd name="T51" fmla="*/ 18 h 42"/>
                  <a:gd name="T52" fmla="*/ 6 w 52"/>
                  <a:gd name="T53" fmla="*/ 24 h 42"/>
                  <a:gd name="T54" fmla="*/ 7 w 52"/>
                  <a:gd name="T55" fmla="*/ 33 h 42"/>
                  <a:gd name="T56" fmla="*/ 12 w 52"/>
                  <a:gd name="T57" fmla="*/ 41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39"/>
                      <a:pt x="3" y="38"/>
                    </a:cubicBezTo>
                    <a:cubicBezTo>
                      <a:pt x="3" y="37"/>
                      <a:pt x="2" y="36"/>
                      <a:pt x="2" y="34"/>
                    </a:cubicBezTo>
                    <a:cubicBezTo>
                      <a:pt x="1" y="33"/>
                      <a:pt x="1" y="32"/>
                      <a:pt x="0" y="30"/>
                    </a:cubicBezTo>
                    <a:cubicBezTo>
                      <a:pt x="0" y="28"/>
                      <a:pt x="0" y="27"/>
                      <a:pt x="0" y="25"/>
                    </a:cubicBezTo>
                    <a:cubicBezTo>
                      <a:pt x="0" y="21"/>
                      <a:pt x="0" y="18"/>
                      <a:pt x="1" y="15"/>
                    </a:cubicBezTo>
                    <a:cubicBezTo>
                      <a:pt x="3" y="12"/>
                      <a:pt x="4" y="9"/>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7"/>
                      <a:pt x="52" y="30"/>
                      <a:pt x="51" y="33"/>
                    </a:cubicBezTo>
                    <a:cubicBezTo>
                      <a:pt x="50" y="35"/>
                      <a:pt x="49" y="38"/>
                      <a:pt x="48" y="42"/>
                    </a:cubicBezTo>
                    <a:lnTo>
                      <a:pt x="40" y="42"/>
                    </a:lnTo>
                    <a:lnTo>
                      <a:pt x="40" y="41"/>
                    </a:lnTo>
                    <a:cubicBezTo>
                      <a:pt x="42" y="38"/>
                      <a:pt x="44" y="36"/>
                      <a:pt x="45" y="33"/>
                    </a:cubicBezTo>
                    <a:cubicBezTo>
                      <a:pt x="46" y="30"/>
                      <a:pt x="46" y="27"/>
                      <a:pt x="46" y="24"/>
                    </a:cubicBezTo>
                    <a:cubicBezTo>
                      <a:pt x="46" y="22"/>
                      <a:pt x="46" y="19"/>
                      <a:pt x="45" y="17"/>
                    </a:cubicBezTo>
                    <a:cubicBezTo>
                      <a:pt x="44" y="15"/>
                      <a:pt x="43" y="14"/>
                      <a:pt x="41" y="12"/>
                    </a:cubicBezTo>
                    <a:cubicBezTo>
                      <a:pt x="40" y="10"/>
                      <a:pt x="37" y="9"/>
                      <a:pt x="35" y="8"/>
                    </a:cubicBezTo>
                    <a:cubicBezTo>
                      <a:pt x="32" y="7"/>
                      <a:pt x="29" y="7"/>
                      <a:pt x="26" y="7"/>
                    </a:cubicBezTo>
                    <a:cubicBezTo>
                      <a:pt x="22" y="7"/>
                      <a:pt x="19" y="7"/>
                      <a:pt x="17" y="8"/>
                    </a:cubicBezTo>
                    <a:cubicBezTo>
                      <a:pt x="14" y="9"/>
                      <a:pt x="12" y="11"/>
                      <a:pt x="11" y="12"/>
                    </a:cubicBezTo>
                    <a:cubicBezTo>
                      <a:pt x="9" y="14"/>
                      <a:pt x="8" y="16"/>
                      <a:pt x="7" y="18"/>
                    </a:cubicBezTo>
                    <a:cubicBezTo>
                      <a:pt x="6" y="20"/>
                      <a:pt x="6" y="22"/>
                      <a:pt x="6" y="24"/>
                    </a:cubicBezTo>
                    <a:cubicBezTo>
                      <a:pt x="6" y="28"/>
                      <a:pt x="6" y="31"/>
                      <a:pt x="7" y="33"/>
                    </a:cubicBezTo>
                    <a:cubicBezTo>
                      <a:pt x="9" y="36"/>
                      <a:pt x="10" y="39"/>
                      <a:pt x="12" y="41"/>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120"/>
              <p:cNvSpPr>
                <a:spLocks noEditPoints="1"/>
              </p:cNvSpPr>
              <p:nvPr/>
            </p:nvSpPr>
            <p:spPr bwMode="auto">
              <a:xfrm>
                <a:off x="3942" y="2467"/>
                <a:ext cx="24" cy="22"/>
              </a:xfrm>
              <a:custGeom>
                <a:avLst/>
                <a:gdLst>
                  <a:gd name="T0" fmla="*/ 0 w 50"/>
                  <a:gd name="T1" fmla="*/ 46 h 46"/>
                  <a:gd name="T2" fmla="*/ 0 w 50"/>
                  <a:gd name="T3" fmla="*/ 39 h 46"/>
                  <a:gd name="T4" fmla="*/ 14 w 50"/>
                  <a:gd name="T5" fmla="*/ 34 h 46"/>
                  <a:gd name="T6" fmla="*/ 14 w 50"/>
                  <a:gd name="T7" fmla="*/ 12 h 46"/>
                  <a:gd name="T8" fmla="*/ 0 w 50"/>
                  <a:gd name="T9" fmla="*/ 7 h 46"/>
                  <a:gd name="T10" fmla="*/ 0 w 50"/>
                  <a:gd name="T11" fmla="*/ 0 h 46"/>
                  <a:gd name="T12" fmla="*/ 50 w 50"/>
                  <a:gd name="T13" fmla="*/ 19 h 46"/>
                  <a:gd name="T14" fmla="*/ 50 w 50"/>
                  <a:gd name="T15" fmla="*/ 28 h 46"/>
                  <a:gd name="T16" fmla="*/ 0 w 50"/>
                  <a:gd name="T17" fmla="*/ 46 h 46"/>
                  <a:gd name="T18" fmla="*/ 20 w 50"/>
                  <a:gd name="T19" fmla="*/ 32 h 46"/>
                  <a:gd name="T20" fmla="*/ 44 w 50"/>
                  <a:gd name="T21" fmla="*/ 23 h 46"/>
                  <a:gd name="T22" fmla="*/ 20 w 50"/>
                  <a:gd name="T23" fmla="*/ 14 h 46"/>
                  <a:gd name="T24" fmla="*/ 20 w 50"/>
                  <a:gd name="T2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6">
                    <a:moveTo>
                      <a:pt x="0" y="46"/>
                    </a:moveTo>
                    <a:lnTo>
                      <a:pt x="0" y="39"/>
                    </a:lnTo>
                    <a:lnTo>
                      <a:pt x="14" y="34"/>
                    </a:lnTo>
                    <a:lnTo>
                      <a:pt x="14" y="12"/>
                    </a:lnTo>
                    <a:lnTo>
                      <a:pt x="0" y="7"/>
                    </a:lnTo>
                    <a:lnTo>
                      <a:pt x="0" y="0"/>
                    </a:lnTo>
                    <a:lnTo>
                      <a:pt x="50" y="19"/>
                    </a:lnTo>
                    <a:lnTo>
                      <a:pt x="50" y="28"/>
                    </a:lnTo>
                    <a:lnTo>
                      <a:pt x="0" y="46"/>
                    </a:lnTo>
                    <a:close/>
                    <a:moveTo>
                      <a:pt x="20" y="32"/>
                    </a:moveTo>
                    <a:lnTo>
                      <a:pt x="44" y="23"/>
                    </a:lnTo>
                    <a:lnTo>
                      <a:pt x="20" y="14"/>
                    </a:lnTo>
                    <a:lnTo>
                      <a:pt x="20" y="3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121"/>
              <p:cNvSpPr>
                <a:spLocks/>
              </p:cNvSpPr>
              <p:nvPr/>
            </p:nvSpPr>
            <p:spPr bwMode="auto">
              <a:xfrm>
                <a:off x="3942" y="2493"/>
                <a:ext cx="24" cy="21"/>
              </a:xfrm>
              <a:custGeom>
                <a:avLst/>
                <a:gdLst>
                  <a:gd name="T0" fmla="*/ 0 w 24"/>
                  <a:gd name="T1" fmla="*/ 21 h 21"/>
                  <a:gd name="T2" fmla="*/ 0 w 24"/>
                  <a:gd name="T3" fmla="*/ 18 h 21"/>
                  <a:gd name="T4" fmla="*/ 21 w 24"/>
                  <a:gd name="T5" fmla="*/ 18 h 21"/>
                  <a:gd name="T6" fmla="*/ 7 w 24"/>
                  <a:gd name="T7" fmla="*/ 11 h 21"/>
                  <a:gd name="T8" fmla="*/ 7 w 24"/>
                  <a:gd name="T9" fmla="*/ 9 h 21"/>
                  <a:gd name="T10" fmla="*/ 21 w 24"/>
                  <a:gd name="T11" fmla="*/ 2 h 21"/>
                  <a:gd name="T12" fmla="*/ 0 w 24"/>
                  <a:gd name="T13" fmla="*/ 2 h 21"/>
                  <a:gd name="T14" fmla="*/ 0 w 24"/>
                  <a:gd name="T15" fmla="*/ 0 h 21"/>
                  <a:gd name="T16" fmla="*/ 24 w 24"/>
                  <a:gd name="T17" fmla="*/ 0 h 21"/>
                  <a:gd name="T18" fmla="*/ 24 w 24"/>
                  <a:gd name="T19" fmla="*/ 4 h 21"/>
                  <a:gd name="T20" fmla="*/ 11 w 24"/>
                  <a:gd name="T21" fmla="*/ 10 h 21"/>
                  <a:gd name="T22" fmla="*/ 24 w 24"/>
                  <a:gd name="T23" fmla="*/ 16 h 21"/>
                  <a:gd name="T24" fmla="*/ 24 w 24"/>
                  <a:gd name="T25" fmla="*/ 21 h 21"/>
                  <a:gd name="T26" fmla="*/ 0 w 24"/>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1">
                    <a:moveTo>
                      <a:pt x="0" y="21"/>
                    </a:moveTo>
                    <a:lnTo>
                      <a:pt x="0" y="18"/>
                    </a:lnTo>
                    <a:lnTo>
                      <a:pt x="21" y="18"/>
                    </a:lnTo>
                    <a:lnTo>
                      <a:pt x="7" y="11"/>
                    </a:lnTo>
                    <a:lnTo>
                      <a:pt x="7" y="9"/>
                    </a:lnTo>
                    <a:lnTo>
                      <a:pt x="21" y="2"/>
                    </a:lnTo>
                    <a:lnTo>
                      <a:pt x="0" y="2"/>
                    </a:lnTo>
                    <a:lnTo>
                      <a:pt x="0" y="0"/>
                    </a:lnTo>
                    <a:lnTo>
                      <a:pt x="24" y="0"/>
                    </a:lnTo>
                    <a:lnTo>
                      <a:pt x="24" y="4"/>
                    </a:lnTo>
                    <a:lnTo>
                      <a:pt x="11" y="10"/>
                    </a:lnTo>
                    <a:lnTo>
                      <a:pt x="24" y="16"/>
                    </a:lnTo>
                    <a:lnTo>
                      <a:pt x="24"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122"/>
              <p:cNvSpPr>
                <a:spLocks/>
              </p:cNvSpPr>
              <p:nvPr/>
            </p:nvSpPr>
            <p:spPr bwMode="auto">
              <a:xfrm>
                <a:off x="3942" y="2520"/>
                <a:ext cx="24" cy="16"/>
              </a:xfrm>
              <a:custGeom>
                <a:avLst/>
                <a:gdLst>
                  <a:gd name="T0" fmla="*/ 0 w 24"/>
                  <a:gd name="T1" fmla="*/ 16 h 16"/>
                  <a:gd name="T2" fmla="*/ 0 w 24"/>
                  <a:gd name="T3" fmla="*/ 0 h 16"/>
                  <a:gd name="T4" fmla="*/ 24 w 24"/>
                  <a:gd name="T5" fmla="*/ 0 h 16"/>
                  <a:gd name="T6" fmla="*/ 24 w 24"/>
                  <a:gd name="T7" fmla="*/ 16 h 16"/>
                  <a:gd name="T8" fmla="*/ 22 w 24"/>
                  <a:gd name="T9" fmla="*/ 16 h 16"/>
                  <a:gd name="T10" fmla="*/ 22 w 24"/>
                  <a:gd name="T11" fmla="*/ 4 h 16"/>
                  <a:gd name="T12" fmla="*/ 15 w 24"/>
                  <a:gd name="T13" fmla="*/ 4 h 16"/>
                  <a:gd name="T14" fmla="*/ 15 w 24"/>
                  <a:gd name="T15" fmla="*/ 16 h 16"/>
                  <a:gd name="T16" fmla="*/ 12 w 24"/>
                  <a:gd name="T17" fmla="*/ 16 h 16"/>
                  <a:gd name="T18" fmla="*/ 12 w 24"/>
                  <a:gd name="T19" fmla="*/ 4 h 16"/>
                  <a:gd name="T20" fmla="*/ 3 w 24"/>
                  <a:gd name="T21" fmla="*/ 4 h 16"/>
                  <a:gd name="T22" fmla="*/ 3 w 24"/>
                  <a:gd name="T23" fmla="*/ 16 h 16"/>
                  <a:gd name="T24" fmla="*/ 0 w 24"/>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6">
                    <a:moveTo>
                      <a:pt x="0" y="16"/>
                    </a:moveTo>
                    <a:lnTo>
                      <a:pt x="0" y="0"/>
                    </a:lnTo>
                    <a:lnTo>
                      <a:pt x="24" y="0"/>
                    </a:lnTo>
                    <a:lnTo>
                      <a:pt x="24" y="16"/>
                    </a:lnTo>
                    <a:lnTo>
                      <a:pt x="22" y="16"/>
                    </a:lnTo>
                    <a:lnTo>
                      <a:pt x="22" y="4"/>
                    </a:lnTo>
                    <a:lnTo>
                      <a:pt x="15" y="4"/>
                    </a:lnTo>
                    <a:lnTo>
                      <a:pt x="15" y="16"/>
                    </a:lnTo>
                    <a:lnTo>
                      <a:pt x="12" y="16"/>
                    </a:lnTo>
                    <a:lnTo>
                      <a:pt x="12" y="4"/>
                    </a:lnTo>
                    <a:lnTo>
                      <a:pt x="3" y="4"/>
                    </a:lnTo>
                    <a:lnTo>
                      <a:pt x="3" y="16"/>
                    </a:lnTo>
                    <a:lnTo>
                      <a:pt x="0"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123"/>
              <p:cNvSpPr>
                <a:spLocks noEditPoints="1"/>
              </p:cNvSpPr>
              <p:nvPr/>
            </p:nvSpPr>
            <p:spPr bwMode="auto">
              <a:xfrm>
                <a:off x="3942" y="2542"/>
                <a:ext cx="24" cy="19"/>
              </a:xfrm>
              <a:custGeom>
                <a:avLst/>
                <a:gdLst>
                  <a:gd name="T0" fmla="*/ 0 w 50"/>
                  <a:gd name="T1" fmla="*/ 41 h 41"/>
                  <a:gd name="T2" fmla="*/ 0 w 50"/>
                  <a:gd name="T3" fmla="*/ 33 h 41"/>
                  <a:gd name="T4" fmla="*/ 20 w 50"/>
                  <a:gd name="T5" fmla="*/ 16 h 41"/>
                  <a:gd name="T6" fmla="*/ 20 w 50"/>
                  <a:gd name="T7" fmla="*/ 6 h 41"/>
                  <a:gd name="T8" fmla="*/ 0 w 50"/>
                  <a:gd name="T9" fmla="*/ 6 h 41"/>
                  <a:gd name="T10" fmla="*/ 0 w 50"/>
                  <a:gd name="T11" fmla="*/ 0 h 41"/>
                  <a:gd name="T12" fmla="*/ 50 w 50"/>
                  <a:gd name="T13" fmla="*/ 0 h 41"/>
                  <a:gd name="T14" fmla="*/ 50 w 50"/>
                  <a:gd name="T15" fmla="*/ 14 h 41"/>
                  <a:gd name="T16" fmla="*/ 50 w 50"/>
                  <a:gd name="T17" fmla="*/ 21 h 41"/>
                  <a:gd name="T18" fmla="*/ 47 w 50"/>
                  <a:gd name="T19" fmla="*/ 27 h 41"/>
                  <a:gd name="T20" fmla="*/ 43 w 50"/>
                  <a:gd name="T21" fmla="*/ 31 h 41"/>
                  <a:gd name="T22" fmla="*/ 37 w 50"/>
                  <a:gd name="T23" fmla="*/ 33 h 41"/>
                  <a:gd name="T24" fmla="*/ 27 w 50"/>
                  <a:gd name="T25" fmla="*/ 30 h 41"/>
                  <a:gd name="T26" fmla="*/ 22 w 50"/>
                  <a:gd name="T27" fmla="*/ 22 h 41"/>
                  <a:gd name="T28" fmla="*/ 0 w 50"/>
                  <a:gd name="T29" fmla="*/ 41 h 41"/>
                  <a:gd name="T30" fmla="*/ 36 w 50"/>
                  <a:gd name="T31" fmla="*/ 26 h 41"/>
                  <a:gd name="T32" fmla="*/ 40 w 50"/>
                  <a:gd name="T33" fmla="*/ 25 h 41"/>
                  <a:gd name="T34" fmla="*/ 43 w 50"/>
                  <a:gd name="T35" fmla="*/ 22 h 41"/>
                  <a:gd name="T36" fmla="*/ 44 w 50"/>
                  <a:gd name="T37" fmla="*/ 19 h 41"/>
                  <a:gd name="T38" fmla="*/ 44 w 50"/>
                  <a:gd name="T39" fmla="*/ 14 h 41"/>
                  <a:gd name="T40" fmla="*/ 44 w 50"/>
                  <a:gd name="T41" fmla="*/ 6 h 41"/>
                  <a:gd name="T42" fmla="*/ 25 w 50"/>
                  <a:gd name="T43" fmla="*/ 6 h 41"/>
                  <a:gd name="T44" fmla="*/ 25 w 50"/>
                  <a:gd name="T45" fmla="*/ 13 h 41"/>
                  <a:gd name="T46" fmla="*/ 26 w 50"/>
                  <a:gd name="T47" fmla="*/ 19 h 41"/>
                  <a:gd name="T48" fmla="*/ 28 w 50"/>
                  <a:gd name="T49" fmla="*/ 23 h 41"/>
                  <a:gd name="T50" fmla="*/ 31 w 50"/>
                  <a:gd name="T51" fmla="*/ 25 h 41"/>
                  <a:gd name="T52" fmla="*/ 36 w 50"/>
                  <a:gd name="T5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41">
                    <a:moveTo>
                      <a:pt x="0" y="41"/>
                    </a:moveTo>
                    <a:lnTo>
                      <a:pt x="0" y="33"/>
                    </a:lnTo>
                    <a:lnTo>
                      <a:pt x="20" y="16"/>
                    </a:lnTo>
                    <a:lnTo>
                      <a:pt x="20" y="6"/>
                    </a:lnTo>
                    <a:lnTo>
                      <a:pt x="0" y="6"/>
                    </a:lnTo>
                    <a:lnTo>
                      <a:pt x="0" y="0"/>
                    </a:lnTo>
                    <a:lnTo>
                      <a:pt x="50" y="0"/>
                    </a:lnTo>
                    <a:lnTo>
                      <a:pt x="50" y="14"/>
                    </a:lnTo>
                    <a:cubicBezTo>
                      <a:pt x="50" y="17"/>
                      <a:pt x="50" y="19"/>
                      <a:pt x="50" y="21"/>
                    </a:cubicBezTo>
                    <a:cubicBezTo>
                      <a:pt x="49" y="23"/>
                      <a:pt x="48" y="25"/>
                      <a:pt x="47" y="27"/>
                    </a:cubicBezTo>
                    <a:cubicBezTo>
                      <a:pt x="46" y="29"/>
                      <a:pt x="45" y="30"/>
                      <a:pt x="43" y="31"/>
                    </a:cubicBezTo>
                    <a:cubicBezTo>
                      <a:pt x="41" y="32"/>
                      <a:pt x="39" y="33"/>
                      <a:pt x="37" y="33"/>
                    </a:cubicBezTo>
                    <a:cubicBezTo>
                      <a:pt x="33" y="33"/>
                      <a:pt x="30" y="32"/>
                      <a:pt x="27" y="30"/>
                    </a:cubicBezTo>
                    <a:cubicBezTo>
                      <a:pt x="25" y="28"/>
                      <a:pt x="23" y="26"/>
                      <a:pt x="22" y="22"/>
                    </a:cubicBezTo>
                    <a:lnTo>
                      <a:pt x="0" y="41"/>
                    </a:lnTo>
                    <a:close/>
                    <a:moveTo>
                      <a:pt x="36" y="26"/>
                    </a:moveTo>
                    <a:cubicBezTo>
                      <a:pt x="37" y="26"/>
                      <a:pt x="39" y="25"/>
                      <a:pt x="40" y="25"/>
                    </a:cubicBezTo>
                    <a:cubicBezTo>
                      <a:pt x="41" y="24"/>
                      <a:pt x="42" y="24"/>
                      <a:pt x="43" y="22"/>
                    </a:cubicBezTo>
                    <a:cubicBezTo>
                      <a:pt x="43" y="21"/>
                      <a:pt x="44" y="20"/>
                      <a:pt x="44" y="19"/>
                    </a:cubicBezTo>
                    <a:cubicBezTo>
                      <a:pt x="44" y="18"/>
                      <a:pt x="44" y="16"/>
                      <a:pt x="44" y="14"/>
                    </a:cubicBezTo>
                    <a:lnTo>
                      <a:pt x="44" y="6"/>
                    </a:lnTo>
                    <a:lnTo>
                      <a:pt x="25" y="6"/>
                    </a:lnTo>
                    <a:lnTo>
                      <a:pt x="25" y="13"/>
                    </a:lnTo>
                    <a:cubicBezTo>
                      <a:pt x="25" y="15"/>
                      <a:pt x="26" y="17"/>
                      <a:pt x="26" y="19"/>
                    </a:cubicBezTo>
                    <a:cubicBezTo>
                      <a:pt x="26" y="20"/>
                      <a:pt x="27" y="22"/>
                      <a:pt x="28" y="23"/>
                    </a:cubicBezTo>
                    <a:cubicBezTo>
                      <a:pt x="29" y="24"/>
                      <a:pt x="30" y="24"/>
                      <a:pt x="31" y="25"/>
                    </a:cubicBezTo>
                    <a:cubicBezTo>
                      <a:pt x="33" y="25"/>
                      <a:pt x="34" y="26"/>
                      <a:pt x="36" y="2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124"/>
              <p:cNvSpPr>
                <a:spLocks noEditPoints="1"/>
              </p:cNvSpPr>
              <p:nvPr/>
            </p:nvSpPr>
            <p:spPr bwMode="auto">
              <a:xfrm>
                <a:off x="3942" y="2562"/>
                <a:ext cx="24" cy="21"/>
              </a:xfrm>
              <a:custGeom>
                <a:avLst/>
                <a:gdLst>
                  <a:gd name="T0" fmla="*/ 0 w 50"/>
                  <a:gd name="T1" fmla="*/ 45 h 45"/>
                  <a:gd name="T2" fmla="*/ 0 w 50"/>
                  <a:gd name="T3" fmla="*/ 38 h 45"/>
                  <a:gd name="T4" fmla="*/ 14 w 50"/>
                  <a:gd name="T5" fmla="*/ 33 h 45"/>
                  <a:gd name="T6" fmla="*/ 14 w 50"/>
                  <a:gd name="T7" fmla="*/ 12 h 45"/>
                  <a:gd name="T8" fmla="*/ 0 w 50"/>
                  <a:gd name="T9" fmla="*/ 7 h 45"/>
                  <a:gd name="T10" fmla="*/ 0 w 50"/>
                  <a:gd name="T11" fmla="*/ 0 h 45"/>
                  <a:gd name="T12" fmla="*/ 50 w 50"/>
                  <a:gd name="T13" fmla="*/ 18 h 45"/>
                  <a:gd name="T14" fmla="*/ 50 w 50"/>
                  <a:gd name="T15" fmla="*/ 27 h 45"/>
                  <a:gd name="T16" fmla="*/ 0 w 50"/>
                  <a:gd name="T17" fmla="*/ 45 h 45"/>
                  <a:gd name="T18" fmla="*/ 20 w 50"/>
                  <a:gd name="T19" fmla="*/ 31 h 45"/>
                  <a:gd name="T20" fmla="*/ 44 w 50"/>
                  <a:gd name="T21" fmla="*/ 23 h 45"/>
                  <a:gd name="T22" fmla="*/ 20 w 50"/>
                  <a:gd name="T23" fmla="*/ 14 h 45"/>
                  <a:gd name="T24" fmla="*/ 20 w 50"/>
                  <a:gd name="T25"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0" y="45"/>
                    </a:moveTo>
                    <a:lnTo>
                      <a:pt x="0" y="38"/>
                    </a:lnTo>
                    <a:lnTo>
                      <a:pt x="14" y="33"/>
                    </a:lnTo>
                    <a:lnTo>
                      <a:pt x="14" y="12"/>
                    </a:lnTo>
                    <a:lnTo>
                      <a:pt x="0" y="7"/>
                    </a:lnTo>
                    <a:lnTo>
                      <a:pt x="0" y="0"/>
                    </a:lnTo>
                    <a:lnTo>
                      <a:pt x="50" y="18"/>
                    </a:lnTo>
                    <a:lnTo>
                      <a:pt x="50" y="27"/>
                    </a:lnTo>
                    <a:lnTo>
                      <a:pt x="0" y="45"/>
                    </a:lnTo>
                    <a:close/>
                    <a:moveTo>
                      <a:pt x="20" y="31"/>
                    </a:moveTo>
                    <a:lnTo>
                      <a:pt x="44" y="23"/>
                    </a:lnTo>
                    <a:lnTo>
                      <a:pt x="20" y="14"/>
                    </a:lnTo>
                    <a:lnTo>
                      <a:pt x="20"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125"/>
              <p:cNvSpPr>
                <a:spLocks/>
              </p:cNvSpPr>
              <p:nvPr/>
            </p:nvSpPr>
            <p:spPr bwMode="auto">
              <a:xfrm>
                <a:off x="3936" y="2586"/>
                <a:ext cx="31" cy="10"/>
              </a:xfrm>
              <a:custGeom>
                <a:avLst/>
                <a:gdLst>
                  <a:gd name="T0" fmla="*/ 33 w 66"/>
                  <a:gd name="T1" fmla="*/ 21 h 21"/>
                  <a:gd name="T2" fmla="*/ 15 w 66"/>
                  <a:gd name="T3" fmla="*/ 17 h 21"/>
                  <a:gd name="T4" fmla="*/ 0 w 66"/>
                  <a:gd name="T5" fmla="*/ 8 h 21"/>
                  <a:gd name="T6" fmla="*/ 0 w 66"/>
                  <a:gd name="T7" fmla="*/ 0 h 21"/>
                  <a:gd name="T8" fmla="*/ 0 w 66"/>
                  <a:gd name="T9" fmla="*/ 0 h 21"/>
                  <a:gd name="T10" fmla="*/ 6 w 66"/>
                  <a:gd name="T11" fmla="*/ 6 h 21"/>
                  <a:gd name="T12" fmla="*/ 14 w 66"/>
                  <a:gd name="T13" fmla="*/ 10 h 21"/>
                  <a:gd name="T14" fmla="*/ 23 w 66"/>
                  <a:gd name="T15" fmla="*/ 13 h 21"/>
                  <a:gd name="T16" fmla="*/ 33 w 66"/>
                  <a:gd name="T17" fmla="*/ 15 h 21"/>
                  <a:gd name="T18" fmla="*/ 44 w 66"/>
                  <a:gd name="T19" fmla="*/ 13 h 21"/>
                  <a:gd name="T20" fmla="*/ 53 w 66"/>
                  <a:gd name="T21" fmla="*/ 10 h 21"/>
                  <a:gd name="T22" fmla="*/ 60 w 66"/>
                  <a:gd name="T23" fmla="*/ 6 h 21"/>
                  <a:gd name="T24" fmla="*/ 66 w 66"/>
                  <a:gd name="T25" fmla="*/ 0 h 21"/>
                  <a:gd name="T26" fmla="*/ 66 w 66"/>
                  <a:gd name="T27" fmla="*/ 0 h 21"/>
                  <a:gd name="T28" fmla="*/ 66 w 66"/>
                  <a:gd name="T29" fmla="*/ 8 h 21"/>
                  <a:gd name="T30" fmla="*/ 51 w 66"/>
                  <a:gd name="T31" fmla="*/ 17 h 21"/>
                  <a:gd name="T32" fmla="*/ 33 w 6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3" y="21"/>
                    </a:moveTo>
                    <a:cubicBezTo>
                      <a:pt x="26" y="21"/>
                      <a:pt x="20" y="20"/>
                      <a:pt x="15" y="17"/>
                    </a:cubicBezTo>
                    <a:cubicBezTo>
                      <a:pt x="10" y="15"/>
                      <a:pt x="5" y="12"/>
                      <a:pt x="0" y="8"/>
                    </a:cubicBezTo>
                    <a:lnTo>
                      <a:pt x="0" y="0"/>
                    </a:lnTo>
                    <a:lnTo>
                      <a:pt x="0" y="0"/>
                    </a:lnTo>
                    <a:cubicBezTo>
                      <a:pt x="2" y="2"/>
                      <a:pt x="4" y="4"/>
                      <a:pt x="6" y="6"/>
                    </a:cubicBezTo>
                    <a:cubicBezTo>
                      <a:pt x="8" y="7"/>
                      <a:pt x="11" y="9"/>
                      <a:pt x="14" y="10"/>
                    </a:cubicBezTo>
                    <a:cubicBezTo>
                      <a:pt x="16" y="12"/>
                      <a:pt x="19" y="13"/>
                      <a:pt x="23" y="13"/>
                    </a:cubicBezTo>
                    <a:cubicBezTo>
                      <a:pt x="26" y="14"/>
                      <a:pt x="29" y="15"/>
                      <a:pt x="33" y="15"/>
                    </a:cubicBezTo>
                    <a:cubicBezTo>
                      <a:pt x="37" y="15"/>
                      <a:pt x="40" y="14"/>
                      <a:pt x="44" y="13"/>
                    </a:cubicBezTo>
                    <a:cubicBezTo>
                      <a:pt x="47" y="13"/>
                      <a:pt x="50" y="12"/>
                      <a:pt x="53" y="10"/>
                    </a:cubicBezTo>
                    <a:cubicBezTo>
                      <a:pt x="56" y="9"/>
                      <a:pt x="58" y="7"/>
                      <a:pt x="60" y="6"/>
                    </a:cubicBezTo>
                    <a:cubicBezTo>
                      <a:pt x="63" y="4"/>
                      <a:pt x="64" y="2"/>
                      <a:pt x="66" y="0"/>
                    </a:cubicBezTo>
                    <a:lnTo>
                      <a:pt x="66" y="0"/>
                    </a:lnTo>
                    <a:lnTo>
                      <a:pt x="66" y="8"/>
                    </a:lnTo>
                    <a:cubicBezTo>
                      <a:pt x="62" y="12"/>
                      <a:pt x="57" y="15"/>
                      <a:pt x="51" y="17"/>
                    </a:cubicBezTo>
                    <a:cubicBezTo>
                      <a:pt x="46" y="20"/>
                      <a:pt x="40" y="21"/>
                      <a:pt x="33" y="2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126"/>
              <p:cNvSpPr>
                <a:spLocks noChangeArrowheads="1"/>
              </p:cNvSpPr>
              <p:nvPr/>
            </p:nvSpPr>
            <p:spPr bwMode="auto">
              <a:xfrm>
                <a:off x="368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Rectangle 127"/>
              <p:cNvSpPr>
                <a:spLocks noChangeArrowheads="1"/>
              </p:cNvSpPr>
              <p:nvPr/>
            </p:nvSpPr>
            <p:spPr bwMode="auto">
              <a:xfrm>
                <a:off x="367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0" name="Rectangle 128"/>
              <p:cNvSpPr>
                <a:spLocks noChangeArrowheads="1"/>
              </p:cNvSpPr>
              <p:nvPr/>
            </p:nvSpPr>
            <p:spPr bwMode="auto">
              <a:xfrm>
                <a:off x="366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1" name="Rectangle 129"/>
              <p:cNvSpPr>
                <a:spLocks noChangeArrowheads="1"/>
              </p:cNvSpPr>
              <p:nvPr/>
            </p:nvSpPr>
            <p:spPr bwMode="auto">
              <a:xfrm>
                <a:off x="365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130"/>
              <p:cNvSpPr>
                <a:spLocks noChangeArrowheads="1"/>
              </p:cNvSpPr>
              <p:nvPr/>
            </p:nvSpPr>
            <p:spPr bwMode="auto">
              <a:xfrm>
                <a:off x="3643"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Rectangle 131"/>
              <p:cNvSpPr>
                <a:spLocks noChangeArrowheads="1"/>
              </p:cNvSpPr>
              <p:nvPr/>
            </p:nvSpPr>
            <p:spPr bwMode="auto">
              <a:xfrm>
                <a:off x="363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2"/>
              <p:cNvSpPr>
                <a:spLocks noChangeArrowheads="1"/>
              </p:cNvSpPr>
              <p:nvPr/>
            </p:nvSpPr>
            <p:spPr bwMode="auto">
              <a:xfrm>
                <a:off x="362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Rectangle 133"/>
              <p:cNvSpPr>
                <a:spLocks noChangeArrowheads="1"/>
              </p:cNvSpPr>
              <p:nvPr/>
            </p:nvSpPr>
            <p:spPr bwMode="auto">
              <a:xfrm>
                <a:off x="361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
              <p:cNvSpPr>
                <a:spLocks noChangeArrowheads="1"/>
              </p:cNvSpPr>
              <p:nvPr/>
            </p:nvSpPr>
            <p:spPr bwMode="auto">
              <a:xfrm>
                <a:off x="360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5"/>
              <p:cNvSpPr>
                <a:spLocks noChangeArrowheads="1"/>
              </p:cNvSpPr>
              <p:nvPr/>
            </p:nvSpPr>
            <p:spPr bwMode="auto">
              <a:xfrm>
                <a:off x="3595"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6"/>
              <p:cNvSpPr>
                <a:spLocks noChangeArrowheads="1"/>
              </p:cNvSpPr>
              <p:nvPr/>
            </p:nvSpPr>
            <p:spPr bwMode="auto">
              <a:xfrm>
                <a:off x="358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7"/>
              <p:cNvSpPr>
                <a:spLocks noChangeArrowheads="1"/>
              </p:cNvSpPr>
              <p:nvPr/>
            </p:nvSpPr>
            <p:spPr bwMode="auto">
              <a:xfrm>
                <a:off x="357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8"/>
              <p:cNvSpPr>
                <a:spLocks noChangeArrowheads="1"/>
              </p:cNvSpPr>
              <p:nvPr/>
            </p:nvSpPr>
            <p:spPr bwMode="auto">
              <a:xfrm>
                <a:off x="356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9"/>
              <p:cNvSpPr>
                <a:spLocks noChangeArrowheads="1"/>
              </p:cNvSpPr>
              <p:nvPr/>
            </p:nvSpPr>
            <p:spPr bwMode="auto">
              <a:xfrm>
                <a:off x="355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40"/>
              <p:cNvSpPr>
                <a:spLocks noChangeArrowheads="1"/>
              </p:cNvSpPr>
              <p:nvPr/>
            </p:nvSpPr>
            <p:spPr bwMode="auto">
              <a:xfrm>
                <a:off x="354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41"/>
              <p:cNvSpPr>
                <a:spLocks noChangeArrowheads="1"/>
              </p:cNvSpPr>
              <p:nvPr/>
            </p:nvSpPr>
            <p:spPr bwMode="auto">
              <a:xfrm>
                <a:off x="353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42"/>
              <p:cNvSpPr>
                <a:spLocks noChangeArrowheads="1"/>
              </p:cNvSpPr>
              <p:nvPr/>
            </p:nvSpPr>
            <p:spPr bwMode="auto">
              <a:xfrm>
                <a:off x="3527"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43"/>
              <p:cNvSpPr>
                <a:spLocks noChangeArrowheads="1"/>
              </p:cNvSpPr>
              <p:nvPr/>
            </p:nvSpPr>
            <p:spPr bwMode="auto">
              <a:xfrm>
                <a:off x="351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Rectangle 144"/>
              <p:cNvSpPr>
                <a:spLocks noChangeArrowheads="1"/>
              </p:cNvSpPr>
              <p:nvPr/>
            </p:nvSpPr>
            <p:spPr bwMode="auto">
              <a:xfrm>
                <a:off x="350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7" name="Rectangle 145"/>
              <p:cNvSpPr>
                <a:spLocks noChangeArrowheads="1"/>
              </p:cNvSpPr>
              <p:nvPr/>
            </p:nvSpPr>
            <p:spPr bwMode="auto">
              <a:xfrm>
                <a:off x="349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8" name="Rectangle 146"/>
              <p:cNvSpPr>
                <a:spLocks noChangeArrowheads="1"/>
              </p:cNvSpPr>
              <p:nvPr/>
            </p:nvSpPr>
            <p:spPr bwMode="auto">
              <a:xfrm>
                <a:off x="348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9" name="Rectangle 147"/>
              <p:cNvSpPr>
                <a:spLocks noChangeArrowheads="1"/>
              </p:cNvSpPr>
              <p:nvPr/>
            </p:nvSpPr>
            <p:spPr bwMode="auto">
              <a:xfrm>
                <a:off x="3479"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0" name="Rectangle 148"/>
              <p:cNvSpPr>
                <a:spLocks noChangeArrowheads="1"/>
              </p:cNvSpPr>
              <p:nvPr/>
            </p:nvSpPr>
            <p:spPr bwMode="auto">
              <a:xfrm>
                <a:off x="3470"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49"/>
              <p:cNvSpPr>
                <a:spLocks noChangeArrowheads="1"/>
              </p:cNvSpPr>
              <p:nvPr/>
            </p:nvSpPr>
            <p:spPr bwMode="auto">
              <a:xfrm>
                <a:off x="368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367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51"/>
              <p:cNvSpPr>
                <a:spLocks noChangeArrowheads="1"/>
              </p:cNvSpPr>
              <p:nvPr/>
            </p:nvSpPr>
            <p:spPr bwMode="auto">
              <a:xfrm>
                <a:off x="366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52"/>
              <p:cNvSpPr>
                <a:spLocks noChangeArrowheads="1"/>
              </p:cNvSpPr>
              <p:nvPr/>
            </p:nvSpPr>
            <p:spPr bwMode="auto">
              <a:xfrm>
                <a:off x="365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53"/>
              <p:cNvSpPr>
                <a:spLocks noChangeArrowheads="1"/>
              </p:cNvSpPr>
              <p:nvPr/>
            </p:nvSpPr>
            <p:spPr bwMode="auto">
              <a:xfrm>
                <a:off x="3643"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54"/>
              <p:cNvSpPr>
                <a:spLocks noChangeArrowheads="1"/>
              </p:cNvSpPr>
              <p:nvPr/>
            </p:nvSpPr>
            <p:spPr bwMode="auto">
              <a:xfrm>
                <a:off x="363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362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8" name="Rectangle 156"/>
              <p:cNvSpPr>
                <a:spLocks noChangeArrowheads="1"/>
              </p:cNvSpPr>
              <p:nvPr/>
            </p:nvSpPr>
            <p:spPr bwMode="auto">
              <a:xfrm>
                <a:off x="361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Rectangle 157"/>
              <p:cNvSpPr>
                <a:spLocks noChangeArrowheads="1"/>
              </p:cNvSpPr>
              <p:nvPr/>
            </p:nvSpPr>
            <p:spPr bwMode="auto">
              <a:xfrm>
                <a:off x="360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Rectangle 158"/>
              <p:cNvSpPr>
                <a:spLocks noChangeArrowheads="1"/>
              </p:cNvSpPr>
              <p:nvPr/>
            </p:nvSpPr>
            <p:spPr bwMode="auto">
              <a:xfrm>
                <a:off x="3595"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59"/>
              <p:cNvSpPr>
                <a:spLocks noChangeArrowheads="1"/>
              </p:cNvSpPr>
              <p:nvPr/>
            </p:nvSpPr>
            <p:spPr bwMode="auto">
              <a:xfrm>
                <a:off x="358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60"/>
              <p:cNvSpPr>
                <a:spLocks noChangeArrowheads="1"/>
              </p:cNvSpPr>
              <p:nvPr/>
            </p:nvSpPr>
            <p:spPr bwMode="auto">
              <a:xfrm>
                <a:off x="357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356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62"/>
              <p:cNvSpPr>
                <a:spLocks noChangeArrowheads="1"/>
              </p:cNvSpPr>
              <p:nvPr/>
            </p:nvSpPr>
            <p:spPr bwMode="auto">
              <a:xfrm>
                <a:off x="355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63"/>
              <p:cNvSpPr>
                <a:spLocks noChangeArrowheads="1"/>
              </p:cNvSpPr>
              <p:nvPr/>
            </p:nvSpPr>
            <p:spPr bwMode="auto">
              <a:xfrm>
                <a:off x="354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Rectangle 164"/>
              <p:cNvSpPr>
                <a:spLocks noChangeArrowheads="1"/>
              </p:cNvSpPr>
              <p:nvPr/>
            </p:nvSpPr>
            <p:spPr bwMode="auto">
              <a:xfrm>
                <a:off x="353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7" name="Rectangle 165"/>
              <p:cNvSpPr>
                <a:spLocks noChangeArrowheads="1"/>
              </p:cNvSpPr>
              <p:nvPr/>
            </p:nvSpPr>
            <p:spPr bwMode="auto">
              <a:xfrm>
                <a:off x="3527"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351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67"/>
              <p:cNvSpPr>
                <a:spLocks noChangeArrowheads="1"/>
              </p:cNvSpPr>
              <p:nvPr/>
            </p:nvSpPr>
            <p:spPr bwMode="auto">
              <a:xfrm>
                <a:off x="350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68"/>
              <p:cNvSpPr>
                <a:spLocks noChangeArrowheads="1"/>
              </p:cNvSpPr>
              <p:nvPr/>
            </p:nvSpPr>
            <p:spPr bwMode="auto">
              <a:xfrm>
                <a:off x="349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69"/>
              <p:cNvSpPr>
                <a:spLocks noChangeArrowheads="1"/>
              </p:cNvSpPr>
              <p:nvPr/>
            </p:nvSpPr>
            <p:spPr bwMode="auto">
              <a:xfrm>
                <a:off x="348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Rectangle 170"/>
              <p:cNvSpPr>
                <a:spLocks noChangeArrowheads="1"/>
              </p:cNvSpPr>
              <p:nvPr/>
            </p:nvSpPr>
            <p:spPr bwMode="auto">
              <a:xfrm>
                <a:off x="3479"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3" name="Rectangle 171"/>
              <p:cNvSpPr>
                <a:spLocks noChangeArrowheads="1"/>
              </p:cNvSpPr>
              <p:nvPr/>
            </p:nvSpPr>
            <p:spPr bwMode="auto">
              <a:xfrm>
                <a:off x="3470"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72"/>
              <p:cNvSpPr>
                <a:spLocks/>
              </p:cNvSpPr>
              <p:nvPr/>
            </p:nvSpPr>
            <p:spPr bwMode="auto">
              <a:xfrm>
                <a:off x="3396" y="2553"/>
                <a:ext cx="366" cy="263"/>
              </a:xfrm>
              <a:custGeom>
                <a:avLst/>
                <a:gdLst>
                  <a:gd name="T0" fmla="*/ 28 w 761"/>
                  <a:gd name="T1" fmla="*/ 549 h 549"/>
                  <a:gd name="T2" fmla="*/ 0 w 761"/>
                  <a:gd name="T3" fmla="*/ 521 h 549"/>
                  <a:gd name="T4" fmla="*/ 0 w 761"/>
                  <a:gd name="T5" fmla="*/ 28 h 549"/>
                  <a:gd name="T6" fmla="*/ 28 w 761"/>
                  <a:gd name="T7" fmla="*/ 0 h 549"/>
                  <a:gd name="T8" fmla="*/ 733 w 761"/>
                  <a:gd name="T9" fmla="*/ 0 h 549"/>
                  <a:gd name="T10" fmla="*/ 761 w 761"/>
                  <a:gd name="T11" fmla="*/ 28 h 549"/>
                  <a:gd name="T12" fmla="*/ 761 w 761"/>
                  <a:gd name="T13" fmla="*/ 521 h 549"/>
                  <a:gd name="T14" fmla="*/ 733 w 761"/>
                  <a:gd name="T15" fmla="*/ 549 h 549"/>
                  <a:gd name="T16" fmla="*/ 28 w 761"/>
                  <a:gd name="T17"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549">
                    <a:moveTo>
                      <a:pt x="28" y="549"/>
                    </a:moveTo>
                    <a:cubicBezTo>
                      <a:pt x="12" y="549"/>
                      <a:pt x="0" y="536"/>
                      <a:pt x="0" y="521"/>
                    </a:cubicBezTo>
                    <a:lnTo>
                      <a:pt x="0" y="28"/>
                    </a:lnTo>
                    <a:cubicBezTo>
                      <a:pt x="0" y="12"/>
                      <a:pt x="12" y="0"/>
                      <a:pt x="28" y="0"/>
                    </a:cubicBezTo>
                    <a:lnTo>
                      <a:pt x="733" y="0"/>
                    </a:lnTo>
                    <a:cubicBezTo>
                      <a:pt x="749" y="0"/>
                      <a:pt x="761" y="12"/>
                      <a:pt x="761" y="28"/>
                    </a:cubicBezTo>
                    <a:lnTo>
                      <a:pt x="761" y="521"/>
                    </a:lnTo>
                    <a:cubicBezTo>
                      <a:pt x="761" y="536"/>
                      <a:pt x="749" y="549"/>
                      <a:pt x="733" y="549"/>
                    </a:cubicBezTo>
                    <a:lnTo>
                      <a:pt x="28" y="549"/>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73"/>
              <p:cNvSpPr>
                <a:spLocks/>
              </p:cNvSpPr>
              <p:nvPr/>
            </p:nvSpPr>
            <p:spPr bwMode="auto">
              <a:xfrm>
                <a:off x="3396" y="2553"/>
                <a:ext cx="366" cy="16"/>
              </a:xfrm>
              <a:custGeom>
                <a:avLst/>
                <a:gdLst>
                  <a:gd name="T0" fmla="*/ 761 w 761"/>
                  <a:gd name="T1" fmla="*/ 35 h 35"/>
                  <a:gd name="T2" fmla="*/ 733 w 761"/>
                  <a:gd name="T3" fmla="*/ 7 h 35"/>
                  <a:gd name="T4" fmla="*/ 28 w 761"/>
                  <a:gd name="T5" fmla="*/ 7 h 35"/>
                  <a:gd name="T6" fmla="*/ 0 w 761"/>
                  <a:gd name="T7" fmla="*/ 35 h 35"/>
                  <a:gd name="T8" fmla="*/ 0 w 761"/>
                  <a:gd name="T9" fmla="*/ 28 h 35"/>
                  <a:gd name="T10" fmla="*/ 28 w 761"/>
                  <a:gd name="T11" fmla="*/ 0 h 35"/>
                  <a:gd name="T12" fmla="*/ 733 w 761"/>
                  <a:gd name="T13" fmla="*/ 0 h 35"/>
                  <a:gd name="T14" fmla="*/ 761 w 761"/>
                  <a:gd name="T15" fmla="*/ 28 h 35"/>
                  <a:gd name="T16" fmla="*/ 761 w 761"/>
                  <a:gd name="T17" fmla="*/ 35 h 35"/>
                  <a:gd name="T18" fmla="*/ 761 w 761"/>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1" h="35">
                    <a:moveTo>
                      <a:pt x="761" y="35"/>
                    </a:moveTo>
                    <a:cubicBezTo>
                      <a:pt x="761" y="19"/>
                      <a:pt x="749" y="7"/>
                      <a:pt x="733" y="7"/>
                    </a:cubicBezTo>
                    <a:lnTo>
                      <a:pt x="28" y="7"/>
                    </a:lnTo>
                    <a:cubicBezTo>
                      <a:pt x="12" y="7"/>
                      <a:pt x="0" y="19"/>
                      <a:pt x="0" y="35"/>
                    </a:cubicBezTo>
                    <a:lnTo>
                      <a:pt x="0" y="28"/>
                    </a:lnTo>
                    <a:cubicBezTo>
                      <a:pt x="0" y="12"/>
                      <a:pt x="12" y="0"/>
                      <a:pt x="28" y="0"/>
                    </a:cubicBezTo>
                    <a:lnTo>
                      <a:pt x="733" y="0"/>
                    </a:lnTo>
                    <a:cubicBezTo>
                      <a:pt x="749" y="0"/>
                      <a:pt x="761" y="12"/>
                      <a:pt x="761" y="28"/>
                    </a:cubicBezTo>
                    <a:lnTo>
                      <a:pt x="761" y="35"/>
                    </a:lnTo>
                    <a:lnTo>
                      <a:pt x="761" y="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Rectangle 174"/>
              <p:cNvSpPr>
                <a:spLocks noChangeArrowheads="1"/>
              </p:cNvSpPr>
              <p:nvPr/>
            </p:nvSpPr>
            <p:spPr bwMode="auto">
              <a:xfrm>
                <a:off x="3396" y="2635"/>
                <a:ext cx="366" cy="181"/>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75"/>
              <p:cNvSpPr>
                <a:spLocks noEditPoints="1"/>
              </p:cNvSpPr>
              <p:nvPr/>
            </p:nvSpPr>
            <p:spPr bwMode="auto">
              <a:xfrm>
                <a:off x="3396" y="2552"/>
                <a:ext cx="366" cy="266"/>
              </a:xfrm>
              <a:custGeom>
                <a:avLst/>
                <a:gdLst>
                  <a:gd name="T0" fmla="*/ 123 w 761"/>
                  <a:gd name="T1" fmla="*/ 0 h 553"/>
                  <a:gd name="T2" fmla="*/ 0 w 761"/>
                  <a:gd name="T3" fmla="*/ 94 h 553"/>
                  <a:gd name="T4" fmla="*/ 0 w 761"/>
                  <a:gd name="T5" fmla="*/ 553 h 553"/>
                  <a:gd name="T6" fmla="*/ 729 w 761"/>
                  <a:gd name="T7" fmla="*/ 553 h 553"/>
                  <a:gd name="T8" fmla="*/ 761 w 761"/>
                  <a:gd name="T9" fmla="*/ 534 h 553"/>
                  <a:gd name="T10" fmla="*/ 638 w 761"/>
                  <a:gd name="T11" fmla="*/ 94 h 553"/>
                  <a:gd name="T12" fmla="*/ 639 w 761"/>
                  <a:gd name="T13" fmla="*/ 0 h 553"/>
                  <a:gd name="T14" fmla="*/ 255 w 761"/>
                  <a:gd name="T15" fmla="*/ 507 h 553"/>
                  <a:gd name="T16" fmla="*/ 214 w 761"/>
                  <a:gd name="T17" fmla="*/ 258 h 553"/>
                  <a:gd name="T18" fmla="*/ 180 w 761"/>
                  <a:gd name="T19" fmla="*/ 251 h 553"/>
                  <a:gd name="T20" fmla="*/ 139 w 761"/>
                  <a:gd name="T21" fmla="*/ 499 h 553"/>
                  <a:gd name="T22" fmla="*/ 119 w 761"/>
                  <a:gd name="T23" fmla="*/ 507 h 553"/>
                  <a:gd name="T24" fmla="*/ 149 w 761"/>
                  <a:gd name="T25" fmla="*/ 213 h 553"/>
                  <a:gd name="T26" fmla="*/ 222 w 761"/>
                  <a:gd name="T27" fmla="*/ 205 h 553"/>
                  <a:gd name="T28" fmla="*/ 273 w 761"/>
                  <a:gd name="T29" fmla="*/ 499 h 553"/>
                  <a:gd name="T30" fmla="*/ 305 w 761"/>
                  <a:gd name="T31" fmla="*/ 159 h 553"/>
                  <a:gd name="T32" fmla="*/ 328 w 761"/>
                  <a:gd name="T33" fmla="*/ 169 h 553"/>
                  <a:gd name="T34" fmla="*/ 373 w 761"/>
                  <a:gd name="T35" fmla="*/ 481 h 553"/>
                  <a:gd name="T36" fmla="*/ 412 w 761"/>
                  <a:gd name="T37" fmla="*/ 471 h 553"/>
                  <a:gd name="T38" fmla="*/ 457 w 761"/>
                  <a:gd name="T39" fmla="*/ 159 h 553"/>
                  <a:gd name="T40" fmla="*/ 478 w 761"/>
                  <a:gd name="T41" fmla="*/ 169 h 553"/>
                  <a:gd name="T42" fmla="*/ 423 w 761"/>
                  <a:gd name="T43" fmla="*/ 512 h 553"/>
                  <a:gd name="T44" fmla="*/ 341 w 761"/>
                  <a:gd name="T45" fmla="*/ 502 h 553"/>
                  <a:gd name="T46" fmla="*/ 305 w 761"/>
                  <a:gd name="T47" fmla="*/ 159 h 553"/>
                  <a:gd name="T48" fmla="*/ 633 w 761"/>
                  <a:gd name="T49" fmla="*/ 507 h 553"/>
                  <a:gd name="T50" fmla="*/ 593 w 761"/>
                  <a:gd name="T51" fmla="*/ 258 h 553"/>
                  <a:gd name="T52" fmla="*/ 558 w 761"/>
                  <a:gd name="T53" fmla="*/ 251 h 553"/>
                  <a:gd name="T54" fmla="*/ 518 w 761"/>
                  <a:gd name="T55" fmla="*/ 499 h 553"/>
                  <a:gd name="T56" fmla="*/ 497 w 761"/>
                  <a:gd name="T57" fmla="*/ 507 h 553"/>
                  <a:gd name="T58" fmla="*/ 528 w 761"/>
                  <a:gd name="T59" fmla="*/ 213 h 553"/>
                  <a:gd name="T60" fmla="*/ 601 w 761"/>
                  <a:gd name="T61" fmla="*/ 205 h 553"/>
                  <a:gd name="T62" fmla="*/ 651 w 761"/>
                  <a:gd name="T63" fmla="*/ 49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1" h="553">
                    <a:moveTo>
                      <a:pt x="639" y="0"/>
                    </a:moveTo>
                    <a:lnTo>
                      <a:pt x="123" y="0"/>
                    </a:lnTo>
                    <a:lnTo>
                      <a:pt x="123" y="94"/>
                    </a:lnTo>
                    <a:lnTo>
                      <a:pt x="0" y="94"/>
                    </a:lnTo>
                    <a:lnTo>
                      <a:pt x="0" y="534"/>
                    </a:lnTo>
                    <a:lnTo>
                      <a:pt x="0" y="553"/>
                    </a:lnTo>
                    <a:lnTo>
                      <a:pt x="32" y="553"/>
                    </a:lnTo>
                    <a:lnTo>
                      <a:pt x="729" y="553"/>
                    </a:lnTo>
                    <a:lnTo>
                      <a:pt x="761" y="553"/>
                    </a:lnTo>
                    <a:lnTo>
                      <a:pt x="761" y="534"/>
                    </a:lnTo>
                    <a:lnTo>
                      <a:pt x="761" y="94"/>
                    </a:lnTo>
                    <a:lnTo>
                      <a:pt x="638" y="94"/>
                    </a:lnTo>
                    <a:lnTo>
                      <a:pt x="639" y="0"/>
                    </a:lnTo>
                    <a:lnTo>
                      <a:pt x="639" y="0"/>
                    </a:lnTo>
                    <a:close/>
                    <a:moveTo>
                      <a:pt x="264" y="507"/>
                    </a:moveTo>
                    <a:lnTo>
                      <a:pt x="255" y="507"/>
                    </a:lnTo>
                    <a:cubicBezTo>
                      <a:pt x="249" y="507"/>
                      <a:pt x="244" y="503"/>
                      <a:pt x="243" y="499"/>
                    </a:cubicBezTo>
                    <a:lnTo>
                      <a:pt x="214" y="258"/>
                    </a:lnTo>
                    <a:cubicBezTo>
                      <a:pt x="213" y="254"/>
                      <a:pt x="209" y="251"/>
                      <a:pt x="203" y="251"/>
                    </a:cubicBezTo>
                    <a:lnTo>
                      <a:pt x="180" y="251"/>
                    </a:lnTo>
                    <a:cubicBezTo>
                      <a:pt x="174" y="251"/>
                      <a:pt x="169" y="254"/>
                      <a:pt x="168" y="258"/>
                    </a:cubicBezTo>
                    <a:lnTo>
                      <a:pt x="139" y="499"/>
                    </a:lnTo>
                    <a:cubicBezTo>
                      <a:pt x="138" y="503"/>
                      <a:pt x="134" y="507"/>
                      <a:pt x="128" y="507"/>
                    </a:cubicBezTo>
                    <a:lnTo>
                      <a:pt x="119" y="507"/>
                    </a:lnTo>
                    <a:cubicBezTo>
                      <a:pt x="113" y="507"/>
                      <a:pt x="109" y="503"/>
                      <a:pt x="110" y="499"/>
                    </a:cubicBezTo>
                    <a:lnTo>
                      <a:pt x="149" y="213"/>
                    </a:lnTo>
                    <a:cubicBezTo>
                      <a:pt x="150" y="209"/>
                      <a:pt x="154" y="205"/>
                      <a:pt x="160" y="205"/>
                    </a:cubicBezTo>
                    <a:lnTo>
                      <a:pt x="222" y="205"/>
                    </a:lnTo>
                    <a:cubicBezTo>
                      <a:pt x="228" y="205"/>
                      <a:pt x="233" y="209"/>
                      <a:pt x="233" y="213"/>
                    </a:cubicBezTo>
                    <a:lnTo>
                      <a:pt x="273" y="499"/>
                    </a:lnTo>
                    <a:cubicBezTo>
                      <a:pt x="273" y="503"/>
                      <a:pt x="269" y="507"/>
                      <a:pt x="264" y="507"/>
                    </a:cubicBezTo>
                    <a:close/>
                    <a:moveTo>
                      <a:pt x="305" y="159"/>
                    </a:moveTo>
                    <a:lnTo>
                      <a:pt x="315" y="159"/>
                    </a:lnTo>
                    <a:cubicBezTo>
                      <a:pt x="321" y="159"/>
                      <a:pt x="327" y="164"/>
                      <a:pt x="328" y="169"/>
                    </a:cubicBezTo>
                    <a:lnTo>
                      <a:pt x="361" y="471"/>
                    </a:lnTo>
                    <a:cubicBezTo>
                      <a:pt x="361" y="477"/>
                      <a:pt x="367" y="481"/>
                      <a:pt x="373" y="481"/>
                    </a:cubicBezTo>
                    <a:lnTo>
                      <a:pt x="399" y="481"/>
                    </a:lnTo>
                    <a:cubicBezTo>
                      <a:pt x="405" y="481"/>
                      <a:pt x="411" y="477"/>
                      <a:pt x="412" y="471"/>
                    </a:cubicBezTo>
                    <a:lnTo>
                      <a:pt x="445" y="169"/>
                    </a:lnTo>
                    <a:cubicBezTo>
                      <a:pt x="445" y="164"/>
                      <a:pt x="451" y="159"/>
                      <a:pt x="457" y="159"/>
                    </a:cubicBezTo>
                    <a:lnTo>
                      <a:pt x="467" y="159"/>
                    </a:lnTo>
                    <a:cubicBezTo>
                      <a:pt x="473" y="159"/>
                      <a:pt x="478" y="164"/>
                      <a:pt x="478" y="169"/>
                    </a:cubicBezTo>
                    <a:lnTo>
                      <a:pt x="436" y="502"/>
                    </a:lnTo>
                    <a:cubicBezTo>
                      <a:pt x="435" y="507"/>
                      <a:pt x="430" y="512"/>
                      <a:pt x="423" y="512"/>
                    </a:cubicBezTo>
                    <a:lnTo>
                      <a:pt x="353" y="512"/>
                    </a:lnTo>
                    <a:cubicBezTo>
                      <a:pt x="347" y="512"/>
                      <a:pt x="341" y="507"/>
                      <a:pt x="341" y="502"/>
                    </a:cubicBezTo>
                    <a:lnTo>
                      <a:pt x="294" y="169"/>
                    </a:lnTo>
                    <a:cubicBezTo>
                      <a:pt x="294" y="164"/>
                      <a:pt x="299" y="159"/>
                      <a:pt x="305" y="159"/>
                    </a:cubicBezTo>
                    <a:close/>
                    <a:moveTo>
                      <a:pt x="642" y="507"/>
                    </a:moveTo>
                    <a:lnTo>
                      <a:pt x="633" y="507"/>
                    </a:lnTo>
                    <a:cubicBezTo>
                      <a:pt x="628" y="507"/>
                      <a:pt x="623" y="503"/>
                      <a:pt x="622" y="499"/>
                    </a:cubicBezTo>
                    <a:lnTo>
                      <a:pt x="593" y="258"/>
                    </a:lnTo>
                    <a:cubicBezTo>
                      <a:pt x="592" y="254"/>
                      <a:pt x="587" y="251"/>
                      <a:pt x="581" y="251"/>
                    </a:cubicBezTo>
                    <a:lnTo>
                      <a:pt x="558" y="251"/>
                    </a:lnTo>
                    <a:cubicBezTo>
                      <a:pt x="553" y="251"/>
                      <a:pt x="548" y="254"/>
                      <a:pt x="547" y="258"/>
                    </a:cubicBezTo>
                    <a:lnTo>
                      <a:pt x="518" y="499"/>
                    </a:lnTo>
                    <a:cubicBezTo>
                      <a:pt x="517" y="503"/>
                      <a:pt x="513" y="507"/>
                      <a:pt x="507" y="507"/>
                    </a:cubicBezTo>
                    <a:lnTo>
                      <a:pt x="497" y="507"/>
                    </a:lnTo>
                    <a:cubicBezTo>
                      <a:pt x="492" y="507"/>
                      <a:pt x="488" y="503"/>
                      <a:pt x="488" y="499"/>
                    </a:cubicBezTo>
                    <a:lnTo>
                      <a:pt x="528" y="213"/>
                    </a:lnTo>
                    <a:cubicBezTo>
                      <a:pt x="528" y="209"/>
                      <a:pt x="533" y="205"/>
                      <a:pt x="539" y="205"/>
                    </a:cubicBezTo>
                    <a:lnTo>
                      <a:pt x="601" y="205"/>
                    </a:lnTo>
                    <a:cubicBezTo>
                      <a:pt x="606" y="205"/>
                      <a:pt x="612" y="209"/>
                      <a:pt x="612" y="213"/>
                    </a:cubicBezTo>
                    <a:lnTo>
                      <a:pt x="651" y="499"/>
                    </a:lnTo>
                    <a:cubicBezTo>
                      <a:pt x="652" y="503"/>
                      <a:pt x="648" y="507"/>
                      <a:pt x="642" y="507"/>
                    </a:cubicBez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176"/>
              <p:cNvSpPr>
                <a:spLocks/>
              </p:cNvSpPr>
              <p:nvPr/>
            </p:nvSpPr>
            <p:spPr bwMode="auto">
              <a:xfrm>
                <a:off x="3658" y="2673"/>
                <a:ext cx="25" cy="10"/>
              </a:xfrm>
              <a:custGeom>
                <a:avLst/>
                <a:gdLst>
                  <a:gd name="T0" fmla="*/ 0 w 52"/>
                  <a:gd name="T1" fmla="*/ 22 h 22"/>
                  <a:gd name="T2" fmla="*/ 3 w 52"/>
                  <a:gd name="T3" fmla="*/ 0 h 22"/>
                  <a:gd name="T4" fmla="*/ 50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50"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177"/>
              <p:cNvSpPr>
                <a:spLocks/>
              </p:cNvSpPr>
              <p:nvPr/>
            </p:nvSpPr>
            <p:spPr bwMode="auto">
              <a:xfrm>
                <a:off x="3657"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78"/>
              <p:cNvSpPr>
                <a:spLocks/>
              </p:cNvSpPr>
              <p:nvPr/>
            </p:nvSpPr>
            <p:spPr bwMode="auto">
              <a:xfrm>
                <a:off x="3476" y="2673"/>
                <a:ext cx="24" cy="10"/>
              </a:xfrm>
              <a:custGeom>
                <a:avLst/>
                <a:gdLst>
                  <a:gd name="T0" fmla="*/ 0 w 52"/>
                  <a:gd name="T1" fmla="*/ 22 h 22"/>
                  <a:gd name="T2" fmla="*/ 3 w 52"/>
                  <a:gd name="T3" fmla="*/ 0 h 22"/>
                  <a:gd name="T4" fmla="*/ 49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49"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79"/>
              <p:cNvSpPr>
                <a:spLocks/>
              </p:cNvSpPr>
              <p:nvPr/>
            </p:nvSpPr>
            <p:spPr bwMode="auto">
              <a:xfrm>
                <a:off x="3475"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180"/>
              <p:cNvSpPr>
                <a:spLocks/>
              </p:cNvSpPr>
              <p:nvPr/>
            </p:nvSpPr>
            <p:spPr bwMode="auto">
              <a:xfrm>
                <a:off x="3569" y="2772"/>
                <a:ext cx="26" cy="12"/>
              </a:xfrm>
              <a:custGeom>
                <a:avLst/>
                <a:gdLst>
                  <a:gd name="T0" fmla="*/ 55 w 55"/>
                  <a:gd name="T1" fmla="*/ 0 h 25"/>
                  <a:gd name="T2" fmla="*/ 52 w 55"/>
                  <a:gd name="T3" fmla="*/ 25 h 25"/>
                  <a:gd name="T4" fmla="*/ 2 w 55"/>
                  <a:gd name="T5" fmla="*/ 25 h 25"/>
                  <a:gd name="T6" fmla="*/ 0 w 55"/>
                  <a:gd name="T7" fmla="*/ 0 h 25"/>
                  <a:gd name="T8" fmla="*/ 55 w 55"/>
                  <a:gd name="T9" fmla="*/ 0 h 25"/>
                </a:gdLst>
                <a:ahLst/>
                <a:cxnLst>
                  <a:cxn ang="0">
                    <a:pos x="T0" y="T1"/>
                  </a:cxn>
                  <a:cxn ang="0">
                    <a:pos x="T2" y="T3"/>
                  </a:cxn>
                  <a:cxn ang="0">
                    <a:pos x="T4" y="T5"/>
                  </a:cxn>
                  <a:cxn ang="0">
                    <a:pos x="T6" y="T7"/>
                  </a:cxn>
                  <a:cxn ang="0">
                    <a:pos x="T8" y="T9"/>
                  </a:cxn>
                </a:cxnLst>
                <a:rect l="0" t="0" r="r" b="b"/>
                <a:pathLst>
                  <a:path w="55" h="25">
                    <a:moveTo>
                      <a:pt x="55" y="0"/>
                    </a:moveTo>
                    <a:lnTo>
                      <a:pt x="52" y="25"/>
                    </a:lnTo>
                    <a:lnTo>
                      <a:pt x="2" y="25"/>
                    </a:lnTo>
                    <a:lnTo>
                      <a:pt x="0" y="0"/>
                    </a:lnTo>
                    <a:lnTo>
                      <a:pt x="55"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181"/>
              <p:cNvSpPr>
                <a:spLocks/>
              </p:cNvSpPr>
              <p:nvPr/>
            </p:nvSpPr>
            <p:spPr bwMode="auto">
              <a:xfrm>
                <a:off x="3568" y="2767"/>
                <a:ext cx="28" cy="5"/>
              </a:xfrm>
              <a:custGeom>
                <a:avLst/>
                <a:gdLst>
                  <a:gd name="T0" fmla="*/ 57 w 58"/>
                  <a:gd name="T1" fmla="*/ 10 h 10"/>
                  <a:gd name="T2" fmla="*/ 58 w 58"/>
                  <a:gd name="T3" fmla="*/ 0 h 10"/>
                  <a:gd name="T4" fmla="*/ 0 w 58"/>
                  <a:gd name="T5" fmla="*/ 0 h 10"/>
                  <a:gd name="T6" fmla="*/ 2 w 58"/>
                  <a:gd name="T7" fmla="*/ 10 h 10"/>
                  <a:gd name="T8" fmla="*/ 57 w 58"/>
                  <a:gd name="T9" fmla="*/ 10 h 10"/>
                </a:gdLst>
                <a:ahLst/>
                <a:cxnLst>
                  <a:cxn ang="0">
                    <a:pos x="T0" y="T1"/>
                  </a:cxn>
                  <a:cxn ang="0">
                    <a:pos x="T2" y="T3"/>
                  </a:cxn>
                  <a:cxn ang="0">
                    <a:pos x="T4" y="T5"/>
                  </a:cxn>
                  <a:cxn ang="0">
                    <a:pos x="T6" y="T7"/>
                  </a:cxn>
                  <a:cxn ang="0">
                    <a:pos x="T8" y="T9"/>
                  </a:cxn>
                </a:cxnLst>
                <a:rect l="0" t="0" r="r" b="b"/>
                <a:pathLst>
                  <a:path w="58" h="10">
                    <a:moveTo>
                      <a:pt x="57" y="10"/>
                    </a:moveTo>
                    <a:lnTo>
                      <a:pt x="58" y="0"/>
                    </a:lnTo>
                    <a:lnTo>
                      <a:pt x="0" y="0"/>
                    </a:lnTo>
                    <a:lnTo>
                      <a:pt x="2" y="10"/>
                    </a:lnTo>
                    <a:lnTo>
                      <a:pt x="57" y="1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3396" y="2616"/>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83"/>
              <p:cNvSpPr>
                <a:spLocks noChangeArrowheads="1"/>
              </p:cNvSpPr>
              <p:nvPr/>
            </p:nvSpPr>
            <p:spPr bwMode="auto">
              <a:xfrm>
                <a:off x="3396" y="2635"/>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84"/>
              <p:cNvSpPr>
                <a:spLocks noChangeArrowheads="1"/>
              </p:cNvSpPr>
              <p:nvPr/>
            </p:nvSpPr>
            <p:spPr bwMode="auto">
              <a:xfrm>
                <a:off x="3738" y="2616"/>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85"/>
              <p:cNvSpPr>
                <a:spLocks noChangeArrowheads="1"/>
              </p:cNvSpPr>
              <p:nvPr/>
            </p:nvSpPr>
            <p:spPr bwMode="auto">
              <a:xfrm>
                <a:off x="3738" y="2635"/>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186"/>
              <p:cNvSpPr>
                <a:spLocks/>
              </p:cNvSpPr>
              <p:nvPr/>
            </p:nvSpPr>
            <p:spPr bwMode="auto">
              <a:xfrm>
                <a:off x="3482" y="2553"/>
                <a:ext cx="194" cy="43"/>
              </a:xfrm>
              <a:custGeom>
                <a:avLst/>
                <a:gdLst>
                  <a:gd name="T0" fmla="*/ 14 w 404"/>
                  <a:gd name="T1" fmla="*/ 0 h 91"/>
                  <a:gd name="T2" fmla="*/ 0 w 404"/>
                  <a:gd name="T3" fmla="*/ 0 h 91"/>
                  <a:gd name="T4" fmla="*/ 0 w 404"/>
                  <a:gd name="T5" fmla="*/ 13 h 91"/>
                  <a:gd name="T6" fmla="*/ 0 w 404"/>
                  <a:gd name="T7" fmla="*/ 39 h 91"/>
                  <a:gd name="T8" fmla="*/ 0 w 404"/>
                  <a:gd name="T9" fmla="*/ 77 h 91"/>
                  <a:gd name="T10" fmla="*/ 13 w 404"/>
                  <a:gd name="T11" fmla="*/ 91 h 91"/>
                  <a:gd name="T12" fmla="*/ 26 w 404"/>
                  <a:gd name="T13" fmla="*/ 77 h 91"/>
                  <a:gd name="T14" fmla="*/ 26 w 404"/>
                  <a:gd name="T15" fmla="*/ 39 h 91"/>
                  <a:gd name="T16" fmla="*/ 39 w 404"/>
                  <a:gd name="T17" fmla="*/ 26 h 91"/>
                  <a:gd name="T18" fmla="*/ 364 w 404"/>
                  <a:gd name="T19" fmla="*/ 26 h 91"/>
                  <a:gd name="T20" fmla="*/ 378 w 404"/>
                  <a:gd name="T21" fmla="*/ 39 h 91"/>
                  <a:gd name="T22" fmla="*/ 378 w 404"/>
                  <a:gd name="T23" fmla="*/ 77 h 91"/>
                  <a:gd name="T24" fmla="*/ 391 w 404"/>
                  <a:gd name="T25" fmla="*/ 91 h 91"/>
                  <a:gd name="T26" fmla="*/ 404 w 404"/>
                  <a:gd name="T27" fmla="*/ 77 h 91"/>
                  <a:gd name="T28" fmla="*/ 404 w 404"/>
                  <a:gd name="T29" fmla="*/ 39 h 91"/>
                  <a:gd name="T30" fmla="*/ 404 w 404"/>
                  <a:gd name="T31" fmla="*/ 13 h 91"/>
                  <a:gd name="T32" fmla="*/ 404 w 404"/>
                  <a:gd name="T33" fmla="*/ 0 h 91"/>
                  <a:gd name="T34" fmla="*/ 390 w 404"/>
                  <a:gd name="T35" fmla="*/ 0 h 91"/>
                  <a:gd name="T36" fmla="*/ 14 w 404"/>
                  <a:gd name="T3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4" h="91">
                    <a:moveTo>
                      <a:pt x="14" y="0"/>
                    </a:moveTo>
                    <a:lnTo>
                      <a:pt x="0" y="0"/>
                    </a:lnTo>
                    <a:lnTo>
                      <a:pt x="0" y="13"/>
                    </a:lnTo>
                    <a:lnTo>
                      <a:pt x="0" y="39"/>
                    </a:lnTo>
                    <a:lnTo>
                      <a:pt x="0" y="77"/>
                    </a:lnTo>
                    <a:cubicBezTo>
                      <a:pt x="0" y="84"/>
                      <a:pt x="6" y="91"/>
                      <a:pt x="13" y="91"/>
                    </a:cubicBezTo>
                    <a:cubicBezTo>
                      <a:pt x="20" y="91"/>
                      <a:pt x="26" y="84"/>
                      <a:pt x="26" y="77"/>
                    </a:cubicBezTo>
                    <a:lnTo>
                      <a:pt x="26" y="39"/>
                    </a:lnTo>
                    <a:cubicBezTo>
                      <a:pt x="26" y="32"/>
                      <a:pt x="32" y="26"/>
                      <a:pt x="39" y="26"/>
                    </a:cubicBezTo>
                    <a:lnTo>
                      <a:pt x="364" y="26"/>
                    </a:lnTo>
                    <a:cubicBezTo>
                      <a:pt x="372" y="26"/>
                      <a:pt x="378" y="32"/>
                      <a:pt x="378" y="39"/>
                    </a:cubicBezTo>
                    <a:lnTo>
                      <a:pt x="378" y="77"/>
                    </a:lnTo>
                    <a:cubicBezTo>
                      <a:pt x="378" y="84"/>
                      <a:pt x="384" y="91"/>
                      <a:pt x="391" y="91"/>
                    </a:cubicBezTo>
                    <a:cubicBezTo>
                      <a:pt x="398" y="91"/>
                      <a:pt x="404" y="84"/>
                      <a:pt x="404" y="77"/>
                    </a:cubicBezTo>
                    <a:lnTo>
                      <a:pt x="404" y="39"/>
                    </a:lnTo>
                    <a:lnTo>
                      <a:pt x="404" y="13"/>
                    </a:lnTo>
                    <a:lnTo>
                      <a:pt x="404" y="0"/>
                    </a:lnTo>
                    <a:lnTo>
                      <a:pt x="390" y="0"/>
                    </a:lnTo>
                    <a:lnTo>
                      <a:pt x="14"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87"/>
              <p:cNvSpPr>
                <a:spLocks noChangeArrowheads="1"/>
              </p:cNvSpPr>
              <p:nvPr/>
            </p:nvSpPr>
            <p:spPr bwMode="auto">
              <a:xfrm>
                <a:off x="3396" y="2597"/>
                <a:ext cx="16"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88"/>
              <p:cNvSpPr>
                <a:spLocks noChangeArrowheads="1"/>
              </p:cNvSpPr>
              <p:nvPr/>
            </p:nvSpPr>
            <p:spPr bwMode="auto">
              <a:xfrm>
                <a:off x="3401" y="2597"/>
                <a:ext cx="11"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89"/>
              <p:cNvSpPr>
                <a:spLocks noChangeArrowheads="1"/>
              </p:cNvSpPr>
              <p:nvPr/>
            </p:nvSpPr>
            <p:spPr bwMode="auto">
              <a:xfrm>
                <a:off x="3746" y="2597"/>
                <a:ext cx="11" cy="22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90"/>
              <p:cNvSpPr>
                <a:spLocks noChangeArrowheads="1"/>
              </p:cNvSpPr>
              <p:nvPr/>
            </p:nvSpPr>
            <p:spPr bwMode="auto">
              <a:xfrm>
                <a:off x="3066"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91"/>
              <p:cNvSpPr>
                <a:spLocks noChangeArrowheads="1"/>
              </p:cNvSpPr>
              <p:nvPr/>
            </p:nvSpPr>
            <p:spPr bwMode="auto">
              <a:xfrm>
                <a:off x="3066"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92"/>
              <p:cNvSpPr>
                <a:spLocks noChangeArrowheads="1"/>
              </p:cNvSpPr>
              <p:nvPr/>
            </p:nvSpPr>
            <p:spPr bwMode="auto">
              <a:xfrm>
                <a:off x="3078"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93"/>
              <p:cNvSpPr>
                <a:spLocks noChangeArrowheads="1"/>
              </p:cNvSpPr>
              <p:nvPr/>
            </p:nvSpPr>
            <p:spPr bwMode="auto">
              <a:xfrm>
                <a:off x="3078"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94"/>
              <p:cNvSpPr>
                <a:spLocks noChangeArrowheads="1"/>
              </p:cNvSpPr>
              <p:nvPr/>
            </p:nvSpPr>
            <p:spPr bwMode="auto">
              <a:xfrm>
                <a:off x="3091"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95"/>
              <p:cNvSpPr>
                <a:spLocks noChangeArrowheads="1"/>
              </p:cNvSpPr>
              <p:nvPr/>
            </p:nvSpPr>
            <p:spPr bwMode="auto">
              <a:xfrm>
                <a:off x="3091"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103"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103"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Rectangle 198"/>
              <p:cNvSpPr>
                <a:spLocks noChangeArrowheads="1"/>
              </p:cNvSpPr>
              <p:nvPr/>
            </p:nvSpPr>
            <p:spPr bwMode="auto">
              <a:xfrm>
                <a:off x="3115"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1" name="Rectangle 199"/>
              <p:cNvSpPr>
                <a:spLocks noChangeArrowheads="1"/>
              </p:cNvSpPr>
              <p:nvPr/>
            </p:nvSpPr>
            <p:spPr bwMode="auto">
              <a:xfrm>
                <a:off x="3115"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2" name="Rectangle 200"/>
              <p:cNvSpPr>
                <a:spLocks noChangeArrowheads="1"/>
              </p:cNvSpPr>
              <p:nvPr/>
            </p:nvSpPr>
            <p:spPr bwMode="auto">
              <a:xfrm>
                <a:off x="3032" y="2682"/>
                <a:ext cx="125" cy="113"/>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3" name="Rectangle 201"/>
              <p:cNvSpPr>
                <a:spLocks noChangeArrowheads="1"/>
              </p:cNvSpPr>
              <p:nvPr/>
            </p:nvSpPr>
            <p:spPr bwMode="auto">
              <a:xfrm>
                <a:off x="3158" y="2725"/>
                <a:ext cx="7"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24" y="2725"/>
                <a:ext cx="6"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203"/>
              <p:cNvSpPr>
                <a:spLocks noChangeArrowheads="1"/>
              </p:cNvSpPr>
              <p:nvPr/>
            </p:nvSpPr>
            <p:spPr bwMode="auto">
              <a:xfrm>
                <a:off x="3032" y="2682"/>
                <a:ext cx="125"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204"/>
              <p:cNvSpPr>
                <a:spLocks noChangeArrowheads="1"/>
              </p:cNvSpPr>
              <p:nvPr/>
            </p:nvSpPr>
            <p:spPr bwMode="auto">
              <a:xfrm>
                <a:off x="3060" y="2682"/>
                <a:ext cx="68" cy="10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406"/>
            <p:cNvGrpSpPr>
              <a:grpSpLocks/>
            </p:cNvGrpSpPr>
            <p:nvPr/>
          </p:nvGrpSpPr>
          <p:grpSpPr bwMode="auto">
            <a:xfrm>
              <a:off x="4800601" y="2486025"/>
              <a:ext cx="2854325" cy="1985963"/>
              <a:chOff x="3024" y="1566"/>
              <a:chExt cx="1798" cy="1251"/>
            </a:xfrm>
          </p:grpSpPr>
          <p:sp>
            <p:nvSpPr>
              <p:cNvPr id="417" name="Freeform 206"/>
              <p:cNvSpPr>
                <a:spLocks/>
              </p:cNvSpPr>
              <p:nvPr/>
            </p:nvSpPr>
            <p:spPr bwMode="auto">
              <a:xfrm>
                <a:off x="3024" y="2792"/>
                <a:ext cx="6" cy="11"/>
              </a:xfrm>
              <a:custGeom>
                <a:avLst/>
                <a:gdLst>
                  <a:gd name="T0" fmla="*/ 13 w 13"/>
                  <a:gd name="T1" fmla="*/ 0 h 22"/>
                  <a:gd name="T2" fmla="*/ 13 w 13"/>
                  <a:gd name="T3" fmla="*/ 7 h 22"/>
                  <a:gd name="T4" fmla="*/ 5 w 13"/>
                  <a:gd name="T5" fmla="*/ 22 h 22"/>
                  <a:gd name="T6" fmla="*/ 0 w 13"/>
                  <a:gd name="T7" fmla="*/ 22 h 22"/>
                  <a:gd name="T8" fmla="*/ 13 w 13"/>
                  <a:gd name="T9" fmla="*/ 0 h 22"/>
                </a:gdLst>
                <a:ahLst/>
                <a:cxnLst>
                  <a:cxn ang="0">
                    <a:pos x="T0" y="T1"/>
                  </a:cxn>
                  <a:cxn ang="0">
                    <a:pos x="T2" y="T3"/>
                  </a:cxn>
                  <a:cxn ang="0">
                    <a:pos x="T4" y="T5"/>
                  </a:cxn>
                  <a:cxn ang="0">
                    <a:pos x="T6" y="T7"/>
                  </a:cxn>
                  <a:cxn ang="0">
                    <a:pos x="T8" y="T9"/>
                  </a:cxn>
                </a:cxnLst>
                <a:rect l="0" t="0" r="r" b="b"/>
                <a:pathLst>
                  <a:path w="13" h="22">
                    <a:moveTo>
                      <a:pt x="13" y="0"/>
                    </a:moveTo>
                    <a:lnTo>
                      <a:pt x="13" y="7"/>
                    </a:lnTo>
                    <a:lnTo>
                      <a:pt x="5" y="22"/>
                    </a:lnTo>
                    <a:lnTo>
                      <a:pt x="0" y="22"/>
                    </a:lnTo>
                    <a:lnTo>
                      <a:pt x="13"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207"/>
              <p:cNvSpPr>
                <a:spLocks/>
              </p:cNvSpPr>
              <p:nvPr/>
            </p:nvSpPr>
            <p:spPr bwMode="auto">
              <a:xfrm>
                <a:off x="3026" y="2796"/>
                <a:ext cx="4" cy="7"/>
              </a:xfrm>
              <a:custGeom>
                <a:avLst/>
                <a:gdLst>
                  <a:gd name="T0" fmla="*/ 8 w 8"/>
                  <a:gd name="T1" fmla="*/ 0 h 15"/>
                  <a:gd name="T2" fmla="*/ 8 w 8"/>
                  <a:gd name="T3" fmla="*/ 0 h 15"/>
                  <a:gd name="T4" fmla="*/ 8 w 8"/>
                  <a:gd name="T5" fmla="*/ 7 h 15"/>
                  <a:gd name="T6" fmla="*/ 0 w 8"/>
                  <a:gd name="T7" fmla="*/ 15 h 15"/>
                  <a:gd name="T8" fmla="*/ 8 w 8"/>
                  <a:gd name="T9" fmla="*/ 0 h 15"/>
                </a:gdLst>
                <a:ahLst/>
                <a:cxnLst>
                  <a:cxn ang="0">
                    <a:pos x="T0" y="T1"/>
                  </a:cxn>
                  <a:cxn ang="0">
                    <a:pos x="T2" y="T3"/>
                  </a:cxn>
                  <a:cxn ang="0">
                    <a:pos x="T4" y="T5"/>
                  </a:cxn>
                  <a:cxn ang="0">
                    <a:pos x="T6" y="T7"/>
                  </a:cxn>
                  <a:cxn ang="0">
                    <a:pos x="T8" y="T9"/>
                  </a:cxn>
                </a:cxnLst>
                <a:rect l="0" t="0" r="r" b="b"/>
                <a:pathLst>
                  <a:path w="8" h="15">
                    <a:moveTo>
                      <a:pt x="8" y="0"/>
                    </a:moveTo>
                    <a:lnTo>
                      <a:pt x="8" y="0"/>
                    </a:lnTo>
                    <a:lnTo>
                      <a:pt x="8" y="7"/>
                    </a:lnTo>
                    <a:lnTo>
                      <a:pt x="0" y="15"/>
                    </a:lnTo>
                    <a:lnTo>
                      <a:pt x="8"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208"/>
              <p:cNvSpPr>
                <a:spLocks/>
              </p:cNvSpPr>
              <p:nvPr/>
            </p:nvSpPr>
            <p:spPr bwMode="auto">
              <a:xfrm>
                <a:off x="3158" y="2792"/>
                <a:ext cx="7" cy="11"/>
              </a:xfrm>
              <a:custGeom>
                <a:avLst/>
                <a:gdLst>
                  <a:gd name="T0" fmla="*/ 14 w 14"/>
                  <a:gd name="T1" fmla="*/ 22 h 22"/>
                  <a:gd name="T2" fmla="*/ 9 w 14"/>
                  <a:gd name="T3" fmla="*/ 22 h 22"/>
                  <a:gd name="T4" fmla="*/ 0 w 14"/>
                  <a:gd name="T5" fmla="*/ 7 h 22"/>
                  <a:gd name="T6" fmla="*/ 0 w 14"/>
                  <a:gd name="T7" fmla="*/ 0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lnTo>
                      <a:pt x="9" y="22"/>
                    </a:lnTo>
                    <a:lnTo>
                      <a:pt x="0" y="7"/>
                    </a:lnTo>
                    <a:lnTo>
                      <a:pt x="0" y="0"/>
                    </a:lnTo>
                    <a:lnTo>
                      <a:pt x="14" y="22"/>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209"/>
              <p:cNvSpPr>
                <a:spLocks/>
              </p:cNvSpPr>
              <p:nvPr/>
            </p:nvSpPr>
            <p:spPr bwMode="auto">
              <a:xfrm>
                <a:off x="3158" y="2796"/>
                <a:ext cx="4" cy="7"/>
              </a:xfrm>
              <a:custGeom>
                <a:avLst/>
                <a:gdLst>
                  <a:gd name="T0" fmla="*/ 9 w 9"/>
                  <a:gd name="T1" fmla="*/ 15 h 15"/>
                  <a:gd name="T2" fmla="*/ 0 w 9"/>
                  <a:gd name="T3" fmla="*/ 7 h 15"/>
                  <a:gd name="T4" fmla="*/ 0 w 9"/>
                  <a:gd name="T5" fmla="*/ 0 h 15"/>
                  <a:gd name="T6" fmla="*/ 0 w 9"/>
                  <a:gd name="T7" fmla="*/ 0 h 15"/>
                  <a:gd name="T8" fmla="*/ 9 w 9"/>
                  <a:gd name="T9" fmla="*/ 15 h 15"/>
                </a:gdLst>
                <a:ahLst/>
                <a:cxnLst>
                  <a:cxn ang="0">
                    <a:pos x="T0" y="T1"/>
                  </a:cxn>
                  <a:cxn ang="0">
                    <a:pos x="T2" y="T3"/>
                  </a:cxn>
                  <a:cxn ang="0">
                    <a:pos x="T4" y="T5"/>
                  </a:cxn>
                  <a:cxn ang="0">
                    <a:pos x="T6" y="T7"/>
                  </a:cxn>
                  <a:cxn ang="0">
                    <a:pos x="T8" y="T9"/>
                  </a:cxn>
                </a:cxnLst>
                <a:rect l="0" t="0" r="r" b="b"/>
                <a:pathLst>
                  <a:path w="9" h="15">
                    <a:moveTo>
                      <a:pt x="9" y="15"/>
                    </a:moveTo>
                    <a:lnTo>
                      <a:pt x="0" y="7"/>
                    </a:lnTo>
                    <a:lnTo>
                      <a:pt x="0" y="0"/>
                    </a:lnTo>
                    <a:lnTo>
                      <a:pt x="0" y="0"/>
                    </a:lnTo>
                    <a:lnTo>
                      <a:pt x="9" y="15"/>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210"/>
              <p:cNvSpPr>
                <a:spLocks noChangeArrowheads="1"/>
              </p:cNvSpPr>
              <p:nvPr/>
            </p:nvSpPr>
            <p:spPr bwMode="auto">
              <a:xfrm>
                <a:off x="3120"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Rectangle 211"/>
              <p:cNvSpPr>
                <a:spLocks noChangeArrowheads="1"/>
              </p:cNvSpPr>
              <p:nvPr/>
            </p:nvSpPr>
            <p:spPr bwMode="auto">
              <a:xfrm>
                <a:off x="3106"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212"/>
              <p:cNvSpPr>
                <a:spLocks noChangeArrowheads="1"/>
              </p:cNvSpPr>
              <p:nvPr/>
            </p:nvSpPr>
            <p:spPr bwMode="auto">
              <a:xfrm>
                <a:off x="3092"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Rectangle 213"/>
              <p:cNvSpPr>
                <a:spLocks noChangeArrowheads="1"/>
              </p:cNvSpPr>
              <p:nvPr/>
            </p:nvSpPr>
            <p:spPr bwMode="auto">
              <a:xfrm>
                <a:off x="3079"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214"/>
              <p:cNvSpPr>
                <a:spLocks noChangeArrowheads="1"/>
              </p:cNvSpPr>
              <p:nvPr/>
            </p:nvSpPr>
            <p:spPr bwMode="auto">
              <a:xfrm>
                <a:off x="3065"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Rectangle 215"/>
              <p:cNvSpPr>
                <a:spLocks noChangeArrowheads="1"/>
              </p:cNvSpPr>
              <p:nvPr/>
            </p:nvSpPr>
            <p:spPr bwMode="auto">
              <a:xfrm>
                <a:off x="3065"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216"/>
              <p:cNvSpPr>
                <a:spLocks noChangeArrowheads="1"/>
              </p:cNvSpPr>
              <p:nvPr/>
            </p:nvSpPr>
            <p:spPr bwMode="auto">
              <a:xfrm>
                <a:off x="3079"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Rectangle 217"/>
              <p:cNvSpPr>
                <a:spLocks noChangeArrowheads="1"/>
              </p:cNvSpPr>
              <p:nvPr/>
            </p:nvSpPr>
            <p:spPr bwMode="auto">
              <a:xfrm>
                <a:off x="3092"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218"/>
              <p:cNvSpPr>
                <a:spLocks noChangeArrowheads="1"/>
              </p:cNvSpPr>
              <p:nvPr/>
            </p:nvSpPr>
            <p:spPr bwMode="auto">
              <a:xfrm>
                <a:off x="3106"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Rectangle 219"/>
              <p:cNvSpPr>
                <a:spLocks noChangeArrowheads="1"/>
              </p:cNvSpPr>
              <p:nvPr/>
            </p:nvSpPr>
            <p:spPr bwMode="auto">
              <a:xfrm>
                <a:off x="3120"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220"/>
              <p:cNvSpPr>
                <a:spLocks/>
              </p:cNvSpPr>
              <p:nvPr/>
            </p:nvSpPr>
            <p:spPr bwMode="auto">
              <a:xfrm>
                <a:off x="3060" y="2785"/>
                <a:ext cx="68" cy="9"/>
              </a:xfrm>
              <a:custGeom>
                <a:avLst/>
                <a:gdLst>
                  <a:gd name="T0" fmla="*/ 3 w 142"/>
                  <a:gd name="T1" fmla="*/ 19 h 19"/>
                  <a:gd name="T2" fmla="*/ 10 w 142"/>
                  <a:gd name="T3" fmla="*/ 19 h 19"/>
                  <a:gd name="T4" fmla="*/ 10 w 142"/>
                  <a:gd name="T5" fmla="*/ 13 h 19"/>
                  <a:gd name="T6" fmla="*/ 16 w 142"/>
                  <a:gd name="T7" fmla="*/ 13 h 19"/>
                  <a:gd name="T8" fmla="*/ 16 w 142"/>
                  <a:gd name="T9" fmla="*/ 19 h 19"/>
                  <a:gd name="T10" fmla="*/ 39 w 142"/>
                  <a:gd name="T11" fmla="*/ 19 h 19"/>
                  <a:gd name="T12" fmla="*/ 39 w 142"/>
                  <a:gd name="T13" fmla="*/ 13 h 19"/>
                  <a:gd name="T14" fmla="*/ 45 w 142"/>
                  <a:gd name="T15" fmla="*/ 13 h 19"/>
                  <a:gd name="T16" fmla="*/ 45 w 142"/>
                  <a:gd name="T17" fmla="*/ 19 h 19"/>
                  <a:gd name="T18" fmla="*/ 67 w 142"/>
                  <a:gd name="T19" fmla="*/ 19 h 19"/>
                  <a:gd name="T20" fmla="*/ 67 w 142"/>
                  <a:gd name="T21" fmla="*/ 13 h 19"/>
                  <a:gd name="T22" fmla="*/ 74 w 142"/>
                  <a:gd name="T23" fmla="*/ 13 h 19"/>
                  <a:gd name="T24" fmla="*/ 74 w 142"/>
                  <a:gd name="T25" fmla="*/ 19 h 19"/>
                  <a:gd name="T26" fmla="*/ 96 w 142"/>
                  <a:gd name="T27" fmla="*/ 19 h 19"/>
                  <a:gd name="T28" fmla="*/ 96 w 142"/>
                  <a:gd name="T29" fmla="*/ 13 h 19"/>
                  <a:gd name="T30" fmla="*/ 103 w 142"/>
                  <a:gd name="T31" fmla="*/ 13 h 19"/>
                  <a:gd name="T32" fmla="*/ 103 w 142"/>
                  <a:gd name="T33" fmla="*/ 19 h 19"/>
                  <a:gd name="T34" fmla="*/ 125 w 142"/>
                  <a:gd name="T35" fmla="*/ 19 h 19"/>
                  <a:gd name="T36" fmla="*/ 125 w 142"/>
                  <a:gd name="T37" fmla="*/ 13 h 19"/>
                  <a:gd name="T38" fmla="*/ 132 w 142"/>
                  <a:gd name="T39" fmla="*/ 13 h 19"/>
                  <a:gd name="T40" fmla="*/ 132 w 142"/>
                  <a:gd name="T41" fmla="*/ 19 h 19"/>
                  <a:gd name="T42" fmla="*/ 136 w 142"/>
                  <a:gd name="T43" fmla="*/ 19 h 19"/>
                  <a:gd name="T44" fmla="*/ 140 w 142"/>
                  <a:gd name="T45" fmla="*/ 19 h 19"/>
                  <a:gd name="T46" fmla="*/ 142 w 142"/>
                  <a:gd name="T47" fmla="*/ 17 h 19"/>
                  <a:gd name="T48" fmla="*/ 142 w 142"/>
                  <a:gd name="T49" fmla="*/ 2 h 19"/>
                  <a:gd name="T50" fmla="*/ 140 w 142"/>
                  <a:gd name="T51" fmla="*/ 0 h 19"/>
                  <a:gd name="T52" fmla="*/ 2 w 142"/>
                  <a:gd name="T53" fmla="*/ 0 h 19"/>
                  <a:gd name="T54" fmla="*/ 0 w 142"/>
                  <a:gd name="T55" fmla="*/ 2 h 19"/>
                  <a:gd name="T56" fmla="*/ 0 w 142"/>
                  <a:gd name="T57" fmla="*/ 17 h 19"/>
                  <a:gd name="T58" fmla="*/ 2 w 142"/>
                  <a:gd name="T59" fmla="*/ 19 h 19"/>
                  <a:gd name="T60" fmla="*/ 3 w 142"/>
                  <a:gd name="T6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9">
                    <a:moveTo>
                      <a:pt x="3" y="19"/>
                    </a:moveTo>
                    <a:lnTo>
                      <a:pt x="10" y="19"/>
                    </a:lnTo>
                    <a:lnTo>
                      <a:pt x="10" y="13"/>
                    </a:lnTo>
                    <a:lnTo>
                      <a:pt x="16" y="13"/>
                    </a:lnTo>
                    <a:lnTo>
                      <a:pt x="16" y="19"/>
                    </a:lnTo>
                    <a:lnTo>
                      <a:pt x="39" y="19"/>
                    </a:lnTo>
                    <a:lnTo>
                      <a:pt x="39" y="13"/>
                    </a:lnTo>
                    <a:lnTo>
                      <a:pt x="45" y="13"/>
                    </a:lnTo>
                    <a:lnTo>
                      <a:pt x="45" y="19"/>
                    </a:lnTo>
                    <a:lnTo>
                      <a:pt x="67" y="19"/>
                    </a:lnTo>
                    <a:lnTo>
                      <a:pt x="67" y="13"/>
                    </a:lnTo>
                    <a:lnTo>
                      <a:pt x="74" y="13"/>
                    </a:lnTo>
                    <a:lnTo>
                      <a:pt x="74" y="19"/>
                    </a:lnTo>
                    <a:lnTo>
                      <a:pt x="96" y="19"/>
                    </a:lnTo>
                    <a:lnTo>
                      <a:pt x="96" y="13"/>
                    </a:lnTo>
                    <a:lnTo>
                      <a:pt x="103" y="13"/>
                    </a:lnTo>
                    <a:lnTo>
                      <a:pt x="103" y="19"/>
                    </a:lnTo>
                    <a:lnTo>
                      <a:pt x="125" y="19"/>
                    </a:lnTo>
                    <a:lnTo>
                      <a:pt x="125" y="13"/>
                    </a:lnTo>
                    <a:lnTo>
                      <a:pt x="132" y="13"/>
                    </a:lnTo>
                    <a:lnTo>
                      <a:pt x="132" y="19"/>
                    </a:lnTo>
                    <a:lnTo>
                      <a:pt x="136" y="19"/>
                    </a:lnTo>
                    <a:lnTo>
                      <a:pt x="140" y="19"/>
                    </a:lnTo>
                    <a:cubicBezTo>
                      <a:pt x="141" y="19"/>
                      <a:pt x="142" y="18"/>
                      <a:pt x="142" y="17"/>
                    </a:cubicBezTo>
                    <a:lnTo>
                      <a:pt x="142" y="2"/>
                    </a:lnTo>
                    <a:cubicBezTo>
                      <a:pt x="142" y="1"/>
                      <a:pt x="141" y="0"/>
                      <a:pt x="140" y="0"/>
                    </a:cubicBezTo>
                    <a:lnTo>
                      <a:pt x="2" y="0"/>
                    </a:lnTo>
                    <a:cubicBezTo>
                      <a:pt x="0" y="0"/>
                      <a:pt x="0" y="1"/>
                      <a:pt x="0" y="2"/>
                    </a:cubicBezTo>
                    <a:lnTo>
                      <a:pt x="0" y="17"/>
                    </a:lnTo>
                    <a:cubicBezTo>
                      <a:pt x="0" y="18"/>
                      <a:pt x="0" y="19"/>
                      <a:pt x="2" y="19"/>
                    </a:cubicBezTo>
                    <a:lnTo>
                      <a:pt x="3" y="19"/>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221"/>
              <p:cNvSpPr>
                <a:spLocks/>
              </p:cNvSpPr>
              <p:nvPr/>
            </p:nvSpPr>
            <p:spPr bwMode="auto">
              <a:xfrm>
                <a:off x="3030" y="2682"/>
                <a:ext cx="19" cy="4"/>
              </a:xfrm>
              <a:custGeom>
                <a:avLst/>
                <a:gdLst>
                  <a:gd name="T0" fmla="*/ 0 w 39"/>
                  <a:gd name="T1" fmla="*/ 8 h 8"/>
                  <a:gd name="T2" fmla="*/ 3 w 39"/>
                  <a:gd name="T3" fmla="*/ 0 h 8"/>
                  <a:gd name="T4" fmla="*/ 39 w 39"/>
                  <a:gd name="T5" fmla="*/ 0 h 8"/>
                  <a:gd name="T6" fmla="*/ 6 w 39"/>
                  <a:gd name="T7" fmla="*/ 4 h 8"/>
                  <a:gd name="T8" fmla="*/ 7 w 39"/>
                  <a:gd name="T9" fmla="*/ 8 h 8"/>
                  <a:gd name="T10" fmla="*/ 0 w 39"/>
                  <a:gd name="T11" fmla="*/ 8 h 8"/>
                  <a:gd name="T12" fmla="*/ 0 w 3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9" h="8">
                    <a:moveTo>
                      <a:pt x="0" y="8"/>
                    </a:moveTo>
                    <a:lnTo>
                      <a:pt x="3" y="0"/>
                    </a:lnTo>
                    <a:lnTo>
                      <a:pt x="39" y="0"/>
                    </a:lnTo>
                    <a:cubicBezTo>
                      <a:pt x="39" y="0"/>
                      <a:pt x="7" y="1"/>
                      <a:pt x="6" y="4"/>
                    </a:cubicBezTo>
                    <a:cubicBezTo>
                      <a:pt x="4" y="6"/>
                      <a:pt x="7" y="8"/>
                      <a:pt x="7" y="8"/>
                    </a:cubicBezTo>
                    <a:lnTo>
                      <a:pt x="0" y="8"/>
                    </a:lnTo>
                    <a:lnTo>
                      <a:pt x="0"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222"/>
              <p:cNvSpPr>
                <a:spLocks/>
              </p:cNvSpPr>
              <p:nvPr/>
            </p:nvSpPr>
            <p:spPr bwMode="auto">
              <a:xfrm>
                <a:off x="3140" y="2682"/>
                <a:ext cx="18" cy="4"/>
              </a:xfrm>
              <a:custGeom>
                <a:avLst/>
                <a:gdLst>
                  <a:gd name="T0" fmla="*/ 38 w 38"/>
                  <a:gd name="T1" fmla="*/ 8 h 8"/>
                  <a:gd name="T2" fmla="*/ 35 w 38"/>
                  <a:gd name="T3" fmla="*/ 0 h 8"/>
                  <a:gd name="T4" fmla="*/ 0 w 38"/>
                  <a:gd name="T5" fmla="*/ 0 h 8"/>
                  <a:gd name="T6" fmla="*/ 33 w 38"/>
                  <a:gd name="T7" fmla="*/ 4 h 8"/>
                  <a:gd name="T8" fmla="*/ 31 w 38"/>
                  <a:gd name="T9" fmla="*/ 8 h 8"/>
                  <a:gd name="T10" fmla="*/ 38 w 38"/>
                  <a:gd name="T11" fmla="*/ 8 h 8"/>
                  <a:gd name="T12" fmla="*/ 38 w 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8" h="8">
                    <a:moveTo>
                      <a:pt x="38" y="8"/>
                    </a:moveTo>
                    <a:lnTo>
                      <a:pt x="35" y="0"/>
                    </a:lnTo>
                    <a:lnTo>
                      <a:pt x="0" y="0"/>
                    </a:lnTo>
                    <a:cubicBezTo>
                      <a:pt x="0" y="0"/>
                      <a:pt x="32" y="2"/>
                      <a:pt x="33" y="4"/>
                    </a:cubicBezTo>
                    <a:cubicBezTo>
                      <a:pt x="34" y="6"/>
                      <a:pt x="31" y="8"/>
                      <a:pt x="31" y="8"/>
                    </a:cubicBezTo>
                    <a:lnTo>
                      <a:pt x="38" y="8"/>
                    </a:lnTo>
                    <a:lnTo>
                      <a:pt x="38"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23"/>
              <p:cNvSpPr>
                <a:spLocks noEditPoints="1"/>
              </p:cNvSpPr>
              <p:nvPr/>
            </p:nvSpPr>
            <p:spPr bwMode="auto">
              <a:xfrm>
                <a:off x="3030" y="2682"/>
                <a:ext cx="128" cy="113"/>
              </a:xfrm>
              <a:custGeom>
                <a:avLst/>
                <a:gdLst>
                  <a:gd name="T0" fmla="*/ 220 w 267"/>
                  <a:gd name="T1" fmla="*/ 0 h 235"/>
                  <a:gd name="T2" fmla="*/ 220 w 267"/>
                  <a:gd name="T3" fmla="*/ 23 h 235"/>
                  <a:gd name="T4" fmla="*/ 198 w 267"/>
                  <a:gd name="T5" fmla="*/ 23 h 235"/>
                  <a:gd name="T6" fmla="*/ 198 w 267"/>
                  <a:gd name="T7" fmla="*/ 0 h 235"/>
                  <a:gd name="T8" fmla="*/ 192 w 267"/>
                  <a:gd name="T9" fmla="*/ 0 h 235"/>
                  <a:gd name="T10" fmla="*/ 192 w 267"/>
                  <a:gd name="T11" fmla="*/ 8 h 235"/>
                  <a:gd name="T12" fmla="*/ 76 w 267"/>
                  <a:gd name="T13" fmla="*/ 8 h 235"/>
                  <a:gd name="T14" fmla="*/ 76 w 267"/>
                  <a:gd name="T15" fmla="*/ 0 h 235"/>
                  <a:gd name="T16" fmla="*/ 69 w 267"/>
                  <a:gd name="T17" fmla="*/ 0 h 235"/>
                  <a:gd name="T18" fmla="*/ 69 w 267"/>
                  <a:gd name="T19" fmla="*/ 23 h 235"/>
                  <a:gd name="T20" fmla="*/ 46 w 267"/>
                  <a:gd name="T21" fmla="*/ 23 h 235"/>
                  <a:gd name="T22" fmla="*/ 46 w 267"/>
                  <a:gd name="T23" fmla="*/ 0 h 235"/>
                  <a:gd name="T24" fmla="*/ 0 w 267"/>
                  <a:gd name="T25" fmla="*/ 0 h 235"/>
                  <a:gd name="T26" fmla="*/ 0 w 267"/>
                  <a:gd name="T27" fmla="*/ 235 h 235"/>
                  <a:gd name="T28" fmla="*/ 267 w 267"/>
                  <a:gd name="T29" fmla="*/ 235 h 235"/>
                  <a:gd name="T30" fmla="*/ 267 w 267"/>
                  <a:gd name="T31" fmla="*/ 0 h 235"/>
                  <a:gd name="T32" fmla="*/ 220 w 267"/>
                  <a:gd name="T33" fmla="*/ 0 h 235"/>
                  <a:gd name="T34" fmla="*/ 69 w 267"/>
                  <a:gd name="T35" fmla="*/ 192 h 235"/>
                  <a:gd name="T36" fmla="*/ 69 w 267"/>
                  <a:gd name="T37" fmla="*/ 203 h 235"/>
                  <a:gd name="T38" fmla="*/ 47 w 267"/>
                  <a:gd name="T39" fmla="*/ 203 h 235"/>
                  <a:gd name="T40" fmla="*/ 47 w 267"/>
                  <a:gd name="T41" fmla="*/ 191 h 235"/>
                  <a:gd name="T42" fmla="*/ 37 w 267"/>
                  <a:gd name="T43" fmla="*/ 173 h 235"/>
                  <a:gd name="T44" fmla="*/ 47 w 267"/>
                  <a:gd name="T45" fmla="*/ 154 h 235"/>
                  <a:gd name="T46" fmla="*/ 47 w 267"/>
                  <a:gd name="T47" fmla="*/ 154 h 235"/>
                  <a:gd name="T48" fmla="*/ 47 w 267"/>
                  <a:gd name="T49" fmla="*/ 92 h 235"/>
                  <a:gd name="T50" fmla="*/ 69 w 267"/>
                  <a:gd name="T51" fmla="*/ 92 h 235"/>
                  <a:gd name="T52" fmla="*/ 69 w 267"/>
                  <a:gd name="T53" fmla="*/ 154 h 235"/>
                  <a:gd name="T54" fmla="*/ 80 w 267"/>
                  <a:gd name="T55" fmla="*/ 173 h 235"/>
                  <a:gd name="T56" fmla="*/ 69 w 267"/>
                  <a:gd name="T57" fmla="*/ 192 h 235"/>
                  <a:gd name="T58" fmla="*/ 219 w 267"/>
                  <a:gd name="T59" fmla="*/ 192 h 235"/>
                  <a:gd name="T60" fmla="*/ 219 w 267"/>
                  <a:gd name="T61" fmla="*/ 203 h 235"/>
                  <a:gd name="T62" fmla="*/ 197 w 267"/>
                  <a:gd name="T63" fmla="*/ 203 h 235"/>
                  <a:gd name="T64" fmla="*/ 197 w 267"/>
                  <a:gd name="T65" fmla="*/ 191 h 235"/>
                  <a:gd name="T66" fmla="*/ 187 w 267"/>
                  <a:gd name="T67" fmla="*/ 173 h 235"/>
                  <a:gd name="T68" fmla="*/ 197 w 267"/>
                  <a:gd name="T69" fmla="*/ 154 h 235"/>
                  <a:gd name="T70" fmla="*/ 197 w 267"/>
                  <a:gd name="T71" fmla="*/ 154 h 235"/>
                  <a:gd name="T72" fmla="*/ 197 w 267"/>
                  <a:gd name="T73" fmla="*/ 92 h 235"/>
                  <a:gd name="T74" fmla="*/ 219 w 267"/>
                  <a:gd name="T75" fmla="*/ 92 h 235"/>
                  <a:gd name="T76" fmla="*/ 219 w 267"/>
                  <a:gd name="T77" fmla="*/ 154 h 235"/>
                  <a:gd name="T78" fmla="*/ 231 w 267"/>
                  <a:gd name="T79" fmla="*/ 173 h 235"/>
                  <a:gd name="T80" fmla="*/ 219 w 267"/>
                  <a:gd name="T81"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7" h="235">
                    <a:moveTo>
                      <a:pt x="220" y="0"/>
                    </a:moveTo>
                    <a:lnTo>
                      <a:pt x="220" y="23"/>
                    </a:lnTo>
                    <a:lnTo>
                      <a:pt x="198" y="23"/>
                    </a:lnTo>
                    <a:lnTo>
                      <a:pt x="198" y="0"/>
                    </a:lnTo>
                    <a:lnTo>
                      <a:pt x="192" y="0"/>
                    </a:lnTo>
                    <a:lnTo>
                      <a:pt x="192" y="8"/>
                    </a:lnTo>
                    <a:lnTo>
                      <a:pt x="76" y="8"/>
                    </a:lnTo>
                    <a:lnTo>
                      <a:pt x="76" y="0"/>
                    </a:lnTo>
                    <a:lnTo>
                      <a:pt x="69" y="0"/>
                    </a:lnTo>
                    <a:lnTo>
                      <a:pt x="69" y="23"/>
                    </a:lnTo>
                    <a:lnTo>
                      <a:pt x="46" y="23"/>
                    </a:lnTo>
                    <a:lnTo>
                      <a:pt x="46" y="0"/>
                    </a:lnTo>
                    <a:lnTo>
                      <a:pt x="0" y="0"/>
                    </a:lnTo>
                    <a:lnTo>
                      <a:pt x="0" y="235"/>
                    </a:lnTo>
                    <a:lnTo>
                      <a:pt x="267" y="235"/>
                    </a:lnTo>
                    <a:lnTo>
                      <a:pt x="267" y="0"/>
                    </a:lnTo>
                    <a:lnTo>
                      <a:pt x="220" y="0"/>
                    </a:lnTo>
                    <a:close/>
                    <a:moveTo>
                      <a:pt x="69" y="192"/>
                    </a:moveTo>
                    <a:lnTo>
                      <a:pt x="69" y="203"/>
                    </a:lnTo>
                    <a:lnTo>
                      <a:pt x="47" y="203"/>
                    </a:lnTo>
                    <a:lnTo>
                      <a:pt x="47" y="191"/>
                    </a:lnTo>
                    <a:cubicBezTo>
                      <a:pt x="41" y="187"/>
                      <a:pt x="37" y="180"/>
                      <a:pt x="37" y="173"/>
                    </a:cubicBezTo>
                    <a:cubicBezTo>
                      <a:pt x="37" y="164"/>
                      <a:pt x="40" y="157"/>
                      <a:pt x="47" y="154"/>
                    </a:cubicBezTo>
                    <a:lnTo>
                      <a:pt x="47" y="154"/>
                    </a:lnTo>
                    <a:lnTo>
                      <a:pt x="47" y="92"/>
                    </a:lnTo>
                    <a:lnTo>
                      <a:pt x="69" y="92"/>
                    </a:lnTo>
                    <a:lnTo>
                      <a:pt x="69" y="154"/>
                    </a:lnTo>
                    <a:cubicBezTo>
                      <a:pt x="75" y="157"/>
                      <a:pt x="80" y="164"/>
                      <a:pt x="80" y="173"/>
                    </a:cubicBezTo>
                    <a:cubicBezTo>
                      <a:pt x="80" y="181"/>
                      <a:pt x="75" y="188"/>
                      <a:pt x="69" y="192"/>
                    </a:cubicBezTo>
                    <a:close/>
                    <a:moveTo>
                      <a:pt x="219" y="192"/>
                    </a:moveTo>
                    <a:lnTo>
                      <a:pt x="219" y="203"/>
                    </a:lnTo>
                    <a:lnTo>
                      <a:pt x="197" y="203"/>
                    </a:lnTo>
                    <a:lnTo>
                      <a:pt x="197" y="191"/>
                    </a:lnTo>
                    <a:cubicBezTo>
                      <a:pt x="191" y="187"/>
                      <a:pt x="187" y="180"/>
                      <a:pt x="187" y="173"/>
                    </a:cubicBezTo>
                    <a:cubicBezTo>
                      <a:pt x="187" y="164"/>
                      <a:pt x="190" y="157"/>
                      <a:pt x="197" y="154"/>
                    </a:cubicBezTo>
                    <a:lnTo>
                      <a:pt x="197" y="154"/>
                    </a:lnTo>
                    <a:lnTo>
                      <a:pt x="197" y="92"/>
                    </a:lnTo>
                    <a:lnTo>
                      <a:pt x="219" y="92"/>
                    </a:lnTo>
                    <a:lnTo>
                      <a:pt x="219" y="154"/>
                    </a:lnTo>
                    <a:cubicBezTo>
                      <a:pt x="226" y="157"/>
                      <a:pt x="231" y="164"/>
                      <a:pt x="231" y="173"/>
                    </a:cubicBezTo>
                    <a:cubicBezTo>
                      <a:pt x="231" y="181"/>
                      <a:pt x="226" y="188"/>
                      <a:pt x="219" y="192"/>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24"/>
              <p:cNvSpPr>
                <a:spLocks/>
              </p:cNvSpPr>
              <p:nvPr/>
            </p:nvSpPr>
            <p:spPr bwMode="auto">
              <a:xfrm>
                <a:off x="3030" y="2686"/>
                <a:ext cx="10" cy="109"/>
              </a:xfrm>
              <a:custGeom>
                <a:avLst/>
                <a:gdLst>
                  <a:gd name="T0" fmla="*/ 6 w 22"/>
                  <a:gd name="T1" fmla="*/ 227 h 227"/>
                  <a:gd name="T2" fmla="*/ 0 w 22"/>
                  <a:gd name="T3" fmla="*/ 227 h 227"/>
                  <a:gd name="T4" fmla="*/ 0 w 22"/>
                  <a:gd name="T5" fmla="*/ 0 h 227"/>
                  <a:gd name="T6" fmla="*/ 22 w 22"/>
                  <a:gd name="T7" fmla="*/ 0 h 227"/>
                  <a:gd name="T8" fmla="*/ 6 w 22"/>
                  <a:gd name="T9" fmla="*/ 227 h 227"/>
                </a:gdLst>
                <a:ahLst/>
                <a:cxnLst>
                  <a:cxn ang="0">
                    <a:pos x="T0" y="T1"/>
                  </a:cxn>
                  <a:cxn ang="0">
                    <a:pos x="T2" y="T3"/>
                  </a:cxn>
                  <a:cxn ang="0">
                    <a:pos x="T4" y="T5"/>
                  </a:cxn>
                  <a:cxn ang="0">
                    <a:pos x="T6" y="T7"/>
                  </a:cxn>
                  <a:cxn ang="0">
                    <a:pos x="T8" y="T9"/>
                  </a:cxn>
                </a:cxnLst>
                <a:rect l="0" t="0" r="r" b="b"/>
                <a:pathLst>
                  <a:path w="22" h="227">
                    <a:moveTo>
                      <a:pt x="6" y="227"/>
                    </a:moveTo>
                    <a:lnTo>
                      <a:pt x="0" y="227"/>
                    </a:lnTo>
                    <a:lnTo>
                      <a:pt x="0" y="0"/>
                    </a:lnTo>
                    <a:lnTo>
                      <a:pt x="22" y="0"/>
                    </a:lnTo>
                    <a:lnTo>
                      <a:pt x="6" y="227"/>
                    </a:lnTo>
                    <a:close/>
                  </a:path>
                </a:pathLst>
              </a:custGeom>
              <a:solidFill>
                <a:srgbClr val="F2F2F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25"/>
              <p:cNvSpPr>
                <a:spLocks/>
              </p:cNvSpPr>
              <p:nvPr/>
            </p:nvSpPr>
            <p:spPr bwMode="auto">
              <a:xfrm>
                <a:off x="3150" y="2686"/>
                <a:ext cx="8" cy="109"/>
              </a:xfrm>
              <a:custGeom>
                <a:avLst/>
                <a:gdLst>
                  <a:gd name="T0" fmla="*/ 16 w 16"/>
                  <a:gd name="T1" fmla="*/ 227 h 227"/>
                  <a:gd name="T2" fmla="*/ 8 w 16"/>
                  <a:gd name="T3" fmla="*/ 75 h 227"/>
                  <a:gd name="T4" fmla="*/ 0 w 16"/>
                  <a:gd name="T5" fmla="*/ 0 h 227"/>
                  <a:gd name="T6" fmla="*/ 16 w 16"/>
                  <a:gd name="T7" fmla="*/ 0 h 227"/>
                  <a:gd name="T8" fmla="*/ 16 w 16"/>
                  <a:gd name="T9" fmla="*/ 227 h 227"/>
                </a:gdLst>
                <a:ahLst/>
                <a:cxnLst>
                  <a:cxn ang="0">
                    <a:pos x="T0" y="T1"/>
                  </a:cxn>
                  <a:cxn ang="0">
                    <a:pos x="T2" y="T3"/>
                  </a:cxn>
                  <a:cxn ang="0">
                    <a:pos x="T4" y="T5"/>
                  </a:cxn>
                  <a:cxn ang="0">
                    <a:pos x="T6" y="T7"/>
                  </a:cxn>
                  <a:cxn ang="0">
                    <a:pos x="T8" y="T9"/>
                  </a:cxn>
                </a:cxnLst>
                <a:rect l="0" t="0" r="r" b="b"/>
                <a:pathLst>
                  <a:path w="16" h="227">
                    <a:moveTo>
                      <a:pt x="16" y="227"/>
                    </a:moveTo>
                    <a:lnTo>
                      <a:pt x="8" y="75"/>
                    </a:lnTo>
                    <a:lnTo>
                      <a:pt x="0" y="0"/>
                    </a:lnTo>
                    <a:lnTo>
                      <a:pt x="16" y="0"/>
                    </a:lnTo>
                    <a:lnTo>
                      <a:pt x="16" y="227"/>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Rectangle 226"/>
              <p:cNvSpPr>
                <a:spLocks noChangeArrowheads="1"/>
              </p:cNvSpPr>
              <p:nvPr/>
            </p:nvSpPr>
            <p:spPr bwMode="auto">
              <a:xfrm>
                <a:off x="3052"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Rectangle 227"/>
              <p:cNvSpPr>
                <a:spLocks noChangeArrowheads="1"/>
              </p:cNvSpPr>
              <p:nvPr/>
            </p:nvSpPr>
            <p:spPr bwMode="auto">
              <a:xfrm>
                <a:off x="3124"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Rectangle 228"/>
              <p:cNvSpPr>
                <a:spLocks noChangeArrowheads="1"/>
              </p:cNvSpPr>
              <p:nvPr/>
            </p:nvSpPr>
            <p:spPr bwMode="auto">
              <a:xfrm>
                <a:off x="3036" y="2789"/>
                <a:ext cx="116" cy="4"/>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Rectangle 229"/>
              <p:cNvSpPr>
                <a:spLocks noChangeArrowheads="1"/>
              </p:cNvSpPr>
              <p:nvPr/>
            </p:nvSpPr>
            <p:spPr bwMode="auto">
              <a:xfrm>
                <a:off x="3036" y="2793"/>
                <a:ext cx="116" cy="2"/>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30"/>
              <p:cNvSpPr>
                <a:spLocks/>
              </p:cNvSpPr>
              <p:nvPr/>
            </p:nvSpPr>
            <p:spPr bwMode="auto">
              <a:xfrm>
                <a:off x="3996" y="2491"/>
                <a:ext cx="146" cy="296"/>
              </a:xfrm>
              <a:custGeom>
                <a:avLst/>
                <a:gdLst>
                  <a:gd name="T0" fmla="*/ 275 w 304"/>
                  <a:gd name="T1" fmla="*/ 0 h 618"/>
                  <a:gd name="T2" fmla="*/ 28 w 304"/>
                  <a:gd name="T3" fmla="*/ 0 h 618"/>
                  <a:gd name="T4" fmla="*/ 0 w 304"/>
                  <a:gd name="T5" fmla="*/ 67 h 618"/>
                  <a:gd name="T6" fmla="*/ 0 w 304"/>
                  <a:gd name="T7" fmla="*/ 618 h 618"/>
                  <a:gd name="T8" fmla="*/ 38 w 304"/>
                  <a:gd name="T9" fmla="*/ 618 h 618"/>
                  <a:gd name="T10" fmla="*/ 266 w 304"/>
                  <a:gd name="T11" fmla="*/ 618 h 618"/>
                  <a:gd name="T12" fmla="*/ 304 w 304"/>
                  <a:gd name="T13" fmla="*/ 618 h 618"/>
                  <a:gd name="T14" fmla="*/ 304 w 304"/>
                  <a:gd name="T15" fmla="*/ 67 h 618"/>
                  <a:gd name="T16" fmla="*/ 275 w 304"/>
                  <a:gd name="T1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618">
                    <a:moveTo>
                      <a:pt x="275" y="0"/>
                    </a:moveTo>
                    <a:lnTo>
                      <a:pt x="28" y="0"/>
                    </a:lnTo>
                    <a:lnTo>
                      <a:pt x="0" y="67"/>
                    </a:lnTo>
                    <a:lnTo>
                      <a:pt x="0" y="618"/>
                    </a:lnTo>
                    <a:lnTo>
                      <a:pt x="38" y="618"/>
                    </a:lnTo>
                    <a:lnTo>
                      <a:pt x="266" y="618"/>
                    </a:lnTo>
                    <a:lnTo>
                      <a:pt x="304" y="618"/>
                    </a:lnTo>
                    <a:lnTo>
                      <a:pt x="304" y="67"/>
                    </a:lnTo>
                    <a:lnTo>
                      <a:pt x="275"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31"/>
              <p:cNvSpPr>
                <a:spLocks noChangeArrowheads="1"/>
              </p:cNvSpPr>
              <p:nvPr/>
            </p:nvSpPr>
            <p:spPr bwMode="auto">
              <a:xfrm>
                <a:off x="4138"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32"/>
              <p:cNvSpPr>
                <a:spLocks noChangeArrowheads="1"/>
              </p:cNvSpPr>
              <p:nvPr/>
            </p:nvSpPr>
            <p:spPr bwMode="auto">
              <a:xfrm>
                <a:off x="3996"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Rectangle 233"/>
              <p:cNvSpPr>
                <a:spLocks noChangeArrowheads="1"/>
              </p:cNvSpPr>
              <p:nvPr/>
            </p:nvSpPr>
            <p:spPr bwMode="auto">
              <a:xfrm>
                <a:off x="4004"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34"/>
              <p:cNvSpPr>
                <a:spLocks noChangeArrowheads="1"/>
              </p:cNvSpPr>
              <p:nvPr/>
            </p:nvSpPr>
            <p:spPr bwMode="auto">
              <a:xfrm>
                <a:off x="4005"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35"/>
              <p:cNvSpPr>
                <a:spLocks noChangeArrowheads="1"/>
              </p:cNvSpPr>
              <p:nvPr/>
            </p:nvSpPr>
            <p:spPr bwMode="auto">
              <a:xfrm>
                <a:off x="4128"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36"/>
              <p:cNvSpPr>
                <a:spLocks noChangeArrowheads="1"/>
              </p:cNvSpPr>
              <p:nvPr/>
            </p:nvSpPr>
            <p:spPr bwMode="auto">
              <a:xfrm>
                <a:off x="4035"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Rectangle 237"/>
              <p:cNvSpPr>
                <a:spLocks noChangeArrowheads="1"/>
              </p:cNvSpPr>
              <p:nvPr/>
            </p:nvSpPr>
            <p:spPr bwMode="auto">
              <a:xfrm>
                <a:off x="4097"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38"/>
              <p:cNvSpPr>
                <a:spLocks noChangeArrowheads="1"/>
              </p:cNvSpPr>
              <p:nvPr/>
            </p:nvSpPr>
            <p:spPr bwMode="auto">
              <a:xfrm>
                <a:off x="4129"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239"/>
              <p:cNvSpPr>
                <a:spLocks noChangeArrowheads="1"/>
              </p:cNvSpPr>
              <p:nvPr/>
            </p:nvSpPr>
            <p:spPr bwMode="auto">
              <a:xfrm>
                <a:off x="4098"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240"/>
              <p:cNvSpPr>
                <a:spLocks noChangeArrowheads="1"/>
              </p:cNvSpPr>
              <p:nvPr/>
            </p:nvSpPr>
            <p:spPr bwMode="auto">
              <a:xfrm>
                <a:off x="4037" y="2580"/>
                <a:ext cx="3"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241"/>
              <p:cNvSpPr>
                <a:spLocks noChangeArrowheads="1"/>
              </p:cNvSpPr>
              <p:nvPr/>
            </p:nvSpPr>
            <p:spPr bwMode="auto">
              <a:xfrm>
                <a:off x="4035" y="2639"/>
                <a:ext cx="68" cy="46"/>
              </a:xfrm>
              <a:prstGeom prst="rect">
                <a:avLst/>
              </a:prstGeom>
              <a:solidFill>
                <a:srgbClr val="93939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42"/>
              <p:cNvSpPr>
                <a:spLocks/>
              </p:cNvSpPr>
              <p:nvPr/>
            </p:nvSpPr>
            <p:spPr bwMode="auto">
              <a:xfrm>
                <a:off x="4035" y="2639"/>
                <a:ext cx="68" cy="46"/>
              </a:xfrm>
              <a:custGeom>
                <a:avLst/>
                <a:gdLst>
                  <a:gd name="T0" fmla="*/ 0 w 142"/>
                  <a:gd name="T1" fmla="*/ 96 h 96"/>
                  <a:gd name="T2" fmla="*/ 0 w 142"/>
                  <a:gd name="T3" fmla="*/ 0 h 96"/>
                  <a:gd name="T4" fmla="*/ 142 w 142"/>
                  <a:gd name="T5" fmla="*/ 0 h 96"/>
                </a:gdLst>
                <a:ahLst/>
                <a:cxnLst>
                  <a:cxn ang="0">
                    <a:pos x="T0" y="T1"/>
                  </a:cxn>
                  <a:cxn ang="0">
                    <a:pos x="T2" y="T3"/>
                  </a:cxn>
                  <a:cxn ang="0">
                    <a:pos x="T4" y="T5"/>
                  </a:cxn>
                </a:cxnLst>
                <a:rect l="0" t="0" r="r" b="b"/>
                <a:pathLst>
                  <a:path w="142" h="96">
                    <a:moveTo>
                      <a:pt x="0" y="96"/>
                    </a:moveTo>
                    <a:lnTo>
                      <a:pt x="0" y="0"/>
                    </a:lnTo>
                    <a:lnTo>
                      <a:pt x="142" y="0"/>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4" name="Freeform 243"/>
              <p:cNvSpPr>
                <a:spLocks/>
              </p:cNvSpPr>
              <p:nvPr/>
            </p:nvSpPr>
            <p:spPr bwMode="auto">
              <a:xfrm>
                <a:off x="4035" y="2639"/>
                <a:ext cx="68" cy="46"/>
              </a:xfrm>
              <a:custGeom>
                <a:avLst/>
                <a:gdLst>
                  <a:gd name="T0" fmla="*/ 142 w 142"/>
                  <a:gd name="T1" fmla="*/ 0 h 96"/>
                  <a:gd name="T2" fmla="*/ 142 w 142"/>
                  <a:gd name="T3" fmla="*/ 96 h 96"/>
                  <a:gd name="T4" fmla="*/ 0 w 142"/>
                  <a:gd name="T5" fmla="*/ 96 h 96"/>
                </a:gdLst>
                <a:ahLst/>
                <a:cxnLst>
                  <a:cxn ang="0">
                    <a:pos x="T0" y="T1"/>
                  </a:cxn>
                  <a:cxn ang="0">
                    <a:pos x="T2" y="T3"/>
                  </a:cxn>
                  <a:cxn ang="0">
                    <a:pos x="T4" y="T5"/>
                  </a:cxn>
                </a:cxnLst>
                <a:rect l="0" t="0" r="r" b="b"/>
                <a:pathLst>
                  <a:path w="142" h="96">
                    <a:moveTo>
                      <a:pt x="142" y="0"/>
                    </a:moveTo>
                    <a:lnTo>
                      <a:pt x="142" y="96"/>
                    </a:lnTo>
                    <a:lnTo>
                      <a:pt x="0" y="96"/>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5" name="Rectangle 244"/>
              <p:cNvSpPr>
                <a:spLocks noChangeArrowheads="1"/>
              </p:cNvSpPr>
              <p:nvPr/>
            </p:nvSpPr>
            <p:spPr bwMode="auto">
              <a:xfrm>
                <a:off x="4063" y="2692"/>
                <a:ext cx="12" cy="15"/>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245"/>
              <p:cNvSpPr>
                <a:spLocks noChangeArrowheads="1"/>
              </p:cNvSpPr>
              <p:nvPr/>
            </p:nvSpPr>
            <p:spPr bwMode="auto">
              <a:xfrm>
                <a:off x="4065" y="2696"/>
                <a:ext cx="8" cy="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246"/>
              <p:cNvSpPr>
                <a:spLocks noChangeArrowheads="1"/>
              </p:cNvSpPr>
              <p:nvPr/>
            </p:nvSpPr>
            <p:spPr bwMode="auto">
              <a:xfrm>
                <a:off x="3993" y="2769"/>
                <a:ext cx="152"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47"/>
              <p:cNvSpPr>
                <a:spLocks/>
              </p:cNvSpPr>
              <p:nvPr/>
            </p:nvSpPr>
            <p:spPr bwMode="auto">
              <a:xfrm>
                <a:off x="4017" y="2769"/>
                <a:ext cx="104" cy="48"/>
              </a:xfrm>
              <a:custGeom>
                <a:avLst/>
                <a:gdLst>
                  <a:gd name="T0" fmla="*/ 104 w 104"/>
                  <a:gd name="T1" fmla="*/ 47 h 48"/>
                  <a:gd name="T2" fmla="*/ 104 w 104"/>
                  <a:gd name="T3" fmla="*/ 0 h 48"/>
                  <a:gd name="T4" fmla="*/ 0 w 104"/>
                  <a:gd name="T5" fmla="*/ 0 h 48"/>
                  <a:gd name="T6" fmla="*/ 0 w 104"/>
                  <a:gd name="T7" fmla="*/ 47 h 48"/>
                  <a:gd name="T8" fmla="*/ 0 w 104"/>
                  <a:gd name="T9" fmla="*/ 47 h 48"/>
                  <a:gd name="T10" fmla="*/ 0 w 104"/>
                  <a:gd name="T11" fmla="*/ 48 h 48"/>
                  <a:gd name="T12" fmla="*/ 104 w 104"/>
                  <a:gd name="T13" fmla="*/ 48 h 48"/>
                  <a:gd name="T14" fmla="*/ 104 w 104"/>
                  <a:gd name="T15" fmla="*/ 47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8">
                    <a:moveTo>
                      <a:pt x="104" y="47"/>
                    </a:moveTo>
                    <a:lnTo>
                      <a:pt x="104" y="0"/>
                    </a:lnTo>
                    <a:lnTo>
                      <a:pt x="0" y="0"/>
                    </a:lnTo>
                    <a:lnTo>
                      <a:pt x="0" y="47"/>
                    </a:lnTo>
                    <a:lnTo>
                      <a:pt x="0" y="47"/>
                    </a:lnTo>
                    <a:lnTo>
                      <a:pt x="0" y="48"/>
                    </a:lnTo>
                    <a:lnTo>
                      <a:pt x="104" y="48"/>
                    </a:lnTo>
                    <a:lnTo>
                      <a:pt x="104" y="47"/>
                    </a:lnTo>
                    <a:close/>
                  </a:path>
                </a:pathLst>
              </a:custGeom>
              <a:solidFill>
                <a:srgbClr val="2B2B2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8"/>
              <p:cNvSpPr>
                <a:spLocks/>
              </p:cNvSpPr>
              <p:nvPr/>
            </p:nvSpPr>
            <p:spPr bwMode="auto">
              <a:xfrm>
                <a:off x="3999" y="2769"/>
                <a:ext cx="22" cy="48"/>
              </a:xfrm>
              <a:custGeom>
                <a:avLst/>
                <a:gdLst>
                  <a:gd name="T0" fmla="*/ 45 w 45"/>
                  <a:gd name="T1" fmla="*/ 0 h 99"/>
                  <a:gd name="T2" fmla="*/ 38 w 45"/>
                  <a:gd name="T3" fmla="*/ 0 h 99"/>
                  <a:gd name="T4" fmla="*/ 0 w 45"/>
                  <a:gd name="T5" fmla="*/ 0 h 99"/>
                  <a:gd name="T6" fmla="*/ 0 w 45"/>
                  <a:gd name="T7" fmla="*/ 99 h 99"/>
                  <a:gd name="T8" fmla="*/ 45 w 45"/>
                  <a:gd name="T9" fmla="*/ 99 h 99"/>
                  <a:gd name="T10" fmla="*/ 45 w 45"/>
                  <a:gd name="T11" fmla="*/ 0 h 99"/>
                </a:gdLst>
                <a:ahLst/>
                <a:cxnLst>
                  <a:cxn ang="0">
                    <a:pos x="T0" y="T1"/>
                  </a:cxn>
                  <a:cxn ang="0">
                    <a:pos x="T2" y="T3"/>
                  </a:cxn>
                  <a:cxn ang="0">
                    <a:pos x="T4" y="T5"/>
                  </a:cxn>
                  <a:cxn ang="0">
                    <a:pos x="T6" y="T7"/>
                  </a:cxn>
                  <a:cxn ang="0">
                    <a:pos x="T8" y="T9"/>
                  </a:cxn>
                  <a:cxn ang="0">
                    <a:pos x="T10" y="T11"/>
                  </a:cxn>
                </a:cxnLst>
                <a:rect l="0" t="0" r="r" b="b"/>
                <a:pathLst>
                  <a:path w="45" h="99">
                    <a:moveTo>
                      <a:pt x="45" y="0"/>
                    </a:moveTo>
                    <a:lnTo>
                      <a:pt x="38" y="0"/>
                    </a:lnTo>
                    <a:lnTo>
                      <a:pt x="0" y="0"/>
                    </a:lnTo>
                    <a:lnTo>
                      <a:pt x="0" y="99"/>
                    </a:lnTo>
                    <a:lnTo>
                      <a:pt x="45" y="99"/>
                    </a:lnTo>
                    <a:lnTo>
                      <a:pt x="45"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49"/>
              <p:cNvSpPr>
                <a:spLocks/>
              </p:cNvSpPr>
              <p:nvPr/>
            </p:nvSpPr>
            <p:spPr bwMode="auto">
              <a:xfrm>
                <a:off x="4114" y="2769"/>
                <a:ext cx="26" cy="48"/>
              </a:xfrm>
              <a:custGeom>
                <a:avLst/>
                <a:gdLst>
                  <a:gd name="T0" fmla="*/ 0 w 54"/>
                  <a:gd name="T1" fmla="*/ 0 h 99"/>
                  <a:gd name="T2" fmla="*/ 16 w 54"/>
                  <a:gd name="T3" fmla="*/ 0 h 99"/>
                  <a:gd name="T4" fmla="*/ 54 w 54"/>
                  <a:gd name="T5" fmla="*/ 0 h 99"/>
                  <a:gd name="T6" fmla="*/ 54 w 54"/>
                  <a:gd name="T7" fmla="*/ 99 h 99"/>
                  <a:gd name="T8" fmla="*/ 0 w 54"/>
                  <a:gd name="T9" fmla="*/ 99 h 99"/>
                  <a:gd name="T10" fmla="*/ 0 w 54"/>
                  <a:gd name="T11" fmla="*/ 0 h 99"/>
                </a:gdLst>
                <a:ahLst/>
                <a:cxnLst>
                  <a:cxn ang="0">
                    <a:pos x="T0" y="T1"/>
                  </a:cxn>
                  <a:cxn ang="0">
                    <a:pos x="T2" y="T3"/>
                  </a:cxn>
                  <a:cxn ang="0">
                    <a:pos x="T4" y="T5"/>
                  </a:cxn>
                  <a:cxn ang="0">
                    <a:pos x="T6" y="T7"/>
                  </a:cxn>
                  <a:cxn ang="0">
                    <a:pos x="T8" y="T9"/>
                  </a:cxn>
                  <a:cxn ang="0">
                    <a:pos x="T10" y="T11"/>
                  </a:cxn>
                </a:cxnLst>
                <a:rect l="0" t="0" r="r" b="b"/>
                <a:pathLst>
                  <a:path w="54" h="99">
                    <a:moveTo>
                      <a:pt x="0" y="0"/>
                    </a:moveTo>
                    <a:lnTo>
                      <a:pt x="16" y="0"/>
                    </a:lnTo>
                    <a:lnTo>
                      <a:pt x="54" y="0"/>
                    </a:lnTo>
                    <a:lnTo>
                      <a:pt x="54" y="99"/>
                    </a:lnTo>
                    <a:lnTo>
                      <a:pt x="0" y="99"/>
                    </a:lnTo>
                    <a:lnTo>
                      <a:pt x="0"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250"/>
              <p:cNvSpPr>
                <a:spLocks noChangeArrowheads="1"/>
              </p:cNvSpPr>
              <p:nvPr/>
            </p:nvSpPr>
            <p:spPr bwMode="auto">
              <a:xfrm>
                <a:off x="4056" y="2769"/>
                <a:ext cx="41" cy="48"/>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251"/>
              <p:cNvSpPr>
                <a:spLocks noChangeArrowheads="1"/>
              </p:cNvSpPr>
              <p:nvPr/>
            </p:nvSpPr>
            <p:spPr bwMode="auto">
              <a:xfrm>
                <a:off x="4063" y="2769"/>
                <a:ext cx="22" cy="48"/>
              </a:xfrm>
              <a:prstGeom prst="rect">
                <a:avLst/>
              </a:prstGeom>
              <a:solidFill>
                <a:srgbClr val="38383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252"/>
              <p:cNvSpPr>
                <a:spLocks noChangeArrowheads="1"/>
              </p:cNvSpPr>
              <p:nvPr/>
            </p:nvSpPr>
            <p:spPr bwMode="auto">
              <a:xfrm>
                <a:off x="4140" y="2769"/>
                <a:ext cx="5"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253"/>
              <p:cNvSpPr>
                <a:spLocks noChangeArrowheads="1"/>
              </p:cNvSpPr>
              <p:nvPr/>
            </p:nvSpPr>
            <p:spPr bwMode="auto">
              <a:xfrm>
                <a:off x="4455" y="2389"/>
                <a:ext cx="362" cy="291"/>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254"/>
              <p:cNvSpPr>
                <a:spLocks/>
              </p:cNvSpPr>
              <p:nvPr/>
            </p:nvSpPr>
            <p:spPr bwMode="auto">
              <a:xfrm>
                <a:off x="4750" y="2461"/>
                <a:ext cx="72" cy="28"/>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2"/>
                      <a:pt x="146" y="57"/>
                      <a:pt x="140" y="57"/>
                    </a:cubicBezTo>
                    <a:lnTo>
                      <a:pt x="10" y="57"/>
                    </a:lnTo>
                    <a:cubicBezTo>
                      <a:pt x="4" y="57"/>
                      <a:pt x="0" y="52"/>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255"/>
              <p:cNvSpPr>
                <a:spLocks/>
              </p:cNvSpPr>
              <p:nvPr/>
            </p:nvSpPr>
            <p:spPr bwMode="auto">
              <a:xfrm>
                <a:off x="4750" y="2581"/>
                <a:ext cx="72" cy="27"/>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3"/>
                      <a:pt x="146" y="57"/>
                      <a:pt x="140" y="57"/>
                    </a:cubicBezTo>
                    <a:lnTo>
                      <a:pt x="10" y="57"/>
                    </a:lnTo>
                    <a:cubicBezTo>
                      <a:pt x="4" y="57"/>
                      <a:pt x="0" y="53"/>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256"/>
              <p:cNvSpPr>
                <a:spLocks/>
              </p:cNvSpPr>
              <p:nvPr/>
            </p:nvSpPr>
            <p:spPr bwMode="auto">
              <a:xfrm>
                <a:off x="4750" y="2461"/>
                <a:ext cx="12" cy="28"/>
              </a:xfrm>
              <a:custGeom>
                <a:avLst/>
                <a:gdLst>
                  <a:gd name="T0" fmla="*/ 10 w 26"/>
                  <a:gd name="T1" fmla="*/ 0 h 57"/>
                  <a:gd name="T2" fmla="*/ 26 w 26"/>
                  <a:gd name="T3" fmla="*/ 0 h 57"/>
                  <a:gd name="T4" fmla="*/ 26 w 26"/>
                  <a:gd name="T5" fmla="*/ 57 h 57"/>
                  <a:gd name="T6" fmla="*/ 10 w 26"/>
                  <a:gd name="T7" fmla="*/ 57 h 57"/>
                  <a:gd name="T8" fmla="*/ 0 w 26"/>
                  <a:gd name="T9" fmla="*/ 47 h 57"/>
                  <a:gd name="T10" fmla="*/ 0 w 26"/>
                  <a:gd name="T11" fmla="*/ 10 h 57"/>
                  <a:gd name="T12" fmla="*/ 10 w 26"/>
                  <a:gd name="T13" fmla="*/ 0 h 57"/>
                  <a:gd name="T14" fmla="*/ 10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10" y="0"/>
                    </a:moveTo>
                    <a:lnTo>
                      <a:pt x="26" y="0"/>
                    </a:lnTo>
                    <a:lnTo>
                      <a:pt x="26" y="57"/>
                    </a:lnTo>
                    <a:lnTo>
                      <a:pt x="10" y="57"/>
                    </a:lnTo>
                    <a:cubicBezTo>
                      <a:pt x="4" y="57"/>
                      <a:pt x="0" y="52"/>
                      <a:pt x="0" y="47"/>
                    </a:cubicBezTo>
                    <a:lnTo>
                      <a:pt x="0" y="10"/>
                    </a:lnTo>
                    <a:cubicBezTo>
                      <a:pt x="0" y="5"/>
                      <a:pt x="4" y="0"/>
                      <a:pt x="10" y="0"/>
                    </a:cubicBezTo>
                    <a:lnTo>
                      <a:pt x="10"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257"/>
              <p:cNvSpPr>
                <a:spLocks/>
              </p:cNvSpPr>
              <p:nvPr/>
            </p:nvSpPr>
            <p:spPr bwMode="auto">
              <a:xfrm>
                <a:off x="4750" y="2581"/>
                <a:ext cx="12" cy="27"/>
              </a:xfrm>
              <a:custGeom>
                <a:avLst/>
                <a:gdLst>
                  <a:gd name="T0" fmla="*/ 26 w 26"/>
                  <a:gd name="T1" fmla="*/ 0 h 57"/>
                  <a:gd name="T2" fmla="*/ 26 w 26"/>
                  <a:gd name="T3" fmla="*/ 57 h 57"/>
                  <a:gd name="T4" fmla="*/ 10 w 26"/>
                  <a:gd name="T5" fmla="*/ 57 h 57"/>
                  <a:gd name="T6" fmla="*/ 0 w 26"/>
                  <a:gd name="T7" fmla="*/ 47 h 57"/>
                  <a:gd name="T8" fmla="*/ 0 w 26"/>
                  <a:gd name="T9" fmla="*/ 10 h 57"/>
                  <a:gd name="T10" fmla="*/ 10 w 26"/>
                  <a:gd name="T11" fmla="*/ 0 h 57"/>
                  <a:gd name="T12" fmla="*/ 26 w 26"/>
                  <a:gd name="T13" fmla="*/ 0 h 57"/>
                  <a:gd name="T14" fmla="*/ 26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26" y="0"/>
                    </a:moveTo>
                    <a:lnTo>
                      <a:pt x="26" y="57"/>
                    </a:lnTo>
                    <a:lnTo>
                      <a:pt x="10" y="57"/>
                    </a:lnTo>
                    <a:cubicBezTo>
                      <a:pt x="4" y="57"/>
                      <a:pt x="0" y="53"/>
                      <a:pt x="0" y="47"/>
                    </a:cubicBezTo>
                    <a:lnTo>
                      <a:pt x="0" y="10"/>
                    </a:lnTo>
                    <a:cubicBezTo>
                      <a:pt x="0" y="5"/>
                      <a:pt x="4" y="0"/>
                      <a:pt x="10" y="0"/>
                    </a:cubicBezTo>
                    <a:lnTo>
                      <a:pt x="26" y="0"/>
                    </a:lnTo>
                    <a:lnTo>
                      <a:pt x="26"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258"/>
              <p:cNvSpPr>
                <a:spLocks noChangeArrowheads="1"/>
              </p:cNvSpPr>
              <p:nvPr/>
            </p:nvSpPr>
            <p:spPr bwMode="auto">
              <a:xfrm>
                <a:off x="4761" y="2461"/>
                <a:ext cx="27" cy="28"/>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259"/>
              <p:cNvSpPr>
                <a:spLocks noChangeArrowheads="1"/>
              </p:cNvSpPr>
              <p:nvPr/>
            </p:nvSpPr>
            <p:spPr bwMode="auto">
              <a:xfrm>
                <a:off x="4761" y="2581"/>
                <a:ext cx="27" cy="2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260"/>
              <p:cNvSpPr>
                <a:spLocks noChangeArrowheads="1"/>
              </p:cNvSpPr>
              <p:nvPr/>
            </p:nvSpPr>
            <p:spPr bwMode="auto">
              <a:xfrm>
                <a:off x="4778" y="2461"/>
                <a:ext cx="26" cy="28"/>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261"/>
              <p:cNvSpPr>
                <a:spLocks noChangeArrowheads="1"/>
              </p:cNvSpPr>
              <p:nvPr/>
            </p:nvSpPr>
            <p:spPr bwMode="auto">
              <a:xfrm>
                <a:off x="4778" y="2581"/>
                <a:ext cx="26" cy="27"/>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262"/>
              <p:cNvSpPr>
                <a:spLocks noChangeArrowheads="1"/>
              </p:cNvSpPr>
              <p:nvPr/>
            </p:nvSpPr>
            <p:spPr bwMode="auto">
              <a:xfrm>
                <a:off x="4790" y="2461"/>
                <a:ext cx="10" cy="2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263"/>
              <p:cNvSpPr>
                <a:spLocks noChangeArrowheads="1"/>
              </p:cNvSpPr>
              <p:nvPr/>
            </p:nvSpPr>
            <p:spPr bwMode="auto">
              <a:xfrm>
                <a:off x="4790" y="2581"/>
                <a:ext cx="10" cy="2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264"/>
              <p:cNvSpPr>
                <a:spLocks noChangeArrowheads="1"/>
              </p:cNvSpPr>
              <p:nvPr/>
            </p:nvSpPr>
            <p:spPr bwMode="auto">
              <a:xfrm>
                <a:off x="4760" y="2461"/>
                <a:ext cx="2" cy="28"/>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265"/>
              <p:cNvSpPr>
                <a:spLocks noChangeArrowheads="1"/>
              </p:cNvSpPr>
              <p:nvPr/>
            </p:nvSpPr>
            <p:spPr bwMode="auto">
              <a:xfrm>
                <a:off x="4756" y="2461"/>
                <a:ext cx="3" cy="28"/>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66"/>
              <p:cNvSpPr>
                <a:spLocks/>
              </p:cNvSpPr>
              <p:nvPr/>
            </p:nvSpPr>
            <p:spPr bwMode="auto">
              <a:xfrm>
                <a:off x="4412" y="2389"/>
                <a:ext cx="405" cy="291"/>
              </a:xfrm>
              <a:custGeom>
                <a:avLst/>
                <a:gdLst>
                  <a:gd name="T0" fmla="*/ 699 w 843"/>
                  <a:gd name="T1" fmla="*/ 606 h 606"/>
                  <a:gd name="T2" fmla="*/ 699 w 843"/>
                  <a:gd name="T3" fmla="*/ 602 h 606"/>
                  <a:gd name="T4" fmla="*/ 843 w 843"/>
                  <a:gd name="T5" fmla="*/ 602 h 606"/>
                  <a:gd name="T6" fmla="*/ 843 w 843"/>
                  <a:gd name="T7" fmla="*/ 596 h 606"/>
                  <a:gd name="T8" fmla="*/ 843 w 843"/>
                  <a:gd name="T9" fmla="*/ 477 h 606"/>
                  <a:gd name="T10" fmla="*/ 843 w 843"/>
                  <a:gd name="T11" fmla="*/ 467 h 606"/>
                  <a:gd name="T12" fmla="*/ 833 w 843"/>
                  <a:gd name="T13" fmla="*/ 466 h 606"/>
                  <a:gd name="T14" fmla="*/ 833 w 843"/>
                  <a:gd name="T15" fmla="*/ 466 h 606"/>
                  <a:gd name="T16" fmla="*/ 762 w 843"/>
                  <a:gd name="T17" fmla="*/ 461 h 606"/>
                  <a:gd name="T18" fmla="*/ 692 w 843"/>
                  <a:gd name="T19" fmla="*/ 457 h 606"/>
                  <a:gd name="T20" fmla="*/ 682 w 843"/>
                  <a:gd name="T21" fmla="*/ 446 h 606"/>
                  <a:gd name="T22" fmla="*/ 682 w 843"/>
                  <a:gd name="T23" fmla="*/ 410 h 606"/>
                  <a:gd name="T24" fmla="*/ 692 w 843"/>
                  <a:gd name="T25" fmla="*/ 399 h 606"/>
                  <a:gd name="T26" fmla="*/ 762 w 843"/>
                  <a:gd name="T27" fmla="*/ 394 h 606"/>
                  <a:gd name="T28" fmla="*/ 833 w 843"/>
                  <a:gd name="T29" fmla="*/ 389 h 606"/>
                  <a:gd name="T30" fmla="*/ 833 w 843"/>
                  <a:gd name="T31" fmla="*/ 389 h 606"/>
                  <a:gd name="T32" fmla="*/ 843 w 843"/>
                  <a:gd name="T33" fmla="*/ 388 h 606"/>
                  <a:gd name="T34" fmla="*/ 843 w 843"/>
                  <a:gd name="T35" fmla="*/ 378 h 606"/>
                  <a:gd name="T36" fmla="*/ 843 w 843"/>
                  <a:gd name="T37" fmla="*/ 227 h 606"/>
                  <a:gd name="T38" fmla="*/ 843 w 843"/>
                  <a:gd name="T39" fmla="*/ 217 h 606"/>
                  <a:gd name="T40" fmla="*/ 833 w 843"/>
                  <a:gd name="T41" fmla="*/ 217 h 606"/>
                  <a:gd name="T42" fmla="*/ 833 w 843"/>
                  <a:gd name="T43" fmla="*/ 217 h 606"/>
                  <a:gd name="T44" fmla="*/ 762 w 843"/>
                  <a:gd name="T45" fmla="*/ 212 h 606"/>
                  <a:gd name="T46" fmla="*/ 692 w 843"/>
                  <a:gd name="T47" fmla="*/ 207 h 606"/>
                  <a:gd name="T48" fmla="*/ 682 w 843"/>
                  <a:gd name="T49" fmla="*/ 197 h 606"/>
                  <a:gd name="T50" fmla="*/ 682 w 843"/>
                  <a:gd name="T51" fmla="*/ 160 h 606"/>
                  <a:gd name="T52" fmla="*/ 692 w 843"/>
                  <a:gd name="T53" fmla="*/ 149 h 606"/>
                  <a:gd name="T54" fmla="*/ 762 w 843"/>
                  <a:gd name="T55" fmla="*/ 145 h 606"/>
                  <a:gd name="T56" fmla="*/ 833 w 843"/>
                  <a:gd name="T57" fmla="*/ 140 h 606"/>
                  <a:gd name="T58" fmla="*/ 843 w 843"/>
                  <a:gd name="T59" fmla="*/ 139 h 606"/>
                  <a:gd name="T60" fmla="*/ 843 w 843"/>
                  <a:gd name="T61" fmla="*/ 129 h 606"/>
                  <a:gd name="T62" fmla="*/ 843 w 843"/>
                  <a:gd name="T63" fmla="*/ 10 h 606"/>
                  <a:gd name="T64" fmla="*/ 843 w 843"/>
                  <a:gd name="T65" fmla="*/ 4 h 606"/>
                  <a:gd name="T66" fmla="*/ 699 w 843"/>
                  <a:gd name="T67" fmla="*/ 4 h 606"/>
                  <a:gd name="T68" fmla="*/ 699 w 843"/>
                  <a:gd name="T69" fmla="*/ 0 h 606"/>
                  <a:gd name="T70" fmla="*/ 10 w 843"/>
                  <a:gd name="T71" fmla="*/ 0 h 606"/>
                  <a:gd name="T72" fmla="*/ 0 w 843"/>
                  <a:gd name="T73" fmla="*/ 0 h 606"/>
                  <a:gd name="T74" fmla="*/ 0 w 843"/>
                  <a:gd name="T75" fmla="*/ 10 h 606"/>
                  <a:gd name="T76" fmla="*/ 0 w 843"/>
                  <a:gd name="T77" fmla="*/ 596 h 606"/>
                  <a:gd name="T78" fmla="*/ 0 w 843"/>
                  <a:gd name="T79" fmla="*/ 606 h 606"/>
                  <a:gd name="T80" fmla="*/ 10 w 843"/>
                  <a:gd name="T81" fmla="*/ 606 h 606"/>
                  <a:gd name="T82" fmla="*/ 699 w 843"/>
                  <a:gd name="T83" fmla="*/ 606 h 606"/>
                  <a:gd name="T84" fmla="*/ 699 w 843"/>
                  <a:gd name="T85" fmla="*/ 606 h 606"/>
                  <a:gd name="T86" fmla="*/ 699 w 843"/>
                  <a:gd name="T8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3" h="606">
                    <a:moveTo>
                      <a:pt x="699" y="606"/>
                    </a:moveTo>
                    <a:lnTo>
                      <a:pt x="699" y="602"/>
                    </a:lnTo>
                    <a:lnTo>
                      <a:pt x="843" y="602"/>
                    </a:lnTo>
                    <a:lnTo>
                      <a:pt x="843" y="596"/>
                    </a:lnTo>
                    <a:lnTo>
                      <a:pt x="843" y="477"/>
                    </a:lnTo>
                    <a:lnTo>
                      <a:pt x="843" y="467"/>
                    </a:lnTo>
                    <a:lnTo>
                      <a:pt x="833" y="466"/>
                    </a:lnTo>
                    <a:lnTo>
                      <a:pt x="833" y="466"/>
                    </a:lnTo>
                    <a:lnTo>
                      <a:pt x="762" y="461"/>
                    </a:lnTo>
                    <a:lnTo>
                      <a:pt x="692" y="457"/>
                    </a:lnTo>
                    <a:cubicBezTo>
                      <a:pt x="686" y="456"/>
                      <a:pt x="682" y="451"/>
                      <a:pt x="682" y="446"/>
                    </a:cubicBezTo>
                    <a:lnTo>
                      <a:pt x="682" y="410"/>
                    </a:lnTo>
                    <a:cubicBezTo>
                      <a:pt x="682" y="404"/>
                      <a:pt x="686" y="399"/>
                      <a:pt x="692" y="399"/>
                    </a:cubicBezTo>
                    <a:lnTo>
                      <a:pt x="762" y="394"/>
                    </a:lnTo>
                    <a:lnTo>
                      <a:pt x="833" y="389"/>
                    </a:lnTo>
                    <a:lnTo>
                      <a:pt x="833" y="389"/>
                    </a:lnTo>
                    <a:lnTo>
                      <a:pt x="843" y="388"/>
                    </a:lnTo>
                    <a:lnTo>
                      <a:pt x="843" y="378"/>
                    </a:lnTo>
                    <a:lnTo>
                      <a:pt x="843" y="227"/>
                    </a:lnTo>
                    <a:lnTo>
                      <a:pt x="843" y="217"/>
                    </a:lnTo>
                    <a:lnTo>
                      <a:pt x="833" y="217"/>
                    </a:lnTo>
                    <a:lnTo>
                      <a:pt x="833" y="217"/>
                    </a:lnTo>
                    <a:lnTo>
                      <a:pt x="762" y="212"/>
                    </a:lnTo>
                    <a:lnTo>
                      <a:pt x="692" y="207"/>
                    </a:lnTo>
                    <a:cubicBezTo>
                      <a:pt x="686" y="207"/>
                      <a:pt x="682" y="202"/>
                      <a:pt x="682" y="197"/>
                    </a:cubicBezTo>
                    <a:lnTo>
                      <a:pt x="682" y="160"/>
                    </a:lnTo>
                    <a:cubicBezTo>
                      <a:pt x="682" y="154"/>
                      <a:pt x="686" y="150"/>
                      <a:pt x="692" y="149"/>
                    </a:cubicBezTo>
                    <a:lnTo>
                      <a:pt x="762" y="145"/>
                    </a:lnTo>
                    <a:lnTo>
                      <a:pt x="833" y="140"/>
                    </a:lnTo>
                    <a:lnTo>
                      <a:pt x="843" y="139"/>
                    </a:lnTo>
                    <a:lnTo>
                      <a:pt x="843" y="129"/>
                    </a:lnTo>
                    <a:lnTo>
                      <a:pt x="843" y="10"/>
                    </a:lnTo>
                    <a:lnTo>
                      <a:pt x="843" y="4"/>
                    </a:lnTo>
                    <a:lnTo>
                      <a:pt x="699" y="4"/>
                    </a:lnTo>
                    <a:lnTo>
                      <a:pt x="699" y="0"/>
                    </a:lnTo>
                    <a:lnTo>
                      <a:pt x="10" y="0"/>
                    </a:lnTo>
                    <a:lnTo>
                      <a:pt x="0" y="0"/>
                    </a:lnTo>
                    <a:lnTo>
                      <a:pt x="0" y="10"/>
                    </a:lnTo>
                    <a:lnTo>
                      <a:pt x="0" y="596"/>
                    </a:lnTo>
                    <a:lnTo>
                      <a:pt x="0" y="606"/>
                    </a:lnTo>
                    <a:lnTo>
                      <a:pt x="10" y="606"/>
                    </a:lnTo>
                    <a:lnTo>
                      <a:pt x="699" y="606"/>
                    </a:lnTo>
                    <a:lnTo>
                      <a:pt x="699" y="606"/>
                    </a:lnTo>
                    <a:lnTo>
                      <a:pt x="699" y="606"/>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Rectangle 267"/>
              <p:cNvSpPr>
                <a:spLocks noChangeArrowheads="1"/>
              </p:cNvSpPr>
              <p:nvPr/>
            </p:nvSpPr>
            <p:spPr bwMode="auto">
              <a:xfrm>
                <a:off x="4412" y="2389"/>
                <a:ext cx="405" cy="23"/>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268"/>
              <p:cNvSpPr>
                <a:spLocks noChangeArrowheads="1"/>
              </p:cNvSpPr>
              <p:nvPr/>
            </p:nvSpPr>
            <p:spPr bwMode="auto">
              <a:xfrm>
                <a:off x="4412" y="2657"/>
                <a:ext cx="405" cy="23"/>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269"/>
              <p:cNvSpPr>
                <a:spLocks/>
              </p:cNvSpPr>
              <p:nvPr/>
            </p:nvSpPr>
            <p:spPr bwMode="auto">
              <a:xfrm>
                <a:off x="4750" y="2461"/>
                <a:ext cx="67" cy="14"/>
              </a:xfrm>
              <a:custGeom>
                <a:avLst/>
                <a:gdLst>
                  <a:gd name="T0" fmla="*/ 0 w 139"/>
                  <a:gd name="T1" fmla="*/ 29 h 29"/>
                  <a:gd name="T2" fmla="*/ 0 w 139"/>
                  <a:gd name="T3" fmla="*/ 10 h 29"/>
                  <a:gd name="T4" fmla="*/ 10 w 139"/>
                  <a:gd name="T5" fmla="*/ 0 h 29"/>
                  <a:gd name="T6" fmla="*/ 139 w 139"/>
                  <a:gd name="T7" fmla="*/ 0 h 29"/>
                  <a:gd name="T8" fmla="*/ 139 w 139"/>
                  <a:gd name="T9" fmla="*/ 28 h 29"/>
                  <a:gd name="T10" fmla="*/ 0 w 139"/>
                  <a:gd name="T11" fmla="*/ 28 h 29"/>
                  <a:gd name="T12" fmla="*/ 0 w 139"/>
                  <a:gd name="T13" fmla="*/ 29 h 29"/>
                  <a:gd name="T14" fmla="*/ 0 w 13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9">
                    <a:moveTo>
                      <a:pt x="0" y="29"/>
                    </a:moveTo>
                    <a:lnTo>
                      <a:pt x="0" y="10"/>
                    </a:lnTo>
                    <a:cubicBezTo>
                      <a:pt x="0" y="6"/>
                      <a:pt x="3" y="0"/>
                      <a:pt x="10" y="0"/>
                    </a:cubicBezTo>
                    <a:lnTo>
                      <a:pt x="139" y="0"/>
                    </a:lnTo>
                    <a:lnTo>
                      <a:pt x="139" y="28"/>
                    </a:lnTo>
                    <a:lnTo>
                      <a:pt x="0" y="28"/>
                    </a:lnTo>
                    <a:lnTo>
                      <a:pt x="0" y="29"/>
                    </a:lnTo>
                    <a:lnTo>
                      <a:pt x="0"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270"/>
              <p:cNvSpPr>
                <a:spLocks/>
              </p:cNvSpPr>
              <p:nvPr/>
            </p:nvSpPr>
            <p:spPr bwMode="auto">
              <a:xfrm>
                <a:off x="4750" y="2581"/>
                <a:ext cx="67" cy="14"/>
              </a:xfrm>
              <a:custGeom>
                <a:avLst/>
                <a:gdLst>
                  <a:gd name="T0" fmla="*/ 139 w 139"/>
                  <a:gd name="T1" fmla="*/ 29 h 29"/>
                  <a:gd name="T2" fmla="*/ 0 w 139"/>
                  <a:gd name="T3" fmla="*/ 29 h 29"/>
                  <a:gd name="T4" fmla="*/ 0 w 139"/>
                  <a:gd name="T5" fmla="*/ 10 h 29"/>
                  <a:gd name="T6" fmla="*/ 10 w 139"/>
                  <a:gd name="T7" fmla="*/ 0 h 29"/>
                  <a:gd name="T8" fmla="*/ 139 w 139"/>
                  <a:gd name="T9" fmla="*/ 0 h 29"/>
                  <a:gd name="T10" fmla="*/ 139 w 139"/>
                  <a:gd name="T11" fmla="*/ 29 h 29"/>
                  <a:gd name="T12" fmla="*/ 139 w 13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39" h="29">
                    <a:moveTo>
                      <a:pt x="139" y="29"/>
                    </a:moveTo>
                    <a:lnTo>
                      <a:pt x="0" y="29"/>
                    </a:lnTo>
                    <a:lnTo>
                      <a:pt x="0" y="10"/>
                    </a:lnTo>
                    <a:cubicBezTo>
                      <a:pt x="0" y="6"/>
                      <a:pt x="3" y="0"/>
                      <a:pt x="10" y="0"/>
                    </a:cubicBezTo>
                    <a:lnTo>
                      <a:pt x="139" y="0"/>
                    </a:lnTo>
                    <a:lnTo>
                      <a:pt x="139" y="29"/>
                    </a:lnTo>
                    <a:lnTo>
                      <a:pt x="139"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271"/>
              <p:cNvSpPr>
                <a:spLocks/>
              </p:cNvSpPr>
              <p:nvPr/>
            </p:nvSpPr>
            <p:spPr bwMode="auto">
              <a:xfrm>
                <a:off x="4750" y="2595"/>
                <a:ext cx="67" cy="13"/>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72"/>
              <p:cNvSpPr>
                <a:spLocks/>
              </p:cNvSpPr>
              <p:nvPr/>
            </p:nvSpPr>
            <p:spPr bwMode="auto">
              <a:xfrm>
                <a:off x="4750" y="2475"/>
                <a:ext cx="67" cy="14"/>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273"/>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74"/>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75"/>
              <p:cNvSpPr>
                <a:spLocks/>
              </p:cNvSpPr>
              <p:nvPr/>
            </p:nvSpPr>
            <p:spPr bwMode="auto">
              <a:xfrm>
                <a:off x="4743"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6" y="14"/>
                      <a:pt x="66" y="11"/>
                      <a:pt x="66" y="11"/>
                    </a:cubicBezTo>
                    <a:cubicBezTo>
                      <a:pt x="66" y="11"/>
                      <a:pt x="24" y="2"/>
                      <a:pt x="0" y="0"/>
                    </a:cubicBezTo>
                    <a:lnTo>
                      <a:pt x="0" y="5"/>
                    </a:lnTo>
                    <a:cubicBezTo>
                      <a:pt x="24" y="7"/>
                      <a:pt x="66" y="16"/>
                      <a:pt x="66" y="16"/>
                    </a:cubicBezTo>
                    <a:cubicBezTo>
                      <a:pt x="66" y="16"/>
                      <a:pt x="78" y="16"/>
                      <a:pt x="92" y="16"/>
                    </a:cubicBez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276"/>
              <p:cNvSpPr>
                <a:spLocks/>
              </p:cNvSpPr>
              <p:nvPr/>
            </p:nvSpPr>
            <p:spPr bwMode="auto">
              <a:xfrm>
                <a:off x="4731"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7" y="14"/>
                      <a:pt x="66" y="11"/>
                      <a:pt x="66" y="11"/>
                    </a:cubicBezTo>
                    <a:cubicBezTo>
                      <a:pt x="66" y="11"/>
                      <a:pt x="25" y="1"/>
                      <a:pt x="0" y="0"/>
                    </a:cubicBezTo>
                    <a:lnTo>
                      <a:pt x="0" y="5"/>
                    </a:lnTo>
                    <a:cubicBezTo>
                      <a:pt x="25" y="7"/>
                      <a:pt x="66" y="16"/>
                      <a:pt x="66" y="16"/>
                    </a:cubicBezTo>
                    <a:cubicBezTo>
                      <a:pt x="66" y="16"/>
                      <a:pt x="79" y="16"/>
                      <a:pt x="92" y="16"/>
                    </a:cubicBez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277"/>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78"/>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279"/>
              <p:cNvSpPr>
                <a:spLocks/>
              </p:cNvSpPr>
              <p:nvPr/>
            </p:nvSpPr>
            <p:spPr bwMode="auto">
              <a:xfrm>
                <a:off x="4743"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6" y="2"/>
                      <a:pt x="66" y="5"/>
                      <a:pt x="66" y="5"/>
                    </a:cubicBezTo>
                    <a:cubicBezTo>
                      <a:pt x="66" y="5"/>
                      <a:pt x="24" y="15"/>
                      <a:pt x="0" y="16"/>
                    </a:cubicBezTo>
                    <a:lnTo>
                      <a:pt x="0" y="11"/>
                    </a:lnTo>
                    <a:cubicBezTo>
                      <a:pt x="24" y="9"/>
                      <a:pt x="66" y="0"/>
                      <a:pt x="66" y="0"/>
                    </a:cubicBezTo>
                    <a:lnTo>
                      <a:pt x="92"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280"/>
              <p:cNvSpPr>
                <a:spLocks/>
              </p:cNvSpPr>
              <p:nvPr/>
            </p:nvSpPr>
            <p:spPr bwMode="auto">
              <a:xfrm>
                <a:off x="4731"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7" y="2"/>
                      <a:pt x="66" y="5"/>
                      <a:pt x="66" y="5"/>
                    </a:cubicBezTo>
                    <a:cubicBezTo>
                      <a:pt x="66" y="5"/>
                      <a:pt x="25" y="15"/>
                      <a:pt x="0" y="16"/>
                    </a:cubicBezTo>
                    <a:lnTo>
                      <a:pt x="0" y="11"/>
                    </a:lnTo>
                    <a:cubicBezTo>
                      <a:pt x="25" y="9"/>
                      <a:pt x="66" y="0"/>
                      <a:pt x="66" y="0"/>
                    </a:cubicBezTo>
                    <a:lnTo>
                      <a:pt x="92"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281"/>
              <p:cNvSpPr>
                <a:spLocks noEditPoints="1"/>
              </p:cNvSpPr>
              <p:nvPr/>
            </p:nvSpPr>
            <p:spPr bwMode="auto">
              <a:xfrm>
                <a:off x="4666" y="2010"/>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7"/>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1"/>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82"/>
              <p:cNvSpPr>
                <a:spLocks noChangeArrowheads="1"/>
              </p:cNvSpPr>
              <p:nvPr/>
            </p:nvSpPr>
            <p:spPr bwMode="auto">
              <a:xfrm>
                <a:off x="4590" y="2004"/>
                <a:ext cx="213" cy="213"/>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283"/>
              <p:cNvSpPr>
                <a:spLocks/>
              </p:cNvSpPr>
              <p:nvPr/>
            </p:nvSpPr>
            <p:spPr bwMode="auto">
              <a:xfrm>
                <a:off x="4793" y="1980"/>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284"/>
              <p:cNvSpPr>
                <a:spLocks/>
              </p:cNvSpPr>
              <p:nvPr/>
            </p:nvSpPr>
            <p:spPr bwMode="auto">
              <a:xfrm>
                <a:off x="4793" y="1987"/>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285"/>
              <p:cNvSpPr>
                <a:spLocks noChangeArrowheads="1"/>
              </p:cNvSpPr>
              <p:nvPr/>
            </p:nvSpPr>
            <p:spPr bwMode="auto">
              <a:xfrm>
                <a:off x="4533" y="216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86"/>
              <p:cNvSpPr>
                <a:spLocks noChangeArrowheads="1"/>
              </p:cNvSpPr>
              <p:nvPr/>
            </p:nvSpPr>
            <p:spPr bwMode="auto">
              <a:xfrm>
                <a:off x="4533" y="212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287"/>
              <p:cNvSpPr>
                <a:spLocks noChangeArrowheads="1"/>
              </p:cNvSpPr>
              <p:nvPr/>
            </p:nvSpPr>
            <p:spPr bwMode="auto">
              <a:xfrm>
                <a:off x="4533" y="208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Rectangle 288"/>
              <p:cNvSpPr>
                <a:spLocks noChangeArrowheads="1"/>
              </p:cNvSpPr>
              <p:nvPr/>
            </p:nvSpPr>
            <p:spPr bwMode="auto">
              <a:xfrm>
                <a:off x="4533" y="204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289"/>
              <p:cNvSpPr>
                <a:spLocks/>
              </p:cNvSpPr>
              <p:nvPr/>
            </p:nvSpPr>
            <p:spPr bwMode="auto">
              <a:xfrm>
                <a:off x="4793" y="2225"/>
                <a:ext cx="21" cy="16"/>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290"/>
              <p:cNvSpPr>
                <a:spLocks/>
              </p:cNvSpPr>
              <p:nvPr/>
            </p:nvSpPr>
            <p:spPr bwMode="auto">
              <a:xfrm>
                <a:off x="4793" y="2225"/>
                <a:ext cx="20" cy="9"/>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291"/>
              <p:cNvSpPr>
                <a:spLocks noEditPoints="1"/>
              </p:cNvSpPr>
              <p:nvPr/>
            </p:nvSpPr>
            <p:spPr bwMode="auto">
              <a:xfrm>
                <a:off x="4539" y="1986"/>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6"/>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0"/>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292"/>
              <p:cNvSpPr>
                <a:spLocks/>
              </p:cNvSpPr>
              <p:nvPr/>
            </p:nvSpPr>
            <p:spPr bwMode="auto">
              <a:xfrm>
                <a:off x="4750" y="2161"/>
                <a:ext cx="10" cy="23"/>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293"/>
              <p:cNvSpPr>
                <a:spLocks/>
              </p:cNvSpPr>
              <p:nvPr/>
            </p:nvSpPr>
            <p:spPr bwMode="auto">
              <a:xfrm>
                <a:off x="4745" y="2160"/>
                <a:ext cx="5" cy="25"/>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294"/>
              <p:cNvSpPr>
                <a:spLocks/>
              </p:cNvSpPr>
              <p:nvPr/>
            </p:nvSpPr>
            <p:spPr bwMode="auto">
              <a:xfrm>
                <a:off x="4750" y="2037"/>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295"/>
              <p:cNvSpPr>
                <a:spLocks/>
              </p:cNvSpPr>
              <p:nvPr/>
            </p:nvSpPr>
            <p:spPr bwMode="auto">
              <a:xfrm>
                <a:off x="4745" y="2037"/>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Line 296"/>
              <p:cNvSpPr>
                <a:spLocks noChangeShapeType="1"/>
              </p:cNvSpPr>
              <p:nvPr/>
            </p:nvSpPr>
            <p:spPr bwMode="auto">
              <a:xfrm>
                <a:off x="4546" y="2231"/>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8" name="Line 297"/>
              <p:cNvSpPr>
                <a:spLocks noChangeShapeType="1"/>
              </p:cNvSpPr>
              <p:nvPr/>
            </p:nvSpPr>
            <p:spPr bwMode="auto">
              <a:xfrm>
                <a:off x="4546" y="1990"/>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Line 298"/>
              <p:cNvSpPr>
                <a:spLocks noChangeShapeType="1"/>
              </p:cNvSpPr>
              <p:nvPr/>
            </p:nvSpPr>
            <p:spPr bwMode="auto">
              <a:xfrm>
                <a:off x="4799" y="1998"/>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0" name="Freeform 299"/>
              <p:cNvSpPr>
                <a:spLocks/>
              </p:cNvSpPr>
              <p:nvPr/>
            </p:nvSpPr>
            <p:spPr bwMode="auto">
              <a:xfrm>
                <a:off x="4594" y="1971"/>
                <a:ext cx="23" cy="15"/>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300"/>
              <p:cNvSpPr>
                <a:spLocks/>
              </p:cNvSpPr>
              <p:nvPr/>
            </p:nvSpPr>
            <p:spPr bwMode="auto">
              <a:xfrm>
                <a:off x="4594" y="1971"/>
                <a:ext cx="4" cy="15"/>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301"/>
              <p:cNvSpPr>
                <a:spLocks/>
              </p:cNvSpPr>
              <p:nvPr/>
            </p:nvSpPr>
            <p:spPr bwMode="auto">
              <a:xfrm>
                <a:off x="4594" y="2235"/>
                <a:ext cx="23" cy="15"/>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2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2"/>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302"/>
              <p:cNvSpPr>
                <a:spLocks/>
              </p:cNvSpPr>
              <p:nvPr/>
            </p:nvSpPr>
            <p:spPr bwMode="auto">
              <a:xfrm>
                <a:off x="4594" y="2235"/>
                <a:ext cx="4" cy="15"/>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303"/>
              <p:cNvSpPr>
                <a:spLocks noEditPoints="1"/>
              </p:cNvSpPr>
              <p:nvPr/>
            </p:nvSpPr>
            <p:spPr bwMode="auto">
              <a:xfrm>
                <a:off x="4666" y="1605"/>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8"/>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2"/>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Rectangle 304"/>
              <p:cNvSpPr>
                <a:spLocks noChangeArrowheads="1"/>
              </p:cNvSpPr>
              <p:nvPr/>
            </p:nvSpPr>
            <p:spPr bwMode="auto">
              <a:xfrm>
                <a:off x="4590" y="1599"/>
                <a:ext cx="213" cy="21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305"/>
              <p:cNvSpPr>
                <a:spLocks/>
              </p:cNvSpPr>
              <p:nvPr/>
            </p:nvSpPr>
            <p:spPr bwMode="auto">
              <a:xfrm>
                <a:off x="4793" y="1576"/>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306"/>
              <p:cNvSpPr>
                <a:spLocks/>
              </p:cNvSpPr>
              <p:nvPr/>
            </p:nvSpPr>
            <p:spPr bwMode="auto">
              <a:xfrm>
                <a:off x="4793" y="1583"/>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Rectangle 307"/>
              <p:cNvSpPr>
                <a:spLocks noChangeArrowheads="1"/>
              </p:cNvSpPr>
              <p:nvPr/>
            </p:nvSpPr>
            <p:spPr bwMode="auto">
              <a:xfrm>
                <a:off x="4533" y="175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Rectangle 308"/>
              <p:cNvSpPr>
                <a:spLocks noChangeArrowheads="1"/>
              </p:cNvSpPr>
              <p:nvPr/>
            </p:nvSpPr>
            <p:spPr bwMode="auto">
              <a:xfrm>
                <a:off x="4533" y="1715"/>
                <a:ext cx="13" cy="20"/>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Rectangle 309"/>
              <p:cNvSpPr>
                <a:spLocks noChangeArrowheads="1"/>
              </p:cNvSpPr>
              <p:nvPr/>
            </p:nvSpPr>
            <p:spPr bwMode="auto">
              <a:xfrm>
                <a:off x="4533" y="167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Rectangle 310"/>
              <p:cNvSpPr>
                <a:spLocks noChangeArrowheads="1"/>
              </p:cNvSpPr>
              <p:nvPr/>
            </p:nvSpPr>
            <p:spPr bwMode="auto">
              <a:xfrm>
                <a:off x="4533" y="1636"/>
                <a:ext cx="13" cy="18"/>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311"/>
              <p:cNvSpPr>
                <a:spLocks/>
              </p:cNvSpPr>
              <p:nvPr/>
            </p:nvSpPr>
            <p:spPr bwMode="auto">
              <a:xfrm>
                <a:off x="4793" y="1821"/>
                <a:ext cx="21" cy="15"/>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312"/>
              <p:cNvSpPr>
                <a:spLocks/>
              </p:cNvSpPr>
              <p:nvPr/>
            </p:nvSpPr>
            <p:spPr bwMode="auto">
              <a:xfrm>
                <a:off x="4793" y="1821"/>
                <a:ext cx="20" cy="8"/>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313"/>
              <p:cNvSpPr>
                <a:spLocks noEditPoints="1"/>
              </p:cNvSpPr>
              <p:nvPr/>
            </p:nvSpPr>
            <p:spPr bwMode="auto">
              <a:xfrm>
                <a:off x="4539" y="1582"/>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7"/>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1"/>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314"/>
              <p:cNvSpPr>
                <a:spLocks/>
              </p:cNvSpPr>
              <p:nvPr/>
            </p:nvSpPr>
            <p:spPr bwMode="auto">
              <a:xfrm>
                <a:off x="4750" y="1757"/>
                <a:ext cx="10" cy="22"/>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315"/>
              <p:cNvSpPr>
                <a:spLocks/>
              </p:cNvSpPr>
              <p:nvPr/>
            </p:nvSpPr>
            <p:spPr bwMode="auto">
              <a:xfrm>
                <a:off x="4745" y="1756"/>
                <a:ext cx="5" cy="24"/>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316"/>
              <p:cNvSpPr>
                <a:spLocks/>
              </p:cNvSpPr>
              <p:nvPr/>
            </p:nvSpPr>
            <p:spPr bwMode="auto">
              <a:xfrm>
                <a:off x="4750" y="1633"/>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317"/>
              <p:cNvSpPr>
                <a:spLocks/>
              </p:cNvSpPr>
              <p:nvPr/>
            </p:nvSpPr>
            <p:spPr bwMode="auto">
              <a:xfrm>
                <a:off x="4745" y="1632"/>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Line 318"/>
              <p:cNvSpPr>
                <a:spLocks noChangeShapeType="1"/>
              </p:cNvSpPr>
              <p:nvPr/>
            </p:nvSpPr>
            <p:spPr bwMode="auto">
              <a:xfrm>
                <a:off x="4546" y="1827"/>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Line 319"/>
              <p:cNvSpPr>
                <a:spLocks noChangeShapeType="1"/>
              </p:cNvSpPr>
              <p:nvPr/>
            </p:nvSpPr>
            <p:spPr bwMode="auto">
              <a:xfrm>
                <a:off x="4546" y="1586"/>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1" name="Line 320"/>
              <p:cNvSpPr>
                <a:spLocks noChangeShapeType="1"/>
              </p:cNvSpPr>
              <p:nvPr/>
            </p:nvSpPr>
            <p:spPr bwMode="auto">
              <a:xfrm>
                <a:off x="4799" y="1594"/>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2" name="Freeform 321"/>
              <p:cNvSpPr>
                <a:spLocks/>
              </p:cNvSpPr>
              <p:nvPr/>
            </p:nvSpPr>
            <p:spPr bwMode="auto">
              <a:xfrm>
                <a:off x="4594" y="1566"/>
                <a:ext cx="23" cy="16"/>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322"/>
              <p:cNvSpPr>
                <a:spLocks/>
              </p:cNvSpPr>
              <p:nvPr/>
            </p:nvSpPr>
            <p:spPr bwMode="auto">
              <a:xfrm>
                <a:off x="4594" y="1566"/>
                <a:ext cx="4" cy="16"/>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323"/>
              <p:cNvSpPr>
                <a:spLocks/>
              </p:cNvSpPr>
              <p:nvPr/>
            </p:nvSpPr>
            <p:spPr bwMode="auto">
              <a:xfrm>
                <a:off x="4594" y="1831"/>
                <a:ext cx="23" cy="14"/>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3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3"/>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324"/>
              <p:cNvSpPr>
                <a:spLocks/>
              </p:cNvSpPr>
              <p:nvPr/>
            </p:nvSpPr>
            <p:spPr bwMode="auto">
              <a:xfrm>
                <a:off x="4594" y="1831"/>
                <a:ext cx="4" cy="14"/>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Rectangle 325"/>
              <p:cNvSpPr>
                <a:spLocks noChangeArrowheads="1"/>
              </p:cNvSpPr>
              <p:nvPr/>
            </p:nvSpPr>
            <p:spPr bwMode="auto">
              <a:xfrm>
                <a:off x="3803"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Rectangle 326"/>
              <p:cNvSpPr>
                <a:spLocks noChangeArrowheads="1"/>
              </p:cNvSpPr>
              <p:nvPr/>
            </p:nvSpPr>
            <p:spPr bwMode="auto">
              <a:xfrm>
                <a:off x="3803"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Rectangle 327"/>
              <p:cNvSpPr>
                <a:spLocks noChangeArrowheads="1"/>
              </p:cNvSpPr>
              <p:nvPr/>
            </p:nvSpPr>
            <p:spPr bwMode="auto">
              <a:xfrm>
                <a:off x="3803"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Rectangle 328"/>
              <p:cNvSpPr>
                <a:spLocks noChangeArrowheads="1"/>
              </p:cNvSpPr>
              <p:nvPr/>
            </p:nvSpPr>
            <p:spPr bwMode="auto">
              <a:xfrm>
                <a:off x="3803"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Rectangle 329"/>
              <p:cNvSpPr>
                <a:spLocks noChangeArrowheads="1"/>
              </p:cNvSpPr>
              <p:nvPr/>
            </p:nvSpPr>
            <p:spPr bwMode="auto">
              <a:xfrm>
                <a:off x="3803"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Rectangle 330"/>
              <p:cNvSpPr>
                <a:spLocks noChangeArrowheads="1"/>
              </p:cNvSpPr>
              <p:nvPr/>
            </p:nvSpPr>
            <p:spPr bwMode="auto">
              <a:xfrm>
                <a:off x="3803"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Rectangle 331"/>
              <p:cNvSpPr>
                <a:spLocks noChangeArrowheads="1"/>
              </p:cNvSpPr>
              <p:nvPr/>
            </p:nvSpPr>
            <p:spPr bwMode="auto">
              <a:xfrm>
                <a:off x="3803"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Rectangle 332"/>
              <p:cNvSpPr>
                <a:spLocks noChangeArrowheads="1"/>
              </p:cNvSpPr>
              <p:nvPr/>
            </p:nvSpPr>
            <p:spPr bwMode="auto">
              <a:xfrm>
                <a:off x="3803"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Rectangle 333"/>
              <p:cNvSpPr>
                <a:spLocks noChangeArrowheads="1"/>
              </p:cNvSpPr>
              <p:nvPr/>
            </p:nvSpPr>
            <p:spPr bwMode="auto">
              <a:xfrm>
                <a:off x="3803"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Rectangle 334"/>
              <p:cNvSpPr>
                <a:spLocks noChangeArrowheads="1"/>
              </p:cNvSpPr>
              <p:nvPr/>
            </p:nvSpPr>
            <p:spPr bwMode="auto">
              <a:xfrm>
                <a:off x="3803"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Rectangle 335"/>
              <p:cNvSpPr>
                <a:spLocks noChangeArrowheads="1"/>
              </p:cNvSpPr>
              <p:nvPr/>
            </p:nvSpPr>
            <p:spPr bwMode="auto">
              <a:xfrm>
                <a:off x="3803"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Rectangle 336"/>
              <p:cNvSpPr>
                <a:spLocks noChangeArrowheads="1"/>
              </p:cNvSpPr>
              <p:nvPr/>
            </p:nvSpPr>
            <p:spPr bwMode="auto">
              <a:xfrm>
                <a:off x="3803"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Rectangle 337"/>
              <p:cNvSpPr>
                <a:spLocks noChangeArrowheads="1"/>
              </p:cNvSpPr>
              <p:nvPr/>
            </p:nvSpPr>
            <p:spPr bwMode="auto">
              <a:xfrm>
                <a:off x="3803"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Rectangle 338"/>
              <p:cNvSpPr>
                <a:spLocks noChangeArrowheads="1"/>
              </p:cNvSpPr>
              <p:nvPr/>
            </p:nvSpPr>
            <p:spPr bwMode="auto">
              <a:xfrm>
                <a:off x="3803"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Rectangle 339"/>
              <p:cNvSpPr>
                <a:spLocks noChangeArrowheads="1"/>
              </p:cNvSpPr>
              <p:nvPr/>
            </p:nvSpPr>
            <p:spPr bwMode="auto">
              <a:xfrm>
                <a:off x="3803"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Rectangle 340"/>
              <p:cNvSpPr>
                <a:spLocks noChangeArrowheads="1"/>
              </p:cNvSpPr>
              <p:nvPr/>
            </p:nvSpPr>
            <p:spPr bwMode="auto">
              <a:xfrm>
                <a:off x="3899"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Rectangle 341"/>
              <p:cNvSpPr>
                <a:spLocks noChangeArrowheads="1"/>
              </p:cNvSpPr>
              <p:nvPr/>
            </p:nvSpPr>
            <p:spPr bwMode="auto">
              <a:xfrm>
                <a:off x="3899"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Rectangle 342"/>
              <p:cNvSpPr>
                <a:spLocks noChangeArrowheads="1"/>
              </p:cNvSpPr>
              <p:nvPr/>
            </p:nvSpPr>
            <p:spPr bwMode="auto">
              <a:xfrm>
                <a:off x="3899"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Rectangle 343"/>
              <p:cNvSpPr>
                <a:spLocks noChangeArrowheads="1"/>
              </p:cNvSpPr>
              <p:nvPr/>
            </p:nvSpPr>
            <p:spPr bwMode="auto">
              <a:xfrm>
                <a:off x="3899"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Rectangle 344"/>
              <p:cNvSpPr>
                <a:spLocks noChangeArrowheads="1"/>
              </p:cNvSpPr>
              <p:nvPr/>
            </p:nvSpPr>
            <p:spPr bwMode="auto">
              <a:xfrm>
                <a:off x="3899"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Rectangle 345"/>
              <p:cNvSpPr>
                <a:spLocks noChangeArrowheads="1"/>
              </p:cNvSpPr>
              <p:nvPr/>
            </p:nvSpPr>
            <p:spPr bwMode="auto">
              <a:xfrm>
                <a:off x="3899"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Rectangle 346"/>
              <p:cNvSpPr>
                <a:spLocks noChangeArrowheads="1"/>
              </p:cNvSpPr>
              <p:nvPr/>
            </p:nvSpPr>
            <p:spPr bwMode="auto">
              <a:xfrm>
                <a:off x="3899"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Rectangle 347"/>
              <p:cNvSpPr>
                <a:spLocks noChangeArrowheads="1"/>
              </p:cNvSpPr>
              <p:nvPr/>
            </p:nvSpPr>
            <p:spPr bwMode="auto">
              <a:xfrm>
                <a:off x="3899"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Rectangle 348"/>
              <p:cNvSpPr>
                <a:spLocks noChangeArrowheads="1"/>
              </p:cNvSpPr>
              <p:nvPr/>
            </p:nvSpPr>
            <p:spPr bwMode="auto">
              <a:xfrm>
                <a:off x="3899"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Rectangle 349"/>
              <p:cNvSpPr>
                <a:spLocks noChangeArrowheads="1"/>
              </p:cNvSpPr>
              <p:nvPr/>
            </p:nvSpPr>
            <p:spPr bwMode="auto">
              <a:xfrm>
                <a:off x="3899"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Rectangle 350"/>
              <p:cNvSpPr>
                <a:spLocks noChangeArrowheads="1"/>
              </p:cNvSpPr>
              <p:nvPr/>
            </p:nvSpPr>
            <p:spPr bwMode="auto">
              <a:xfrm>
                <a:off x="3899"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Rectangle 351"/>
              <p:cNvSpPr>
                <a:spLocks noChangeArrowheads="1"/>
              </p:cNvSpPr>
              <p:nvPr/>
            </p:nvSpPr>
            <p:spPr bwMode="auto">
              <a:xfrm>
                <a:off x="3899"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Rectangle 352"/>
              <p:cNvSpPr>
                <a:spLocks noChangeArrowheads="1"/>
              </p:cNvSpPr>
              <p:nvPr/>
            </p:nvSpPr>
            <p:spPr bwMode="auto">
              <a:xfrm>
                <a:off x="3899"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Rectangle 353"/>
              <p:cNvSpPr>
                <a:spLocks noChangeArrowheads="1"/>
              </p:cNvSpPr>
              <p:nvPr/>
            </p:nvSpPr>
            <p:spPr bwMode="auto">
              <a:xfrm>
                <a:off x="3899"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Rectangle 354"/>
              <p:cNvSpPr>
                <a:spLocks noChangeArrowheads="1"/>
              </p:cNvSpPr>
              <p:nvPr/>
            </p:nvSpPr>
            <p:spPr bwMode="auto">
              <a:xfrm>
                <a:off x="3899"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Rectangle 355"/>
              <p:cNvSpPr>
                <a:spLocks noChangeArrowheads="1"/>
              </p:cNvSpPr>
              <p:nvPr/>
            </p:nvSpPr>
            <p:spPr bwMode="auto">
              <a:xfrm>
                <a:off x="3899"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Rectangle 356"/>
              <p:cNvSpPr>
                <a:spLocks noChangeArrowheads="1"/>
              </p:cNvSpPr>
              <p:nvPr/>
            </p:nvSpPr>
            <p:spPr bwMode="auto">
              <a:xfrm>
                <a:off x="3899"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Rectangle 357"/>
              <p:cNvSpPr>
                <a:spLocks noChangeArrowheads="1"/>
              </p:cNvSpPr>
              <p:nvPr/>
            </p:nvSpPr>
            <p:spPr bwMode="auto">
              <a:xfrm>
                <a:off x="3899"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Rectangle 358"/>
              <p:cNvSpPr>
                <a:spLocks noChangeArrowheads="1"/>
              </p:cNvSpPr>
              <p:nvPr/>
            </p:nvSpPr>
            <p:spPr bwMode="auto">
              <a:xfrm>
                <a:off x="3899"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Rectangle 359"/>
              <p:cNvSpPr>
                <a:spLocks noChangeArrowheads="1"/>
              </p:cNvSpPr>
              <p:nvPr/>
            </p:nvSpPr>
            <p:spPr bwMode="auto">
              <a:xfrm>
                <a:off x="3899"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Rectangle 360"/>
              <p:cNvSpPr>
                <a:spLocks noChangeArrowheads="1"/>
              </p:cNvSpPr>
              <p:nvPr/>
            </p:nvSpPr>
            <p:spPr bwMode="auto">
              <a:xfrm>
                <a:off x="3899"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Rectangle 361"/>
              <p:cNvSpPr>
                <a:spLocks noChangeArrowheads="1"/>
              </p:cNvSpPr>
              <p:nvPr/>
            </p:nvSpPr>
            <p:spPr bwMode="auto">
              <a:xfrm>
                <a:off x="3899"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Rectangle 362"/>
              <p:cNvSpPr>
                <a:spLocks noChangeArrowheads="1"/>
              </p:cNvSpPr>
              <p:nvPr/>
            </p:nvSpPr>
            <p:spPr bwMode="auto">
              <a:xfrm>
                <a:off x="3899"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Rectangle 363"/>
              <p:cNvSpPr>
                <a:spLocks noChangeArrowheads="1"/>
              </p:cNvSpPr>
              <p:nvPr/>
            </p:nvSpPr>
            <p:spPr bwMode="auto">
              <a:xfrm>
                <a:off x="3899"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Rectangle 364"/>
              <p:cNvSpPr>
                <a:spLocks noChangeArrowheads="1"/>
              </p:cNvSpPr>
              <p:nvPr/>
            </p:nvSpPr>
            <p:spPr bwMode="auto">
              <a:xfrm>
                <a:off x="3899"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365"/>
              <p:cNvSpPr>
                <a:spLocks noChangeArrowheads="1"/>
              </p:cNvSpPr>
              <p:nvPr/>
            </p:nvSpPr>
            <p:spPr bwMode="auto">
              <a:xfrm>
                <a:off x="3899"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Rectangle 366"/>
              <p:cNvSpPr>
                <a:spLocks noChangeArrowheads="1"/>
              </p:cNvSpPr>
              <p:nvPr/>
            </p:nvSpPr>
            <p:spPr bwMode="auto">
              <a:xfrm>
                <a:off x="3899"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367"/>
              <p:cNvSpPr>
                <a:spLocks noChangeArrowheads="1"/>
              </p:cNvSpPr>
              <p:nvPr/>
            </p:nvSpPr>
            <p:spPr bwMode="auto">
              <a:xfrm>
                <a:off x="3899"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368"/>
              <p:cNvSpPr>
                <a:spLocks noChangeArrowheads="1"/>
              </p:cNvSpPr>
              <p:nvPr/>
            </p:nvSpPr>
            <p:spPr bwMode="auto">
              <a:xfrm>
                <a:off x="3899"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369"/>
              <p:cNvSpPr>
                <a:spLocks noChangeArrowheads="1"/>
              </p:cNvSpPr>
              <p:nvPr/>
            </p:nvSpPr>
            <p:spPr bwMode="auto">
              <a:xfrm>
                <a:off x="3899"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370"/>
              <p:cNvSpPr>
                <a:spLocks noChangeArrowheads="1"/>
              </p:cNvSpPr>
              <p:nvPr/>
            </p:nvSpPr>
            <p:spPr bwMode="auto">
              <a:xfrm>
                <a:off x="3899"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371"/>
              <p:cNvSpPr>
                <a:spLocks noChangeArrowheads="1"/>
              </p:cNvSpPr>
              <p:nvPr/>
            </p:nvSpPr>
            <p:spPr bwMode="auto">
              <a:xfrm>
                <a:off x="3899"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372"/>
              <p:cNvSpPr>
                <a:spLocks noChangeArrowheads="1"/>
              </p:cNvSpPr>
              <p:nvPr/>
            </p:nvSpPr>
            <p:spPr bwMode="auto">
              <a:xfrm>
                <a:off x="3899"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Rectangle 373"/>
              <p:cNvSpPr>
                <a:spLocks noChangeArrowheads="1"/>
              </p:cNvSpPr>
              <p:nvPr/>
            </p:nvSpPr>
            <p:spPr bwMode="auto">
              <a:xfrm>
                <a:off x="3899"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Rectangle 374"/>
              <p:cNvSpPr>
                <a:spLocks noChangeArrowheads="1"/>
              </p:cNvSpPr>
              <p:nvPr/>
            </p:nvSpPr>
            <p:spPr bwMode="auto">
              <a:xfrm>
                <a:off x="3899"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Rectangle 375"/>
              <p:cNvSpPr>
                <a:spLocks noChangeArrowheads="1"/>
              </p:cNvSpPr>
              <p:nvPr/>
            </p:nvSpPr>
            <p:spPr bwMode="auto">
              <a:xfrm>
                <a:off x="3899"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Rectangle 376"/>
              <p:cNvSpPr>
                <a:spLocks noChangeArrowheads="1"/>
              </p:cNvSpPr>
              <p:nvPr/>
            </p:nvSpPr>
            <p:spPr bwMode="auto">
              <a:xfrm>
                <a:off x="3899"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Rectangle 377"/>
              <p:cNvSpPr>
                <a:spLocks noChangeArrowheads="1"/>
              </p:cNvSpPr>
              <p:nvPr/>
            </p:nvSpPr>
            <p:spPr bwMode="auto">
              <a:xfrm>
                <a:off x="3899"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Rectangle 378"/>
              <p:cNvSpPr>
                <a:spLocks noChangeArrowheads="1"/>
              </p:cNvSpPr>
              <p:nvPr/>
            </p:nvSpPr>
            <p:spPr bwMode="auto">
              <a:xfrm>
                <a:off x="3899"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Rectangle 379"/>
              <p:cNvSpPr>
                <a:spLocks noChangeArrowheads="1"/>
              </p:cNvSpPr>
              <p:nvPr/>
            </p:nvSpPr>
            <p:spPr bwMode="auto">
              <a:xfrm>
                <a:off x="3899"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Rectangle 380"/>
              <p:cNvSpPr>
                <a:spLocks noChangeArrowheads="1"/>
              </p:cNvSpPr>
              <p:nvPr/>
            </p:nvSpPr>
            <p:spPr bwMode="auto">
              <a:xfrm>
                <a:off x="3899"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Rectangle 381"/>
              <p:cNvSpPr>
                <a:spLocks noChangeArrowheads="1"/>
              </p:cNvSpPr>
              <p:nvPr/>
            </p:nvSpPr>
            <p:spPr bwMode="auto">
              <a:xfrm>
                <a:off x="3899"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Rectangle 382"/>
              <p:cNvSpPr>
                <a:spLocks noChangeArrowheads="1"/>
              </p:cNvSpPr>
              <p:nvPr/>
            </p:nvSpPr>
            <p:spPr bwMode="auto">
              <a:xfrm>
                <a:off x="3899"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Rectangle 383"/>
              <p:cNvSpPr>
                <a:spLocks noChangeArrowheads="1"/>
              </p:cNvSpPr>
              <p:nvPr/>
            </p:nvSpPr>
            <p:spPr bwMode="auto">
              <a:xfrm>
                <a:off x="3899"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Rectangle 384"/>
              <p:cNvSpPr>
                <a:spLocks noChangeArrowheads="1"/>
              </p:cNvSpPr>
              <p:nvPr/>
            </p:nvSpPr>
            <p:spPr bwMode="auto">
              <a:xfrm>
                <a:off x="3899"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Rectangle 385"/>
              <p:cNvSpPr>
                <a:spLocks noChangeArrowheads="1"/>
              </p:cNvSpPr>
              <p:nvPr/>
            </p:nvSpPr>
            <p:spPr bwMode="auto">
              <a:xfrm>
                <a:off x="3803"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Rectangle 386"/>
              <p:cNvSpPr>
                <a:spLocks noChangeArrowheads="1"/>
              </p:cNvSpPr>
              <p:nvPr/>
            </p:nvSpPr>
            <p:spPr bwMode="auto">
              <a:xfrm>
                <a:off x="3803"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Rectangle 387"/>
              <p:cNvSpPr>
                <a:spLocks noChangeArrowheads="1"/>
              </p:cNvSpPr>
              <p:nvPr/>
            </p:nvSpPr>
            <p:spPr bwMode="auto">
              <a:xfrm>
                <a:off x="3803"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Rectangle 388"/>
              <p:cNvSpPr>
                <a:spLocks noChangeArrowheads="1"/>
              </p:cNvSpPr>
              <p:nvPr/>
            </p:nvSpPr>
            <p:spPr bwMode="auto">
              <a:xfrm>
                <a:off x="3803"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Rectangle 389"/>
              <p:cNvSpPr>
                <a:spLocks noChangeArrowheads="1"/>
              </p:cNvSpPr>
              <p:nvPr/>
            </p:nvSpPr>
            <p:spPr bwMode="auto">
              <a:xfrm>
                <a:off x="3803"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Rectangle 390"/>
              <p:cNvSpPr>
                <a:spLocks noChangeArrowheads="1"/>
              </p:cNvSpPr>
              <p:nvPr/>
            </p:nvSpPr>
            <p:spPr bwMode="auto">
              <a:xfrm>
                <a:off x="3803"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Rectangle 391"/>
              <p:cNvSpPr>
                <a:spLocks noChangeArrowheads="1"/>
              </p:cNvSpPr>
              <p:nvPr/>
            </p:nvSpPr>
            <p:spPr bwMode="auto">
              <a:xfrm>
                <a:off x="3803"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Rectangle 392"/>
              <p:cNvSpPr>
                <a:spLocks noChangeArrowheads="1"/>
              </p:cNvSpPr>
              <p:nvPr/>
            </p:nvSpPr>
            <p:spPr bwMode="auto">
              <a:xfrm>
                <a:off x="3803"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Rectangle 393"/>
              <p:cNvSpPr>
                <a:spLocks noChangeArrowheads="1"/>
              </p:cNvSpPr>
              <p:nvPr/>
            </p:nvSpPr>
            <p:spPr bwMode="auto">
              <a:xfrm>
                <a:off x="3803"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Rectangle 394"/>
              <p:cNvSpPr>
                <a:spLocks noChangeArrowheads="1"/>
              </p:cNvSpPr>
              <p:nvPr/>
            </p:nvSpPr>
            <p:spPr bwMode="auto">
              <a:xfrm>
                <a:off x="3803"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Rectangle 395"/>
              <p:cNvSpPr>
                <a:spLocks noChangeArrowheads="1"/>
              </p:cNvSpPr>
              <p:nvPr/>
            </p:nvSpPr>
            <p:spPr bwMode="auto">
              <a:xfrm>
                <a:off x="3803"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Rectangle 396"/>
              <p:cNvSpPr>
                <a:spLocks noChangeArrowheads="1"/>
              </p:cNvSpPr>
              <p:nvPr/>
            </p:nvSpPr>
            <p:spPr bwMode="auto">
              <a:xfrm>
                <a:off x="3803"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Rectangle 397"/>
              <p:cNvSpPr>
                <a:spLocks noChangeArrowheads="1"/>
              </p:cNvSpPr>
              <p:nvPr/>
            </p:nvSpPr>
            <p:spPr bwMode="auto">
              <a:xfrm>
                <a:off x="3803"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Rectangle 398"/>
              <p:cNvSpPr>
                <a:spLocks noChangeArrowheads="1"/>
              </p:cNvSpPr>
              <p:nvPr/>
            </p:nvSpPr>
            <p:spPr bwMode="auto">
              <a:xfrm>
                <a:off x="3803"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Rectangle 399"/>
              <p:cNvSpPr>
                <a:spLocks noChangeArrowheads="1"/>
              </p:cNvSpPr>
              <p:nvPr/>
            </p:nvSpPr>
            <p:spPr bwMode="auto">
              <a:xfrm>
                <a:off x="3803"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Rectangle 400"/>
              <p:cNvSpPr>
                <a:spLocks noChangeArrowheads="1"/>
              </p:cNvSpPr>
              <p:nvPr/>
            </p:nvSpPr>
            <p:spPr bwMode="auto">
              <a:xfrm>
                <a:off x="3803"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Rectangle 401"/>
              <p:cNvSpPr>
                <a:spLocks noChangeArrowheads="1"/>
              </p:cNvSpPr>
              <p:nvPr/>
            </p:nvSpPr>
            <p:spPr bwMode="auto">
              <a:xfrm>
                <a:off x="3803"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Rectangle 402"/>
              <p:cNvSpPr>
                <a:spLocks noChangeArrowheads="1"/>
              </p:cNvSpPr>
              <p:nvPr/>
            </p:nvSpPr>
            <p:spPr bwMode="auto">
              <a:xfrm>
                <a:off x="3803"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Rectangle 403"/>
              <p:cNvSpPr>
                <a:spLocks noChangeArrowheads="1"/>
              </p:cNvSpPr>
              <p:nvPr/>
            </p:nvSpPr>
            <p:spPr bwMode="auto">
              <a:xfrm>
                <a:off x="3803"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Rectangle 404"/>
              <p:cNvSpPr>
                <a:spLocks noChangeArrowheads="1"/>
              </p:cNvSpPr>
              <p:nvPr/>
            </p:nvSpPr>
            <p:spPr bwMode="auto">
              <a:xfrm>
                <a:off x="3803"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Rectangle 405"/>
              <p:cNvSpPr>
                <a:spLocks noChangeArrowheads="1"/>
              </p:cNvSpPr>
              <p:nvPr/>
            </p:nvSpPr>
            <p:spPr bwMode="auto">
              <a:xfrm>
                <a:off x="3803"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607"/>
            <p:cNvGrpSpPr>
              <a:grpSpLocks/>
            </p:cNvGrpSpPr>
            <p:nvPr/>
          </p:nvGrpSpPr>
          <p:grpSpPr bwMode="auto">
            <a:xfrm>
              <a:off x="4543426" y="2398713"/>
              <a:ext cx="2312988" cy="1989138"/>
              <a:chOff x="2862" y="1511"/>
              <a:chExt cx="1457" cy="1253"/>
            </a:xfrm>
          </p:grpSpPr>
          <p:sp>
            <p:nvSpPr>
              <p:cNvPr id="217" name="Rectangle 407"/>
              <p:cNvSpPr>
                <a:spLocks noChangeArrowheads="1"/>
              </p:cNvSpPr>
              <p:nvPr/>
            </p:nvSpPr>
            <p:spPr bwMode="auto">
              <a:xfrm>
                <a:off x="3803"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408"/>
              <p:cNvSpPr>
                <a:spLocks noChangeArrowheads="1"/>
              </p:cNvSpPr>
              <p:nvPr/>
            </p:nvSpPr>
            <p:spPr bwMode="auto">
              <a:xfrm>
                <a:off x="3803"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409"/>
              <p:cNvSpPr>
                <a:spLocks noChangeArrowheads="1"/>
              </p:cNvSpPr>
              <p:nvPr/>
            </p:nvSpPr>
            <p:spPr bwMode="auto">
              <a:xfrm>
                <a:off x="3803"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410"/>
              <p:cNvSpPr>
                <a:spLocks noChangeArrowheads="1"/>
              </p:cNvSpPr>
              <p:nvPr/>
            </p:nvSpPr>
            <p:spPr bwMode="auto">
              <a:xfrm>
                <a:off x="3803"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411"/>
              <p:cNvSpPr>
                <a:spLocks noChangeArrowheads="1"/>
              </p:cNvSpPr>
              <p:nvPr/>
            </p:nvSpPr>
            <p:spPr bwMode="auto">
              <a:xfrm>
                <a:off x="3803"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412"/>
              <p:cNvSpPr>
                <a:spLocks noChangeArrowheads="1"/>
              </p:cNvSpPr>
              <p:nvPr/>
            </p:nvSpPr>
            <p:spPr bwMode="auto">
              <a:xfrm>
                <a:off x="3803"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413"/>
              <p:cNvSpPr>
                <a:spLocks noChangeArrowheads="1"/>
              </p:cNvSpPr>
              <p:nvPr/>
            </p:nvSpPr>
            <p:spPr bwMode="auto">
              <a:xfrm>
                <a:off x="3803"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414"/>
              <p:cNvSpPr>
                <a:spLocks noChangeArrowheads="1"/>
              </p:cNvSpPr>
              <p:nvPr/>
            </p:nvSpPr>
            <p:spPr bwMode="auto">
              <a:xfrm>
                <a:off x="3803"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415"/>
              <p:cNvSpPr>
                <a:spLocks noChangeArrowheads="1"/>
              </p:cNvSpPr>
              <p:nvPr/>
            </p:nvSpPr>
            <p:spPr bwMode="auto">
              <a:xfrm>
                <a:off x="3803"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6"/>
              <p:cNvSpPr>
                <a:spLocks/>
              </p:cNvSpPr>
              <p:nvPr/>
            </p:nvSpPr>
            <p:spPr bwMode="auto">
              <a:xfrm>
                <a:off x="3833" y="2231"/>
                <a:ext cx="94" cy="530"/>
              </a:xfrm>
              <a:custGeom>
                <a:avLst/>
                <a:gdLst>
                  <a:gd name="T0" fmla="*/ 139 w 196"/>
                  <a:gd name="T1" fmla="*/ 1104 h 1104"/>
                  <a:gd name="T2" fmla="*/ 139 w 196"/>
                  <a:gd name="T3" fmla="*/ 867 h 1104"/>
                  <a:gd name="T4" fmla="*/ 196 w 196"/>
                  <a:gd name="T5" fmla="*/ 867 h 1104"/>
                  <a:gd name="T6" fmla="*/ 196 w 196"/>
                  <a:gd name="T7" fmla="*/ 237 h 1104"/>
                  <a:gd name="T8" fmla="*/ 139 w 196"/>
                  <a:gd name="T9" fmla="*/ 237 h 1104"/>
                  <a:gd name="T10" fmla="*/ 139 w 196"/>
                  <a:gd name="T11" fmla="*/ 0 h 1104"/>
                  <a:gd name="T12" fmla="*/ 0 w 196"/>
                  <a:gd name="T13" fmla="*/ 0 h 1104"/>
                  <a:gd name="T14" fmla="*/ 0 w 196"/>
                  <a:gd name="T15" fmla="*/ 1104 h 1104"/>
                  <a:gd name="T16" fmla="*/ 139 w 196"/>
                  <a:gd name="T17" fmla="*/ 110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139" y="1104"/>
                    </a:moveTo>
                    <a:lnTo>
                      <a:pt x="139" y="867"/>
                    </a:lnTo>
                    <a:lnTo>
                      <a:pt x="196" y="867"/>
                    </a:lnTo>
                    <a:lnTo>
                      <a:pt x="196" y="237"/>
                    </a:lnTo>
                    <a:lnTo>
                      <a:pt x="139" y="237"/>
                    </a:lnTo>
                    <a:lnTo>
                      <a:pt x="139" y="0"/>
                    </a:lnTo>
                    <a:lnTo>
                      <a:pt x="0" y="0"/>
                    </a:lnTo>
                    <a:lnTo>
                      <a:pt x="0" y="1104"/>
                    </a:lnTo>
                    <a:lnTo>
                      <a:pt x="139" y="1104"/>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17"/>
              <p:cNvSpPr>
                <a:spLocks/>
              </p:cNvSpPr>
              <p:nvPr/>
            </p:nvSpPr>
            <p:spPr bwMode="auto">
              <a:xfrm>
                <a:off x="3833" y="2757"/>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418"/>
              <p:cNvSpPr>
                <a:spLocks noChangeArrowheads="1"/>
              </p:cNvSpPr>
              <p:nvPr/>
            </p:nvSpPr>
            <p:spPr bwMode="auto">
              <a:xfrm>
                <a:off x="3842" y="2293"/>
                <a:ext cx="21"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419"/>
              <p:cNvSpPr>
                <a:spLocks noChangeArrowheads="1"/>
              </p:cNvSpPr>
              <p:nvPr/>
            </p:nvSpPr>
            <p:spPr bwMode="auto">
              <a:xfrm>
                <a:off x="3900" y="2643"/>
                <a:ext cx="27"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20"/>
              <p:cNvSpPr>
                <a:spLocks/>
              </p:cNvSpPr>
              <p:nvPr/>
            </p:nvSpPr>
            <p:spPr bwMode="auto">
              <a:xfrm>
                <a:off x="3833" y="2231"/>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421"/>
              <p:cNvSpPr>
                <a:spLocks noChangeArrowheads="1"/>
              </p:cNvSpPr>
              <p:nvPr/>
            </p:nvSpPr>
            <p:spPr bwMode="auto">
              <a:xfrm>
                <a:off x="3900" y="2345"/>
                <a:ext cx="27" cy="4"/>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422"/>
              <p:cNvSpPr>
                <a:spLocks noChangeArrowheads="1"/>
              </p:cNvSpPr>
              <p:nvPr/>
            </p:nvSpPr>
            <p:spPr bwMode="auto">
              <a:xfrm>
                <a:off x="3842" y="2288"/>
                <a:ext cx="21"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23"/>
              <p:cNvSpPr>
                <a:spLocks noChangeArrowheads="1"/>
              </p:cNvSpPr>
              <p:nvPr/>
            </p:nvSpPr>
            <p:spPr bwMode="auto">
              <a:xfrm>
                <a:off x="3842" y="2699"/>
                <a:ext cx="2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24"/>
              <p:cNvSpPr>
                <a:spLocks noChangeArrowheads="1"/>
              </p:cNvSpPr>
              <p:nvPr/>
            </p:nvSpPr>
            <p:spPr bwMode="auto">
              <a:xfrm>
                <a:off x="2976" y="230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5"/>
              <p:cNvSpPr>
                <a:spLocks noChangeArrowheads="1"/>
              </p:cNvSpPr>
              <p:nvPr/>
            </p:nvSpPr>
            <p:spPr bwMode="auto">
              <a:xfrm>
                <a:off x="2976" y="227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26"/>
              <p:cNvSpPr>
                <a:spLocks noChangeArrowheads="1"/>
              </p:cNvSpPr>
              <p:nvPr/>
            </p:nvSpPr>
            <p:spPr bwMode="auto">
              <a:xfrm>
                <a:off x="2976" y="225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27"/>
              <p:cNvSpPr>
                <a:spLocks noChangeArrowheads="1"/>
              </p:cNvSpPr>
              <p:nvPr/>
            </p:nvSpPr>
            <p:spPr bwMode="auto">
              <a:xfrm>
                <a:off x="2976" y="223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28"/>
              <p:cNvSpPr>
                <a:spLocks noChangeArrowheads="1"/>
              </p:cNvSpPr>
              <p:nvPr/>
            </p:nvSpPr>
            <p:spPr bwMode="auto">
              <a:xfrm>
                <a:off x="2976" y="220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29"/>
              <p:cNvSpPr>
                <a:spLocks noChangeArrowheads="1"/>
              </p:cNvSpPr>
              <p:nvPr/>
            </p:nvSpPr>
            <p:spPr bwMode="auto">
              <a:xfrm>
                <a:off x="2976" y="218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30"/>
              <p:cNvSpPr>
                <a:spLocks noChangeArrowheads="1"/>
              </p:cNvSpPr>
              <p:nvPr/>
            </p:nvSpPr>
            <p:spPr bwMode="auto">
              <a:xfrm>
                <a:off x="2976" y="215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31"/>
              <p:cNvSpPr>
                <a:spLocks noChangeArrowheads="1"/>
              </p:cNvSpPr>
              <p:nvPr/>
            </p:nvSpPr>
            <p:spPr bwMode="auto">
              <a:xfrm>
                <a:off x="2976" y="213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32"/>
              <p:cNvSpPr>
                <a:spLocks noChangeArrowheads="1"/>
              </p:cNvSpPr>
              <p:nvPr/>
            </p:nvSpPr>
            <p:spPr bwMode="auto">
              <a:xfrm>
                <a:off x="2976" y="211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433"/>
              <p:cNvSpPr>
                <a:spLocks noChangeArrowheads="1"/>
              </p:cNvSpPr>
              <p:nvPr/>
            </p:nvSpPr>
            <p:spPr bwMode="auto">
              <a:xfrm>
                <a:off x="2976" y="208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434"/>
              <p:cNvSpPr>
                <a:spLocks noChangeArrowheads="1"/>
              </p:cNvSpPr>
              <p:nvPr/>
            </p:nvSpPr>
            <p:spPr bwMode="auto">
              <a:xfrm>
                <a:off x="2976" y="206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435"/>
              <p:cNvSpPr>
                <a:spLocks noChangeArrowheads="1"/>
              </p:cNvSpPr>
              <p:nvPr/>
            </p:nvSpPr>
            <p:spPr bwMode="auto">
              <a:xfrm>
                <a:off x="2976" y="203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436"/>
              <p:cNvSpPr>
                <a:spLocks noChangeArrowheads="1"/>
              </p:cNvSpPr>
              <p:nvPr/>
            </p:nvSpPr>
            <p:spPr bwMode="auto">
              <a:xfrm>
                <a:off x="2976" y="201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437"/>
              <p:cNvSpPr>
                <a:spLocks noChangeArrowheads="1"/>
              </p:cNvSpPr>
              <p:nvPr/>
            </p:nvSpPr>
            <p:spPr bwMode="auto">
              <a:xfrm>
                <a:off x="2976" y="199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438"/>
              <p:cNvSpPr>
                <a:spLocks noChangeArrowheads="1"/>
              </p:cNvSpPr>
              <p:nvPr/>
            </p:nvSpPr>
            <p:spPr bwMode="auto">
              <a:xfrm>
                <a:off x="2976" y="196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439"/>
              <p:cNvSpPr>
                <a:spLocks noChangeArrowheads="1"/>
              </p:cNvSpPr>
              <p:nvPr/>
            </p:nvSpPr>
            <p:spPr bwMode="auto">
              <a:xfrm>
                <a:off x="2880" y="230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440"/>
              <p:cNvSpPr>
                <a:spLocks noChangeArrowheads="1"/>
              </p:cNvSpPr>
              <p:nvPr/>
            </p:nvSpPr>
            <p:spPr bwMode="auto">
              <a:xfrm>
                <a:off x="2880" y="227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441"/>
              <p:cNvSpPr>
                <a:spLocks noChangeArrowheads="1"/>
              </p:cNvSpPr>
              <p:nvPr/>
            </p:nvSpPr>
            <p:spPr bwMode="auto">
              <a:xfrm>
                <a:off x="2880" y="2254"/>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442"/>
              <p:cNvSpPr>
                <a:spLocks noChangeArrowheads="1"/>
              </p:cNvSpPr>
              <p:nvPr/>
            </p:nvSpPr>
            <p:spPr bwMode="auto">
              <a:xfrm>
                <a:off x="2880" y="2230"/>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443"/>
              <p:cNvSpPr>
                <a:spLocks noChangeArrowheads="1"/>
              </p:cNvSpPr>
              <p:nvPr/>
            </p:nvSpPr>
            <p:spPr bwMode="auto">
              <a:xfrm>
                <a:off x="2880" y="2206"/>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444"/>
              <p:cNvSpPr>
                <a:spLocks noChangeArrowheads="1"/>
              </p:cNvSpPr>
              <p:nvPr/>
            </p:nvSpPr>
            <p:spPr bwMode="auto">
              <a:xfrm>
                <a:off x="2880" y="218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445"/>
              <p:cNvSpPr>
                <a:spLocks noChangeArrowheads="1"/>
              </p:cNvSpPr>
              <p:nvPr/>
            </p:nvSpPr>
            <p:spPr bwMode="auto">
              <a:xfrm>
                <a:off x="2880" y="215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446"/>
              <p:cNvSpPr>
                <a:spLocks noChangeArrowheads="1"/>
              </p:cNvSpPr>
              <p:nvPr/>
            </p:nvSpPr>
            <p:spPr bwMode="auto">
              <a:xfrm>
                <a:off x="2880" y="213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447"/>
              <p:cNvSpPr>
                <a:spLocks noChangeArrowheads="1"/>
              </p:cNvSpPr>
              <p:nvPr/>
            </p:nvSpPr>
            <p:spPr bwMode="auto">
              <a:xfrm>
                <a:off x="2880" y="211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448"/>
              <p:cNvSpPr>
                <a:spLocks noChangeArrowheads="1"/>
              </p:cNvSpPr>
              <p:nvPr/>
            </p:nvSpPr>
            <p:spPr bwMode="auto">
              <a:xfrm>
                <a:off x="2880" y="208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449"/>
              <p:cNvSpPr>
                <a:spLocks noChangeArrowheads="1"/>
              </p:cNvSpPr>
              <p:nvPr/>
            </p:nvSpPr>
            <p:spPr bwMode="auto">
              <a:xfrm>
                <a:off x="2880" y="2063"/>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450"/>
              <p:cNvSpPr>
                <a:spLocks noChangeArrowheads="1"/>
              </p:cNvSpPr>
              <p:nvPr/>
            </p:nvSpPr>
            <p:spPr bwMode="auto">
              <a:xfrm>
                <a:off x="2880" y="2039"/>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451"/>
              <p:cNvSpPr>
                <a:spLocks noChangeArrowheads="1"/>
              </p:cNvSpPr>
              <p:nvPr/>
            </p:nvSpPr>
            <p:spPr bwMode="auto">
              <a:xfrm>
                <a:off x="2880" y="201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452"/>
              <p:cNvSpPr>
                <a:spLocks noChangeArrowheads="1"/>
              </p:cNvSpPr>
              <p:nvPr/>
            </p:nvSpPr>
            <p:spPr bwMode="auto">
              <a:xfrm>
                <a:off x="2880" y="199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453"/>
              <p:cNvSpPr>
                <a:spLocks noChangeArrowheads="1"/>
              </p:cNvSpPr>
              <p:nvPr/>
            </p:nvSpPr>
            <p:spPr bwMode="auto">
              <a:xfrm>
                <a:off x="2880" y="196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454"/>
              <p:cNvSpPr>
                <a:spLocks noChangeArrowheads="1"/>
              </p:cNvSpPr>
              <p:nvPr/>
            </p:nvSpPr>
            <p:spPr bwMode="auto">
              <a:xfrm>
                <a:off x="2880" y="230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455"/>
              <p:cNvSpPr>
                <a:spLocks noChangeArrowheads="1"/>
              </p:cNvSpPr>
              <p:nvPr/>
            </p:nvSpPr>
            <p:spPr bwMode="auto">
              <a:xfrm>
                <a:off x="2880" y="2278"/>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456"/>
              <p:cNvSpPr>
                <a:spLocks noChangeArrowheads="1"/>
              </p:cNvSpPr>
              <p:nvPr/>
            </p:nvSpPr>
            <p:spPr bwMode="auto">
              <a:xfrm>
                <a:off x="2880" y="2254"/>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457"/>
              <p:cNvSpPr>
                <a:spLocks noChangeArrowheads="1"/>
              </p:cNvSpPr>
              <p:nvPr/>
            </p:nvSpPr>
            <p:spPr bwMode="auto">
              <a:xfrm>
                <a:off x="2880" y="2230"/>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458"/>
              <p:cNvSpPr>
                <a:spLocks noChangeArrowheads="1"/>
              </p:cNvSpPr>
              <p:nvPr/>
            </p:nvSpPr>
            <p:spPr bwMode="auto">
              <a:xfrm>
                <a:off x="2880" y="2206"/>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459"/>
              <p:cNvSpPr>
                <a:spLocks noChangeArrowheads="1"/>
              </p:cNvSpPr>
              <p:nvPr/>
            </p:nvSpPr>
            <p:spPr bwMode="auto">
              <a:xfrm>
                <a:off x="2880" y="218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460"/>
              <p:cNvSpPr>
                <a:spLocks noChangeArrowheads="1"/>
              </p:cNvSpPr>
              <p:nvPr/>
            </p:nvSpPr>
            <p:spPr bwMode="auto">
              <a:xfrm>
                <a:off x="2880" y="2158"/>
                <a:ext cx="3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461"/>
              <p:cNvSpPr>
                <a:spLocks noChangeArrowheads="1"/>
              </p:cNvSpPr>
              <p:nvPr/>
            </p:nvSpPr>
            <p:spPr bwMode="auto">
              <a:xfrm>
                <a:off x="2880" y="213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462"/>
              <p:cNvSpPr>
                <a:spLocks noChangeArrowheads="1"/>
              </p:cNvSpPr>
              <p:nvPr/>
            </p:nvSpPr>
            <p:spPr bwMode="auto">
              <a:xfrm>
                <a:off x="2880" y="211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463"/>
              <p:cNvSpPr>
                <a:spLocks noChangeArrowheads="1"/>
              </p:cNvSpPr>
              <p:nvPr/>
            </p:nvSpPr>
            <p:spPr bwMode="auto">
              <a:xfrm>
                <a:off x="2880" y="208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464"/>
              <p:cNvSpPr>
                <a:spLocks noChangeArrowheads="1"/>
              </p:cNvSpPr>
              <p:nvPr/>
            </p:nvSpPr>
            <p:spPr bwMode="auto">
              <a:xfrm>
                <a:off x="2880" y="2063"/>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465"/>
              <p:cNvSpPr>
                <a:spLocks noChangeArrowheads="1"/>
              </p:cNvSpPr>
              <p:nvPr/>
            </p:nvSpPr>
            <p:spPr bwMode="auto">
              <a:xfrm>
                <a:off x="2880" y="2039"/>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466"/>
              <p:cNvSpPr>
                <a:spLocks noChangeArrowheads="1"/>
              </p:cNvSpPr>
              <p:nvPr/>
            </p:nvSpPr>
            <p:spPr bwMode="auto">
              <a:xfrm>
                <a:off x="2880" y="201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467"/>
              <p:cNvSpPr>
                <a:spLocks noChangeArrowheads="1"/>
              </p:cNvSpPr>
              <p:nvPr/>
            </p:nvSpPr>
            <p:spPr bwMode="auto">
              <a:xfrm>
                <a:off x="2880" y="199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468"/>
              <p:cNvSpPr>
                <a:spLocks noChangeArrowheads="1"/>
              </p:cNvSpPr>
              <p:nvPr/>
            </p:nvSpPr>
            <p:spPr bwMode="auto">
              <a:xfrm>
                <a:off x="2880" y="196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469"/>
              <p:cNvSpPr>
                <a:spLocks noChangeArrowheads="1"/>
              </p:cNvSpPr>
              <p:nvPr/>
            </p:nvSpPr>
            <p:spPr bwMode="auto">
              <a:xfrm>
                <a:off x="2880" y="2315"/>
                <a:ext cx="31"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470"/>
              <p:cNvSpPr>
                <a:spLocks noChangeArrowheads="1"/>
              </p:cNvSpPr>
              <p:nvPr/>
            </p:nvSpPr>
            <p:spPr bwMode="auto">
              <a:xfrm>
                <a:off x="2880" y="229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471"/>
              <p:cNvSpPr>
                <a:spLocks noChangeArrowheads="1"/>
              </p:cNvSpPr>
              <p:nvPr/>
            </p:nvSpPr>
            <p:spPr bwMode="auto">
              <a:xfrm>
                <a:off x="2880" y="226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472"/>
              <p:cNvSpPr>
                <a:spLocks noChangeArrowheads="1"/>
              </p:cNvSpPr>
              <p:nvPr/>
            </p:nvSpPr>
            <p:spPr bwMode="auto">
              <a:xfrm>
                <a:off x="2880" y="224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473"/>
              <p:cNvSpPr>
                <a:spLocks noChangeArrowheads="1"/>
              </p:cNvSpPr>
              <p:nvPr/>
            </p:nvSpPr>
            <p:spPr bwMode="auto">
              <a:xfrm>
                <a:off x="2880" y="222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474"/>
              <p:cNvSpPr>
                <a:spLocks noChangeArrowheads="1"/>
              </p:cNvSpPr>
              <p:nvPr/>
            </p:nvSpPr>
            <p:spPr bwMode="auto">
              <a:xfrm>
                <a:off x="2880" y="219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475"/>
              <p:cNvSpPr>
                <a:spLocks noChangeArrowheads="1"/>
              </p:cNvSpPr>
              <p:nvPr/>
            </p:nvSpPr>
            <p:spPr bwMode="auto">
              <a:xfrm>
                <a:off x="2880" y="217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476"/>
              <p:cNvSpPr>
                <a:spLocks noChangeArrowheads="1"/>
              </p:cNvSpPr>
              <p:nvPr/>
            </p:nvSpPr>
            <p:spPr bwMode="auto">
              <a:xfrm>
                <a:off x="2880" y="214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477"/>
              <p:cNvSpPr>
                <a:spLocks noChangeArrowheads="1"/>
              </p:cNvSpPr>
              <p:nvPr/>
            </p:nvSpPr>
            <p:spPr bwMode="auto">
              <a:xfrm>
                <a:off x="2880" y="212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478"/>
              <p:cNvSpPr>
                <a:spLocks noChangeArrowheads="1"/>
              </p:cNvSpPr>
              <p:nvPr/>
            </p:nvSpPr>
            <p:spPr bwMode="auto">
              <a:xfrm>
                <a:off x="2880" y="210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479"/>
              <p:cNvSpPr>
                <a:spLocks noChangeArrowheads="1"/>
              </p:cNvSpPr>
              <p:nvPr/>
            </p:nvSpPr>
            <p:spPr bwMode="auto">
              <a:xfrm>
                <a:off x="2880" y="207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480"/>
              <p:cNvSpPr>
                <a:spLocks noChangeArrowheads="1"/>
              </p:cNvSpPr>
              <p:nvPr/>
            </p:nvSpPr>
            <p:spPr bwMode="auto">
              <a:xfrm>
                <a:off x="2880" y="2053"/>
                <a:ext cx="31"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481"/>
              <p:cNvSpPr>
                <a:spLocks noChangeArrowheads="1"/>
              </p:cNvSpPr>
              <p:nvPr/>
            </p:nvSpPr>
            <p:spPr bwMode="auto">
              <a:xfrm>
                <a:off x="2880" y="202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482"/>
              <p:cNvSpPr>
                <a:spLocks noChangeArrowheads="1"/>
              </p:cNvSpPr>
              <p:nvPr/>
            </p:nvSpPr>
            <p:spPr bwMode="auto">
              <a:xfrm>
                <a:off x="2880" y="200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483"/>
              <p:cNvSpPr>
                <a:spLocks noChangeArrowheads="1"/>
              </p:cNvSpPr>
              <p:nvPr/>
            </p:nvSpPr>
            <p:spPr bwMode="auto">
              <a:xfrm>
                <a:off x="2880" y="198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484"/>
              <p:cNvSpPr>
                <a:spLocks noChangeArrowheads="1"/>
              </p:cNvSpPr>
              <p:nvPr/>
            </p:nvSpPr>
            <p:spPr bwMode="auto">
              <a:xfrm>
                <a:off x="2976" y="2315"/>
                <a:ext cx="30"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485"/>
              <p:cNvSpPr>
                <a:spLocks noChangeArrowheads="1"/>
              </p:cNvSpPr>
              <p:nvPr/>
            </p:nvSpPr>
            <p:spPr bwMode="auto">
              <a:xfrm>
                <a:off x="2976" y="229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486"/>
              <p:cNvSpPr>
                <a:spLocks noChangeArrowheads="1"/>
              </p:cNvSpPr>
              <p:nvPr/>
            </p:nvSpPr>
            <p:spPr bwMode="auto">
              <a:xfrm>
                <a:off x="2976" y="226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487"/>
              <p:cNvSpPr>
                <a:spLocks noChangeArrowheads="1"/>
              </p:cNvSpPr>
              <p:nvPr/>
            </p:nvSpPr>
            <p:spPr bwMode="auto">
              <a:xfrm>
                <a:off x="2976" y="224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88"/>
              <p:cNvSpPr>
                <a:spLocks noChangeArrowheads="1"/>
              </p:cNvSpPr>
              <p:nvPr/>
            </p:nvSpPr>
            <p:spPr bwMode="auto">
              <a:xfrm>
                <a:off x="2976" y="222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489"/>
              <p:cNvSpPr>
                <a:spLocks noChangeArrowheads="1"/>
              </p:cNvSpPr>
              <p:nvPr/>
            </p:nvSpPr>
            <p:spPr bwMode="auto">
              <a:xfrm>
                <a:off x="2976" y="219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490"/>
              <p:cNvSpPr>
                <a:spLocks noChangeArrowheads="1"/>
              </p:cNvSpPr>
              <p:nvPr/>
            </p:nvSpPr>
            <p:spPr bwMode="auto">
              <a:xfrm>
                <a:off x="2976" y="217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491"/>
              <p:cNvSpPr>
                <a:spLocks noChangeArrowheads="1"/>
              </p:cNvSpPr>
              <p:nvPr/>
            </p:nvSpPr>
            <p:spPr bwMode="auto">
              <a:xfrm>
                <a:off x="2976" y="214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492"/>
              <p:cNvSpPr>
                <a:spLocks noChangeArrowheads="1"/>
              </p:cNvSpPr>
              <p:nvPr/>
            </p:nvSpPr>
            <p:spPr bwMode="auto">
              <a:xfrm>
                <a:off x="2976" y="212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493"/>
              <p:cNvSpPr>
                <a:spLocks noChangeArrowheads="1"/>
              </p:cNvSpPr>
              <p:nvPr/>
            </p:nvSpPr>
            <p:spPr bwMode="auto">
              <a:xfrm>
                <a:off x="2976" y="210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494"/>
              <p:cNvSpPr>
                <a:spLocks noChangeArrowheads="1"/>
              </p:cNvSpPr>
              <p:nvPr/>
            </p:nvSpPr>
            <p:spPr bwMode="auto">
              <a:xfrm>
                <a:off x="2976" y="207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495"/>
              <p:cNvSpPr>
                <a:spLocks noChangeArrowheads="1"/>
              </p:cNvSpPr>
              <p:nvPr/>
            </p:nvSpPr>
            <p:spPr bwMode="auto">
              <a:xfrm>
                <a:off x="2976" y="2053"/>
                <a:ext cx="30"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496"/>
              <p:cNvSpPr>
                <a:spLocks noChangeArrowheads="1"/>
              </p:cNvSpPr>
              <p:nvPr/>
            </p:nvSpPr>
            <p:spPr bwMode="auto">
              <a:xfrm>
                <a:off x="2976" y="20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497"/>
              <p:cNvSpPr>
                <a:spLocks noChangeArrowheads="1"/>
              </p:cNvSpPr>
              <p:nvPr/>
            </p:nvSpPr>
            <p:spPr bwMode="auto">
              <a:xfrm>
                <a:off x="2976" y="20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498"/>
              <p:cNvSpPr>
                <a:spLocks noChangeArrowheads="1"/>
              </p:cNvSpPr>
              <p:nvPr/>
            </p:nvSpPr>
            <p:spPr bwMode="auto">
              <a:xfrm>
                <a:off x="2976" y="19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499"/>
              <p:cNvSpPr>
                <a:spLocks noChangeArrowheads="1"/>
              </p:cNvSpPr>
              <p:nvPr/>
            </p:nvSpPr>
            <p:spPr bwMode="auto">
              <a:xfrm>
                <a:off x="2976" y="23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500"/>
              <p:cNvSpPr>
                <a:spLocks noChangeArrowheads="1"/>
              </p:cNvSpPr>
              <p:nvPr/>
            </p:nvSpPr>
            <p:spPr bwMode="auto">
              <a:xfrm>
                <a:off x="2976" y="22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501"/>
              <p:cNvSpPr>
                <a:spLocks noChangeArrowheads="1"/>
              </p:cNvSpPr>
              <p:nvPr/>
            </p:nvSpPr>
            <p:spPr bwMode="auto">
              <a:xfrm>
                <a:off x="2976" y="225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502"/>
              <p:cNvSpPr>
                <a:spLocks noChangeArrowheads="1"/>
              </p:cNvSpPr>
              <p:nvPr/>
            </p:nvSpPr>
            <p:spPr bwMode="auto">
              <a:xfrm>
                <a:off x="2976" y="223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503"/>
              <p:cNvSpPr>
                <a:spLocks noChangeArrowheads="1"/>
              </p:cNvSpPr>
              <p:nvPr/>
            </p:nvSpPr>
            <p:spPr bwMode="auto">
              <a:xfrm>
                <a:off x="2976" y="220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504"/>
              <p:cNvSpPr>
                <a:spLocks noChangeArrowheads="1"/>
              </p:cNvSpPr>
              <p:nvPr/>
            </p:nvSpPr>
            <p:spPr bwMode="auto">
              <a:xfrm>
                <a:off x="2976" y="218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505"/>
              <p:cNvSpPr>
                <a:spLocks noChangeArrowheads="1"/>
              </p:cNvSpPr>
              <p:nvPr/>
            </p:nvSpPr>
            <p:spPr bwMode="auto">
              <a:xfrm>
                <a:off x="2976" y="2158"/>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506"/>
              <p:cNvSpPr>
                <a:spLocks noChangeArrowheads="1"/>
              </p:cNvSpPr>
              <p:nvPr/>
            </p:nvSpPr>
            <p:spPr bwMode="auto">
              <a:xfrm>
                <a:off x="2976" y="213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507"/>
              <p:cNvSpPr>
                <a:spLocks noChangeArrowheads="1"/>
              </p:cNvSpPr>
              <p:nvPr/>
            </p:nvSpPr>
            <p:spPr bwMode="auto">
              <a:xfrm>
                <a:off x="2976" y="211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508"/>
              <p:cNvSpPr>
                <a:spLocks noChangeArrowheads="1"/>
              </p:cNvSpPr>
              <p:nvPr/>
            </p:nvSpPr>
            <p:spPr bwMode="auto">
              <a:xfrm>
                <a:off x="2976" y="208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509"/>
              <p:cNvSpPr>
                <a:spLocks noChangeArrowheads="1"/>
              </p:cNvSpPr>
              <p:nvPr/>
            </p:nvSpPr>
            <p:spPr bwMode="auto">
              <a:xfrm>
                <a:off x="2976" y="2063"/>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510"/>
              <p:cNvSpPr>
                <a:spLocks noChangeArrowheads="1"/>
              </p:cNvSpPr>
              <p:nvPr/>
            </p:nvSpPr>
            <p:spPr bwMode="auto">
              <a:xfrm>
                <a:off x="2976" y="2039"/>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511"/>
              <p:cNvSpPr>
                <a:spLocks noChangeArrowheads="1"/>
              </p:cNvSpPr>
              <p:nvPr/>
            </p:nvSpPr>
            <p:spPr bwMode="auto">
              <a:xfrm>
                <a:off x="2976" y="201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512"/>
              <p:cNvSpPr>
                <a:spLocks noChangeArrowheads="1"/>
              </p:cNvSpPr>
              <p:nvPr/>
            </p:nvSpPr>
            <p:spPr bwMode="auto">
              <a:xfrm>
                <a:off x="2976" y="199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513"/>
              <p:cNvSpPr>
                <a:spLocks noChangeArrowheads="1"/>
              </p:cNvSpPr>
              <p:nvPr/>
            </p:nvSpPr>
            <p:spPr bwMode="auto">
              <a:xfrm>
                <a:off x="2976" y="196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14"/>
              <p:cNvSpPr>
                <a:spLocks/>
              </p:cNvSpPr>
              <p:nvPr/>
            </p:nvSpPr>
            <p:spPr bwMode="auto">
              <a:xfrm>
                <a:off x="2882" y="1873"/>
                <a:ext cx="94" cy="531"/>
              </a:xfrm>
              <a:custGeom>
                <a:avLst/>
                <a:gdLst>
                  <a:gd name="T0" fmla="*/ 57 w 196"/>
                  <a:gd name="T1" fmla="*/ 0 h 1104"/>
                  <a:gd name="T2" fmla="*/ 57 w 196"/>
                  <a:gd name="T3" fmla="*/ 237 h 1104"/>
                  <a:gd name="T4" fmla="*/ 0 w 196"/>
                  <a:gd name="T5" fmla="*/ 237 h 1104"/>
                  <a:gd name="T6" fmla="*/ 0 w 196"/>
                  <a:gd name="T7" fmla="*/ 867 h 1104"/>
                  <a:gd name="T8" fmla="*/ 57 w 196"/>
                  <a:gd name="T9" fmla="*/ 867 h 1104"/>
                  <a:gd name="T10" fmla="*/ 57 w 196"/>
                  <a:gd name="T11" fmla="*/ 1104 h 1104"/>
                  <a:gd name="T12" fmla="*/ 196 w 196"/>
                  <a:gd name="T13" fmla="*/ 1104 h 1104"/>
                  <a:gd name="T14" fmla="*/ 196 w 196"/>
                  <a:gd name="T15" fmla="*/ 0 h 1104"/>
                  <a:gd name="T16" fmla="*/ 57 w 196"/>
                  <a:gd name="T17" fmla="*/ 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57" y="0"/>
                    </a:moveTo>
                    <a:lnTo>
                      <a:pt x="57" y="237"/>
                    </a:lnTo>
                    <a:lnTo>
                      <a:pt x="0" y="237"/>
                    </a:lnTo>
                    <a:lnTo>
                      <a:pt x="0" y="867"/>
                    </a:lnTo>
                    <a:lnTo>
                      <a:pt x="57" y="867"/>
                    </a:lnTo>
                    <a:lnTo>
                      <a:pt x="57" y="1104"/>
                    </a:lnTo>
                    <a:lnTo>
                      <a:pt x="196" y="1104"/>
                    </a:lnTo>
                    <a:lnTo>
                      <a:pt x="196" y="0"/>
                    </a:lnTo>
                    <a:lnTo>
                      <a:pt x="57" y="0"/>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5"/>
              <p:cNvSpPr>
                <a:spLocks/>
              </p:cNvSpPr>
              <p:nvPr/>
            </p:nvSpPr>
            <p:spPr bwMode="auto">
              <a:xfrm>
                <a:off x="2909" y="1873"/>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16"/>
              <p:cNvSpPr>
                <a:spLocks noChangeArrowheads="1"/>
              </p:cNvSpPr>
              <p:nvPr/>
            </p:nvSpPr>
            <p:spPr bwMode="auto">
              <a:xfrm>
                <a:off x="2947" y="1935"/>
                <a:ext cx="20"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517"/>
              <p:cNvSpPr>
                <a:spLocks noChangeArrowheads="1"/>
              </p:cNvSpPr>
              <p:nvPr/>
            </p:nvSpPr>
            <p:spPr bwMode="auto">
              <a:xfrm>
                <a:off x="2882" y="1987"/>
                <a:ext cx="27" cy="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18"/>
              <p:cNvSpPr>
                <a:spLocks/>
              </p:cNvSpPr>
              <p:nvPr/>
            </p:nvSpPr>
            <p:spPr bwMode="auto">
              <a:xfrm>
                <a:off x="2909" y="2399"/>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519"/>
              <p:cNvSpPr>
                <a:spLocks noChangeArrowheads="1"/>
              </p:cNvSpPr>
              <p:nvPr/>
            </p:nvSpPr>
            <p:spPr bwMode="auto">
              <a:xfrm>
                <a:off x="2882" y="2285"/>
                <a:ext cx="27"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520"/>
              <p:cNvSpPr>
                <a:spLocks noChangeArrowheads="1"/>
              </p:cNvSpPr>
              <p:nvPr/>
            </p:nvSpPr>
            <p:spPr bwMode="auto">
              <a:xfrm>
                <a:off x="2947" y="2341"/>
                <a:ext cx="20"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21"/>
              <p:cNvSpPr>
                <a:spLocks noChangeArrowheads="1"/>
              </p:cNvSpPr>
              <p:nvPr/>
            </p:nvSpPr>
            <p:spPr bwMode="auto">
              <a:xfrm>
                <a:off x="2946" y="1933"/>
                <a:ext cx="2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522"/>
              <p:cNvSpPr>
                <a:spLocks noEditPoints="1"/>
              </p:cNvSpPr>
              <p:nvPr/>
            </p:nvSpPr>
            <p:spPr bwMode="auto">
              <a:xfrm>
                <a:off x="3061" y="1901"/>
                <a:ext cx="326" cy="382"/>
              </a:xfrm>
              <a:custGeom>
                <a:avLst/>
                <a:gdLst>
                  <a:gd name="T0" fmla="*/ 519 w 678"/>
                  <a:gd name="T1" fmla="*/ 231 h 795"/>
                  <a:gd name="T2" fmla="*/ 592 w 678"/>
                  <a:gd name="T3" fmla="*/ 156 h 795"/>
                  <a:gd name="T4" fmla="*/ 615 w 678"/>
                  <a:gd name="T5" fmla="*/ 66 h 795"/>
                  <a:gd name="T6" fmla="*/ 528 w 678"/>
                  <a:gd name="T7" fmla="*/ 14 h 795"/>
                  <a:gd name="T8" fmla="*/ 430 w 678"/>
                  <a:gd name="T9" fmla="*/ 17 h 795"/>
                  <a:gd name="T10" fmla="*/ 339 w 678"/>
                  <a:gd name="T11" fmla="*/ 99 h 795"/>
                  <a:gd name="T12" fmla="*/ 248 w 678"/>
                  <a:gd name="T13" fmla="*/ 17 h 795"/>
                  <a:gd name="T14" fmla="*/ 184 w 678"/>
                  <a:gd name="T15" fmla="*/ 11 h 795"/>
                  <a:gd name="T16" fmla="*/ 88 w 678"/>
                  <a:gd name="T17" fmla="*/ 33 h 795"/>
                  <a:gd name="T18" fmla="*/ 74 w 678"/>
                  <a:gd name="T19" fmla="*/ 128 h 795"/>
                  <a:gd name="T20" fmla="*/ 133 w 678"/>
                  <a:gd name="T21" fmla="*/ 211 h 795"/>
                  <a:gd name="T22" fmla="*/ 83 w 678"/>
                  <a:gd name="T23" fmla="*/ 364 h 795"/>
                  <a:gd name="T24" fmla="*/ 161 w 678"/>
                  <a:gd name="T25" fmla="*/ 706 h 795"/>
                  <a:gd name="T26" fmla="*/ 340 w 678"/>
                  <a:gd name="T27" fmla="*/ 795 h 795"/>
                  <a:gd name="T28" fmla="*/ 600 w 678"/>
                  <a:gd name="T29" fmla="*/ 600 h 795"/>
                  <a:gd name="T30" fmla="*/ 555 w 678"/>
                  <a:gd name="T31" fmla="*/ 352 h 795"/>
                  <a:gd name="T32" fmla="*/ 494 w 678"/>
                  <a:gd name="T33" fmla="*/ 495 h 795"/>
                  <a:gd name="T34" fmla="*/ 509 w 678"/>
                  <a:gd name="T35" fmla="*/ 372 h 795"/>
                  <a:gd name="T36" fmla="*/ 398 w 678"/>
                  <a:gd name="T37" fmla="*/ 63 h 795"/>
                  <a:gd name="T38" fmla="*/ 450 w 678"/>
                  <a:gd name="T39" fmla="*/ 30 h 795"/>
                  <a:gd name="T40" fmla="*/ 478 w 678"/>
                  <a:gd name="T41" fmla="*/ 41 h 795"/>
                  <a:gd name="T42" fmla="*/ 539 w 678"/>
                  <a:gd name="T43" fmla="*/ 33 h 795"/>
                  <a:gd name="T44" fmla="*/ 564 w 678"/>
                  <a:gd name="T45" fmla="*/ 52 h 795"/>
                  <a:gd name="T46" fmla="*/ 602 w 678"/>
                  <a:gd name="T47" fmla="*/ 81 h 795"/>
                  <a:gd name="T48" fmla="*/ 572 w 678"/>
                  <a:gd name="T49" fmla="*/ 134 h 795"/>
                  <a:gd name="T50" fmla="*/ 573 w 678"/>
                  <a:gd name="T51" fmla="*/ 161 h 795"/>
                  <a:gd name="T52" fmla="*/ 516 w 678"/>
                  <a:gd name="T53" fmla="*/ 201 h 795"/>
                  <a:gd name="T54" fmla="*/ 496 w 678"/>
                  <a:gd name="T55" fmla="*/ 225 h 795"/>
                  <a:gd name="T56" fmla="*/ 384 w 678"/>
                  <a:gd name="T57" fmla="*/ 161 h 795"/>
                  <a:gd name="T58" fmla="*/ 339 w 678"/>
                  <a:gd name="T59" fmla="*/ 323 h 795"/>
                  <a:gd name="T60" fmla="*/ 421 w 678"/>
                  <a:gd name="T61" fmla="*/ 281 h 795"/>
                  <a:gd name="T62" fmla="*/ 127 w 678"/>
                  <a:gd name="T63" fmla="*/ 186 h 795"/>
                  <a:gd name="T64" fmla="*/ 122 w 678"/>
                  <a:gd name="T65" fmla="*/ 158 h 795"/>
                  <a:gd name="T66" fmla="*/ 84 w 678"/>
                  <a:gd name="T67" fmla="*/ 107 h 795"/>
                  <a:gd name="T68" fmla="*/ 94 w 678"/>
                  <a:gd name="T69" fmla="*/ 81 h 795"/>
                  <a:gd name="T70" fmla="*/ 107 w 678"/>
                  <a:gd name="T71" fmla="*/ 43 h 795"/>
                  <a:gd name="T72" fmla="*/ 175 w 678"/>
                  <a:gd name="T73" fmla="*/ 42 h 795"/>
                  <a:gd name="T74" fmla="*/ 198 w 678"/>
                  <a:gd name="T75" fmla="*/ 26 h 795"/>
                  <a:gd name="T76" fmla="*/ 253 w 678"/>
                  <a:gd name="T77" fmla="*/ 50 h 795"/>
                  <a:gd name="T78" fmla="*/ 287 w 678"/>
                  <a:gd name="T79" fmla="*/ 51 h 795"/>
                  <a:gd name="T80" fmla="*/ 284 w 678"/>
                  <a:gd name="T81" fmla="*/ 175 h 795"/>
                  <a:gd name="T82" fmla="*/ 153 w 678"/>
                  <a:gd name="T83" fmla="*/ 208 h 795"/>
                  <a:gd name="T84" fmla="*/ 239 w 678"/>
                  <a:gd name="T85" fmla="*/ 245 h 795"/>
                  <a:gd name="T86" fmla="*/ 84 w 678"/>
                  <a:gd name="T87" fmla="*/ 533 h 795"/>
                  <a:gd name="T88" fmla="*/ 116 w 678"/>
                  <a:gd name="T89" fmla="*/ 544 h 795"/>
                  <a:gd name="T90" fmla="*/ 185 w 678"/>
                  <a:gd name="T91" fmla="*/ 500 h 795"/>
                  <a:gd name="T92" fmla="*/ 289 w 678"/>
                  <a:gd name="T93" fmla="*/ 341 h 795"/>
                  <a:gd name="T94" fmla="*/ 339 w 678"/>
                  <a:gd name="T95" fmla="*/ 771 h 795"/>
                  <a:gd name="T96" fmla="*/ 426 w 678"/>
                  <a:gd name="T97" fmla="*/ 716 h 795"/>
                  <a:gd name="T98" fmla="*/ 341 w 678"/>
                  <a:gd name="T99" fmla="*/ 661 h 795"/>
                  <a:gd name="T100" fmla="*/ 431 w 678"/>
                  <a:gd name="T101" fmla="*/ 578 h 795"/>
                  <a:gd name="T102" fmla="*/ 447 w 678"/>
                  <a:gd name="T103" fmla="*/ 684 h 795"/>
                  <a:gd name="T104" fmla="*/ 556 w 678"/>
                  <a:gd name="T105" fmla="*/ 644 h 795"/>
                  <a:gd name="T106" fmla="*/ 586 w 678"/>
                  <a:gd name="T107" fmla="*/ 531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8" h="795">
                    <a:moveTo>
                      <a:pt x="595" y="364"/>
                    </a:moveTo>
                    <a:lnTo>
                      <a:pt x="589" y="354"/>
                    </a:lnTo>
                    <a:cubicBezTo>
                      <a:pt x="590" y="283"/>
                      <a:pt x="557" y="253"/>
                      <a:pt x="519" y="231"/>
                    </a:cubicBezTo>
                    <a:cubicBezTo>
                      <a:pt x="530" y="228"/>
                      <a:pt x="542" y="226"/>
                      <a:pt x="546" y="211"/>
                    </a:cubicBezTo>
                    <a:cubicBezTo>
                      <a:pt x="565" y="206"/>
                      <a:pt x="569" y="196"/>
                      <a:pt x="571" y="187"/>
                    </a:cubicBezTo>
                    <a:cubicBezTo>
                      <a:pt x="577" y="183"/>
                      <a:pt x="594" y="173"/>
                      <a:pt x="592" y="156"/>
                    </a:cubicBezTo>
                    <a:cubicBezTo>
                      <a:pt x="602" y="149"/>
                      <a:pt x="607" y="141"/>
                      <a:pt x="605" y="128"/>
                    </a:cubicBezTo>
                    <a:cubicBezTo>
                      <a:pt x="615" y="117"/>
                      <a:pt x="618" y="107"/>
                      <a:pt x="613" y="98"/>
                    </a:cubicBezTo>
                    <a:cubicBezTo>
                      <a:pt x="626" y="83"/>
                      <a:pt x="620" y="74"/>
                      <a:pt x="615" y="66"/>
                    </a:cubicBezTo>
                    <a:cubicBezTo>
                      <a:pt x="624" y="49"/>
                      <a:pt x="616" y="30"/>
                      <a:pt x="590" y="33"/>
                    </a:cubicBezTo>
                    <a:cubicBezTo>
                      <a:pt x="579" y="18"/>
                      <a:pt x="557" y="21"/>
                      <a:pt x="553" y="21"/>
                    </a:cubicBezTo>
                    <a:cubicBezTo>
                      <a:pt x="549" y="16"/>
                      <a:pt x="544" y="12"/>
                      <a:pt x="528" y="14"/>
                    </a:cubicBezTo>
                    <a:cubicBezTo>
                      <a:pt x="518" y="5"/>
                      <a:pt x="506" y="6"/>
                      <a:pt x="494" y="11"/>
                    </a:cubicBezTo>
                    <a:cubicBezTo>
                      <a:pt x="480" y="0"/>
                      <a:pt x="470" y="9"/>
                      <a:pt x="460" y="12"/>
                    </a:cubicBezTo>
                    <a:cubicBezTo>
                      <a:pt x="443" y="7"/>
                      <a:pt x="439" y="14"/>
                      <a:pt x="430" y="17"/>
                    </a:cubicBezTo>
                    <a:cubicBezTo>
                      <a:pt x="412" y="13"/>
                      <a:pt x="406" y="22"/>
                      <a:pt x="397" y="31"/>
                    </a:cubicBezTo>
                    <a:lnTo>
                      <a:pt x="386" y="31"/>
                    </a:lnTo>
                    <a:cubicBezTo>
                      <a:pt x="358" y="48"/>
                      <a:pt x="344" y="81"/>
                      <a:pt x="339" y="99"/>
                    </a:cubicBezTo>
                    <a:cubicBezTo>
                      <a:pt x="334" y="81"/>
                      <a:pt x="320" y="48"/>
                      <a:pt x="292" y="31"/>
                    </a:cubicBezTo>
                    <a:lnTo>
                      <a:pt x="281" y="31"/>
                    </a:lnTo>
                    <a:cubicBezTo>
                      <a:pt x="272" y="22"/>
                      <a:pt x="267" y="13"/>
                      <a:pt x="248" y="17"/>
                    </a:cubicBezTo>
                    <a:cubicBezTo>
                      <a:pt x="240" y="14"/>
                      <a:pt x="236" y="7"/>
                      <a:pt x="219" y="12"/>
                    </a:cubicBezTo>
                    <a:cubicBezTo>
                      <a:pt x="211" y="10"/>
                      <a:pt x="205" y="5"/>
                      <a:pt x="197" y="6"/>
                    </a:cubicBezTo>
                    <a:cubicBezTo>
                      <a:pt x="193" y="6"/>
                      <a:pt x="189" y="7"/>
                      <a:pt x="184" y="11"/>
                    </a:cubicBezTo>
                    <a:cubicBezTo>
                      <a:pt x="172" y="6"/>
                      <a:pt x="161" y="5"/>
                      <a:pt x="150" y="14"/>
                    </a:cubicBezTo>
                    <a:cubicBezTo>
                      <a:pt x="134" y="12"/>
                      <a:pt x="129" y="16"/>
                      <a:pt x="125" y="21"/>
                    </a:cubicBezTo>
                    <a:cubicBezTo>
                      <a:pt x="122" y="21"/>
                      <a:pt x="99" y="18"/>
                      <a:pt x="88" y="33"/>
                    </a:cubicBezTo>
                    <a:cubicBezTo>
                      <a:pt x="62" y="30"/>
                      <a:pt x="54" y="49"/>
                      <a:pt x="63" y="66"/>
                    </a:cubicBezTo>
                    <a:cubicBezTo>
                      <a:pt x="58" y="74"/>
                      <a:pt x="52" y="83"/>
                      <a:pt x="65" y="98"/>
                    </a:cubicBezTo>
                    <a:cubicBezTo>
                      <a:pt x="60" y="107"/>
                      <a:pt x="63" y="117"/>
                      <a:pt x="74" y="128"/>
                    </a:cubicBezTo>
                    <a:cubicBezTo>
                      <a:pt x="71" y="141"/>
                      <a:pt x="76" y="149"/>
                      <a:pt x="86" y="156"/>
                    </a:cubicBezTo>
                    <a:cubicBezTo>
                      <a:pt x="84" y="173"/>
                      <a:pt x="102" y="183"/>
                      <a:pt x="107" y="187"/>
                    </a:cubicBezTo>
                    <a:cubicBezTo>
                      <a:pt x="109" y="196"/>
                      <a:pt x="113" y="206"/>
                      <a:pt x="133" y="211"/>
                    </a:cubicBezTo>
                    <a:cubicBezTo>
                      <a:pt x="136" y="226"/>
                      <a:pt x="148" y="228"/>
                      <a:pt x="159" y="231"/>
                    </a:cubicBezTo>
                    <a:cubicBezTo>
                      <a:pt x="121" y="253"/>
                      <a:pt x="89" y="283"/>
                      <a:pt x="89" y="354"/>
                    </a:cubicBezTo>
                    <a:lnTo>
                      <a:pt x="83" y="364"/>
                    </a:lnTo>
                    <a:cubicBezTo>
                      <a:pt x="40" y="391"/>
                      <a:pt x="0" y="476"/>
                      <a:pt x="62" y="546"/>
                    </a:cubicBezTo>
                    <a:cubicBezTo>
                      <a:pt x="66" y="567"/>
                      <a:pt x="72" y="583"/>
                      <a:pt x="78" y="600"/>
                    </a:cubicBezTo>
                    <a:cubicBezTo>
                      <a:pt x="87" y="670"/>
                      <a:pt x="146" y="703"/>
                      <a:pt x="161" y="706"/>
                    </a:cubicBezTo>
                    <a:cubicBezTo>
                      <a:pt x="184" y="724"/>
                      <a:pt x="208" y="740"/>
                      <a:pt x="241" y="751"/>
                    </a:cubicBezTo>
                    <a:cubicBezTo>
                      <a:pt x="272" y="783"/>
                      <a:pt x="305" y="795"/>
                      <a:pt x="338" y="795"/>
                    </a:cubicBezTo>
                    <a:lnTo>
                      <a:pt x="340" y="795"/>
                    </a:lnTo>
                    <a:cubicBezTo>
                      <a:pt x="373" y="795"/>
                      <a:pt x="407" y="783"/>
                      <a:pt x="437" y="751"/>
                    </a:cubicBezTo>
                    <a:cubicBezTo>
                      <a:pt x="470" y="740"/>
                      <a:pt x="494" y="724"/>
                      <a:pt x="517" y="706"/>
                    </a:cubicBezTo>
                    <a:cubicBezTo>
                      <a:pt x="532" y="703"/>
                      <a:pt x="591" y="670"/>
                      <a:pt x="600" y="600"/>
                    </a:cubicBezTo>
                    <a:cubicBezTo>
                      <a:pt x="606" y="583"/>
                      <a:pt x="612" y="567"/>
                      <a:pt x="617" y="546"/>
                    </a:cubicBezTo>
                    <a:cubicBezTo>
                      <a:pt x="678" y="476"/>
                      <a:pt x="639" y="391"/>
                      <a:pt x="595" y="364"/>
                    </a:cubicBezTo>
                    <a:close/>
                    <a:moveTo>
                      <a:pt x="555" y="352"/>
                    </a:moveTo>
                    <a:cubicBezTo>
                      <a:pt x="553" y="381"/>
                      <a:pt x="405" y="251"/>
                      <a:pt x="431" y="247"/>
                    </a:cubicBezTo>
                    <a:cubicBezTo>
                      <a:pt x="500" y="235"/>
                      <a:pt x="558" y="277"/>
                      <a:pt x="555" y="352"/>
                    </a:cubicBezTo>
                    <a:close/>
                    <a:moveTo>
                      <a:pt x="494" y="495"/>
                    </a:moveTo>
                    <a:cubicBezTo>
                      <a:pt x="457" y="520"/>
                      <a:pt x="403" y="504"/>
                      <a:pt x="375" y="460"/>
                    </a:cubicBezTo>
                    <a:cubicBezTo>
                      <a:pt x="346" y="417"/>
                      <a:pt x="352" y="361"/>
                      <a:pt x="389" y="337"/>
                    </a:cubicBezTo>
                    <a:cubicBezTo>
                      <a:pt x="427" y="313"/>
                      <a:pt x="480" y="328"/>
                      <a:pt x="509" y="372"/>
                    </a:cubicBezTo>
                    <a:cubicBezTo>
                      <a:pt x="538" y="416"/>
                      <a:pt x="531" y="471"/>
                      <a:pt x="494" y="495"/>
                    </a:cubicBezTo>
                    <a:close/>
                    <a:moveTo>
                      <a:pt x="393" y="51"/>
                    </a:moveTo>
                    <a:cubicBezTo>
                      <a:pt x="394" y="57"/>
                      <a:pt x="396" y="61"/>
                      <a:pt x="398" y="63"/>
                    </a:cubicBezTo>
                    <a:cubicBezTo>
                      <a:pt x="406" y="54"/>
                      <a:pt x="412" y="44"/>
                      <a:pt x="423" y="36"/>
                    </a:cubicBezTo>
                    <a:cubicBezTo>
                      <a:pt x="423" y="41"/>
                      <a:pt x="421" y="46"/>
                      <a:pt x="427" y="50"/>
                    </a:cubicBezTo>
                    <a:cubicBezTo>
                      <a:pt x="433" y="43"/>
                      <a:pt x="440" y="36"/>
                      <a:pt x="450" y="30"/>
                    </a:cubicBezTo>
                    <a:cubicBezTo>
                      <a:pt x="446" y="38"/>
                      <a:pt x="450" y="41"/>
                      <a:pt x="452" y="45"/>
                    </a:cubicBezTo>
                    <a:cubicBezTo>
                      <a:pt x="460" y="38"/>
                      <a:pt x="467" y="31"/>
                      <a:pt x="482" y="26"/>
                    </a:cubicBezTo>
                    <a:cubicBezTo>
                      <a:pt x="478" y="30"/>
                      <a:pt x="472" y="35"/>
                      <a:pt x="478" y="41"/>
                    </a:cubicBezTo>
                    <a:cubicBezTo>
                      <a:pt x="486" y="36"/>
                      <a:pt x="494" y="31"/>
                      <a:pt x="513" y="27"/>
                    </a:cubicBezTo>
                    <a:cubicBezTo>
                      <a:pt x="509" y="32"/>
                      <a:pt x="500" y="37"/>
                      <a:pt x="505" y="42"/>
                    </a:cubicBezTo>
                    <a:cubicBezTo>
                      <a:pt x="515" y="38"/>
                      <a:pt x="527" y="35"/>
                      <a:pt x="539" y="33"/>
                    </a:cubicBezTo>
                    <a:cubicBezTo>
                      <a:pt x="533" y="38"/>
                      <a:pt x="528" y="43"/>
                      <a:pt x="533" y="47"/>
                    </a:cubicBezTo>
                    <a:cubicBezTo>
                      <a:pt x="544" y="43"/>
                      <a:pt x="559" y="39"/>
                      <a:pt x="573" y="43"/>
                    </a:cubicBezTo>
                    <a:lnTo>
                      <a:pt x="564" y="52"/>
                    </a:lnTo>
                    <a:cubicBezTo>
                      <a:pt x="563" y="53"/>
                      <a:pt x="585" y="53"/>
                      <a:pt x="600" y="53"/>
                    </a:cubicBezTo>
                    <a:cubicBezTo>
                      <a:pt x="595" y="61"/>
                      <a:pt x="589" y="68"/>
                      <a:pt x="586" y="81"/>
                    </a:cubicBezTo>
                    <a:cubicBezTo>
                      <a:pt x="587" y="83"/>
                      <a:pt x="595" y="82"/>
                      <a:pt x="602" y="81"/>
                    </a:cubicBezTo>
                    <a:cubicBezTo>
                      <a:pt x="595" y="97"/>
                      <a:pt x="582" y="100"/>
                      <a:pt x="579" y="107"/>
                    </a:cubicBezTo>
                    <a:cubicBezTo>
                      <a:pt x="584" y="110"/>
                      <a:pt x="590" y="109"/>
                      <a:pt x="596" y="107"/>
                    </a:cubicBezTo>
                    <a:cubicBezTo>
                      <a:pt x="591" y="118"/>
                      <a:pt x="580" y="125"/>
                      <a:pt x="572" y="134"/>
                    </a:cubicBezTo>
                    <a:cubicBezTo>
                      <a:pt x="574" y="135"/>
                      <a:pt x="578" y="136"/>
                      <a:pt x="587" y="135"/>
                    </a:cubicBezTo>
                    <a:cubicBezTo>
                      <a:pt x="579" y="144"/>
                      <a:pt x="570" y="151"/>
                      <a:pt x="558" y="158"/>
                    </a:cubicBezTo>
                    <a:cubicBezTo>
                      <a:pt x="560" y="161"/>
                      <a:pt x="567" y="161"/>
                      <a:pt x="573" y="161"/>
                    </a:cubicBezTo>
                    <a:cubicBezTo>
                      <a:pt x="563" y="171"/>
                      <a:pt x="550" y="176"/>
                      <a:pt x="538" y="183"/>
                    </a:cubicBezTo>
                    <a:cubicBezTo>
                      <a:pt x="544" y="187"/>
                      <a:pt x="548" y="186"/>
                      <a:pt x="553" y="186"/>
                    </a:cubicBezTo>
                    <a:cubicBezTo>
                      <a:pt x="544" y="193"/>
                      <a:pt x="530" y="197"/>
                      <a:pt x="516" y="201"/>
                    </a:cubicBezTo>
                    <a:cubicBezTo>
                      <a:pt x="519" y="205"/>
                      <a:pt x="521" y="207"/>
                      <a:pt x="527" y="208"/>
                    </a:cubicBezTo>
                    <a:cubicBezTo>
                      <a:pt x="512" y="216"/>
                      <a:pt x="491" y="212"/>
                      <a:pt x="486" y="216"/>
                    </a:cubicBezTo>
                    <a:cubicBezTo>
                      <a:pt x="487" y="220"/>
                      <a:pt x="491" y="223"/>
                      <a:pt x="496" y="225"/>
                    </a:cubicBezTo>
                    <a:cubicBezTo>
                      <a:pt x="472" y="227"/>
                      <a:pt x="409" y="224"/>
                      <a:pt x="396" y="175"/>
                    </a:cubicBezTo>
                    <a:cubicBezTo>
                      <a:pt x="420" y="149"/>
                      <a:pt x="464" y="117"/>
                      <a:pt x="539" y="79"/>
                    </a:cubicBezTo>
                    <a:cubicBezTo>
                      <a:pt x="481" y="99"/>
                      <a:pt x="428" y="125"/>
                      <a:pt x="384" y="161"/>
                    </a:cubicBezTo>
                    <a:cubicBezTo>
                      <a:pt x="332" y="137"/>
                      <a:pt x="368" y="75"/>
                      <a:pt x="393" y="51"/>
                    </a:cubicBezTo>
                    <a:close/>
                    <a:moveTo>
                      <a:pt x="421" y="281"/>
                    </a:moveTo>
                    <a:cubicBezTo>
                      <a:pt x="421" y="304"/>
                      <a:pt x="389" y="323"/>
                      <a:pt x="339" y="323"/>
                    </a:cubicBezTo>
                    <a:cubicBezTo>
                      <a:pt x="290" y="322"/>
                      <a:pt x="258" y="299"/>
                      <a:pt x="258" y="277"/>
                    </a:cubicBezTo>
                    <a:cubicBezTo>
                      <a:pt x="258" y="258"/>
                      <a:pt x="298" y="226"/>
                      <a:pt x="339" y="227"/>
                    </a:cubicBezTo>
                    <a:cubicBezTo>
                      <a:pt x="376" y="227"/>
                      <a:pt x="421" y="255"/>
                      <a:pt x="421" y="281"/>
                    </a:cubicBezTo>
                    <a:close/>
                    <a:moveTo>
                      <a:pt x="153" y="208"/>
                    </a:moveTo>
                    <a:cubicBezTo>
                      <a:pt x="159" y="207"/>
                      <a:pt x="161" y="205"/>
                      <a:pt x="164" y="201"/>
                    </a:cubicBezTo>
                    <a:cubicBezTo>
                      <a:pt x="150" y="197"/>
                      <a:pt x="136" y="193"/>
                      <a:pt x="127" y="186"/>
                    </a:cubicBezTo>
                    <a:cubicBezTo>
                      <a:pt x="132" y="186"/>
                      <a:pt x="136" y="187"/>
                      <a:pt x="142" y="183"/>
                    </a:cubicBezTo>
                    <a:cubicBezTo>
                      <a:pt x="130" y="176"/>
                      <a:pt x="117" y="171"/>
                      <a:pt x="107" y="161"/>
                    </a:cubicBezTo>
                    <a:cubicBezTo>
                      <a:pt x="113" y="161"/>
                      <a:pt x="120" y="161"/>
                      <a:pt x="122" y="158"/>
                    </a:cubicBezTo>
                    <a:cubicBezTo>
                      <a:pt x="110" y="151"/>
                      <a:pt x="101" y="144"/>
                      <a:pt x="93" y="135"/>
                    </a:cubicBezTo>
                    <a:cubicBezTo>
                      <a:pt x="102" y="136"/>
                      <a:pt x="106" y="135"/>
                      <a:pt x="108" y="134"/>
                    </a:cubicBezTo>
                    <a:cubicBezTo>
                      <a:pt x="99" y="125"/>
                      <a:pt x="89" y="118"/>
                      <a:pt x="84" y="107"/>
                    </a:cubicBezTo>
                    <a:cubicBezTo>
                      <a:pt x="90" y="109"/>
                      <a:pt x="96" y="110"/>
                      <a:pt x="101" y="107"/>
                    </a:cubicBezTo>
                    <a:cubicBezTo>
                      <a:pt x="98" y="100"/>
                      <a:pt x="85" y="97"/>
                      <a:pt x="78" y="81"/>
                    </a:cubicBezTo>
                    <a:cubicBezTo>
                      <a:pt x="85" y="82"/>
                      <a:pt x="93" y="83"/>
                      <a:pt x="94" y="81"/>
                    </a:cubicBezTo>
                    <a:cubicBezTo>
                      <a:pt x="91" y="68"/>
                      <a:pt x="85" y="61"/>
                      <a:pt x="80" y="53"/>
                    </a:cubicBezTo>
                    <a:cubicBezTo>
                      <a:pt x="95" y="53"/>
                      <a:pt x="117" y="53"/>
                      <a:pt x="116" y="52"/>
                    </a:cubicBezTo>
                    <a:lnTo>
                      <a:pt x="107" y="43"/>
                    </a:lnTo>
                    <a:cubicBezTo>
                      <a:pt x="121" y="39"/>
                      <a:pt x="136" y="43"/>
                      <a:pt x="147" y="47"/>
                    </a:cubicBezTo>
                    <a:cubicBezTo>
                      <a:pt x="152" y="43"/>
                      <a:pt x="147" y="38"/>
                      <a:pt x="141" y="33"/>
                    </a:cubicBezTo>
                    <a:cubicBezTo>
                      <a:pt x="153" y="35"/>
                      <a:pt x="165" y="38"/>
                      <a:pt x="175" y="42"/>
                    </a:cubicBezTo>
                    <a:cubicBezTo>
                      <a:pt x="180" y="37"/>
                      <a:pt x="171" y="32"/>
                      <a:pt x="167" y="27"/>
                    </a:cubicBezTo>
                    <a:cubicBezTo>
                      <a:pt x="186" y="31"/>
                      <a:pt x="194" y="36"/>
                      <a:pt x="202" y="41"/>
                    </a:cubicBezTo>
                    <a:cubicBezTo>
                      <a:pt x="208" y="35"/>
                      <a:pt x="202" y="30"/>
                      <a:pt x="198" y="26"/>
                    </a:cubicBezTo>
                    <a:cubicBezTo>
                      <a:pt x="213" y="31"/>
                      <a:pt x="220" y="38"/>
                      <a:pt x="228" y="45"/>
                    </a:cubicBezTo>
                    <a:cubicBezTo>
                      <a:pt x="230" y="41"/>
                      <a:pt x="234" y="38"/>
                      <a:pt x="230" y="30"/>
                    </a:cubicBezTo>
                    <a:cubicBezTo>
                      <a:pt x="240" y="36"/>
                      <a:pt x="247" y="43"/>
                      <a:pt x="253" y="50"/>
                    </a:cubicBezTo>
                    <a:cubicBezTo>
                      <a:pt x="259" y="46"/>
                      <a:pt x="257" y="41"/>
                      <a:pt x="257" y="36"/>
                    </a:cubicBezTo>
                    <a:cubicBezTo>
                      <a:pt x="268" y="44"/>
                      <a:pt x="274" y="53"/>
                      <a:pt x="282" y="62"/>
                    </a:cubicBezTo>
                    <a:cubicBezTo>
                      <a:pt x="284" y="61"/>
                      <a:pt x="286" y="57"/>
                      <a:pt x="287" y="51"/>
                    </a:cubicBezTo>
                    <a:cubicBezTo>
                      <a:pt x="312" y="75"/>
                      <a:pt x="348" y="137"/>
                      <a:pt x="296" y="161"/>
                    </a:cubicBezTo>
                    <a:cubicBezTo>
                      <a:pt x="252" y="125"/>
                      <a:pt x="199" y="99"/>
                      <a:pt x="141" y="79"/>
                    </a:cubicBezTo>
                    <a:cubicBezTo>
                      <a:pt x="216" y="117"/>
                      <a:pt x="260" y="149"/>
                      <a:pt x="284" y="175"/>
                    </a:cubicBezTo>
                    <a:cubicBezTo>
                      <a:pt x="271" y="224"/>
                      <a:pt x="207" y="227"/>
                      <a:pt x="184" y="225"/>
                    </a:cubicBezTo>
                    <a:cubicBezTo>
                      <a:pt x="189" y="223"/>
                      <a:pt x="193" y="220"/>
                      <a:pt x="194" y="216"/>
                    </a:cubicBezTo>
                    <a:cubicBezTo>
                      <a:pt x="188" y="212"/>
                      <a:pt x="168" y="216"/>
                      <a:pt x="153" y="208"/>
                    </a:cubicBezTo>
                    <a:close/>
                    <a:moveTo>
                      <a:pt x="239" y="245"/>
                    </a:moveTo>
                    <a:cubicBezTo>
                      <a:pt x="265" y="249"/>
                      <a:pt x="117" y="378"/>
                      <a:pt x="115" y="350"/>
                    </a:cubicBezTo>
                    <a:cubicBezTo>
                      <a:pt x="112" y="274"/>
                      <a:pt x="170" y="233"/>
                      <a:pt x="239" y="245"/>
                    </a:cubicBezTo>
                    <a:close/>
                    <a:moveTo>
                      <a:pt x="84" y="533"/>
                    </a:moveTo>
                    <a:cubicBezTo>
                      <a:pt x="48" y="504"/>
                      <a:pt x="36" y="419"/>
                      <a:pt x="103" y="381"/>
                    </a:cubicBezTo>
                    <a:cubicBezTo>
                      <a:pt x="143" y="370"/>
                      <a:pt x="117" y="547"/>
                      <a:pt x="84" y="533"/>
                    </a:cubicBezTo>
                    <a:close/>
                    <a:moveTo>
                      <a:pt x="224" y="684"/>
                    </a:moveTo>
                    <a:cubicBezTo>
                      <a:pt x="204" y="697"/>
                      <a:pt x="155" y="692"/>
                      <a:pt x="120" y="641"/>
                    </a:cubicBezTo>
                    <a:cubicBezTo>
                      <a:pt x="96" y="599"/>
                      <a:pt x="99" y="556"/>
                      <a:pt x="116" y="544"/>
                    </a:cubicBezTo>
                    <a:cubicBezTo>
                      <a:pt x="140" y="529"/>
                      <a:pt x="179" y="549"/>
                      <a:pt x="208" y="583"/>
                    </a:cubicBezTo>
                    <a:cubicBezTo>
                      <a:pt x="234" y="614"/>
                      <a:pt x="246" y="668"/>
                      <a:pt x="224" y="684"/>
                    </a:cubicBezTo>
                    <a:close/>
                    <a:moveTo>
                      <a:pt x="185" y="500"/>
                    </a:moveTo>
                    <a:cubicBezTo>
                      <a:pt x="184" y="500"/>
                      <a:pt x="184" y="500"/>
                      <a:pt x="184" y="500"/>
                    </a:cubicBezTo>
                    <a:cubicBezTo>
                      <a:pt x="147" y="475"/>
                      <a:pt x="140" y="420"/>
                      <a:pt x="170" y="376"/>
                    </a:cubicBezTo>
                    <a:cubicBezTo>
                      <a:pt x="199" y="333"/>
                      <a:pt x="252" y="317"/>
                      <a:pt x="289" y="341"/>
                    </a:cubicBezTo>
                    <a:cubicBezTo>
                      <a:pt x="326" y="366"/>
                      <a:pt x="333" y="421"/>
                      <a:pt x="304" y="465"/>
                    </a:cubicBezTo>
                    <a:cubicBezTo>
                      <a:pt x="276" y="508"/>
                      <a:pt x="222" y="524"/>
                      <a:pt x="185" y="500"/>
                    </a:cubicBezTo>
                    <a:close/>
                    <a:moveTo>
                      <a:pt x="339" y="771"/>
                    </a:moveTo>
                    <a:cubicBezTo>
                      <a:pt x="294" y="773"/>
                      <a:pt x="251" y="734"/>
                      <a:pt x="251" y="721"/>
                    </a:cubicBezTo>
                    <a:cubicBezTo>
                      <a:pt x="251" y="701"/>
                      <a:pt x="306" y="686"/>
                      <a:pt x="341" y="687"/>
                    </a:cubicBezTo>
                    <a:cubicBezTo>
                      <a:pt x="377" y="685"/>
                      <a:pt x="426" y="698"/>
                      <a:pt x="426" y="716"/>
                    </a:cubicBezTo>
                    <a:cubicBezTo>
                      <a:pt x="427" y="733"/>
                      <a:pt x="382" y="771"/>
                      <a:pt x="339" y="771"/>
                    </a:cubicBezTo>
                    <a:close/>
                    <a:moveTo>
                      <a:pt x="431" y="578"/>
                    </a:moveTo>
                    <a:cubicBezTo>
                      <a:pt x="431" y="624"/>
                      <a:pt x="390" y="661"/>
                      <a:pt x="341" y="661"/>
                    </a:cubicBezTo>
                    <a:cubicBezTo>
                      <a:pt x="291" y="660"/>
                      <a:pt x="251" y="623"/>
                      <a:pt x="251" y="578"/>
                    </a:cubicBezTo>
                    <a:cubicBezTo>
                      <a:pt x="251" y="532"/>
                      <a:pt x="291" y="495"/>
                      <a:pt x="341" y="495"/>
                    </a:cubicBezTo>
                    <a:cubicBezTo>
                      <a:pt x="390" y="495"/>
                      <a:pt x="431" y="532"/>
                      <a:pt x="431" y="578"/>
                    </a:cubicBezTo>
                    <a:lnTo>
                      <a:pt x="431" y="578"/>
                    </a:lnTo>
                    <a:close/>
                    <a:moveTo>
                      <a:pt x="556" y="644"/>
                    </a:moveTo>
                    <a:cubicBezTo>
                      <a:pt x="518" y="697"/>
                      <a:pt x="466" y="699"/>
                      <a:pt x="447" y="684"/>
                    </a:cubicBezTo>
                    <a:cubicBezTo>
                      <a:pt x="426" y="665"/>
                      <a:pt x="442" y="606"/>
                      <a:pt x="470" y="573"/>
                    </a:cubicBezTo>
                    <a:cubicBezTo>
                      <a:pt x="501" y="537"/>
                      <a:pt x="535" y="514"/>
                      <a:pt x="559" y="532"/>
                    </a:cubicBezTo>
                    <a:cubicBezTo>
                      <a:pt x="575" y="548"/>
                      <a:pt x="584" y="608"/>
                      <a:pt x="556" y="644"/>
                    </a:cubicBezTo>
                    <a:close/>
                    <a:moveTo>
                      <a:pt x="586" y="531"/>
                    </a:moveTo>
                    <a:cubicBezTo>
                      <a:pt x="554" y="545"/>
                      <a:pt x="527" y="368"/>
                      <a:pt x="567" y="379"/>
                    </a:cubicBezTo>
                    <a:cubicBezTo>
                      <a:pt x="634" y="417"/>
                      <a:pt x="622" y="502"/>
                      <a:pt x="586" y="53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Oval 523"/>
              <p:cNvSpPr>
                <a:spLocks noChangeArrowheads="1"/>
              </p:cNvSpPr>
              <p:nvPr/>
            </p:nvSpPr>
            <p:spPr bwMode="auto">
              <a:xfrm>
                <a:off x="3341" y="1997"/>
                <a:ext cx="30" cy="31"/>
              </a:xfrm>
              <a:prstGeom prst="ellipse">
                <a:avLst/>
              </a:prstGeom>
              <a:noFill/>
              <a:ln w="476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Freeform 524"/>
              <p:cNvSpPr>
                <a:spLocks/>
              </p:cNvSpPr>
              <p:nvPr/>
            </p:nvSpPr>
            <p:spPr bwMode="auto">
              <a:xfrm>
                <a:off x="3345" y="2007"/>
                <a:ext cx="9" cy="12"/>
              </a:xfrm>
              <a:custGeom>
                <a:avLst/>
                <a:gdLst>
                  <a:gd name="T0" fmla="*/ 3 w 9"/>
                  <a:gd name="T1" fmla="*/ 12 h 12"/>
                  <a:gd name="T2" fmla="*/ 3 w 9"/>
                  <a:gd name="T3" fmla="*/ 2 h 12"/>
                  <a:gd name="T4" fmla="*/ 0 w 9"/>
                  <a:gd name="T5" fmla="*/ 2 h 12"/>
                  <a:gd name="T6" fmla="*/ 0 w 9"/>
                  <a:gd name="T7" fmla="*/ 0 h 12"/>
                  <a:gd name="T8" fmla="*/ 9 w 9"/>
                  <a:gd name="T9" fmla="*/ 0 h 12"/>
                  <a:gd name="T10" fmla="*/ 9 w 9"/>
                  <a:gd name="T11" fmla="*/ 2 h 12"/>
                  <a:gd name="T12" fmla="*/ 5 w 9"/>
                  <a:gd name="T13" fmla="*/ 2 h 12"/>
                  <a:gd name="T14" fmla="*/ 5 w 9"/>
                  <a:gd name="T15" fmla="*/ 12 h 12"/>
                  <a:gd name="T16" fmla="*/ 3 w 9"/>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3" y="12"/>
                    </a:moveTo>
                    <a:lnTo>
                      <a:pt x="3" y="2"/>
                    </a:lnTo>
                    <a:lnTo>
                      <a:pt x="0" y="2"/>
                    </a:lnTo>
                    <a:lnTo>
                      <a:pt x="0" y="0"/>
                    </a:lnTo>
                    <a:lnTo>
                      <a:pt x="9" y="0"/>
                    </a:lnTo>
                    <a:lnTo>
                      <a:pt x="9" y="2"/>
                    </a:lnTo>
                    <a:lnTo>
                      <a:pt x="5" y="2"/>
                    </a:lnTo>
                    <a:lnTo>
                      <a:pt x="5" y="12"/>
                    </a:ln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525"/>
              <p:cNvSpPr>
                <a:spLocks/>
              </p:cNvSpPr>
              <p:nvPr/>
            </p:nvSpPr>
            <p:spPr bwMode="auto">
              <a:xfrm>
                <a:off x="3355" y="2007"/>
                <a:ext cx="11" cy="12"/>
              </a:xfrm>
              <a:custGeom>
                <a:avLst/>
                <a:gdLst>
                  <a:gd name="T0" fmla="*/ 0 w 11"/>
                  <a:gd name="T1" fmla="*/ 12 h 12"/>
                  <a:gd name="T2" fmla="*/ 0 w 11"/>
                  <a:gd name="T3" fmla="*/ 0 h 12"/>
                  <a:gd name="T4" fmla="*/ 4 w 11"/>
                  <a:gd name="T5" fmla="*/ 0 h 12"/>
                  <a:gd name="T6" fmla="*/ 6 w 11"/>
                  <a:gd name="T7" fmla="*/ 9 h 12"/>
                  <a:gd name="T8" fmla="*/ 8 w 11"/>
                  <a:gd name="T9" fmla="*/ 0 h 12"/>
                  <a:gd name="T10" fmla="*/ 11 w 11"/>
                  <a:gd name="T11" fmla="*/ 0 h 12"/>
                  <a:gd name="T12" fmla="*/ 11 w 11"/>
                  <a:gd name="T13" fmla="*/ 12 h 12"/>
                  <a:gd name="T14" fmla="*/ 9 w 11"/>
                  <a:gd name="T15" fmla="*/ 12 h 12"/>
                  <a:gd name="T16" fmla="*/ 9 w 11"/>
                  <a:gd name="T17" fmla="*/ 3 h 12"/>
                  <a:gd name="T18" fmla="*/ 7 w 11"/>
                  <a:gd name="T19" fmla="*/ 12 h 12"/>
                  <a:gd name="T20" fmla="*/ 5 w 11"/>
                  <a:gd name="T21" fmla="*/ 12 h 12"/>
                  <a:gd name="T22" fmla="*/ 2 w 11"/>
                  <a:gd name="T23" fmla="*/ 3 h 12"/>
                  <a:gd name="T24" fmla="*/ 2 w 11"/>
                  <a:gd name="T25" fmla="*/ 12 h 12"/>
                  <a:gd name="T26" fmla="*/ 0 w 11"/>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12"/>
                    </a:moveTo>
                    <a:lnTo>
                      <a:pt x="0" y="0"/>
                    </a:lnTo>
                    <a:lnTo>
                      <a:pt x="4" y="0"/>
                    </a:lnTo>
                    <a:lnTo>
                      <a:pt x="6" y="9"/>
                    </a:lnTo>
                    <a:lnTo>
                      <a:pt x="8" y="0"/>
                    </a:lnTo>
                    <a:lnTo>
                      <a:pt x="11" y="0"/>
                    </a:lnTo>
                    <a:lnTo>
                      <a:pt x="11" y="12"/>
                    </a:lnTo>
                    <a:lnTo>
                      <a:pt x="9" y="12"/>
                    </a:lnTo>
                    <a:lnTo>
                      <a:pt x="9" y="3"/>
                    </a:lnTo>
                    <a:lnTo>
                      <a:pt x="7" y="12"/>
                    </a:lnTo>
                    <a:lnTo>
                      <a:pt x="5" y="12"/>
                    </a:lnTo>
                    <a:lnTo>
                      <a:pt x="2" y="3"/>
                    </a:lnTo>
                    <a:lnTo>
                      <a:pt x="2" y="12"/>
                    </a:lnTo>
                    <a:lnTo>
                      <a:pt x="0"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526"/>
              <p:cNvSpPr>
                <a:spLocks/>
              </p:cNvSpPr>
              <p:nvPr/>
            </p:nvSpPr>
            <p:spPr bwMode="auto">
              <a:xfrm>
                <a:off x="3064" y="1654"/>
                <a:ext cx="21" cy="24"/>
              </a:xfrm>
              <a:custGeom>
                <a:avLst/>
                <a:gdLst>
                  <a:gd name="T0" fmla="*/ 43 w 43"/>
                  <a:gd name="T1" fmla="*/ 45 h 50"/>
                  <a:gd name="T2" fmla="*/ 35 w 43"/>
                  <a:gd name="T3" fmla="*/ 48 h 50"/>
                  <a:gd name="T4" fmla="*/ 26 w 43"/>
                  <a:gd name="T5" fmla="*/ 50 h 50"/>
                  <a:gd name="T6" fmla="*/ 15 w 43"/>
                  <a:gd name="T7" fmla="*/ 48 h 50"/>
                  <a:gd name="T8" fmla="*/ 7 w 43"/>
                  <a:gd name="T9" fmla="*/ 44 h 50"/>
                  <a:gd name="T10" fmla="*/ 2 w 43"/>
                  <a:gd name="T11" fmla="*/ 36 h 50"/>
                  <a:gd name="T12" fmla="*/ 0 w 43"/>
                  <a:gd name="T13" fmla="*/ 25 h 50"/>
                  <a:gd name="T14" fmla="*/ 7 w 43"/>
                  <a:gd name="T15" fmla="*/ 7 h 50"/>
                  <a:gd name="T16" fmla="*/ 26 w 43"/>
                  <a:gd name="T17" fmla="*/ 0 h 50"/>
                  <a:gd name="T18" fmla="*/ 34 w 43"/>
                  <a:gd name="T19" fmla="*/ 1 h 50"/>
                  <a:gd name="T20" fmla="*/ 43 w 43"/>
                  <a:gd name="T21" fmla="*/ 4 h 50"/>
                  <a:gd name="T22" fmla="*/ 43 w 43"/>
                  <a:gd name="T23" fmla="*/ 12 h 50"/>
                  <a:gd name="T24" fmla="*/ 43 w 43"/>
                  <a:gd name="T25" fmla="*/ 12 h 50"/>
                  <a:gd name="T26" fmla="*/ 40 w 43"/>
                  <a:gd name="T27" fmla="*/ 10 h 50"/>
                  <a:gd name="T28" fmla="*/ 36 w 43"/>
                  <a:gd name="T29" fmla="*/ 8 h 50"/>
                  <a:gd name="T30" fmla="*/ 31 w 43"/>
                  <a:gd name="T31" fmla="*/ 6 h 50"/>
                  <a:gd name="T32" fmla="*/ 24 w 43"/>
                  <a:gd name="T33" fmla="*/ 5 h 50"/>
                  <a:gd name="T34" fmla="*/ 12 w 43"/>
                  <a:gd name="T35" fmla="*/ 10 h 50"/>
                  <a:gd name="T36" fmla="*/ 7 w 43"/>
                  <a:gd name="T37" fmla="*/ 25 h 50"/>
                  <a:gd name="T38" fmla="*/ 12 w 43"/>
                  <a:gd name="T39" fmla="*/ 39 h 50"/>
                  <a:gd name="T40" fmla="*/ 25 w 43"/>
                  <a:gd name="T41" fmla="*/ 44 h 50"/>
                  <a:gd name="T42" fmla="*/ 31 w 43"/>
                  <a:gd name="T43" fmla="*/ 44 h 50"/>
                  <a:gd name="T44" fmla="*/ 37 w 43"/>
                  <a:gd name="T45" fmla="*/ 42 h 50"/>
                  <a:gd name="T46" fmla="*/ 37 w 43"/>
                  <a:gd name="T47" fmla="*/ 30 h 50"/>
                  <a:gd name="T48" fmla="*/ 24 w 43"/>
                  <a:gd name="T49" fmla="*/ 30 h 50"/>
                  <a:gd name="T50" fmla="*/ 24 w 43"/>
                  <a:gd name="T51" fmla="*/ 25 h 50"/>
                  <a:gd name="T52" fmla="*/ 43 w 43"/>
                  <a:gd name="T53" fmla="*/ 25 h 50"/>
                  <a:gd name="T54" fmla="*/ 43 w 43"/>
                  <a:gd name="T55"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50">
                    <a:moveTo>
                      <a:pt x="43" y="45"/>
                    </a:moveTo>
                    <a:cubicBezTo>
                      <a:pt x="41" y="46"/>
                      <a:pt x="38" y="48"/>
                      <a:pt x="35" y="48"/>
                    </a:cubicBezTo>
                    <a:cubicBezTo>
                      <a:pt x="31" y="49"/>
                      <a:pt x="28" y="50"/>
                      <a:pt x="26" y="50"/>
                    </a:cubicBezTo>
                    <a:cubicBezTo>
                      <a:pt x="22" y="50"/>
                      <a:pt x="18" y="49"/>
                      <a:pt x="15" y="48"/>
                    </a:cubicBezTo>
                    <a:cubicBezTo>
                      <a:pt x="12" y="47"/>
                      <a:pt x="9" y="46"/>
                      <a:pt x="7" y="44"/>
                    </a:cubicBezTo>
                    <a:cubicBezTo>
                      <a:pt x="5" y="41"/>
                      <a:pt x="3" y="39"/>
                      <a:pt x="2" y="36"/>
                    </a:cubicBezTo>
                    <a:cubicBezTo>
                      <a:pt x="1" y="33"/>
                      <a:pt x="0" y="29"/>
                      <a:pt x="0" y="25"/>
                    </a:cubicBezTo>
                    <a:cubicBezTo>
                      <a:pt x="0" y="17"/>
                      <a:pt x="3" y="11"/>
                      <a:pt x="7" y="7"/>
                    </a:cubicBezTo>
                    <a:cubicBezTo>
                      <a:pt x="12" y="2"/>
                      <a:pt x="18" y="0"/>
                      <a:pt x="26" y="0"/>
                    </a:cubicBezTo>
                    <a:cubicBezTo>
                      <a:pt x="28" y="0"/>
                      <a:pt x="31" y="0"/>
                      <a:pt x="34" y="1"/>
                    </a:cubicBezTo>
                    <a:cubicBezTo>
                      <a:pt x="37" y="1"/>
                      <a:pt x="40" y="3"/>
                      <a:pt x="43" y="4"/>
                    </a:cubicBezTo>
                    <a:lnTo>
                      <a:pt x="43" y="12"/>
                    </a:lnTo>
                    <a:lnTo>
                      <a:pt x="43" y="12"/>
                    </a:lnTo>
                    <a:cubicBezTo>
                      <a:pt x="42" y="11"/>
                      <a:pt x="41" y="11"/>
                      <a:pt x="40" y="10"/>
                    </a:cubicBezTo>
                    <a:cubicBezTo>
                      <a:pt x="38" y="9"/>
                      <a:pt x="37" y="8"/>
                      <a:pt x="36" y="8"/>
                    </a:cubicBezTo>
                    <a:cubicBezTo>
                      <a:pt x="34" y="7"/>
                      <a:pt x="33" y="6"/>
                      <a:pt x="31" y="6"/>
                    </a:cubicBezTo>
                    <a:cubicBezTo>
                      <a:pt x="29" y="5"/>
                      <a:pt x="27" y="5"/>
                      <a:pt x="24" y="5"/>
                    </a:cubicBezTo>
                    <a:cubicBezTo>
                      <a:pt x="19" y="5"/>
                      <a:pt x="15" y="7"/>
                      <a:pt x="12" y="10"/>
                    </a:cubicBezTo>
                    <a:cubicBezTo>
                      <a:pt x="9" y="14"/>
                      <a:pt x="7" y="19"/>
                      <a:pt x="7" y="25"/>
                    </a:cubicBezTo>
                    <a:cubicBezTo>
                      <a:pt x="7" y="31"/>
                      <a:pt x="9" y="36"/>
                      <a:pt x="12" y="39"/>
                    </a:cubicBezTo>
                    <a:cubicBezTo>
                      <a:pt x="15" y="43"/>
                      <a:pt x="20" y="44"/>
                      <a:pt x="25" y="44"/>
                    </a:cubicBezTo>
                    <a:cubicBezTo>
                      <a:pt x="27" y="44"/>
                      <a:pt x="29" y="44"/>
                      <a:pt x="31" y="44"/>
                    </a:cubicBezTo>
                    <a:cubicBezTo>
                      <a:pt x="34" y="43"/>
                      <a:pt x="35" y="43"/>
                      <a:pt x="37" y="42"/>
                    </a:cubicBezTo>
                    <a:lnTo>
                      <a:pt x="37" y="30"/>
                    </a:lnTo>
                    <a:lnTo>
                      <a:pt x="24" y="30"/>
                    </a:lnTo>
                    <a:lnTo>
                      <a:pt x="24" y="25"/>
                    </a:lnTo>
                    <a:lnTo>
                      <a:pt x="43" y="25"/>
                    </a:lnTo>
                    <a:lnTo>
                      <a:pt x="43"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527"/>
              <p:cNvSpPr>
                <a:spLocks noEditPoints="1"/>
              </p:cNvSpPr>
              <p:nvPr/>
            </p:nvSpPr>
            <p:spPr bwMode="auto">
              <a:xfrm>
                <a:off x="3090" y="1655"/>
                <a:ext cx="16" cy="23"/>
              </a:xfrm>
              <a:custGeom>
                <a:avLst/>
                <a:gdLst>
                  <a:gd name="T0" fmla="*/ 32 w 32"/>
                  <a:gd name="T1" fmla="*/ 14 h 48"/>
                  <a:gd name="T2" fmla="*/ 31 w 32"/>
                  <a:gd name="T3" fmla="*/ 20 h 48"/>
                  <a:gd name="T4" fmla="*/ 28 w 32"/>
                  <a:gd name="T5" fmla="*/ 25 h 48"/>
                  <a:gd name="T6" fmla="*/ 22 w 32"/>
                  <a:gd name="T7" fmla="*/ 29 h 48"/>
                  <a:gd name="T8" fmla="*/ 13 w 32"/>
                  <a:gd name="T9" fmla="*/ 30 h 48"/>
                  <a:gd name="T10" fmla="*/ 7 w 32"/>
                  <a:gd name="T11" fmla="*/ 30 h 48"/>
                  <a:gd name="T12" fmla="*/ 7 w 32"/>
                  <a:gd name="T13" fmla="*/ 48 h 48"/>
                  <a:gd name="T14" fmla="*/ 0 w 32"/>
                  <a:gd name="T15" fmla="*/ 48 h 48"/>
                  <a:gd name="T16" fmla="*/ 0 w 32"/>
                  <a:gd name="T17" fmla="*/ 0 h 48"/>
                  <a:gd name="T18" fmla="*/ 13 w 32"/>
                  <a:gd name="T19" fmla="*/ 0 h 48"/>
                  <a:gd name="T20" fmla="*/ 21 w 32"/>
                  <a:gd name="T21" fmla="*/ 0 h 48"/>
                  <a:gd name="T22" fmla="*/ 26 w 32"/>
                  <a:gd name="T23" fmla="*/ 3 h 48"/>
                  <a:gd name="T24" fmla="*/ 30 w 32"/>
                  <a:gd name="T25" fmla="*/ 7 h 48"/>
                  <a:gd name="T26" fmla="*/ 32 w 32"/>
                  <a:gd name="T27" fmla="*/ 14 h 48"/>
                  <a:gd name="T28" fmla="*/ 25 w 32"/>
                  <a:gd name="T29" fmla="*/ 14 h 48"/>
                  <a:gd name="T30" fmla="*/ 24 w 32"/>
                  <a:gd name="T31" fmla="*/ 10 h 48"/>
                  <a:gd name="T32" fmla="*/ 22 w 32"/>
                  <a:gd name="T33" fmla="*/ 7 h 48"/>
                  <a:gd name="T34" fmla="*/ 18 w 32"/>
                  <a:gd name="T35" fmla="*/ 6 h 48"/>
                  <a:gd name="T36" fmla="*/ 13 w 32"/>
                  <a:gd name="T37" fmla="*/ 5 h 48"/>
                  <a:gd name="T38" fmla="*/ 7 w 32"/>
                  <a:gd name="T39" fmla="*/ 5 h 48"/>
                  <a:gd name="T40" fmla="*/ 7 w 32"/>
                  <a:gd name="T41" fmla="*/ 24 h 48"/>
                  <a:gd name="T42" fmla="*/ 12 w 32"/>
                  <a:gd name="T43" fmla="*/ 24 h 48"/>
                  <a:gd name="T44" fmla="*/ 19 w 32"/>
                  <a:gd name="T45" fmla="*/ 24 h 48"/>
                  <a:gd name="T46" fmla="*/ 22 w 32"/>
                  <a:gd name="T47" fmla="*/ 22 h 48"/>
                  <a:gd name="T48" fmla="*/ 25 w 32"/>
                  <a:gd name="T49" fmla="*/ 18 h 48"/>
                  <a:gd name="T50" fmla="*/ 25 w 32"/>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8">
                    <a:moveTo>
                      <a:pt x="32" y="14"/>
                    </a:moveTo>
                    <a:cubicBezTo>
                      <a:pt x="32" y="16"/>
                      <a:pt x="32" y="18"/>
                      <a:pt x="31" y="20"/>
                    </a:cubicBezTo>
                    <a:cubicBezTo>
                      <a:pt x="30" y="22"/>
                      <a:pt x="29" y="24"/>
                      <a:pt x="28" y="25"/>
                    </a:cubicBezTo>
                    <a:cubicBezTo>
                      <a:pt x="26" y="27"/>
                      <a:pt x="24" y="28"/>
                      <a:pt x="22" y="29"/>
                    </a:cubicBezTo>
                    <a:cubicBezTo>
                      <a:pt x="20" y="29"/>
                      <a:pt x="17" y="30"/>
                      <a:pt x="13" y="30"/>
                    </a:cubicBezTo>
                    <a:lnTo>
                      <a:pt x="7" y="30"/>
                    </a:lnTo>
                    <a:lnTo>
                      <a:pt x="7" y="48"/>
                    </a:lnTo>
                    <a:lnTo>
                      <a:pt x="0" y="48"/>
                    </a:lnTo>
                    <a:lnTo>
                      <a:pt x="0" y="0"/>
                    </a:lnTo>
                    <a:lnTo>
                      <a:pt x="13" y="0"/>
                    </a:lnTo>
                    <a:cubicBezTo>
                      <a:pt x="16" y="0"/>
                      <a:pt x="19" y="0"/>
                      <a:pt x="21" y="0"/>
                    </a:cubicBezTo>
                    <a:cubicBezTo>
                      <a:pt x="23" y="1"/>
                      <a:pt x="25" y="2"/>
                      <a:pt x="26" y="3"/>
                    </a:cubicBezTo>
                    <a:cubicBezTo>
                      <a:pt x="28" y="4"/>
                      <a:pt x="29" y="5"/>
                      <a:pt x="30" y="7"/>
                    </a:cubicBezTo>
                    <a:cubicBezTo>
                      <a:pt x="31" y="9"/>
                      <a:pt x="32" y="11"/>
                      <a:pt x="32" y="14"/>
                    </a:cubicBezTo>
                    <a:close/>
                    <a:moveTo>
                      <a:pt x="25" y="14"/>
                    </a:moveTo>
                    <a:cubicBezTo>
                      <a:pt x="25" y="13"/>
                      <a:pt x="25" y="11"/>
                      <a:pt x="24" y="10"/>
                    </a:cubicBezTo>
                    <a:cubicBezTo>
                      <a:pt x="24" y="9"/>
                      <a:pt x="23" y="8"/>
                      <a:pt x="22" y="7"/>
                    </a:cubicBezTo>
                    <a:cubicBezTo>
                      <a:pt x="21" y="6"/>
                      <a:pt x="20" y="6"/>
                      <a:pt x="18" y="6"/>
                    </a:cubicBezTo>
                    <a:cubicBezTo>
                      <a:pt x="17" y="5"/>
                      <a:pt x="15" y="5"/>
                      <a:pt x="13" y="5"/>
                    </a:cubicBezTo>
                    <a:lnTo>
                      <a:pt x="7" y="5"/>
                    </a:lnTo>
                    <a:lnTo>
                      <a:pt x="7" y="24"/>
                    </a:lnTo>
                    <a:lnTo>
                      <a:pt x="12" y="24"/>
                    </a:lnTo>
                    <a:cubicBezTo>
                      <a:pt x="15" y="24"/>
                      <a:pt x="17" y="24"/>
                      <a:pt x="19" y="24"/>
                    </a:cubicBezTo>
                    <a:cubicBezTo>
                      <a:pt x="20" y="23"/>
                      <a:pt x="21" y="23"/>
                      <a:pt x="22" y="22"/>
                    </a:cubicBezTo>
                    <a:cubicBezTo>
                      <a:pt x="23" y="20"/>
                      <a:pt x="24" y="19"/>
                      <a:pt x="25" y="18"/>
                    </a:cubicBezTo>
                    <a:cubicBezTo>
                      <a:pt x="25" y="17"/>
                      <a:pt x="25" y="16"/>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28"/>
              <p:cNvSpPr>
                <a:spLocks/>
              </p:cNvSpPr>
              <p:nvPr/>
            </p:nvSpPr>
            <p:spPr bwMode="auto">
              <a:xfrm>
                <a:off x="3109" y="1655"/>
                <a:ext cx="9" cy="23"/>
              </a:xfrm>
              <a:custGeom>
                <a:avLst/>
                <a:gdLst>
                  <a:gd name="T0" fmla="*/ 9 w 9"/>
                  <a:gd name="T1" fmla="*/ 23 h 23"/>
                  <a:gd name="T2" fmla="*/ 0 w 9"/>
                  <a:gd name="T3" fmla="*/ 23 h 23"/>
                  <a:gd name="T4" fmla="*/ 0 w 9"/>
                  <a:gd name="T5" fmla="*/ 20 h 23"/>
                  <a:gd name="T6" fmla="*/ 3 w 9"/>
                  <a:gd name="T7" fmla="*/ 20 h 23"/>
                  <a:gd name="T8" fmla="*/ 3 w 9"/>
                  <a:gd name="T9" fmla="*/ 2 h 23"/>
                  <a:gd name="T10" fmla="*/ 0 w 9"/>
                  <a:gd name="T11" fmla="*/ 2 h 23"/>
                  <a:gd name="T12" fmla="*/ 0 w 9"/>
                  <a:gd name="T13" fmla="*/ 0 h 23"/>
                  <a:gd name="T14" fmla="*/ 9 w 9"/>
                  <a:gd name="T15" fmla="*/ 0 h 23"/>
                  <a:gd name="T16" fmla="*/ 9 w 9"/>
                  <a:gd name="T17" fmla="*/ 2 h 23"/>
                  <a:gd name="T18" fmla="*/ 6 w 9"/>
                  <a:gd name="T19" fmla="*/ 2 h 23"/>
                  <a:gd name="T20" fmla="*/ 6 w 9"/>
                  <a:gd name="T21" fmla="*/ 20 h 23"/>
                  <a:gd name="T22" fmla="*/ 9 w 9"/>
                  <a:gd name="T23" fmla="*/ 20 h 23"/>
                  <a:gd name="T24" fmla="*/ 9 w 9"/>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3">
                    <a:moveTo>
                      <a:pt x="9" y="23"/>
                    </a:moveTo>
                    <a:lnTo>
                      <a:pt x="0" y="23"/>
                    </a:lnTo>
                    <a:lnTo>
                      <a:pt x="0" y="20"/>
                    </a:lnTo>
                    <a:lnTo>
                      <a:pt x="3" y="20"/>
                    </a:lnTo>
                    <a:lnTo>
                      <a:pt x="3" y="2"/>
                    </a:lnTo>
                    <a:lnTo>
                      <a:pt x="0" y="2"/>
                    </a:lnTo>
                    <a:lnTo>
                      <a:pt x="0" y="0"/>
                    </a:lnTo>
                    <a:lnTo>
                      <a:pt x="9" y="0"/>
                    </a:lnTo>
                    <a:lnTo>
                      <a:pt x="9" y="2"/>
                    </a:lnTo>
                    <a:lnTo>
                      <a:pt x="6" y="2"/>
                    </a:lnTo>
                    <a:lnTo>
                      <a:pt x="6" y="20"/>
                    </a:lnTo>
                    <a:lnTo>
                      <a:pt x="9" y="20"/>
                    </a:lnTo>
                    <a:lnTo>
                      <a:pt x="9"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29"/>
              <p:cNvSpPr>
                <a:spLocks noEditPoints="1"/>
              </p:cNvSpPr>
              <p:nvPr/>
            </p:nvSpPr>
            <p:spPr bwMode="auto">
              <a:xfrm>
                <a:off x="3122" y="1654"/>
                <a:ext cx="21" cy="24"/>
              </a:xfrm>
              <a:custGeom>
                <a:avLst/>
                <a:gdLst>
                  <a:gd name="T0" fmla="*/ 38 w 44"/>
                  <a:gd name="T1" fmla="*/ 6 h 50"/>
                  <a:gd name="T2" fmla="*/ 43 w 44"/>
                  <a:gd name="T3" fmla="*/ 14 h 50"/>
                  <a:gd name="T4" fmla="*/ 44 w 44"/>
                  <a:gd name="T5" fmla="*/ 25 h 50"/>
                  <a:gd name="T6" fmla="*/ 43 w 44"/>
                  <a:gd name="T7" fmla="*/ 35 h 50"/>
                  <a:gd name="T8" fmla="*/ 38 w 44"/>
                  <a:gd name="T9" fmla="*/ 43 h 50"/>
                  <a:gd name="T10" fmla="*/ 31 w 44"/>
                  <a:gd name="T11" fmla="*/ 48 h 50"/>
                  <a:gd name="T12" fmla="*/ 22 w 44"/>
                  <a:gd name="T13" fmla="*/ 50 h 50"/>
                  <a:gd name="T14" fmla="*/ 13 w 44"/>
                  <a:gd name="T15" fmla="*/ 48 h 50"/>
                  <a:gd name="T16" fmla="*/ 6 w 44"/>
                  <a:gd name="T17" fmla="*/ 43 h 50"/>
                  <a:gd name="T18" fmla="*/ 1 w 44"/>
                  <a:gd name="T19" fmla="*/ 35 h 50"/>
                  <a:gd name="T20" fmla="*/ 0 w 44"/>
                  <a:gd name="T21" fmla="*/ 25 h 50"/>
                  <a:gd name="T22" fmla="*/ 1 w 44"/>
                  <a:gd name="T23" fmla="*/ 14 h 50"/>
                  <a:gd name="T24" fmla="*/ 6 w 44"/>
                  <a:gd name="T25" fmla="*/ 6 h 50"/>
                  <a:gd name="T26" fmla="*/ 13 w 44"/>
                  <a:gd name="T27" fmla="*/ 1 h 50"/>
                  <a:gd name="T28" fmla="*/ 22 w 44"/>
                  <a:gd name="T29" fmla="*/ 0 h 50"/>
                  <a:gd name="T30" fmla="*/ 31 w 44"/>
                  <a:gd name="T31" fmla="*/ 1 h 50"/>
                  <a:gd name="T32" fmla="*/ 38 w 44"/>
                  <a:gd name="T33" fmla="*/ 6 h 50"/>
                  <a:gd name="T34" fmla="*/ 38 w 44"/>
                  <a:gd name="T35" fmla="*/ 25 h 50"/>
                  <a:gd name="T36" fmla="*/ 33 w 44"/>
                  <a:gd name="T37" fmla="*/ 10 h 50"/>
                  <a:gd name="T38" fmla="*/ 22 w 44"/>
                  <a:gd name="T39" fmla="*/ 5 h 50"/>
                  <a:gd name="T40" fmla="*/ 10 w 44"/>
                  <a:gd name="T41" fmla="*/ 10 h 50"/>
                  <a:gd name="T42" fmla="*/ 6 w 44"/>
                  <a:gd name="T43" fmla="*/ 25 h 50"/>
                  <a:gd name="T44" fmla="*/ 11 w 44"/>
                  <a:gd name="T45" fmla="*/ 39 h 50"/>
                  <a:gd name="T46" fmla="*/ 22 w 44"/>
                  <a:gd name="T47" fmla="*/ 44 h 50"/>
                  <a:gd name="T48" fmla="*/ 33 w 44"/>
                  <a:gd name="T49" fmla="*/ 39 h 50"/>
                  <a:gd name="T50" fmla="*/ 38 w 44"/>
                  <a:gd name="T51"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50">
                    <a:moveTo>
                      <a:pt x="38" y="6"/>
                    </a:moveTo>
                    <a:cubicBezTo>
                      <a:pt x="40" y="8"/>
                      <a:pt x="42" y="11"/>
                      <a:pt x="43" y="14"/>
                    </a:cubicBezTo>
                    <a:cubicBezTo>
                      <a:pt x="44" y="17"/>
                      <a:pt x="44" y="21"/>
                      <a:pt x="44" y="25"/>
                    </a:cubicBezTo>
                    <a:cubicBezTo>
                      <a:pt x="44" y="29"/>
                      <a:pt x="44" y="32"/>
                      <a:pt x="43" y="35"/>
                    </a:cubicBezTo>
                    <a:cubicBezTo>
                      <a:pt x="42" y="39"/>
                      <a:pt x="40" y="41"/>
                      <a:pt x="38" y="43"/>
                    </a:cubicBezTo>
                    <a:cubicBezTo>
                      <a:pt x="36" y="45"/>
                      <a:pt x="34" y="47"/>
                      <a:pt x="31" y="48"/>
                    </a:cubicBezTo>
                    <a:cubicBezTo>
                      <a:pt x="28" y="49"/>
                      <a:pt x="25" y="50"/>
                      <a:pt x="22" y="50"/>
                    </a:cubicBezTo>
                    <a:cubicBezTo>
                      <a:pt x="19" y="50"/>
                      <a:pt x="15" y="49"/>
                      <a:pt x="13" y="48"/>
                    </a:cubicBezTo>
                    <a:cubicBezTo>
                      <a:pt x="10" y="47"/>
                      <a:pt x="8" y="45"/>
                      <a:pt x="6" y="43"/>
                    </a:cubicBezTo>
                    <a:cubicBezTo>
                      <a:pt x="4" y="41"/>
                      <a:pt x="2" y="39"/>
                      <a:pt x="1" y="35"/>
                    </a:cubicBezTo>
                    <a:cubicBezTo>
                      <a:pt x="0" y="32"/>
                      <a:pt x="0" y="29"/>
                      <a:pt x="0" y="25"/>
                    </a:cubicBezTo>
                    <a:cubicBezTo>
                      <a:pt x="0" y="21"/>
                      <a:pt x="0" y="17"/>
                      <a:pt x="1" y="14"/>
                    </a:cubicBezTo>
                    <a:cubicBezTo>
                      <a:pt x="2" y="11"/>
                      <a:pt x="4" y="8"/>
                      <a:pt x="6" y="6"/>
                    </a:cubicBezTo>
                    <a:cubicBezTo>
                      <a:pt x="8" y="4"/>
                      <a:pt x="10" y="2"/>
                      <a:pt x="13" y="1"/>
                    </a:cubicBezTo>
                    <a:cubicBezTo>
                      <a:pt x="16" y="0"/>
                      <a:pt x="19" y="0"/>
                      <a:pt x="22" y="0"/>
                    </a:cubicBezTo>
                    <a:cubicBezTo>
                      <a:pt x="25" y="0"/>
                      <a:pt x="28" y="0"/>
                      <a:pt x="31" y="1"/>
                    </a:cubicBezTo>
                    <a:cubicBezTo>
                      <a:pt x="34" y="3"/>
                      <a:pt x="36" y="4"/>
                      <a:pt x="38" y="6"/>
                    </a:cubicBezTo>
                    <a:close/>
                    <a:moveTo>
                      <a:pt x="38" y="25"/>
                    </a:moveTo>
                    <a:cubicBezTo>
                      <a:pt x="38" y="19"/>
                      <a:pt x="36" y="14"/>
                      <a:pt x="33" y="10"/>
                    </a:cubicBezTo>
                    <a:cubicBezTo>
                      <a:pt x="31" y="7"/>
                      <a:pt x="27" y="5"/>
                      <a:pt x="22" y="5"/>
                    </a:cubicBezTo>
                    <a:cubicBezTo>
                      <a:pt x="17" y="5"/>
                      <a:pt x="13" y="7"/>
                      <a:pt x="10" y="10"/>
                    </a:cubicBezTo>
                    <a:cubicBezTo>
                      <a:pt x="8" y="14"/>
                      <a:pt x="6" y="19"/>
                      <a:pt x="6" y="25"/>
                    </a:cubicBezTo>
                    <a:cubicBezTo>
                      <a:pt x="6" y="31"/>
                      <a:pt x="8" y="36"/>
                      <a:pt x="11" y="39"/>
                    </a:cubicBezTo>
                    <a:cubicBezTo>
                      <a:pt x="13" y="43"/>
                      <a:pt x="17" y="44"/>
                      <a:pt x="22" y="44"/>
                    </a:cubicBezTo>
                    <a:cubicBezTo>
                      <a:pt x="27" y="44"/>
                      <a:pt x="31" y="43"/>
                      <a:pt x="33" y="39"/>
                    </a:cubicBezTo>
                    <a:cubicBezTo>
                      <a:pt x="36" y="36"/>
                      <a:pt x="38" y="31"/>
                      <a:pt x="38"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30"/>
              <p:cNvSpPr>
                <a:spLocks noEditPoints="1"/>
              </p:cNvSpPr>
              <p:nvPr/>
            </p:nvSpPr>
            <p:spPr bwMode="auto">
              <a:xfrm>
                <a:off x="2862"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1"/>
              <p:cNvSpPr>
                <a:spLocks noEditPoints="1"/>
              </p:cNvSpPr>
              <p:nvPr/>
            </p:nvSpPr>
            <p:spPr bwMode="auto">
              <a:xfrm>
                <a:off x="2862"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32"/>
              <p:cNvSpPr>
                <a:spLocks noEditPoints="1"/>
              </p:cNvSpPr>
              <p:nvPr/>
            </p:nvSpPr>
            <p:spPr bwMode="auto">
              <a:xfrm>
                <a:off x="4178"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33"/>
              <p:cNvSpPr>
                <a:spLocks noEditPoints="1"/>
              </p:cNvSpPr>
              <p:nvPr/>
            </p:nvSpPr>
            <p:spPr bwMode="auto">
              <a:xfrm>
                <a:off x="4178"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Oval 534"/>
              <p:cNvSpPr>
                <a:spLocks noChangeArrowheads="1"/>
              </p:cNvSpPr>
              <p:nvPr/>
            </p:nvSpPr>
            <p:spPr bwMode="auto">
              <a:xfrm>
                <a:off x="302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Oval 535"/>
              <p:cNvSpPr>
                <a:spLocks noChangeArrowheads="1"/>
              </p:cNvSpPr>
              <p:nvPr/>
            </p:nvSpPr>
            <p:spPr bwMode="auto">
              <a:xfrm>
                <a:off x="3084"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Oval 536"/>
              <p:cNvSpPr>
                <a:spLocks noChangeArrowheads="1"/>
              </p:cNvSpPr>
              <p:nvPr/>
            </p:nvSpPr>
            <p:spPr bwMode="auto">
              <a:xfrm>
                <a:off x="314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Oval 537"/>
              <p:cNvSpPr>
                <a:spLocks noChangeArrowheads="1"/>
              </p:cNvSpPr>
              <p:nvPr/>
            </p:nvSpPr>
            <p:spPr bwMode="auto">
              <a:xfrm>
                <a:off x="3199"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Oval 538"/>
              <p:cNvSpPr>
                <a:spLocks noChangeArrowheads="1"/>
              </p:cNvSpPr>
              <p:nvPr/>
            </p:nvSpPr>
            <p:spPr bwMode="auto">
              <a:xfrm>
                <a:off x="325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9" name="Oval 539"/>
              <p:cNvSpPr>
                <a:spLocks noChangeArrowheads="1"/>
              </p:cNvSpPr>
              <p:nvPr/>
            </p:nvSpPr>
            <p:spPr bwMode="auto">
              <a:xfrm>
                <a:off x="3314"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Oval 540"/>
              <p:cNvSpPr>
                <a:spLocks noChangeArrowheads="1"/>
              </p:cNvSpPr>
              <p:nvPr/>
            </p:nvSpPr>
            <p:spPr bwMode="auto">
              <a:xfrm>
                <a:off x="3372"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Oval 541"/>
              <p:cNvSpPr>
                <a:spLocks noChangeArrowheads="1"/>
              </p:cNvSpPr>
              <p:nvPr/>
            </p:nvSpPr>
            <p:spPr bwMode="auto">
              <a:xfrm>
                <a:off x="3429"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Oval 542"/>
              <p:cNvSpPr>
                <a:spLocks noChangeArrowheads="1"/>
              </p:cNvSpPr>
              <p:nvPr/>
            </p:nvSpPr>
            <p:spPr bwMode="auto">
              <a:xfrm>
                <a:off x="3487"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Oval 543"/>
              <p:cNvSpPr>
                <a:spLocks noChangeArrowheads="1"/>
              </p:cNvSpPr>
              <p:nvPr/>
            </p:nvSpPr>
            <p:spPr bwMode="auto">
              <a:xfrm>
                <a:off x="3545"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Oval 544"/>
              <p:cNvSpPr>
                <a:spLocks noChangeArrowheads="1"/>
              </p:cNvSpPr>
              <p:nvPr/>
            </p:nvSpPr>
            <p:spPr bwMode="auto">
              <a:xfrm>
                <a:off x="3602"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Oval 545"/>
              <p:cNvSpPr>
                <a:spLocks noChangeArrowheads="1"/>
              </p:cNvSpPr>
              <p:nvPr/>
            </p:nvSpPr>
            <p:spPr bwMode="auto">
              <a:xfrm>
                <a:off x="366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Oval 546"/>
              <p:cNvSpPr>
                <a:spLocks noChangeArrowheads="1"/>
              </p:cNvSpPr>
              <p:nvPr/>
            </p:nvSpPr>
            <p:spPr bwMode="auto">
              <a:xfrm>
                <a:off x="3718"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Oval 547"/>
              <p:cNvSpPr>
                <a:spLocks noChangeArrowheads="1"/>
              </p:cNvSpPr>
              <p:nvPr/>
            </p:nvSpPr>
            <p:spPr bwMode="auto">
              <a:xfrm>
                <a:off x="3775"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548"/>
              <p:cNvSpPr>
                <a:spLocks noChangeArrowheads="1"/>
              </p:cNvSpPr>
              <p:nvPr/>
            </p:nvSpPr>
            <p:spPr bwMode="auto">
              <a:xfrm>
                <a:off x="3833"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Oval 549"/>
              <p:cNvSpPr>
                <a:spLocks noChangeArrowheads="1"/>
              </p:cNvSpPr>
              <p:nvPr/>
            </p:nvSpPr>
            <p:spPr bwMode="auto">
              <a:xfrm>
                <a:off x="389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Oval 550"/>
              <p:cNvSpPr>
                <a:spLocks noChangeArrowheads="1"/>
              </p:cNvSpPr>
              <p:nvPr/>
            </p:nvSpPr>
            <p:spPr bwMode="auto">
              <a:xfrm>
                <a:off x="3948"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Oval 551"/>
              <p:cNvSpPr>
                <a:spLocks noChangeArrowheads="1"/>
              </p:cNvSpPr>
              <p:nvPr/>
            </p:nvSpPr>
            <p:spPr bwMode="auto">
              <a:xfrm>
                <a:off x="4006"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Oval 552"/>
              <p:cNvSpPr>
                <a:spLocks noChangeArrowheads="1"/>
              </p:cNvSpPr>
              <p:nvPr/>
            </p:nvSpPr>
            <p:spPr bwMode="auto">
              <a:xfrm>
                <a:off x="4063"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Oval 553"/>
              <p:cNvSpPr>
                <a:spLocks noChangeArrowheads="1"/>
              </p:cNvSpPr>
              <p:nvPr/>
            </p:nvSpPr>
            <p:spPr bwMode="auto">
              <a:xfrm>
                <a:off x="412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Oval 554"/>
              <p:cNvSpPr>
                <a:spLocks noChangeArrowheads="1"/>
              </p:cNvSpPr>
              <p:nvPr/>
            </p:nvSpPr>
            <p:spPr bwMode="auto">
              <a:xfrm>
                <a:off x="412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Oval 555"/>
              <p:cNvSpPr>
                <a:spLocks noChangeArrowheads="1"/>
              </p:cNvSpPr>
              <p:nvPr/>
            </p:nvSpPr>
            <p:spPr bwMode="auto">
              <a:xfrm>
                <a:off x="4063"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Oval 556"/>
              <p:cNvSpPr>
                <a:spLocks noChangeArrowheads="1"/>
              </p:cNvSpPr>
              <p:nvPr/>
            </p:nvSpPr>
            <p:spPr bwMode="auto">
              <a:xfrm>
                <a:off x="4006"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Oval 557"/>
              <p:cNvSpPr>
                <a:spLocks noChangeArrowheads="1"/>
              </p:cNvSpPr>
              <p:nvPr/>
            </p:nvSpPr>
            <p:spPr bwMode="auto">
              <a:xfrm>
                <a:off x="3948"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Oval 558"/>
              <p:cNvSpPr>
                <a:spLocks noChangeArrowheads="1"/>
              </p:cNvSpPr>
              <p:nvPr/>
            </p:nvSpPr>
            <p:spPr bwMode="auto">
              <a:xfrm>
                <a:off x="389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Oval 559"/>
              <p:cNvSpPr>
                <a:spLocks noChangeArrowheads="1"/>
              </p:cNvSpPr>
              <p:nvPr/>
            </p:nvSpPr>
            <p:spPr bwMode="auto">
              <a:xfrm>
                <a:off x="3833"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Oval 560"/>
              <p:cNvSpPr>
                <a:spLocks noChangeArrowheads="1"/>
              </p:cNvSpPr>
              <p:nvPr/>
            </p:nvSpPr>
            <p:spPr bwMode="auto">
              <a:xfrm>
                <a:off x="3775"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Oval 561"/>
              <p:cNvSpPr>
                <a:spLocks noChangeArrowheads="1"/>
              </p:cNvSpPr>
              <p:nvPr/>
            </p:nvSpPr>
            <p:spPr bwMode="auto">
              <a:xfrm>
                <a:off x="3718"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Oval 562"/>
              <p:cNvSpPr>
                <a:spLocks noChangeArrowheads="1"/>
              </p:cNvSpPr>
              <p:nvPr/>
            </p:nvSpPr>
            <p:spPr bwMode="auto">
              <a:xfrm>
                <a:off x="366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Oval 563"/>
              <p:cNvSpPr>
                <a:spLocks noChangeArrowheads="1"/>
              </p:cNvSpPr>
              <p:nvPr/>
            </p:nvSpPr>
            <p:spPr bwMode="auto">
              <a:xfrm>
                <a:off x="3602"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Oval 564"/>
              <p:cNvSpPr>
                <a:spLocks noChangeArrowheads="1"/>
              </p:cNvSpPr>
              <p:nvPr/>
            </p:nvSpPr>
            <p:spPr bwMode="auto">
              <a:xfrm>
                <a:off x="3545"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Oval 565"/>
              <p:cNvSpPr>
                <a:spLocks noChangeArrowheads="1"/>
              </p:cNvSpPr>
              <p:nvPr/>
            </p:nvSpPr>
            <p:spPr bwMode="auto">
              <a:xfrm>
                <a:off x="3487"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Oval 566"/>
              <p:cNvSpPr>
                <a:spLocks noChangeArrowheads="1"/>
              </p:cNvSpPr>
              <p:nvPr/>
            </p:nvSpPr>
            <p:spPr bwMode="auto">
              <a:xfrm>
                <a:off x="3429"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Oval 567"/>
              <p:cNvSpPr>
                <a:spLocks noChangeArrowheads="1"/>
              </p:cNvSpPr>
              <p:nvPr/>
            </p:nvSpPr>
            <p:spPr bwMode="auto">
              <a:xfrm>
                <a:off x="3372"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Oval 568"/>
              <p:cNvSpPr>
                <a:spLocks noChangeArrowheads="1"/>
              </p:cNvSpPr>
              <p:nvPr/>
            </p:nvSpPr>
            <p:spPr bwMode="auto">
              <a:xfrm>
                <a:off x="3314"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Oval 569"/>
              <p:cNvSpPr>
                <a:spLocks noChangeArrowheads="1"/>
              </p:cNvSpPr>
              <p:nvPr/>
            </p:nvSpPr>
            <p:spPr bwMode="auto">
              <a:xfrm>
                <a:off x="325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Oval 570"/>
              <p:cNvSpPr>
                <a:spLocks noChangeArrowheads="1"/>
              </p:cNvSpPr>
              <p:nvPr/>
            </p:nvSpPr>
            <p:spPr bwMode="auto">
              <a:xfrm>
                <a:off x="3199"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Oval 571"/>
              <p:cNvSpPr>
                <a:spLocks noChangeArrowheads="1"/>
              </p:cNvSpPr>
              <p:nvPr/>
            </p:nvSpPr>
            <p:spPr bwMode="auto">
              <a:xfrm>
                <a:off x="314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Oval 572"/>
              <p:cNvSpPr>
                <a:spLocks noChangeArrowheads="1"/>
              </p:cNvSpPr>
              <p:nvPr/>
            </p:nvSpPr>
            <p:spPr bwMode="auto">
              <a:xfrm>
                <a:off x="3084"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Oval 573"/>
              <p:cNvSpPr>
                <a:spLocks noChangeArrowheads="1"/>
              </p:cNvSpPr>
              <p:nvPr/>
            </p:nvSpPr>
            <p:spPr bwMode="auto">
              <a:xfrm>
                <a:off x="302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Freeform 574"/>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575"/>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576"/>
              <p:cNvSpPr>
                <a:spLocks noChangeArrowheads="1"/>
              </p:cNvSpPr>
              <p:nvPr/>
            </p:nvSpPr>
            <p:spPr bwMode="auto">
              <a:xfrm>
                <a:off x="3038"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577"/>
              <p:cNvSpPr>
                <a:spLocks/>
              </p:cNvSpPr>
              <p:nvPr/>
            </p:nvSpPr>
            <p:spPr bwMode="auto">
              <a:xfrm>
                <a:off x="3034"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578"/>
              <p:cNvSpPr>
                <a:spLocks/>
              </p:cNvSpPr>
              <p:nvPr/>
            </p:nvSpPr>
            <p:spPr bwMode="auto">
              <a:xfrm>
                <a:off x="3034"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579"/>
              <p:cNvSpPr>
                <a:spLocks/>
              </p:cNvSpPr>
              <p:nvPr/>
            </p:nvSpPr>
            <p:spPr bwMode="auto">
              <a:xfrm>
                <a:off x="3048"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580"/>
              <p:cNvSpPr>
                <a:spLocks/>
              </p:cNvSpPr>
              <p:nvPr/>
            </p:nvSpPr>
            <p:spPr bwMode="auto">
              <a:xfrm>
                <a:off x="3034"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581"/>
              <p:cNvSpPr>
                <a:spLocks noChangeArrowheads="1"/>
              </p:cNvSpPr>
              <p:nvPr/>
            </p:nvSpPr>
            <p:spPr bwMode="auto">
              <a:xfrm>
                <a:off x="3038"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582"/>
              <p:cNvSpPr>
                <a:spLocks/>
              </p:cNvSpPr>
              <p:nvPr/>
            </p:nvSpPr>
            <p:spPr bwMode="auto">
              <a:xfrm>
                <a:off x="3034"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583"/>
              <p:cNvSpPr>
                <a:spLocks/>
              </p:cNvSpPr>
              <p:nvPr/>
            </p:nvSpPr>
            <p:spPr bwMode="auto">
              <a:xfrm>
                <a:off x="3034"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584"/>
              <p:cNvSpPr>
                <a:spLocks/>
              </p:cNvSpPr>
              <p:nvPr/>
            </p:nvSpPr>
            <p:spPr bwMode="auto">
              <a:xfrm>
                <a:off x="3048"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585"/>
              <p:cNvSpPr>
                <a:spLocks/>
              </p:cNvSpPr>
              <p:nvPr/>
            </p:nvSpPr>
            <p:spPr bwMode="auto">
              <a:xfrm>
                <a:off x="3034"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586"/>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587"/>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588"/>
              <p:cNvSpPr>
                <a:spLocks noChangeArrowheads="1"/>
              </p:cNvSpPr>
              <p:nvPr/>
            </p:nvSpPr>
            <p:spPr bwMode="auto">
              <a:xfrm>
                <a:off x="309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589"/>
              <p:cNvSpPr>
                <a:spLocks/>
              </p:cNvSpPr>
              <p:nvPr/>
            </p:nvSpPr>
            <p:spPr bwMode="auto">
              <a:xfrm>
                <a:off x="309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590"/>
              <p:cNvSpPr>
                <a:spLocks/>
              </p:cNvSpPr>
              <p:nvPr/>
            </p:nvSpPr>
            <p:spPr bwMode="auto">
              <a:xfrm>
                <a:off x="309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591"/>
              <p:cNvSpPr>
                <a:spLocks/>
              </p:cNvSpPr>
              <p:nvPr/>
            </p:nvSpPr>
            <p:spPr bwMode="auto">
              <a:xfrm>
                <a:off x="310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592"/>
              <p:cNvSpPr>
                <a:spLocks/>
              </p:cNvSpPr>
              <p:nvPr/>
            </p:nvSpPr>
            <p:spPr bwMode="auto">
              <a:xfrm>
                <a:off x="309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593"/>
              <p:cNvSpPr>
                <a:spLocks noChangeArrowheads="1"/>
              </p:cNvSpPr>
              <p:nvPr/>
            </p:nvSpPr>
            <p:spPr bwMode="auto">
              <a:xfrm>
                <a:off x="309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594"/>
              <p:cNvSpPr>
                <a:spLocks/>
              </p:cNvSpPr>
              <p:nvPr/>
            </p:nvSpPr>
            <p:spPr bwMode="auto">
              <a:xfrm>
                <a:off x="309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595"/>
              <p:cNvSpPr>
                <a:spLocks/>
              </p:cNvSpPr>
              <p:nvPr/>
            </p:nvSpPr>
            <p:spPr bwMode="auto">
              <a:xfrm>
                <a:off x="309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596"/>
              <p:cNvSpPr>
                <a:spLocks/>
              </p:cNvSpPr>
              <p:nvPr/>
            </p:nvSpPr>
            <p:spPr bwMode="auto">
              <a:xfrm>
                <a:off x="310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597"/>
              <p:cNvSpPr>
                <a:spLocks/>
              </p:cNvSpPr>
              <p:nvPr/>
            </p:nvSpPr>
            <p:spPr bwMode="auto">
              <a:xfrm>
                <a:off x="309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598"/>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599"/>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Rectangle 600"/>
              <p:cNvSpPr>
                <a:spLocks noChangeArrowheads="1"/>
              </p:cNvSpPr>
              <p:nvPr/>
            </p:nvSpPr>
            <p:spPr bwMode="auto">
              <a:xfrm>
                <a:off x="315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601"/>
              <p:cNvSpPr>
                <a:spLocks/>
              </p:cNvSpPr>
              <p:nvPr/>
            </p:nvSpPr>
            <p:spPr bwMode="auto">
              <a:xfrm>
                <a:off x="314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602"/>
              <p:cNvSpPr>
                <a:spLocks/>
              </p:cNvSpPr>
              <p:nvPr/>
            </p:nvSpPr>
            <p:spPr bwMode="auto">
              <a:xfrm>
                <a:off x="314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603"/>
              <p:cNvSpPr>
                <a:spLocks/>
              </p:cNvSpPr>
              <p:nvPr/>
            </p:nvSpPr>
            <p:spPr bwMode="auto">
              <a:xfrm>
                <a:off x="316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604"/>
              <p:cNvSpPr>
                <a:spLocks/>
              </p:cNvSpPr>
              <p:nvPr/>
            </p:nvSpPr>
            <p:spPr bwMode="auto">
              <a:xfrm>
                <a:off x="314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605"/>
              <p:cNvSpPr>
                <a:spLocks noChangeArrowheads="1"/>
              </p:cNvSpPr>
              <p:nvPr/>
            </p:nvSpPr>
            <p:spPr bwMode="auto">
              <a:xfrm>
                <a:off x="315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606"/>
              <p:cNvSpPr>
                <a:spLocks/>
              </p:cNvSpPr>
              <p:nvPr/>
            </p:nvSpPr>
            <p:spPr bwMode="auto">
              <a:xfrm>
                <a:off x="314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Group 808"/>
            <p:cNvGrpSpPr>
              <a:grpSpLocks/>
            </p:cNvGrpSpPr>
            <p:nvPr/>
          </p:nvGrpSpPr>
          <p:grpSpPr bwMode="auto">
            <a:xfrm>
              <a:off x="4999038" y="2405063"/>
              <a:ext cx="1616075" cy="180975"/>
              <a:chOff x="3149" y="1515"/>
              <a:chExt cx="1018" cy="114"/>
            </a:xfrm>
          </p:grpSpPr>
          <p:sp>
            <p:nvSpPr>
              <p:cNvPr id="17" name="Freeform 608"/>
              <p:cNvSpPr>
                <a:spLocks/>
              </p:cNvSpPr>
              <p:nvPr/>
            </p:nvSpPr>
            <p:spPr bwMode="auto">
              <a:xfrm>
                <a:off x="314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09"/>
              <p:cNvSpPr>
                <a:spLocks/>
              </p:cNvSpPr>
              <p:nvPr/>
            </p:nvSpPr>
            <p:spPr bwMode="auto">
              <a:xfrm>
                <a:off x="316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10"/>
              <p:cNvSpPr>
                <a:spLocks/>
              </p:cNvSpPr>
              <p:nvPr/>
            </p:nvSpPr>
            <p:spPr bwMode="auto">
              <a:xfrm>
                <a:off x="314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11"/>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12"/>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613"/>
              <p:cNvSpPr>
                <a:spLocks noChangeArrowheads="1"/>
              </p:cNvSpPr>
              <p:nvPr/>
            </p:nvSpPr>
            <p:spPr bwMode="auto">
              <a:xfrm>
                <a:off x="321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14"/>
              <p:cNvSpPr>
                <a:spLocks/>
              </p:cNvSpPr>
              <p:nvPr/>
            </p:nvSpPr>
            <p:spPr bwMode="auto">
              <a:xfrm>
                <a:off x="3207"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15"/>
              <p:cNvSpPr>
                <a:spLocks/>
              </p:cNvSpPr>
              <p:nvPr/>
            </p:nvSpPr>
            <p:spPr bwMode="auto">
              <a:xfrm>
                <a:off x="3207"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16"/>
              <p:cNvSpPr>
                <a:spLocks/>
              </p:cNvSpPr>
              <p:nvPr/>
            </p:nvSpPr>
            <p:spPr bwMode="auto">
              <a:xfrm>
                <a:off x="322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17"/>
              <p:cNvSpPr>
                <a:spLocks/>
              </p:cNvSpPr>
              <p:nvPr/>
            </p:nvSpPr>
            <p:spPr bwMode="auto">
              <a:xfrm>
                <a:off x="3207"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618"/>
              <p:cNvSpPr>
                <a:spLocks noChangeArrowheads="1"/>
              </p:cNvSpPr>
              <p:nvPr/>
            </p:nvSpPr>
            <p:spPr bwMode="auto">
              <a:xfrm>
                <a:off x="321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19"/>
              <p:cNvSpPr>
                <a:spLocks/>
              </p:cNvSpPr>
              <p:nvPr/>
            </p:nvSpPr>
            <p:spPr bwMode="auto">
              <a:xfrm>
                <a:off x="3207"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20"/>
              <p:cNvSpPr>
                <a:spLocks/>
              </p:cNvSpPr>
              <p:nvPr/>
            </p:nvSpPr>
            <p:spPr bwMode="auto">
              <a:xfrm>
                <a:off x="3207"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21"/>
              <p:cNvSpPr>
                <a:spLocks/>
              </p:cNvSpPr>
              <p:nvPr/>
            </p:nvSpPr>
            <p:spPr bwMode="auto">
              <a:xfrm>
                <a:off x="322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622"/>
              <p:cNvSpPr>
                <a:spLocks/>
              </p:cNvSpPr>
              <p:nvPr/>
            </p:nvSpPr>
            <p:spPr bwMode="auto">
              <a:xfrm>
                <a:off x="3207"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623"/>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624"/>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Rectangle 625"/>
              <p:cNvSpPr>
                <a:spLocks noChangeArrowheads="1"/>
              </p:cNvSpPr>
              <p:nvPr/>
            </p:nvSpPr>
            <p:spPr bwMode="auto">
              <a:xfrm>
                <a:off x="3269"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26"/>
              <p:cNvSpPr>
                <a:spLocks/>
              </p:cNvSpPr>
              <p:nvPr/>
            </p:nvSpPr>
            <p:spPr bwMode="auto">
              <a:xfrm>
                <a:off x="3264"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27"/>
              <p:cNvSpPr>
                <a:spLocks/>
              </p:cNvSpPr>
              <p:nvPr/>
            </p:nvSpPr>
            <p:spPr bwMode="auto">
              <a:xfrm>
                <a:off x="3264"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28"/>
              <p:cNvSpPr>
                <a:spLocks/>
              </p:cNvSpPr>
              <p:nvPr/>
            </p:nvSpPr>
            <p:spPr bwMode="auto">
              <a:xfrm>
                <a:off x="3278"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29"/>
              <p:cNvSpPr>
                <a:spLocks/>
              </p:cNvSpPr>
              <p:nvPr/>
            </p:nvSpPr>
            <p:spPr bwMode="auto">
              <a:xfrm>
                <a:off x="3264"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Rectangle 630"/>
              <p:cNvSpPr>
                <a:spLocks noChangeArrowheads="1"/>
              </p:cNvSpPr>
              <p:nvPr/>
            </p:nvSpPr>
            <p:spPr bwMode="auto">
              <a:xfrm>
                <a:off x="3269"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631"/>
              <p:cNvSpPr>
                <a:spLocks/>
              </p:cNvSpPr>
              <p:nvPr/>
            </p:nvSpPr>
            <p:spPr bwMode="auto">
              <a:xfrm>
                <a:off x="3264"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32"/>
              <p:cNvSpPr>
                <a:spLocks/>
              </p:cNvSpPr>
              <p:nvPr/>
            </p:nvSpPr>
            <p:spPr bwMode="auto">
              <a:xfrm>
                <a:off x="3264"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33"/>
              <p:cNvSpPr>
                <a:spLocks/>
              </p:cNvSpPr>
              <p:nvPr/>
            </p:nvSpPr>
            <p:spPr bwMode="auto">
              <a:xfrm>
                <a:off x="3278"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634"/>
              <p:cNvSpPr>
                <a:spLocks/>
              </p:cNvSpPr>
              <p:nvPr/>
            </p:nvSpPr>
            <p:spPr bwMode="auto">
              <a:xfrm>
                <a:off x="3264"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35"/>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36"/>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637"/>
              <p:cNvSpPr>
                <a:spLocks noChangeArrowheads="1"/>
              </p:cNvSpPr>
              <p:nvPr/>
            </p:nvSpPr>
            <p:spPr bwMode="auto">
              <a:xfrm>
                <a:off x="332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38"/>
              <p:cNvSpPr>
                <a:spLocks/>
              </p:cNvSpPr>
              <p:nvPr/>
            </p:nvSpPr>
            <p:spPr bwMode="auto">
              <a:xfrm>
                <a:off x="332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639"/>
              <p:cNvSpPr>
                <a:spLocks/>
              </p:cNvSpPr>
              <p:nvPr/>
            </p:nvSpPr>
            <p:spPr bwMode="auto">
              <a:xfrm>
                <a:off x="332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40"/>
              <p:cNvSpPr>
                <a:spLocks/>
              </p:cNvSpPr>
              <p:nvPr/>
            </p:nvSpPr>
            <p:spPr bwMode="auto">
              <a:xfrm>
                <a:off x="333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41"/>
              <p:cNvSpPr>
                <a:spLocks/>
              </p:cNvSpPr>
              <p:nvPr/>
            </p:nvSpPr>
            <p:spPr bwMode="auto">
              <a:xfrm>
                <a:off x="332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642"/>
              <p:cNvSpPr>
                <a:spLocks noChangeArrowheads="1"/>
              </p:cNvSpPr>
              <p:nvPr/>
            </p:nvSpPr>
            <p:spPr bwMode="auto">
              <a:xfrm>
                <a:off x="332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43"/>
              <p:cNvSpPr>
                <a:spLocks/>
              </p:cNvSpPr>
              <p:nvPr/>
            </p:nvSpPr>
            <p:spPr bwMode="auto">
              <a:xfrm>
                <a:off x="332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44"/>
              <p:cNvSpPr>
                <a:spLocks/>
              </p:cNvSpPr>
              <p:nvPr/>
            </p:nvSpPr>
            <p:spPr bwMode="auto">
              <a:xfrm>
                <a:off x="332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45"/>
              <p:cNvSpPr>
                <a:spLocks/>
              </p:cNvSpPr>
              <p:nvPr/>
            </p:nvSpPr>
            <p:spPr bwMode="auto">
              <a:xfrm>
                <a:off x="333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6"/>
              <p:cNvSpPr>
                <a:spLocks/>
              </p:cNvSpPr>
              <p:nvPr/>
            </p:nvSpPr>
            <p:spPr bwMode="auto">
              <a:xfrm>
                <a:off x="332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47"/>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648"/>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649"/>
              <p:cNvSpPr>
                <a:spLocks noChangeArrowheads="1"/>
              </p:cNvSpPr>
              <p:nvPr/>
            </p:nvSpPr>
            <p:spPr bwMode="auto">
              <a:xfrm>
                <a:off x="338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50"/>
              <p:cNvSpPr>
                <a:spLocks/>
              </p:cNvSpPr>
              <p:nvPr/>
            </p:nvSpPr>
            <p:spPr bwMode="auto">
              <a:xfrm>
                <a:off x="337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51"/>
              <p:cNvSpPr>
                <a:spLocks/>
              </p:cNvSpPr>
              <p:nvPr/>
            </p:nvSpPr>
            <p:spPr bwMode="auto">
              <a:xfrm>
                <a:off x="337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52"/>
              <p:cNvSpPr>
                <a:spLocks/>
              </p:cNvSpPr>
              <p:nvPr/>
            </p:nvSpPr>
            <p:spPr bwMode="auto">
              <a:xfrm>
                <a:off x="339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53"/>
              <p:cNvSpPr>
                <a:spLocks/>
              </p:cNvSpPr>
              <p:nvPr/>
            </p:nvSpPr>
            <p:spPr bwMode="auto">
              <a:xfrm>
                <a:off x="337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54"/>
              <p:cNvSpPr>
                <a:spLocks noChangeArrowheads="1"/>
              </p:cNvSpPr>
              <p:nvPr/>
            </p:nvSpPr>
            <p:spPr bwMode="auto">
              <a:xfrm>
                <a:off x="338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55"/>
              <p:cNvSpPr>
                <a:spLocks/>
              </p:cNvSpPr>
              <p:nvPr/>
            </p:nvSpPr>
            <p:spPr bwMode="auto">
              <a:xfrm>
                <a:off x="337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56"/>
              <p:cNvSpPr>
                <a:spLocks/>
              </p:cNvSpPr>
              <p:nvPr/>
            </p:nvSpPr>
            <p:spPr bwMode="auto">
              <a:xfrm>
                <a:off x="337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7"/>
              <p:cNvSpPr>
                <a:spLocks/>
              </p:cNvSpPr>
              <p:nvPr/>
            </p:nvSpPr>
            <p:spPr bwMode="auto">
              <a:xfrm>
                <a:off x="339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58"/>
              <p:cNvSpPr>
                <a:spLocks/>
              </p:cNvSpPr>
              <p:nvPr/>
            </p:nvSpPr>
            <p:spPr bwMode="auto">
              <a:xfrm>
                <a:off x="337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59"/>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60"/>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61"/>
              <p:cNvSpPr>
                <a:spLocks noChangeArrowheads="1"/>
              </p:cNvSpPr>
              <p:nvPr/>
            </p:nvSpPr>
            <p:spPr bwMode="auto">
              <a:xfrm>
                <a:off x="3442"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62"/>
              <p:cNvSpPr>
                <a:spLocks/>
              </p:cNvSpPr>
              <p:nvPr/>
            </p:nvSpPr>
            <p:spPr bwMode="auto">
              <a:xfrm>
                <a:off x="3437"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663"/>
              <p:cNvSpPr>
                <a:spLocks/>
              </p:cNvSpPr>
              <p:nvPr/>
            </p:nvSpPr>
            <p:spPr bwMode="auto">
              <a:xfrm>
                <a:off x="3437"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664"/>
              <p:cNvSpPr>
                <a:spLocks/>
              </p:cNvSpPr>
              <p:nvPr/>
            </p:nvSpPr>
            <p:spPr bwMode="auto">
              <a:xfrm>
                <a:off x="3451"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665"/>
              <p:cNvSpPr>
                <a:spLocks/>
              </p:cNvSpPr>
              <p:nvPr/>
            </p:nvSpPr>
            <p:spPr bwMode="auto">
              <a:xfrm>
                <a:off x="3437"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666"/>
              <p:cNvSpPr>
                <a:spLocks noChangeArrowheads="1"/>
              </p:cNvSpPr>
              <p:nvPr/>
            </p:nvSpPr>
            <p:spPr bwMode="auto">
              <a:xfrm>
                <a:off x="3442"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67"/>
              <p:cNvSpPr>
                <a:spLocks/>
              </p:cNvSpPr>
              <p:nvPr/>
            </p:nvSpPr>
            <p:spPr bwMode="auto">
              <a:xfrm>
                <a:off x="3437"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68"/>
              <p:cNvSpPr>
                <a:spLocks/>
              </p:cNvSpPr>
              <p:nvPr/>
            </p:nvSpPr>
            <p:spPr bwMode="auto">
              <a:xfrm>
                <a:off x="3437"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69"/>
              <p:cNvSpPr>
                <a:spLocks/>
              </p:cNvSpPr>
              <p:nvPr/>
            </p:nvSpPr>
            <p:spPr bwMode="auto">
              <a:xfrm>
                <a:off x="3451"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70"/>
              <p:cNvSpPr>
                <a:spLocks/>
              </p:cNvSpPr>
              <p:nvPr/>
            </p:nvSpPr>
            <p:spPr bwMode="auto">
              <a:xfrm>
                <a:off x="3437"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71"/>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72"/>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Rectangle 673"/>
              <p:cNvSpPr>
                <a:spLocks noChangeArrowheads="1"/>
              </p:cNvSpPr>
              <p:nvPr/>
            </p:nvSpPr>
            <p:spPr bwMode="auto">
              <a:xfrm>
                <a:off x="350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74"/>
              <p:cNvSpPr>
                <a:spLocks/>
              </p:cNvSpPr>
              <p:nvPr/>
            </p:nvSpPr>
            <p:spPr bwMode="auto">
              <a:xfrm>
                <a:off x="349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75"/>
              <p:cNvSpPr>
                <a:spLocks/>
              </p:cNvSpPr>
              <p:nvPr/>
            </p:nvSpPr>
            <p:spPr bwMode="auto">
              <a:xfrm>
                <a:off x="3495"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76"/>
              <p:cNvSpPr>
                <a:spLocks/>
              </p:cNvSpPr>
              <p:nvPr/>
            </p:nvSpPr>
            <p:spPr bwMode="auto">
              <a:xfrm>
                <a:off x="3509"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77"/>
              <p:cNvSpPr>
                <a:spLocks/>
              </p:cNvSpPr>
              <p:nvPr/>
            </p:nvSpPr>
            <p:spPr bwMode="auto">
              <a:xfrm>
                <a:off x="3495"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Rectangle 678"/>
              <p:cNvSpPr>
                <a:spLocks noChangeArrowheads="1"/>
              </p:cNvSpPr>
              <p:nvPr/>
            </p:nvSpPr>
            <p:spPr bwMode="auto">
              <a:xfrm>
                <a:off x="350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679"/>
              <p:cNvSpPr>
                <a:spLocks/>
              </p:cNvSpPr>
              <p:nvPr/>
            </p:nvSpPr>
            <p:spPr bwMode="auto">
              <a:xfrm>
                <a:off x="349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680"/>
              <p:cNvSpPr>
                <a:spLocks/>
              </p:cNvSpPr>
              <p:nvPr/>
            </p:nvSpPr>
            <p:spPr bwMode="auto">
              <a:xfrm>
                <a:off x="3495"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81"/>
              <p:cNvSpPr>
                <a:spLocks/>
              </p:cNvSpPr>
              <p:nvPr/>
            </p:nvSpPr>
            <p:spPr bwMode="auto">
              <a:xfrm>
                <a:off x="3509"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82"/>
              <p:cNvSpPr>
                <a:spLocks/>
              </p:cNvSpPr>
              <p:nvPr/>
            </p:nvSpPr>
            <p:spPr bwMode="auto">
              <a:xfrm>
                <a:off x="3495"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83"/>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684"/>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685"/>
              <p:cNvSpPr>
                <a:spLocks noChangeArrowheads="1"/>
              </p:cNvSpPr>
              <p:nvPr/>
            </p:nvSpPr>
            <p:spPr bwMode="auto">
              <a:xfrm>
                <a:off x="355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86"/>
              <p:cNvSpPr>
                <a:spLocks/>
              </p:cNvSpPr>
              <p:nvPr/>
            </p:nvSpPr>
            <p:spPr bwMode="auto">
              <a:xfrm>
                <a:off x="355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687"/>
              <p:cNvSpPr>
                <a:spLocks/>
              </p:cNvSpPr>
              <p:nvPr/>
            </p:nvSpPr>
            <p:spPr bwMode="auto">
              <a:xfrm>
                <a:off x="355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688"/>
              <p:cNvSpPr>
                <a:spLocks/>
              </p:cNvSpPr>
              <p:nvPr/>
            </p:nvSpPr>
            <p:spPr bwMode="auto">
              <a:xfrm>
                <a:off x="356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689"/>
              <p:cNvSpPr>
                <a:spLocks/>
              </p:cNvSpPr>
              <p:nvPr/>
            </p:nvSpPr>
            <p:spPr bwMode="auto">
              <a:xfrm>
                <a:off x="355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Rectangle 690"/>
              <p:cNvSpPr>
                <a:spLocks noChangeArrowheads="1"/>
              </p:cNvSpPr>
              <p:nvPr/>
            </p:nvSpPr>
            <p:spPr bwMode="auto">
              <a:xfrm>
                <a:off x="355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691"/>
              <p:cNvSpPr>
                <a:spLocks/>
              </p:cNvSpPr>
              <p:nvPr/>
            </p:nvSpPr>
            <p:spPr bwMode="auto">
              <a:xfrm>
                <a:off x="355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692"/>
              <p:cNvSpPr>
                <a:spLocks/>
              </p:cNvSpPr>
              <p:nvPr/>
            </p:nvSpPr>
            <p:spPr bwMode="auto">
              <a:xfrm>
                <a:off x="355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693"/>
              <p:cNvSpPr>
                <a:spLocks/>
              </p:cNvSpPr>
              <p:nvPr/>
            </p:nvSpPr>
            <p:spPr bwMode="auto">
              <a:xfrm>
                <a:off x="356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94"/>
              <p:cNvSpPr>
                <a:spLocks/>
              </p:cNvSpPr>
              <p:nvPr/>
            </p:nvSpPr>
            <p:spPr bwMode="auto">
              <a:xfrm>
                <a:off x="355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5"/>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696"/>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97"/>
              <p:cNvSpPr>
                <a:spLocks noChangeArrowheads="1"/>
              </p:cNvSpPr>
              <p:nvPr/>
            </p:nvSpPr>
            <p:spPr bwMode="auto">
              <a:xfrm>
                <a:off x="361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698"/>
              <p:cNvSpPr>
                <a:spLocks/>
              </p:cNvSpPr>
              <p:nvPr/>
            </p:nvSpPr>
            <p:spPr bwMode="auto">
              <a:xfrm>
                <a:off x="3610"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699"/>
              <p:cNvSpPr>
                <a:spLocks/>
              </p:cNvSpPr>
              <p:nvPr/>
            </p:nvSpPr>
            <p:spPr bwMode="auto">
              <a:xfrm>
                <a:off x="3610"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700"/>
              <p:cNvSpPr>
                <a:spLocks/>
              </p:cNvSpPr>
              <p:nvPr/>
            </p:nvSpPr>
            <p:spPr bwMode="auto">
              <a:xfrm>
                <a:off x="362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701"/>
              <p:cNvSpPr>
                <a:spLocks/>
              </p:cNvSpPr>
              <p:nvPr/>
            </p:nvSpPr>
            <p:spPr bwMode="auto">
              <a:xfrm>
                <a:off x="3610"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702"/>
              <p:cNvSpPr>
                <a:spLocks noChangeArrowheads="1"/>
              </p:cNvSpPr>
              <p:nvPr/>
            </p:nvSpPr>
            <p:spPr bwMode="auto">
              <a:xfrm>
                <a:off x="361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703"/>
              <p:cNvSpPr>
                <a:spLocks/>
              </p:cNvSpPr>
              <p:nvPr/>
            </p:nvSpPr>
            <p:spPr bwMode="auto">
              <a:xfrm>
                <a:off x="3610"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704"/>
              <p:cNvSpPr>
                <a:spLocks/>
              </p:cNvSpPr>
              <p:nvPr/>
            </p:nvSpPr>
            <p:spPr bwMode="auto">
              <a:xfrm>
                <a:off x="3610"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705"/>
              <p:cNvSpPr>
                <a:spLocks/>
              </p:cNvSpPr>
              <p:nvPr/>
            </p:nvSpPr>
            <p:spPr bwMode="auto">
              <a:xfrm>
                <a:off x="362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706"/>
              <p:cNvSpPr>
                <a:spLocks/>
              </p:cNvSpPr>
              <p:nvPr/>
            </p:nvSpPr>
            <p:spPr bwMode="auto">
              <a:xfrm>
                <a:off x="3610"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07"/>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08"/>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Rectangle 709"/>
              <p:cNvSpPr>
                <a:spLocks noChangeArrowheads="1"/>
              </p:cNvSpPr>
              <p:nvPr/>
            </p:nvSpPr>
            <p:spPr bwMode="auto">
              <a:xfrm>
                <a:off x="3672"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710"/>
              <p:cNvSpPr>
                <a:spLocks/>
              </p:cNvSpPr>
              <p:nvPr/>
            </p:nvSpPr>
            <p:spPr bwMode="auto">
              <a:xfrm>
                <a:off x="3668"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711"/>
              <p:cNvSpPr>
                <a:spLocks/>
              </p:cNvSpPr>
              <p:nvPr/>
            </p:nvSpPr>
            <p:spPr bwMode="auto">
              <a:xfrm>
                <a:off x="3668"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12"/>
              <p:cNvSpPr>
                <a:spLocks/>
              </p:cNvSpPr>
              <p:nvPr/>
            </p:nvSpPr>
            <p:spPr bwMode="auto">
              <a:xfrm>
                <a:off x="3682"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13"/>
              <p:cNvSpPr>
                <a:spLocks/>
              </p:cNvSpPr>
              <p:nvPr/>
            </p:nvSpPr>
            <p:spPr bwMode="auto">
              <a:xfrm>
                <a:off x="3668"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714"/>
              <p:cNvSpPr>
                <a:spLocks noChangeArrowheads="1"/>
              </p:cNvSpPr>
              <p:nvPr/>
            </p:nvSpPr>
            <p:spPr bwMode="auto">
              <a:xfrm>
                <a:off x="3672"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715"/>
              <p:cNvSpPr>
                <a:spLocks/>
              </p:cNvSpPr>
              <p:nvPr/>
            </p:nvSpPr>
            <p:spPr bwMode="auto">
              <a:xfrm>
                <a:off x="3668"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6"/>
              <p:cNvSpPr>
                <a:spLocks/>
              </p:cNvSpPr>
              <p:nvPr/>
            </p:nvSpPr>
            <p:spPr bwMode="auto">
              <a:xfrm>
                <a:off x="3668"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17"/>
              <p:cNvSpPr>
                <a:spLocks/>
              </p:cNvSpPr>
              <p:nvPr/>
            </p:nvSpPr>
            <p:spPr bwMode="auto">
              <a:xfrm>
                <a:off x="3682"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718"/>
              <p:cNvSpPr>
                <a:spLocks/>
              </p:cNvSpPr>
              <p:nvPr/>
            </p:nvSpPr>
            <p:spPr bwMode="auto">
              <a:xfrm>
                <a:off x="3668"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719"/>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720"/>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721"/>
              <p:cNvSpPr>
                <a:spLocks noChangeArrowheads="1"/>
              </p:cNvSpPr>
              <p:nvPr/>
            </p:nvSpPr>
            <p:spPr bwMode="auto">
              <a:xfrm>
                <a:off x="373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722"/>
              <p:cNvSpPr>
                <a:spLocks/>
              </p:cNvSpPr>
              <p:nvPr/>
            </p:nvSpPr>
            <p:spPr bwMode="auto">
              <a:xfrm>
                <a:off x="372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723"/>
              <p:cNvSpPr>
                <a:spLocks/>
              </p:cNvSpPr>
              <p:nvPr/>
            </p:nvSpPr>
            <p:spPr bwMode="auto">
              <a:xfrm>
                <a:off x="3725"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724"/>
              <p:cNvSpPr>
                <a:spLocks/>
              </p:cNvSpPr>
              <p:nvPr/>
            </p:nvSpPr>
            <p:spPr bwMode="auto">
              <a:xfrm>
                <a:off x="3739"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725"/>
              <p:cNvSpPr>
                <a:spLocks/>
              </p:cNvSpPr>
              <p:nvPr/>
            </p:nvSpPr>
            <p:spPr bwMode="auto">
              <a:xfrm>
                <a:off x="3725"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726"/>
              <p:cNvSpPr>
                <a:spLocks noChangeArrowheads="1"/>
              </p:cNvSpPr>
              <p:nvPr/>
            </p:nvSpPr>
            <p:spPr bwMode="auto">
              <a:xfrm>
                <a:off x="373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727"/>
              <p:cNvSpPr>
                <a:spLocks/>
              </p:cNvSpPr>
              <p:nvPr/>
            </p:nvSpPr>
            <p:spPr bwMode="auto">
              <a:xfrm>
                <a:off x="372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28"/>
              <p:cNvSpPr>
                <a:spLocks/>
              </p:cNvSpPr>
              <p:nvPr/>
            </p:nvSpPr>
            <p:spPr bwMode="auto">
              <a:xfrm>
                <a:off x="3725"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29"/>
              <p:cNvSpPr>
                <a:spLocks/>
              </p:cNvSpPr>
              <p:nvPr/>
            </p:nvSpPr>
            <p:spPr bwMode="auto">
              <a:xfrm>
                <a:off x="3739"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30"/>
              <p:cNvSpPr>
                <a:spLocks/>
              </p:cNvSpPr>
              <p:nvPr/>
            </p:nvSpPr>
            <p:spPr bwMode="auto">
              <a:xfrm>
                <a:off x="3725"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31"/>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32"/>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733"/>
              <p:cNvSpPr>
                <a:spLocks noChangeArrowheads="1"/>
              </p:cNvSpPr>
              <p:nvPr/>
            </p:nvSpPr>
            <p:spPr bwMode="auto">
              <a:xfrm>
                <a:off x="378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734"/>
              <p:cNvSpPr>
                <a:spLocks/>
              </p:cNvSpPr>
              <p:nvPr/>
            </p:nvSpPr>
            <p:spPr bwMode="auto">
              <a:xfrm>
                <a:off x="378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735"/>
              <p:cNvSpPr>
                <a:spLocks/>
              </p:cNvSpPr>
              <p:nvPr/>
            </p:nvSpPr>
            <p:spPr bwMode="auto">
              <a:xfrm>
                <a:off x="378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736"/>
              <p:cNvSpPr>
                <a:spLocks/>
              </p:cNvSpPr>
              <p:nvPr/>
            </p:nvSpPr>
            <p:spPr bwMode="auto">
              <a:xfrm>
                <a:off x="379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737"/>
              <p:cNvSpPr>
                <a:spLocks/>
              </p:cNvSpPr>
              <p:nvPr/>
            </p:nvSpPr>
            <p:spPr bwMode="auto">
              <a:xfrm>
                <a:off x="378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738"/>
              <p:cNvSpPr>
                <a:spLocks noChangeArrowheads="1"/>
              </p:cNvSpPr>
              <p:nvPr/>
            </p:nvSpPr>
            <p:spPr bwMode="auto">
              <a:xfrm>
                <a:off x="378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739"/>
              <p:cNvSpPr>
                <a:spLocks/>
              </p:cNvSpPr>
              <p:nvPr/>
            </p:nvSpPr>
            <p:spPr bwMode="auto">
              <a:xfrm>
                <a:off x="378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740"/>
              <p:cNvSpPr>
                <a:spLocks/>
              </p:cNvSpPr>
              <p:nvPr/>
            </p:nvSpPr>
            <p:spPr bwMode="auto">
              <a:xfrm>
                <a:off x="378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741"/>
              <p:cNvSpPr>
                <a:spLocks/>
              </p:cNvSpPr>
              <p:nvPr/>
            </p:nvSpPr>
            <p:spPr bwMode="auto">
              <a:xfrm>
                <a:off x="379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742"/>
              <p:cNvSpPr>
                <a:spLocks/>
              </p:cNvSpPr>
              <p:nvPr/>
            </p:nvSpPr>
            <p:spPr bwMode="auto">
              <a:xfrm>
                <a:off x="378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743"/>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744"/>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Rectangle 745"/>
              <p:cNvSpPr>
                <a:spLocks noChangeArrowheads="1"/>
              </p:cNvSpPr>
              <p:nvPr/>
            </p:nvSpPr>
            <p:spPr bwMode="auto">
              <a:xfrm>
                <a:off x="384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746"/>
              <p:cNvSpPr>
                <a:spLocks/>
              </p:cNvSpPr>
              <p:nvPr/>
            </p:nvSpPr>
            <p:spPr bwMode="auto">
              <a:xfrm>
                <a:off x="3841"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47"/>
              <p:cNvSpPr>
                <a:spLocks/>
              </p:cNvSpPr>
              <p:nvPr/>
            </p:nvSpPr>
            <p:spPr bwMode="auto">
              <a:xfrm>
                <a:off x="3841"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48"/>
              <p:cNvSpPr>
                <a:spLocks/>
              </p:cNvSpPr>
              <p:nvPr/>
            </p:nvSpPr>
            <p:spPr bwMode="auto">
              <a:xfrm>
                <a:off x="385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49"/>
              <p:cNvSpPr>
                <a:spLocks/>
              </p:cNvSpPr>
              <p:nvPr/>
            </p:nvSpPr>
            <p:spPr bwMode="auto">
              <a:xfrm>
                <a:off x="3841"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Rectangle 750"/>
              <p:cNvSpPr>
                <a:spLocks noChangeArrowheads="1"/>
              </p:cNvSpPr>
              <p:nvPr/>
            </p:nvSpPr>
            <p:spPr bwMode="auto">
              <a:xfrm>
                <a:off x="384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751"/>
              <p:cNvSpPr>
                <a:spLocks/>
              </p:cNvSpPr>
              <p:nvPr/>
            </p:nvSpPr>
            <p:spPr bwMode="auto">
              <a:xfrm>
                <a:off x="3841"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752"/>
              <p:cNvSpPr>
                <a:spLocks/>
              </p:cNvSpPr>
              <p:nvPr/>
            </p:nvSpPr>
            <p:spPr bwMode="auto">
              <a:xfrm>
                <a:off x="3841"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753"/>
              <p:cNvSpPr>
                <a:spLocks/>
              </p:cNvSpPr>
              <p:nvPr/>
            </p:nvSpPr>
            <p:spPr bwMode="auto">
              <a:xfrm>
                <a:off x="385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54"/>
              <p:cNvSpPr>
                <a:spLocks/>
              </p:cNvSpPr>
              <p:nvPr/>
            </p:nvSpPr>
            <p:spPr bwMode="auto">
              <a:xfrm>
                <a:off x="3841"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755"/>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56"/>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757"/>
              <p:cNvSpPr>
                <a:spLocks noChangeArrowheads="1"/>
              </p:cNvSpPr>
              <p:nvPr/>
            </p:nvSpPr>
            <p:spPr bwMode="auto">
              <a:xfrm>
                <a:off x="3903"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758"/>
              <p:cNvSpPr>
                <a:spLocks/>
              </p:cNvSpPr>
              <p:nvPr/>
            </p:nvSpPr>
            <p:spPr bwMode="auto">
              <a:xfrm>
                <a:off x="3898"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59"/>
              <p:cNvSpPr>
                <a:spLocks/>
              </p:cNvSpPr>
              <p:nvPr/>
            </p:nvSpPr>
            <p:spPr bwMode="auto">
              <a:xfrm>
                <a:off x="3898"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760"/>
              <p:cNvSpPr>
                <a:spLocks/>
              </p:cNvSpPr>
              <p:nvPr/>
            </p:nvSpPr>
            <p:spPr bwMode="auto">
              <a:xfrm>
                <a:off x="3912"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761"/>
              <p:cNvSpPr>
                <a:spLocks/>
              </p:cNvSpPr>
              <p:nvPr/>
            </p:nvSpPr>
            <p:spPr bwMode="auto">
              <a:xfrm>
                <a:off x="3898"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762"/>
              <p:cNvSpPr>
                <a:spLocks noChangeArrowheads="1"/>
              </p:cNvSpPr>
              <p:nvPr/>
            </p:nvSpPr>
            <p:spPr bwMode="auto">
              <a:xfrm>
                <a:off x="3903"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763"/>
              <p:cNvSpPr>
                <a:spLocks/>
              </p:cNvSpPr>
              <p:nvPr/>
            </p:nvSpPr>
            <p:spPr bwMode="auto">
              <a:xfrm>
                <a:off x="3898"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764"/>
              <p:cNvSpPr>
                <a:spLocks/>
              </p:cNvSpPr>
              <p:nvPr/>
            </p:nvSpPr>
            <p:spPr bwMode="auto">
              <a:xfrm>
                <a:off x="3898"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765"/>
              <p:cNvSpPr>
                <a:spLocks/>
              </p:cNvSpPr>
              <p:nvPr/>
            </p:nvSpPr>
            <p:spPr bwMode="auto">
              <a:xfrm>
                <a:off x="3912"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766"/>
              <p:cNvSpPr>
                <a:spLocks/>
              </p:cNvSpPr>
              <p:nvPr/>
            </p:nvSpPr>
            <p:spPr bwMode="auto">
              <a:xfrm>
                <a:off x="3898"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767"/>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768"/>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Rectangle 769"/>
              <p:cNvSpPr>
                <a:spLocks noChangeArrowheads="1"/>
              </p:cNvSpPr>
              <p:nvPr/>
            </p:nvSpPr>
            <p:spPr bwMode="auto">
              <a:xfrm>
                <a:off x="396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770"/>
              <p:cNvSpPr>
                <a:spLocks/>
              </p:cNvSpPr>
              <p:nvPr/>
            </p:nvSpPr>
            <p:spPr bwMode="auto">
              <a:xfrm>
                <a:off x="3956"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771"/>
              <p:cNvSpPr>
                <a:spLocks/>
              </p:cNvSpPr>
              <p:nvPr/>
            </p:nvSpPr>
            <p:spPr bwMode="auto">
              <a:xfrm>
                <a:off x="3956"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772"/>
              <p:cNvSpPr>
                <a:spLocks/>
              </p:cNvSpPr>
              <p:nvPr/>
            </p:nvSpPr>
            <p:spPr bwMode="auto">
              <a:xfrm>
                <a:off x="397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773"/>
              <p:cNvSpPr>
                <a:spLocks/>
              </p:cNvSpPr>
              <p:nvPr/>
            </p:nvSpPr>
            <p:spPr bwMode="auto">
              <a:xfrm>
                <a:off x="3956"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Rectangle 774"/>
              <p:cNvSpPr>
                <a:spLocks noChangeArrowheads="1"/>
              </p:cNvSpPr>
              <p:nvPr/>
            </p:nvSpPr>
            <p:spPr bwMode="auto">
              <a:xfrm>
                <a:off x="396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775"/>
              <p:cNvSpPr>
                <a:spLocks/>
              </p:cNvSpPr>
              <p:nvPr/>
            </p:nvSpPr>
            <p:spPr bwMode="auto">
              <a:xfrm>
                <a:off x="3956"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776"/>
              <p:cNvSpPr>
                <a:spLocks/>
              </p:cNvSpPr>
              <p:nvPr/>
            </p:nvSpPr>
            <p:spPr bwMode="auto">
              <a:xfrm>
                <a:off x="3956"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777"/>
              <p:cNvSpPr>
                <a:spLocks/>
              </p:cNvSpPr>
              <p:nvPr/>
            </p:nvSpPr>
            <p:spPr bwMode="auto">
              <a:xfrm>
                <a:off x="397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78"/>
              <p:cNvSpPr>
                <a:spLocks/>
              </p:cNvSpPr>
              <p:nvPr/>
            </p:nvSpPr>
            <p:spPr bwMode="auto">
              <a:xfrm>
                <a:off x="3956"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779"/>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780"/>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Rectangle 781"/>
              <p:cNvSpPr>
                <a:spLocks noChangeArrowheads="1"/>
              </p:cNvSpPr>
              <p:nvPr/>
            </p:nvSpPr>
            <p:spPr bwMode="auto">
              <a:xfrm>
                <a:off x="401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782"/>
              <p:cNvSpPr>
                <a:spLocks/>
              </p:cNvSpPr>
              <p:nvPr/>
            </p:nvSpPr>
            <p:spPr bwMode="auto">
              <a:xfrm>
                <a:off x="401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83"/>
              <p:cNvSpPr>
                <a:spLocks/>
              </p:cNvSpPr>
              <p:nvPr/>
            </p:nvSpPr>
            <p:spPr bwMode="auto">
              <a:xfrm>
                <a:off x="401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84"/>
              <p:cNvSpPr>
                <a:spLocks/>
              </p:cNvSpPr>
              <p:nvPr/>
            </p:nvSpPr>
            <p:spPr bwMode="auto">
              <a:xfrm>
                <a:off x="402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785"/>
              <p:cNvSpPr>
                <a:spLocks/>
              </p:cNvSpPr>
              <p:nvPr/>
            </p:nvSpPr>
            <p:spPr bwMode="auto">
              <a:xfrm>
                <a:off x="401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Rectangle 786"/>
              <p:cNvSpPr>
                <a:spLocks noChangeArrowheads="1"/>
              </p:cNvSpPr>
              <p:nvPr/>
            </p:nvSpPr>
            <p:spPr bwMode="auto">
              <a:xfrm>
                <a:off x="401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787"/>
              <p:cNvSpPr>
                <a:spLocks/>
              </p:cNvSpPr>
              <p:nvPr/>
            </p:nvSpPr>
            <p:spPr bwMode="auto">
              <a:xfrm>
                <a:off x="401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788"/>
              <p:cNvSpPr>
                <a:spLocks/>
              </p:cNvSpPr>
              <p:nvPr/>
            </p:nvSpPr>
            <p:spPr bwMode="auto">
              <a:xfrm>
                <a:off x="401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789"/>
              <p:cNvSpPr>
                <a:spLocks/>
              </p:cNvSpPr>
              <p:nvPr/>
            </p:nvSpPr>
            <p:spPr bwMode="auto">
              <a:xfrm>
                <a:off x="402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90"/>
              <p:cNvSpPr>
                <a:spLocks/>
              </p:cNvSpPr>
              <p:nvPr/>
            </p:nvSpPr>
            <p:spPr bwMode="auto">
              <a:xfrm>
                <a:off x="401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91"/>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92"/>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793"/>
              <p:cNvSpPr>
                <a:spLocks noChangeArrowheads="1"/>
              </p:cNvSpPr>
              <p:nvPr/>
            </p:nvSpPr>
            <p:spPr bwMode="auto">
              <a:xfrm>
                <a:off x="407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94"/>
              <p:cNvSpPr>
                <a:spLocks/>
              </p:cNvSpPr>
              <p:nvPr/>
            </p:nvSpPr>
            <p:spPr bwMode="auto">
              <a:xfrm>
                <a:off x="407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95"/>
              <p:cNvSpPr>
                <a:spLocks/>
              </p:cNvSpPr>
              <p:nvPr/>
            </p:nvSpPr>
            <p:spPr bwMode="auto">
              <a:xfrm>
                <a:off x="407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96"/>
              <p:cNvSpPr>
                <a:spLocks/>
              </p:cNvSpPr>
              <p:nvPr/>
            </p:nvSpPr>
            <p:spPr bwMode="auto">
              <a:xfrm>
                <a:off x="408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97"/>
              <p:cNvSpPr>
                <a:spLocks/>
              </p:cNvSpPr>
              <p:nvPr/>
            </p:nvSpPr>
            <p:spPr bwMode="auto">
              <a:xfrm>
                <a:off x="407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Rectangle 798"/>
              <p:cNvSpPr>
                <a:spLocks noChangeArrowheads="1"/>
              </p:cNvSpPr>
              <p:nvPr/>
            </p:nvSpPr>
            <p:spPr bwMode="auto">
              <a:xfrm>
                <a:off x="407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99"/>
              <p:cNvSpPr>
                <a:spLocks/>
              </p:cNvSpPr>
              <p:nvPr/>
            </p:nvSpPr>
            <p:spPr bwMode="auto">
              <a:xfrm>
                <a:off x="407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800"/>
              <p:cNvSpPr>
                <a:spLocks/>
              </p:cNvSpPr>
              <p:nvPr/>
            </p:nvSpPr>
            <p:spPr bwMode="auto">
              <a:xfrm>
                <a:off x="407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1"/>
              <p:cNvSpPr>
                <a:spLocks/>
              </p:cNvSpPr>
              <p:nvPr/>
            </p:nvSpPr>
            <p:spPr bwMode="auto">
              <a:xfrm>
                <a:off x="408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02"/>
              <p:cNvSpPr>
                <a:spLocks/>
              </p:cNvSpPr>
              <p:nvPr/>
            </p:nvSpPr>
            <p:spPr bwMode="auto">
              <a:xfrm>
                <a:off x="407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03"/>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04"/>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805"/>
              <p:cNvSpPr>
                <a:spLocks noChangeArrowheads="1"/>
              </p:cNvSpPr>
              <p:nvPr/>
            </p:nvSpPr>
            <p:spPr bwMode="auto">
              <a:xfrm>
                <a:off x="413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06"/>
              <p:cNvSpPr>
                <a:spLocks/>
              </p:cNvSpPr>
              <p:nvPr/>
            </p:nvSpPr>
            <p:spPr bwMode="auto">
              <a:xfrm>
                <a:off x="412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07"/>
              <p:cNvSpPr>
                <a:spLocks/>
              </p:cNvSpPr>
              <p:nvPr/>
            </p:nvSpPr>
            <p:spPr bwMode="auto">
              <a:xfrm>
                <a:off x="4129"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Freeform 809"/>
            <p:cNvSpPr>
              <a:spLocks/>
            </p:cNvSpPr>
            <p:nvPr/>
          </p:nvSpPr>
          <p:spPr bwMode="auto">
            <a:xfrm>
              <a:off x="6577013" y="2435225"/>
              <a:ext cx="6350" cy="28575"/>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10"/>
            <p:cNvSpPr>
              <a:spLocks/>
            </p:cNvSpPr>
            <p:nvPr/>
          </p:nvSpPr>
          <p:spPr bwMode="auto">
            <a:xfrm>
              <a:off x="6554788" y="2457450"/>
              <a:ext cx="28575" cy="6350"/>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811"/>
            <p:cNvSpPr>
              <a:spLocks noChangeArrowheads="1"/>
            </p:cNvSpPr>
            <p:nvPr/>
          </p:nvSpPr>
          <p:spPr bwMode="auto">
            <a:xfrm>
              <a:off x="6562726" y="2533650"/>
              <a:ext cx="14288" cy="14288"/>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12"/>
            <p:cNvSpPr>
              <a:spLocks/>
            </p:cNvSpPr>
            <p:nvPr/>
          </p:nvSpPr>
          <p:spPr bwMode="auto">
            <a:xfrm>
              <a:off x="6554788" y="2525713"/>
              <a:ext cx="7938" cy="30163"/>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13"/>
            <p:cNvSpPr>
              <a:spLocks/>
            </p:cNvSpPr>
            <p:nvPr/>
          </p:nvSpPr>
          <p:spPr bwMode="auto">
            <a:xfrm>
              <a:off x="6554788" y="2525713"/>
              <a:ext cx="28575" cy="7938"/>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14"/>
            <p:cNvSpPr>
              <a:spLocks/>
            </p:cNvSpPr>
            <p:nvPr/>
          </p:nvSpPr>
          <p:spPr bwMode="auto">
            <a:xfrm>
              <a:off x="6577013" y="2525713"/>
              <a:ext cx="6350" cy="30163"/>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15"/>
            <p:cNvSpPr>
              <a:spLocks/>
            </p:cNvSpPr>
            <p:nvPr/>
          </p:nvSpPr>
          <p:spPr bwMode="auto">
            <a:xfrm>
              <a:off x="6554788" y="2547938"/>
              <a:ext cx="28575" cy="7938"/>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smtClean="0"/>
              <a:t>RASPBERRY PI</a:t>
            </a:r>
            <a:endParaRPr lang="en-US" dirty="0"/>
          </a:p>
        </p:txBody>
      </p:sp>
      <p:sp>
        <p:nvSpPr>
          <p:cNvPr id="2370" name="Freeform 2369"/>
          <p:cNvSpPr/>
          <p:nvPr/>
        </p:nvSpPr>
        <p:spPr>
          <a:xfrm>
            <a:off x="7467871" y="873540"/>
            <a:ext cx="2394514" cy="1603815"/>
          </a:xfrm>
          <a:custGeom>
            <a:avLst/>
            <a:gdLst>
              <a:gd name="connsiteX0" fmla="*/ 1701776 w 2394514"/>
              <a:gd name="connsiteY0" fmla="*/ 1414921 h 1603815"/>
              <a:gd name="connsiteX1" fmla="*/ 1663299 w 2394514"/>
              <a:gd name="connsiteY1" fmla="*/ 1453398 h 1603815"/>
              <a:gd name="connsiteX2" fmla="*/ 1701776 w 2394514"/>
              <a:gd name="connsiteY2" fmla="*/ 1491875 h 1603815"/>
              <a:gd name="connsiteX3" fmla="*/ 1740253 w 2394514"/>
              <a:gd name="connsiteY3" fmla="*/ 1453398 h 1603815"/>
              <a:gd name="connsiteX4" fmla="*/ 1701776 w 2394514"/>
              <a:gd name="connsiteY4" fmla="*/ 1414921 h 1603815"/>
              <a:gd name="connsiteX5" fmla="*/ 98111 w 2394514"/>
              <a:gd name="connsiteY5" fmla="*/ 1414921 h 1603815"/>
              <a:gd name="connsiteX6" fmla="*/ 59633 w 2394514"/>
              <a:gd name="connsiteY6" fmla="*/ 1453398 h 1603815"/>
              <a:gd name="connsiteX7" fmla="*/ 98111 w 2394514"/>
              <a:gd name="connsiteY7" fmla="*/ 1491875 h 1603815"/>
              <a:gd name="connsiteX8" fmla="*/ 136588 w 2394514"/>
              <a:gd name="connsiteY8" fmla="*/ 1453398 h 1603815"/>
              <a:gd name="connsiteX9" fmla="*/ 98111 w 2394514"/>
              <a:gd name="connsiteY9" fmla="*/ 1414921 h 1603815"/>
              <a:gd name="connsiteX10" fmla="*/ 1200400 w 2394514"/>
              <a:gd name="connsiteY10" fmla="*/ 1207676 h 1603815"/>
              <a:gd name="connsiteX11" fmla="*/ 1320060 w 2394514"/>
              <a:gd name="connsiteY11" fmla="*/ 1248933 h 1603815"/>
              <a:gd name="connsiteX12" fmla="*/ 1197005 w 2394514"/>
              <a:gd name="connsiteY12" fmla="*/ 1326291 h 1603815"/>
              <a:gd name="connsiteX13" fmla="*/ 1072895 w 2394514"/>
              <a:gd name="connsiteY13" fmla="*/ 1255731 h 1603815"/>
              <a:gd name="connsiteX14" fmla="*/ 1200400 w 2394514"/>
              <a:gd name="connsiteY14" fmla="*/ 1207676 h 1603815"/>
              <a:gd name="connsiteX15" fmla="*/ 910044 w 2394514"/>
              <a:gd name="connsiteY15" fmla="*/ 997602 h 1603815"/>
              <a:gd name="connsiteX16" fmla="*/ 1011655 w 2394514"/>
              <a:gd name="connsiteY16" fmla="*/ 1060534 h 1603815"/>
              <a:gd name="connsiteX17" fmla="*/ 1034257 w 2394514"/>
              <a:gd name="connsiteY17" fmla="*/ 1204004 h 1603815"/>
              <a:gd name="connsiteX18" fmla="*/ 886348 w 2394514"/>
              <a:gd name="connsiteY18" fmla="*/ 1142985 h 1603815"/>
              <a:gd name="connsiteX19" fmla="*/ 880609 w 2394514"/>
              <a:gd name="connsiteY19" fmla="*/ 1004668 h 1603815"/>
              <a:gd name="connsiteX20" fmla="*/ 910044 w 2394514"/>
              <a:gd name="connsiteY20" fmla="*/ 997602 h 1603815"/>
              <a:gd name="connsiteX21" fmla="*/ 1480961 w 2394514"/>
              <a:gd name="connsiteY21" fmla="*/ 979546 h 1603815"/>
              <a:gd name="connsiteX22" fmla="*/ 1508616 w 2394514"/>
              <a:gd name="connsiteY22" fmla="*/ 988550 h 1603815"/>
              <a:gd name="connsiteX23" fmla="*/ 1504866 w 2394514"/>
              <a:gd name="connsiteY23" fmla="*/ 1146666 h 1603815"/>
              <a:gd name="connsiteX24" fmla="*/ 1349245 w 2394514"/>
              <a:gd name="connsiteY24" fmla="*/ 1204141 h 1603815"/>
              <a:gd name="connsiteX25" fmla="*/ 1381822 w 2394514"/>
              <a:gd name="connsiteY25" fmla="*/ 1046729 h 1603815"/>
              <a:gd name="connsiteX26" fmla="*/ 1480961 w 2394514"/>
              <a:gd name="connsiteY26" fmla="*/ 979546 h 1603815"/>
              <a:gd name="connsiteX27" fmla="*/ 1199815 w 2394514"/>
              <a:gd name="connsiteY27" fmla="*/ 936032 h 1603815"/>
              <a:gd name="connsiteX28" fmla="*/ 1327097 w 2394514"/>
              <a:gd name="connsiteY28" fmla="*/ 1053297 h 1603815"/>
              <a:gd name="connsiteX29" fmla="*/ 1199815 w 2394514"/>
              <a:gd name="connsiteY29" fmla="*/ 1170563 h 1603815"/>
              <a:gd name="connsiteX30" fmla="*/ 1072532 w 2394514"/>
              <a:gd name="connsiteY30" fmla="*/ 1053297 h 1603815"/>
              <a:gd name="connsiteX31" fmla="*/ 1199815 w 2394514"/>
              <a:gd name="connsiteY31" fmla="*/ 936032 h 1603815"/>
              <a:gd name="connsiteX32" fmla="*/ 862910 w 2394514"/>
              <a:gd name="connsiteY32" fmla="*/ 774749 h 1603815"/>
              <a:gd name="connsiteX33" fmla="*/ 835840 w 2394514"/>
              <a:gd name="connsiteY33" fmla="*/ 989344 h 1603815"/>
              <a:gd name="connsiteX34" fmla="*/ 862910 w 2394514"/>
              <a:gd name="connsiteY34" fmla="*/ 774749 h 1603815"/>
              <a:gd name="connsiteX35" fmla="*/ 1520368 w 2394514"/>
              <a:gd name="connsiteY35" fmla="*/ 771433 h 1603815"/>
              <a:gd name="connsiteX36" fmla="*/ 1547438 w 2394514"/>
              <a:gd name="connsiteY36" fmla="*/ 986324 h 1603815"/>
              <a:gd name="connsiteX37" fmla="*/ 1520368 w 2394514"/>
              <a:gd name="connsiteY37" fmla="*/ 771433 h 1603815"/>
              <a:gd name="connsiteX38" fmla="*/ 1077705 w 2394514"/>
              <a:gd name="connsiteY38" fmla="*/ 702007 h 1603815"/>
              <a:gd name="connsiteX39" fmla="*/ 1126349 w 2394514"/>
              <a:gd name="connsiteY39" fmla="*/ 717998 h 1603815"/>
              <a:gd name="connsiteX40" fmla="*/ 1147565 w 2394514"/>
              <a:gd name="connsiteY40" fmla="*/ 892866 h 1603815"/>
              <a:gd name="connsiteX41" fmla="*/ 977958 w 2394514"/>
              <a:gd name="connsiteY41" fmla="*/ 942677 h 1603815"/>
              <a:gd name="connsiteX42" fmla="*/ 956742 w 2394514"/>
              <a:gd name="connsiteY42" fmla="*/ 767809 h 1603815"/>
              <a:gd name="connsiteX43" fmla="*/ 1060374 w 2394514"/>
              <a:gd name="connsiteY43" fmla="*/ 702268 h 1603815"/>
              <a:gd name="connsiteX44" fmla="*/ 1077705 w 2394514"/>
              <a:gd name="connsiteY44" fmla="*/ 702007 h 1603815"/>
              <a:gd name="connsiteX45" fmla="*/ 1317160 w 2394514"/>
              <a:gd name="connsiteY45" fmla="*/ 695790 h 1603815"/>
              <a:gd name="connsiteX46" fmla="*/ 1334503 w 2394514"/>
              <a:gd name="connsiteY46" fmla="*/ 696050 h 1603815"/>
              <a:gd name="connsiteX47" fmla="*/ 1438051 w 2394514"/>
              <a:gd name="connsiteY47" fmla="*/ 761592 h 1603815"/>
              <a:gd name="connsiteX48" fmla="*/ 1416836 w 2394514"/>
              <a:gd name="connsiteY48" fmla="*/ 936343 h 1603815"/>
              <a:gd name="connsiteX49" fmla="*/ 1247229 w 2394514"/>
              <a:gd name="connsiteY49" fmla="*/ 886648 h 1603815"/>
              <a:gd name="connsiteX50" fmla="*/ 1268445 w 2394514"/>
              <a:gd name="connsiteY50" fmla="*/ 711780 h 1603815"/>
              <a:gd name="connsiteX51" fmla="*/ 1317160 w 2394514"/>
              <a:gd name="connsiteY51" fmla="*/ 695790 h 1603815"/>
              <a:gd name="connsiteX52" fmla="*/ 1363002 w 2394514"/>
              <a:gd name="connsiteY52" fmla="*/ 581975 h 1603815"/>
              <a:gd name="connsiteX53" fmla="*/ 1503770 w 2394514"/>
              <a:gd name="connsiteY53" fmla="*/ 733192 h 1603815"/>
              <a:gd name="connsiteX54" fmla="*/ 1327062 w 2394514"/>
              <a:gd name="connsiteY54" fmla="*/ 584723 h 1603815"/>
              <a:gd name="connsiteX55" fmla="*/ 1363002 w 2394514"/>
              <a:gd name="connsiteY55" fmla="*/ 581975 h 1603815"/>
              <a:gd name="connsiteX56" fmla="*/ 1019818 w 2394514"/>
              <a:gd name="connsiteY56" fmla="*/ 578848 h 1603815"/>
              <a:gd name="connsiteX57" fmla="*/ 1055700 w 2394514"/>
              <a:gd name="connsiteY57" fmla="*/ 581586 h 1603815"/>
              <a:gd name="connsiteX58" fmla="*/ 879275 w 2394514"/>
              <a:gd name="connsiteY58" fmla="*/ 729807 h 1603815"/>
              <a:gd name="connsiteX59" fmla="*/ 1019818 w 2394514"/>
              <a:gd name="connsiteY59" fmla="*/ 578848 h 1603815"/>
              <a:gd name="connsiteX60" fmla="*/ 1196810 w 2394514"/>
              <a:gd name="connsiteY60" fmla="*/ 556918 h 1603815"/>
              <a:gd name="connsiteX61" fmla="*/ 1312929 w 2394514"/>
              <a:gd name="connsiteY61" fmla="*/ 632868 h 1603815"/>
              <a:gd name="connsiteX62" fmla="*/ 1197162 w 2394514"/>
              <a:gd name="connsiteY62" fmla="*/ 691589 h 1603815"/>
              <a:gd name="connsiteX63" fmla="*/ 1081748 w 2394514"/>
              <a:gd name="connsiteY63" fmla="*/ 626539 h 1603815"/>
              <a:gd name="connsiteX64" fmla="*/ 1196810 w 2394514"/>
              <a:gd name="connsiteY64" fmla="*/ 556918 h 1603815"/>
              <a:gd name="connsiteX65" fmla="*/ 1399089 w 2394514"/>
              <a:gd name="connsiteY65" fmla="*/ 271125 h 1603815"/>
              <a:gd name="connsiteX66" fmla="*/ 1394047 w 2394514"/>
              <a:gd name="connsiteY66" fmla="*/ 292567 h 1603815"/>
              <a:gd name="connsiteX67" fmla="*/ 1443763 w 2394514"/>
              <a:gd name="connsiteY67" fmla="*/ 273117 h 1603815"/>
              <a:gd name="connsiteX68" fmla="*/ 1432741 w 2394514"/>
              <a:gd name="connsiteY68" fmla="*/ 293739 h 1603815"/>
              <a:gd name="connsiteX69" fmla="*/ 1480230 w 2394514"/>
              <a:gd name="connsiteY69" fmla="*/ 281787 h 1603815"/>
              <a:gd name="connsiteX70" fmla="*/ 1471787 w 2394514"/>
              <a:gd name="connsiteY70" fmla="*/ 301004 h 1603815"/>
              <a:gd name="connsiteX71" fmla="*/ 1528539 w 2394514"/>
              <a:gd name="connsiteY71" fmla="*/ 295380 h 1603815"/>
              <a:gd name="connsiteX72" fmla="*/ 1515524 w 2394514"/>
              <a:gd name="connsiteY72" fmla="*/ 308620 h 1603815"/>
              <a:gd name="connsiteX73" fmla="*/ 1566999 w 2394514"/>
              <a:gd name="connsiteY73" fmla="*/ 310378 h 1603815"/>
              <a:gd name="connsiteX74" fmla="*/ 1546948 w 2394514"/>
              <a:gd name="connsiteY74" fmla="*/ 350217 h 1603815"/>
              <a:gd name="connsiteX75" fmla="*/ 1569227 w 2394514"/>
              <a:gd name="connsiteY75" fmla="*/ 350217 h 1603815"/>
              <a:gd name="connsiteX76" fmla="*/ 1537568 w 2394514"/>
              <a:gd name="connsiteY76" fmla="*/ 386306 h 1603815"/>
              <a:gd name="connsiteX77" fmla="*/ 1561605 w 2394514"/>
              <a:gd name="connsiteY77" fmla="*/ 386658 h 1603815"/>
              <a:gd name="connsiteX78" fmla="*/ 1527132 w 2394514"/>
              <a:gd name="connsiteY78" fmla="*/ 424505 h 1603815"/>
              <a:gd name="connsiteX79" fmla="*/ 1548121 w 2394514"/>
              <a:gd name="connsiteY79" fmla="*/ 426497 h 1603815"/>
              <a:gd name="connsiteX80" fmla="*/ 1507667 w 2394514"/>
              <a:gd name="connsiteY80" fmla="*/ 459188 h 1603815"/>
              <a:gd name="connsiteX81" fmla="*/ 1529125 w 2394514"/>
              <a:gd name="connsiteY81" fmla="*/ 462586 h 1603815"/>
              <a:gd name="connsiteX82" fmla="*/ 1478823 w 2394514"/>
              <a:gd name="connsiteY82" fmla="*/ 493637 h 1603815"/>
              <a:gd name="connsiteX83" fmla="*/ 1500280 w 2394514"/>
              <a:gd name="connsiteY83" fmla="*/ 498207 h 1603815"/>
              <a:gd name="connsiteX84" fmla="*/ 1447750 w 2394514"/>
              <a:gd name="connsiteY84" fmla="*/ 520001 h 1603815"/>
              <a:gd name="connsiteX85" fmla="*/ 1462993 w 2394514"/>
              <a:gd name="connsiteY85" fmla="*/ 529024 h 1603815"/>
              <a:gd name="connsiteX86" fmla="*/ 1404717 w 2394514"/>
              <a:gd name="connsiteY86" fmla="*/ 541093 h 1603815"/>
              <a:gd name="connsiteX87" fmla="*/ 1419139 w 2394514"/>
              <a:gd name="connsiteY87" fmla="*/ 553865 h 1603815"/>
              <a:gd name="connsiteX88" fmla="*/ 1278433 w 2394514"/>
              <a:gd name="connsiteY88" fmla="*/ 483209 h 1603815"/>
              <a:gd name="connsiteX89" fmla="*/ 1480230 w 2394514"/>
              <a:gd name="connsiteY89" fmla="*/ 346467 h 1603815"/>
              <a:gd name="connsiteX90" fmla="*/ 1260610 w 2394514"/>
              <a:gd name="connsiteY90" fmla="*/ 463407 h 1603815"/>
              <a:gd name="connsiteX91" fmla="*/ 1273625 w 2394514"/>
              <a:gd name="connsiteY91" fmla="*/ 306745 h 1603815"/>
              <a:gd name="connsiteX92" fmla="*/ 1279840 w 2394514"/>
              <a:gd name="connsiteY92" fmla="*/ 323384 h 1603815"/>
              <a:gd name="connsiteX93" fmla="*/ 1315954 w 2394514"/>
              <a:gd name="connsiteY93" fmla="*/ 285537 h 1603815"/>
              <a:gd name="connsiteX94" fmla="*/ 1321348 w 2394514"/>
              <a:gd name="connsiteY94" fmla="*/ 306160 h 1603815"/>
              <a:gd name="connsiteX95" fmla="*/ 1354766 w 2394514"/>
              <a:gd name="connsiteY95" fmla="*/ 276983 h 1603815"/>
              <a:gd name="connsiteX96" fmla="*/ 1357228 w 2394514"/>
              <a:gd name="connsiteY96" fmla="*/ 297957 h 1603815"/>
              <a:gd name="connsiteX97" fmla="*/ 1399089 w 2394514"/>
              <a:gd name="connsiteY97" fmla="*/ 271125 h 1603815"/>
              <a:gd name="connsiteX98" fmla="*/ 997778 w 2394514"/>
              <a:gd name="connsiteY98" fmla="*/ 271125 h 1603815"/>
              <a:gd name="connsiteX99" fmla="*/ 1039521 w 2394514"/>
              <a:gd name="connsiteY99" fmla="*/ 297957 h 1603815"/>
              <a:gd name="connsiteX100" fmla="*/ 1042100 w 2394514"/>
              <a:gd name="connsiteY100" fmla="*/ 276983 h 1603815"/>
              <a:gd name="connsiteX101" fmla="*/ 1075518 w 2394514"/>
              <a:gd name="connsiteY101" fmla="*/ 306160 h 1603815"/>
              <a:gd name="connsiteX102" fmla="*/ 1080795 w 2394514"/>
              <a:gd name="connsiteY102" fmla="*/ 285537 h 1603815"/>
              <a:gd name="connsiteX103" fmla="*/ 1117027 w 2394514"/>
              <a:gd name="connsiteY103" fmla="*/ 323384 h 1603815"/>
              <a:gd name="connsiteX104" fmla="*/ 1123241 w 2394514"/>
              <a:gd name="connsiteY104" fmla="*/ 306745 h 1603815"/>
              <a:gd name="connsiteX105" fmla="*/ 1136257 w 2394514"/>
              <a:gd name="connsiteY105" fmla="*/ 463407 h 1603815"/>
              <a:gd name="connsiteX106" fmla="*/ 916637 w 2394514"/>
              <a:gd name="connsiteY106" fmla="*/ 346467 h 1603815"/>
              <a:gd name="connsiteX107" fmla="*/ 1118434 w 2394514"/>
              <a:gd name="connsiteY107" fmla="*/ 483209 h 1603815"/>
              <a:gd name="connsiteX108" fmla="*/ 977727 w 2394514"/>
              <a:gd name="connsiteY108" fmla="*/ 553865 h 1603815"/>
              <a:gd name="connsiteX109" fmla="*/ 992149 w 2394514"/>
              <a:gd name="connsiteY109" fmla="*/ 541093 h 1603815"/>
              <a:gd name="connsiteX110" fmla="*/ 933873 w 2394514"/>
              <a:gd name="connsiteY110" fmla="*/ 529024 h 1603815"/>
              <a:gd name="connsiteX111" fmla="*/ 949117 w 2394514"/>
              <a:gd name="connsiteY111" fmla="*/ 520001 h 1603815"/>
              <a:gd name="connsiteX112" fmla="*/ 896586 w 2394514"/>
              <a:gd name="connsiteY112" fmla="*/ 498207 h 1603815"/>
              <a:gd name="connsiteX113" fmla="*/ 918044 w 2394514"/>
              <a:gd name="connsiteY113" fmla="*/ 493637 h 1603815"/>
              <a:gd name="connsiteX114" fmla="*/ 867741 w 2394514"/>
              <a:gd name="connsiteY114" fmla="*/ 462586 h 1603815"/>
              <a:gd name="connsiteX115" fmla="*/ 889199 w 2394514"/>
              <a:gd name="connsiteY115" fmla="*/ 459188 h 1603815"/>
              <a:gd name="connsiteX116" fmla="*/ 848746 w 2394514"/>
              <a:gd name="connsiteY116" fmla="*/ 426497 h 1603815"/>
              <a:gd name="connsiteX117" fmla="*/ 869735 w 2394514"/>
              <a:gd name="connsiteY117" fmla="*/ 424505 h 1603815"/>
              <a:gd name="connsiteX118" fmla="*/ 835261 w 2394514"/>
              <a:gd name="connsiteY118" fmla="*/ 386658 h 1603815"/>
              <a:gd name="connsiteX119" fmla="*/ 859299 w 2394514"/>
              <a:gd name="connsiteY119" fmla="*/ 386306 h 1603815"/>
              <a:gd name="connsiteX120" fmla="*/ 827640 w 2394514"/>
              <a:gd name="connsiteY120" fmla="*/ 350217 h 1603815"/>
              <a:gd name="connsiteX121" fmla="*/ 849918 w 2394514"/>
              <a:gd name="connsiteY121" fmla="*/ 350217 h 1603815"/>
              <a:gd name="connsiteX122" fmla="*/ 829868 w 2394514"/>
              <a:gd name="connsiteY122" fmla="*/ 310378 h 1603815"/>
              <a:gd name="connsiteX123" fmla="*/ 881343 w 2394514"/>
              <a:gd name="connsiteY123" fmla="*/ 308620 h 1603815"/>
              <a:gd name="connsiteX124" fmla="*/ 868328 w 2394514"/>
              <a:gd name="connsiteY124" fmla="*/ 295380 h 1603815"/>
              <a:gd name="connsiteX125" fmla="*/ 925079 w 2394514"/>
              <a:gd name="connsiteY125" fmla="*/ 301004 h 1603815"/>
              <a:gd name="connsiteX126" fmla="*/ 916637 w 2394514"/>
              <a:gd name="connsiteY126" fmla="*/ 281787 h 1603815"/>
              <a:gd name="connsiteX127" fmla="*/ 964125 w 2394514"/>
              <a:gd name="connsiteY127" fmla="*/ 293739 h 1603815"/>
              <a:gd name="connsiteX128" fmla="*/ 953103 w 2394514"/>
              <a:gd name="connsiteY128" fmla="*/ 273117 h 1603815"/>
              <a:gd name="connsiteX129" fmla="*/ 1002820 w 2394514"/>
              <a:gd name="connsiteY129" fmla="*/ 292567 h 1603815"/>
              <a:gd name="connsiteX130" fmla="*/ 997778 w 2394514"/>
              <a:gd name="connsiteY130" fmla="*/ 271125 h 1603815"/>
              <a:gd name="connsiteX131" fmla="*/ 996434 w 2394514"/>
              <a:gd name="connsiteY131" fmla="*/ 242600 h 1603815"/>
              <a:gd name="connsiteX132" fmla="*/ 977797 w 2394514"/>
              <a:gd name="connsiteY132" fmla="*/ 250336 h 1603815"/>
              <a:gd name="connsiteX133" fmla="*/ 929739 w 2394514"/>
              <a:gd name="connsiteY133" fmla="*/ 254790 h 1603815"/>
              <a:gd name="connsiteX134" fmla="*/ 894105 w 2394514"/>
              <a:gd name="connsiteY134" fmla="*/ 264989 h 1603815"/>
              <a:gd name="connsiteX135" fmla="*/ 842062 w 2394514"/>
              <a:gd name="connsiteY135" fmla="*/ 281985 h 1603815"/>
              <a:gd name="connsiteX136" fmla="*/ 806545 w 2394514"/>
              <a:gd name="connsiteY136" fmla="*/ 328287 h 1603815"/>
              <a:gd name="connsiteX137" fmla="*/ 808772 w 2394514"/>
              <a:gd name="connsiteY137" fmla="*/ 374120 h 1603815"/>
              <a:gd name="connsiteX138" fmla="*/ 821197 w 2394514"/>
              <a:gd name="connsiteY138" fmla="*/ 416437 h 1603815"/>
              <a:gd name="connsiteX139" fmla="*/ 838780 w 2394514"/>
              <a:gd name="connsiteY139" fmla="*/ 456057 h 1603815"/>
              <a:gd name="connsiteX140" fmla="*/ 868083 w 2394514"/>
              <a:gd name="connsiteY140" fmla="*/ 498959 h 1603815"/>
              <a:gd name="connsiteX141" fmla="*/ 904889 w 2394514"/>
              <a:gd name="connsiteY141" fmla="*/ 533422 h 1603815"/>
              <a:gd name="connsiteX142" fmla="*/ 942750 w 2394514"/>
              <a:gd name="connsiteY142" fmla="*/ 562258 h 1603815"/>
              <a:gd name="connsiteX143" fmla="*/ 842648 w 2394514"/>
              <a:gd name="connsiteY143" fmla="*/ 736329 h 1603815"/>
              <a:gd name="connsiteX144" fmla="*/ 834794 w 2394514"/>
              <a:gd name="connsiteY144" fmla="*/ 750513 h 1603815"/>
              <a:gd name="connsiteX145" fmla="*/ 804318 w 2394514"/>
              <a:gd name="connsiteY145" fmla="*/ 1007575 h 1603815"/>
              <a:gd name="connsiteX146" fmla="*/ 827996 w 2394514"/>
              <a:gd name="connsiteY146" fmla="*/ 1085058 h 1603815"/>
              <a:gd name="connsiteX147" fmla="*/ 945563 w 2394514"/>
              <a:gd name="connsiteY147" fmla="*/ 1235333 h 1603815"/>
              <a:gd name="connsiteX148" fmla="*/ 1057972 w 2394514"/>
              <a:gd name="connsiteY148" fmla="*/ 1299218 h 1603815"/>
              <a:gd name="connsiteX149" fmla="*/ 1196169 w 2394514"/>
              <a:gd name="connsiteY149" fmla="*/ 1361227 h 1603815"/>
              <a:gd name="connsiteX150" fmla="*/ 1198279 w 2394514"/>
              <a:gd name="connsiteY150" fmla="*/ 1361227 h 1603815"/>
              <a:gd name="connsiteX151" fmla="*/ 1336476 w 2394514"/>
              <a:gd name="connsiteY151" fmla="*/ 1299218 h 1603815"/>
              <a:gd name="connsiteX152" fmla="*/ 1449003 w 2394514"/>
              <a:gd name="connsiteY152" fmla="*/ 1235333 h 1603815"/>
              <a:gd name="connsiteX153" fmla="*/ 1566453 w 2394514"/>
              <a:gd name="connsiteY153" fmla="*/ 1085058 h 1603815"/>
              <a:gd name="connsiteX154" fmla="*/ 1590248 w 2394514"/>
              <a:gd name="connsiteY154" fmla="*/ 1007575 h 1603815"/>
              <a:gd name="connsiteX155" fmla="*/ 1559772 w 2394514"/>
              <a:gd name="connsiteY155" fmla="*/ 750513 h 1603815"/>
              <a:gd name="connsiteX156" fmla="*/ 1551801 w 2394514"/>
              <a:gd name="connsiteY156" fmla="*/ 736329 h 1603815"/>
              <a:gd name="connsiteX157" fmla="*/ 1451816 w 2394514"/>
              <a:gd name="connsiteY157" fmla="*/ 562258 h 1603815"/>
              <a:gd name="connsiteX158" fmla="*/ 1489677 w 2394514"/>
              <a:gd name="connsiteY158" fmla="*/ 533422 h 1603815"/>
              <a:gd name="connsiteX159" fmla="*/ 1526365 w 2394514"/>
              <a:gd name="connsiteY159" fmla="*/ 498959 h 1603815"/>
              <a:gd name="connsiteX160" fmla="*/ 1555787 w 2394514"/>
              <a:gd name="connsiteY160" fmla="*/ 456057 h 1603815"/>
              <a:gd name="connsiteX161" fmla="*/ 1573252 w 2394514"/>
              <a:gd name="connsiteY161" fmla="*/ 416437 h 1603815"/>
              <a:gd name="connsiteX162" fmla="*/ 1585677 w 2394514"/>
              <a:gd name="connsiteY162" fmla="*/ 374120 h 1603815"/>
              <a:gd name="connsiteX163" fmla="*/ 1588021 w 2394514"/>
              <a:gd name="connsiteY163" fmla="*/ 328287 h 1603815"/>
              <a:gd name="connsiteX164" fmla="*/ 1552387 w 2394514"/>
              <a:gd name="connsiteY164" fmla="*/ 281985 h 1603815"/>
              <a:gd name="connsiteX165" fmla="*/ 1500344 w 2394514"/>
              <a:gd name="connsiteY165" fmla="*/ 264989 h 1603815"/>
              <a:gd name="connsiteX166" fmla="*/ 1464827 w 2394514"/>
              <a:gd name="connsiteY166" fmla="*/ 254790 h 1603815"/>
              <a:gd name="connsiteX167" fmla="*/ 1416769 w 2394514"/>
              <a:gd name="connsiteY167" fmla="*/ 250336 h 1603815"/>
              <a:gd name="connsiteX168" fmla="*/ 1368125 w 2394514"/>
              <a:gd name="connsiteY168" fmla="*/ 251977 h 1603815"/>
              <a:gd name="connsiteX169" fmla="*/ 1326279 w 2394514"/>
              <a:gd name="connsiteY169" fmla="*/ 259362 h 1603815"/>
              <a:gd name="connsiteX170" fmla="*/ 1279041 w 2394514"/>
              <a:gd name="connsiteY170" fmla="*/ 278821 h 1603815"/>
              <a:gd name="connsiteX171" fmla="*/ 1264155 w 2394514"/>
              <a:gd name="connsiteY171" fmla="*/ 278586 h 1603815"/>
              <a:gd name="connsiteX172" fmla="*/ 1197224 w 2394514"/>
              <a:gd name="connsiteY172" fmla="*/ 374824 h 1603815"/>
              <a:gd name="connsiteX173" fmla="*/ 1130294 w 2394514"/>
              <a:gd name="connsiteY173" fmla="*/ 278586 h 1603815"/>
              <a:gd name="connsiteX174" fmla="*/ 1115525 w 2394514"/>
              <a:gd name="connsiteY174" fmla="*/ 278821 h 1603815"/>
              <a:gd name="connsiteX175" fmla="*/ 1068170 w 2394514"/>
              <a:gd name="connsiteY175" fmla="*/ 259362 h 1603815"/>
              <a:gd name="connsiteX176" fmla="*/ 1026324 w 2394514"/>
              <a:gd name="connsiteY176" fmla="*/ 251977 h 1603815"/>
              <a:gd name="connsiteX177" fmla="*/ 996434 w 2394514"/>
              <a:gd name="connsiteY177" fmla="*/ 242600 h 1603815"/>
              <a:gd name="connsiteX178" fmla="*/ 1701776 w 2394514"/>
              <a:gd name="connsiteY178" fmla="*/ 58976 h 1603815"/>
              <a:gd name="connsiteX179" fmla="*/ 1663299 w 2394514"/>
              <a:gd name="connsiteY179" fmla="*/ 97454 h 1603815"/>
              <a:gd name="connsiteX180" fmla="*/ 1701776 w 2394514"/>
              <a:gd name="connsiteY180" fmla="*/ 135931 h 1603815"/>
              <a:gd name="connsiteX181" fmla="*/ 1740253 w 2394514"/>
              <a:gd name="connsiteY181" fmla="*/ 97454 h 1603815"/>
              <a:gd name="connsiteX182" fmla="*/ 1701776 w 2394514"/>
              <a:gd name="connsiteY182" fmla="*/ 58976 h 1603815"/>
              <a:gd name="connsiteX183" fmla="*/ 98111 w 2394514"/>
              <a:gd name="connsiteY183" fmla="*/ 58976 h 1603815"/>
              <a:gd name="connsiteX184" fmla="*/ 59633 w 2394514"/>
              <a:gd name="connsiteY184" fmla="*/ 97454 h 1603815"/>
              <a:gd name="connsiteX185" fmla="*/ 98111 w 2394514"/>
              <a:gd name="connsiteY185" fmla="*/ 135931 h 1603815"/>
              <a:gd name="connsiteX186" fmla="*/ 136588 w 2394514"/>
              <a:gd name="connsiteY186" fmla="*/ 97454 h 1603815"/>
              <a:gd name="connsiteX187" fmla="*/ 98111 w 2394514"/>
              <a:gd name="connsiteY187" fmla="*/ 58976 h 1603815"/>
              <a:gd name="connsiteX188" fmla="*/ 77459 w 2394514"/>
              <a:gd name="connsiteY188" fmla="*/ 0 h 1603815"/>
              <a:gd name="connsiteX189" fmla="*/ 2273454 w 2394514"/>
              <a:gd name="connsiteY189" fmla="*/ 0 h 1603815"/>
              <a:gd name="connsiteX190" fmla="*/ 2350913 w 2394514"/>
              <a:gd name="connsiteY190" fmla="*/ 77459 h 1603815"/>
              <a:gd name="connsiteX191" fmla="*/ 2350913 w 2394514"/>
              <a:gd name="connsiteY191" fmla="*/ 95281 h 1603815"/>
              <a:gd name="connsiteX192" fmla="*/ 2376506 w 2394514"/>
              <a:gd name="connsiteY192" fmla="*/ 95281 h 1603815"/>
              <a:gd name="connsiteX193" fmla="*/ 2376506 w 2394514"/>
              <a:gd name="connsiteY193" fmla="*/ 396305 h 1603815"/>
              <a:gd name="connsiteX194" fmla="*/ 2350913 w 2394514"/>
              <a:gd name="connsiteY194" fmla="*/ 396305 h 1603815"/>
              <a:gd name="connsiteX195" fmla="*/ 2350913 w 2394514"/>
              <a:gd name="connsiteY195" fmla="*/ 592913 h 1603815"/>
              <a:gd name="connsiteX196" fmla="*/ 2376506 w 2394514"/>
              <a:gd name="connsiteY196" fmla="*/ 592913 h 1603815"/>
              <a:gd name="connsiteX197" fmla="*/ 2376506 w 2394514"/>
              <a:gd name="connsiteY197" fmla="*/ 893937 h 1603815"/>
              <a:gd name="connsiteX198" fmla="*/ 2350913 w 2394514"/>
              <a:gd name="connsiteY198" fmla="*/ 893937 h 1603815"/>
              <a:gd name="connsiteX199" fmla="*/ 2350913 w 2394514"/>
              <a:gd name="connsiteY199" fmla="*/ 1079798 h 1603815"/>
              <a:gd name="connsiteX200" fmla="*/ 2394514 w 2394514"/>
              <a:gd name="connsiteY200" fmla="*/ 1079798 h 1603815"/>
              <a:gd name="connsiteX201" fmla="*/ 2394514 w 2394514"/>
              <a:gd name="connsiteY201" fmla="*/ 1435653 h 1603815"/>
              <a:gd name="connsiteX202" fmla="*/ 2350913 w 2394514"/>
              <a:gd name="connsiteY202" fmla="*/ 1435653 h 1603815"/>
              <a:gd name="connsiteX203" fmla="*/ 2350913 w 2394514"/>
              <a:gd name="connsiteY203" fmla="*/ 1472024 h 1603815"/>
              <a:gd name="connsiteX204" fmla="*/ 2273454 w 2394514"/>
              <a:gd name="connsiteY204" fmla="*/ 1549483 h 1603815"/>
              <a:gd name="connsiteX205" fmla="*/ 1574587 w 2394514"/>
              <a:gd name="connsiteY205" fmla="*/ 1549483 h 1603815"/>
              <a:gd name="connsiteX206" fmla="*/ 1574587 w 2394514"/>
              <a:gd name="connsiteY206" fmla="*/ 1603815 h 1603815"/>
              <a:gd name="connsiteX207" fmla="*/ 1389341 w 2394514"/>
              <a:gd name="connsiteY207" fmla="*/ 1603815 h 1603815"/>
              <a:gd name="connsiteX208" fmla="*/ 1389341 w 2394514"/>
              <a:gd name="connsiteY208" fmla="*/ 1549483 h 1603815"/>
              <a:gd name="connsiteX209" fmla="*/ 1107817 w 2394514"/>
              <a:gd name="connsiteY209" fmla="*/ 1549483 h 1603815"/>
              <a:gd name="connsiteX210" fmla="*/ 1107817 w 2394514"/>
              <a:gd name="connsiteY210" fmla="*/ 1603815 h 1603815"/>
              <a:gd name="connsiteX211" fmla="*/ 659328 w 2394514"/>
              <a:gd name="connsiteY211" fmla="*/ 1603815 h 1603815"/>
              <a:gd name="connsiteX212" fmla="*/ 659328 w 2394514"/>
              <a:gd name="connsiteY212" fmla="*/ 1549483 h 1603815"/>
              <a:gd name="connsiteX213" fmla="*/ 370491 w 2394514"/>
              <a:gd name="connsiteY213" fmla="*/ 1549483 h 1603815"/>
              <a:gd name="connsiteX214" fmla="*/ 370491 w 2394514"/>
              <a:gd name="connsiteY214" fmla="*/ 1577024 h 1603815"/>
              <a:gd name="connsiteX215" fmla="*/ 215452 w 2394514"/>
              <a:gd name="connsiteY215" fmla="*/ 1577024 h 1603815"/>
              <a:gd name="connsiteX216" fmla="*/ 215452 w 2394514"/>
              <a:gd name="connsiteY216" fmla="*/ 1549483 h 1603815"/>
              <a:gd name="connsiteX217" fmla="*/ 77459 w 2394514"/>
              <a:gd name="connsiteY217" fmla="*/ 1549483 h 1603815"/>
              <a:gd name="connsiteX218" fmla="*/ 0 w 2394514"/>
              <a:gd name="connsiteY218" fmla="*/ 1472024 h 1603815"/>
              <a:gd name="connsiteX219" fmla="*/ 0 w 2394514"/>
              <a:gd name="connsiteY219" fmla="*/ 77459 h 1603815"/>
              <a:gd name="connsiteX220" fmla="*/ 77459 w 2394514"/>
              <a:gd name="connsiteY220" fmla="*/ 0 h 16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394514" h="1603815">
                <a:moveTo>
                  <a:pt x="1701776" y="1414921"/>
                </a:moveTo>
                <a:cubicBezTo>
                  <a:pt x="1680525" y="1414921"/>
                  <a:pt x="1663299" y="1432148"/>
                  <a:pt x="1663299" y="1453398"/>
                </a:cubicBezTo>
                <a:cubicBezTo>
                  <a:pt x="1663299" y="1474648"/>
                  <a:pt x="1680525" y="1491875"/>
                  <a:pt x="1701776" y="1491875"/>
                </a:cubicBezTo>
                <a:cubicBezTo>
                  <a:pt x="1723026" y="1491875"/>
                  <a:pt x="1740253" y="1474648"/>
                  <a:pt x="1740253" y="1453398"/>
                </a:cubicBezTo>
                <a:cubicBezTo>
                  <a:pt x="1740253" y="1432148"/>
                  <a:pt x="1723026" y="1414921"/>
                  <a:pt x="1701776" y="1414921"/>
                </a:cubicBezTo>
                <a:close/>
                <a:moveTo>
                  <a:pt x="98111" y="1414921"/>
                </a:moveTo>
                <a:cubicBezTo>
                  <a:pt x="76860" y="1414921"/>
                  <a:pt x="59633" y="1432148"/>
                  <a:pt x="59633" y="1453398"/>
                </a:cubicBezTo>
                <a:cubicBezTo>
                  <a:pt x="59633" y="1474648"/>
                  <a:pt x="76860" y="1491875"/>
                  <a:pt x="98111" y="1491875"/>
                </a:cubicBezTo>
                <a:cubicBezTo>
                  <a:pt x="119361" y="1491875"/>
                  <a:pt x="136588" y="1474648"/>
                  <a:pt x="136588" y="1453398"/>
                </a:cubicBezTo>
                <a:cubicBezTo>
                  <a:pt x="136588" y="1432148"/>
                  <a:pt x="119361" y="1414921"/>
                  <a:pt x="98111" y="1414921"/>
                </a:cubicBezTo>
                <a:close/>
                <a:moveTo>
                  <a:pt x="1200400" y="1207676"/>
                </a:moveTo>
                <a:cubicBezTo>
                  <a:pt x="1251449" y="1205449"/>
                  <a:pt x="1319943" y="1224085"/>
                  <a:pt x="1320060" y="1248933"/>
                </a:cubicBezTo>
                <a:cubicBezTo>
                  <a:pt x="1320879" y="1272961"/>
                  <a:pt x="1258005" y="1327346"/>
                  <a:pt x="1197005" y="1326291"/>
                </a:cubicBezTo>
                <a:cubicBezTo>
                  <a:pt x="1133896" y="1329104"/>
                  <a:pt x="1072076" y="1274602"/>
                  <a:pt x="1072895" y="1255731"/>
                </a:cubicBezTo>
                <a:cubicBezTo>
                  <a:pt x="1071842" y="1227953"/>
                  <a:pt x="1149703" y="1206386"/>
                  <a:pt x="1200400" y="1207676"/>
                </a:cubicBezTo>
                <a:close/>
                <a:moveTo>
                  <a:pt x="910044" y="997602"/>
                </a:moveTo>
                <a:cubicBezTo>
                  <a:pt x="942070" y="998980"/>
                  <a:pt x="980386" y="1024256"/>
                  <a:pt x="1011655" y="1060534"/>
                </a:cubicBezTo>
                <a:cubicBezTo>
                  <a:pt x="1047958" y="1104336"/>
                  <a:pt x="1064588" y="1181283"/>
                  <a:pt x="1034257" y="1204004"/>
                </a:cubicBezTo>
                <a:cubicBezTo>
                  <a:pt x="1005565" y="1221337"/>
                  <a:pt x="935885" y="1214193"/>
                  <a:pt x="886348" y="1142985"/>
                </a:cubicBezTo>
                <a:cubicBezTo>
                  <a:pt x="852854" y="1083254"/>
                  <a:pt x="857187" y="1022587"/>
                  <a:pt x="880609" y="1004668"/>
                </a:cubicBezTo>
                <a:cubicBezTo>
                  <a:pt x="889393" y="999339"/>
                  <a:pt x="899369" y="997143"/>
                  <a:pt x="910044" y="997602"/>
                </a:cubicBezTo>
                <a:close/>
                <a:moveTo>
                  <a:pt x="1480961" y="979546"/>
                </a:moveTo>
                <a:cubicBezTo>
                  <a:pt x="1490899" y="979284"/>
                  <a:pt x="1500208" y="982070"/>
                  <a:pt x="1508616" y="988550"/>
                </a:cubicBezTo>
                <a:cubicBezTo>
                  <a:pt x="1531116" y="1011071"/>
                  <a:pt x="1544357" y="1095876"/>
                  <a:pt x="1504866" y="1146666"/>
                </a:cubicBezTo>
                <a:cubicBezTo>
                  <a:pt x="1450375" y="1222204"/>
                  <a:pt x="1376783" y="1225137"/>
                  <a:pt x="1349245" y="1204141"/>
                </a:cubicBezTo>
                <a:cubicBezTo>
                  <a:pt x="1320534" y="1177045"/>
                  <a:pt x="1342448" y="1092827"/>
                  <a:pt x="1381822" y="1046729"/>
                </a:cubicBezTo>
                <a:cubicBezTo>
                  <a:pt x="1415659" y="1008549"/>
                  <a:pt x="1451144" y="980332"/>
                  <a:pt x="1480961" y="979546"/>
                </a:cubicBezTo>
                <a:close/>
                <a:moveTo>
                  <a:pt x="1199815" y="936032"/>
                </a:moveTo>
                <a:cubicBezTo>
                  <a:pt x="1270111" y="936032"/>
                  <a:pt x="1327097" y="988533"/>
                  <a:pt x="1327097" y="1053297"/>
                </a:cubicBezTo>
                <a:cubicBezTo>
                  <a:pt x="1327097" y="1118061"/>
                  <a:pt x="1270111" y="1170563"/>
                  <a:pt x="1199815" y="1170563"/>
                </a:cubicBezTo>
                <a:cubicBezTo>
                  <a:pt x="1129519" y="1170563"/>
                  <a:pt x="1072532" y="1118061"/>
                  <a:pt x="1072532" y="1053297"/>
                </a:cubicBezTo>
                <a:cubicBezTo>
                  <a:pt x="1072532" y="988533"/>
                  <a:pt x="1129519" y="936032"/>
                  <a:pt x="1199815" y="936032"/>
                </a:cubicBezTo>
                <a:close/>
                <a:moveTo>
                  <a:pt x="862910" y="774749"/>
                </a:moveTo>
                <a:cubicBezTo>
                  <a:pt x="919863" y="759529"/>
                  <a:pt x="882129" y="1009949"/>
                  <a:pt x="835840" y="989344"/>
                </a:cubicBezTo>
                <a:cubicBezTo>
                  <a:pt x="784981" y="948485"/>
                  <a:pt x="768575" y="828602"/>
                  <a:pt x="862910" y="774749"/>
                </a:cubicBezTo>
                <a:close/>
                <a:moveTo>
                  <a:pt x="1520368" y="771433"/>
                </a:moveTo>
                <a:cubicBezTo>
                  <a:pt x="1614820" y="825361"/>
                  <a:pt x="1598414" y="945292"/>
                  <a:pt x="1547438" y="986324"/>
                </a:cubicBezTo>
                <a:cubicBezTo>
                  <a:pt x="1501149" y="1006840"/>
                  <a:pt x="1463532" y="756075"/>
                  <a:pt x="1520368" y="771433"/>
                </a:cubicBezTo>
                <a:close/>
                <a:moveTo>
                  <a:pt x="1077705" y="702007"/>
                </a:moveTo>
                <a:cubicBezTo>
                  <a:pt x="1094901" y="703102"/>
                  <a:pt x="1111547" y="708306"/>
                  <a:pt x="1126349" y="717998"/>
                </a:cubicBezTo>
                <a:cubicBezTo>
                  <a:pt x="1179095" y="752573"/>
                  <a:pt x="1188589" y="830865"/>
                  <a:pt x="1147565" y="892866"/>
                </a:cubicBezTo>
                <a:cubicBezTo>
                  <a:pt x="1106657" y="954866"/>
                  <a:pt x="1030704" y="977135"/>
                  <a:pt x="977958" y="942677"/>
                </a:cubicBezTo>
                <a:cubicBezTo>
                  <a:pt x="925212" y="908102"/>
                  <a:pt x="915718" y="829810"/>
                  <a:pt x="956742" y="767809"/>
                </a:cubicBezTo>
                <a:cubicBezTo>
                  <a:pt x="982383" y="729059"/>
                  <a:pt x="1021667" y="705828"/>
                  <a:pt x="1060374" y="702268"/>
                </a:cubicBezTo>
                <a:cubicBezTo>
                  <a:pt x="1066180" y="701734"/>
                  <a:pt x="1071973" y="701642"/>
                  <a:pt x="1077705" y="702007"/>
                </a:cubicBezTo>
                <a:close/>
                <a:moveTo>
                  <a:pt x="1317160" y="695790"/>
                </a:moveTo>
                <a:cubicBezTo>
                  <a:pt x="1322897" y="695425"/>
                  <a:pt x="1328694" y="695516"/>
                  <a:pt x="1334503" y="696050"/>
                </a:cubicBezTo>
                <a:cubicBezTo>
                  <a:pt x="1373227" y="699611"/>
                  <a:pt x="1412484" y="722841"/>
                  <a:pt x="1438051" y="761592"/>
                </a:cubicBezTo>
                <a:cubicBezTo>
                  <a:pt x="1479076" y="823593"/>
                  <a:pt x="1469582" y="901885"/>
                  <a:pt x="1416836" y="936343"/>
                </a:cubicBezTo>
                <a:cubicBezTo>
                  <a:pt x="1364207" y="970918"/>
                  <a:pt x="1288254" y="948649"/>
                  <a:pt x="1247229" y="886648"/>
                </a:cubicBezTo>
                <a:cubicBezTo>
                  <a:pt x="1206205" y="824647"/>
                  <a:pt x="1215699" y="746355"/>
                  <a:pt x="1268445" y="711780"/>
                </a:cubicBezTo>
                <a:cubicBezTo>
                  <a:pt x="1283279" y="702089"/>
                  <a:pt x="1299950" y="696885"/>
                  <a:pt x="1317160" y="695790"/>
                </a:cubicBezTo>
                <a:close/>
                <a:moveTo>
                  <a:pt x="1363002" y="581975"/>
                </a:moveTo>
                <a:cubicBezTo>
                  <a:pt x="1444429" y="583512"/>
                  <a:pt x="1506643" y="639841"/>
                  <a:pt x="1503770" y="733192"/>
                </a:cubicBezTo>
                <a:cubicBezTo>
                  <a:pt x="1500487" y="774036"/>
                  <a:pt x="1290829" y="590826"/>
                  <a:pt x="1327062" y="584723"/>
                </a:cubicBezTo>
                <a:cubicBezTo>
                  <a:pt x="1339345" y="582654"/>
                  <a:pt x="1351369" y="581756"/>
                  <a:pt x="1363002" y="581975"/>
                </a:cubicBezTo>
                <a:close/>
                <a:moveTo>
                  <a:pt x="1019818" y="578848"/>
                </a:moveTo>
                <a:cubicBezTo>
                  <a:pt x="1031432" y="578626"/>
                  <a:pt x="1043437" y="579521"/>
                  <a:pt x="1055700" y="581586"/>
                </a:cubicBezTo>
                <a:cubicBezTo>
                  <a:pt x="1091875" y="587679"/>
                  <a:pt x="882553" y="770582"/>
                  <a:pt x="879275" y="729807"/>
                </a:cubicBezTo>
                <a:cubicBezTo>
                  <a:pt x="876406" y="636715"/>
                  <a:pt x="938522" y="580404"/>
                  <a:pt x="1019818" y="578848"/>
                </a:cubicBezTo>
                <a:close/>
                <a:moveTo>
                  <a:pt x="1196810" y="556918"/>
                </a:moveTo>
                <a:cubicBezTo>
                  <a:pt x="1248770" y="556449"/>
                  <a:pt x="1313281" y="595713"/>
                  <a:pt x="1312929" y="632868"/>
                </a:cubicBezTo>
                <a:cubicBezTo>
                  <a:pt x="1312811" y="665569"/>
                  <a:pt x="1267772" y="692175"/>
                  <a:pt x="1197162" y="691589"/>
                </a:cubicBezTo>
                <a:cubicBezTo>
                  <a:pt x="1128078" y="690768"/>
                  <a:pt x="1081513" y="658302"/>
                  <a:pt x="1081748" y="626539"/>
                </a:cubicBezTo>
                <a:cubicBezTo>
                  <a:pt x="1081865" y="600519"/>
                  <a:pt x="1138165" y="555394"/>
                  <a:pt x="1196810" y="556918"/>
                </a:cubicBezTo>
                <a:close/>
                <a:moveTo>
                  <a:pt x="1399089" y="271125"/>
                </a:moveTo>
                <a:cubicBezTo>
                  <a:pt x="1393578" y="277921"/>
                  <a:pt x="1385839" y="284717"/>
                  <a:pt x="1394047" y="292567"/>
                </a:cubicBezTo>
                <a:cubicBezTo>
                  <a:pt x="1405420" y="285420"/>
                  <a:pt x="1416794" y="278155"/>
                  <a:pt x="1443763" y="273117"/>
                </a:cubicBezTo>
                <a:cubicBezTo>
                  <a:pt x="1437666" y="279913"/>
                  <a:pt x="1425119" y="286826"/>
                  <a:pt x="1432741" y="293739"/>
                </a:cubicBezTo>
                <a:cubicBezTo>
                  <a:pt x="1447046" y="288115"/>
                  <a:pt x="1462759" y="284131"/>
                  <a:pt x="1480230" y="281787"/>
                </a:cubicBezTo>
                <a:cubicBezTo>
                  <a:pt x="1471904" y="288818"/>
                  <a:pt x="1464869" y="295614"/>
                  <a:pt x="1471787" y="301004"/>
                </a:cubicBezTo>
                <a:cubicBezTo>
                  <a:pt x="1487031" y="296317"/>
                  <a:pt x="1508019" y="289872"/>
                  <a:pt x="1528539" y="295380"/>
                </a:cubicBezTo>
                <a:lnTo>
                  <a:pt x="1515524" y="308620"/>
                </a:lnTo>
                <a:cubicBezTo>
                  <a:pt x="1514117" y="310495"/>
                  <a:pt x="1546010" y="310026"/>
                  <a:pt x="1566999" y="310378"/>
                </a:cubicBezTo>
                <a:cubicBezTo>
                  <a:pt x="1559377" y="321158"/>
                  <a:pt x="1551521" y="331586"/>
                  <a:pt x="1546948" y="350217"/>
                </a:cubicBezTo>
                <a:cubicBezTo>
                  <a:pt x="1549059" y="352326"/>
                  <a:pt x="1559494" y="351154"/>
                  <a:pt x="1569227" y="350217"/>
                </a:cubicBezTo>
                <a:cubicBezTo>
                  <a:pt x="1559143" y="371660"/>
                  <a:pt x="1541672" y="377167"/>
                  <a:pt x="1537568" y="386306"/>
                </a:cubicBezTo>
                <a:cubicBezTo>
                  <a:pt x="1543782" y="391110"/>
                  <a:pt x="1552342" y="389821"/>
                  <a:pt x="1561605" y="386658"/>
                </a:cubicBezTo>
                <a:cubicBezTo>
                  <a:pt x="1554335" y="401773"/>
                  <a:pt x="1539209" y="412202"/>
                  <a:pt x="1527132" y="424505"/>
                </a:cubicBezTo>
                <a:cubicBezTo>
                  <a:pt x="1530181" y="426614"/>
                  <a:pt x="1535457" y="428020"/>
                  <a:pt x="1548121" y="426497"/>
                </a:cubicBezTo>
                <a:cubicBezTo>
                  <a:pt x="1536981" y="438449"/>
                  <a:pt x="1523497" y="449346"/>
                  <a:pt x="1507667" y="459188"/>
                </a:cubicBezTo>
                <a:cubicBezTo>
                  <a:pt x="1510482" y="462469"/>
                  <a:pt x="1520097" y="462352"/>
                  <a:pt x="1529125" y="462586"/>
                </a:cubicBezTo>
                <a:cubicBezTo>
                  <a:pt x="1514703" y="476882"/>
                  <a:pt x="1496176" y="484263"/>
                  <a:pt x="1478823" y="493637"/>
                </a:cubicBezTo>
                <a:cubicBezTo>
                  <a:pt x="1487500" y="499731"/>
                  <a:pt x="1493714" y="498324"/>
                  <a:pt x="1500280" y="498207"/>
                </a:cubicBezTo>
                <a:cubicBezTo>
                  <a:pt x="1487969" y="508401"/>
                  <a:pt x="1467097" y="513791"/>
                  <a:pt x="1447750" y="520001"/>
                </a:cubicBezTo>
                <a:cubicBezTo>
                  <a:pt x="1451385" y="525743"/>
                  <a:pt x="1455137" y="527383"/>
                  <a:pt x="1462993" y="529024"/>
                </a:cubicBezTo>
                <a:cubicBezTo>
                  <a:pt x="1442473" y="540507"/>
                  <a:pt x="1413042" y="535234"/>
                  <a:pt x="1404717" y="541093"/>
                </a:cubicBezTo>
                <a:cubicBezTo>
                  <a:pt x="1406710" y="546951"/>
                  <a:pt x="1412456" y="550701"/>
                  <a:pt x="1419139" y="553865"/>
                </a:cubicBezTo>
                <a:cubicBezTo>
                  <a:pt x="1386073" y="555739"/>
                  <a:pt x="1295786" y="552576"/>
                  <a:pt x="1278433" y="483209"/>
                </a:cubicBezTo>
                <a:cubicBezTo>
                  <a:pt x="1312202" y="445479"/>
                  <a:pt x="1373996" y="401187"/>
                  <a:pt x="1480230" y="346467"/>
                </a:cubicBezTo>
                <a:cubicBezTo>
                  <a:pt x="1397564" y="374589"/>
                  <a:pt x="1322990" y="411967"/>
                  <a:pt x="1260610" y="463407"/>
                </a:cubicBezTo>
                <a:cubicBezTo>
                  <a:pt x="1187207" y="428840"/>
                  <a:pt x="1237862" y="341429"/>
                  <a:pt x="1273625" y="306745"/>
                </a:cubicBezTo>
                <a:cubicBezTo>
                  <a:pt x="1275384" y="315885"/>
                  <a:pt x="1277494" y="321626"/>
                  <a:pt x="1279840" y="323384"/>
                </a:cubicBezTo>
                <a:cubicBezTo>
                  <a:pt x="1291448" y="310729"/>
                  <a:pt x="1300946" y="297723"/>
                  <a:pt x="1315954" y="285537"/>
                </a:cubicBezTo>
                <a:cubicBezTo>
                  <a:pt x="1316071" y="292684"/>
                  <a:pt x="1312437" y="300418"/>
                  <a:pt x="1321348" y="306160"/>
                </a:cubicBezTo>
                <a:cubicBezTo>
                  <a:pt x="1329439" y="295145"/>
                  <a:pt x="1340343" y="285303"/>
                  <a:pt x="1354766" y="276983"/>
                </a:cubicBezTo>
                <a:cubicBezTo>
                  <a:pt x="1347731" y="289169"/>
                  <a:pt x="1353593" y="292919"/>
                  <a:pt x="1357228" y="297957"/>
                </a:cubicBezTo>
                <a:cubicBezTo>
                  <a:pt x="1368250" y="288349"/>
                  <a:pt x="1378803" y="278624"/>
                  <a:pt x="1399089" y="271125"/>
                </a:cubicBezTo>
                <a:close/>
                <a:moveTo>
                  <a:pt x="997778" y="271125"/>
                </a:moveTo>
                <a:cubicBezTo>
                  <a:pt x="1018063" y="278624"/>
                  <a:pt x="1028499" y="288349"/>
                  <a:pt x="1039521" y="297957"/>
                </a:cubicBezTo>
                <a:cubicBezTo>
                  <a:pt x="1043273" y="292919"/>
                  <a:pt x="1049019" y="289169"/>
                  <a:pt x="1042100" y="276983"/>
                </a:cubicBezTo>
                <a:cubicBezTo>
                  <a:pt x="1056523" y="285303"/>
                  <a:pt x="1067428" y="295145"/>
                  <a:pt x="1075518" y="306160"/>
                </a:cubicBezTo>
                <a:cubicBezTo>
                  <a:pt x="1084430" y="300418"/>
                  <a:pt x="1080795" y="292684"/>
                  <a:pt x="1080795" y="285537"/>
                </a:cubicBezTo>
                <a:cubicBezTo>
                  <a:pt x="1095804" y="297723"/>
                  <a:pt x="1105419" y="310729"/>
                  <a:pt x="1117027" y="323384"/>
                </a:cubicBezTo>
                <a:cubicBezTo>
                  <a:pt x="1119372" y="321626"/>
                  <a:pt x="1121482" y="315885"/>
                  <a:pt x="1123241" y="306745"/>
                </a:cubicBezTo>
                <a:cubicBezTo>
                  <a:pt x="1159004" y="341429"/>
                  <a:pt x="1209659" y="428840"/>
                  <a:pt x="1136257" y="463407"/>
                </a:cubicBezTo>
                <a:cubicBezTo>
                  <a:pt x="1073877" y="411967"/>
                  <a:pt x="999302" y="374589"/>
                  <a:pt x="916637" y="346467"/>
                </a:cubicBezTo>
                <a:cubicBezTo>
                  <a:pt x="1022871" y="401187"/>
                  <a:pt x="1084664" y="445479"/>
                  <a:pt x="1118434" y="483209"/>
                </a:cubicBezTo>
                <a:cubicBezTo>
                  <a:pt x="1101080" y="552576"/>
                  <a:pt x="1010676" y="555739"/>
                  <a:pt x="977727" y="553865"/>
                </a:cubicBezTo>
                <a:cubicBezTo>
                  <a:pt x="984410" y="550701"/>
                  <a:pt x="990039" y="546951"/>
                  <a:pt x="992149" y="541093"/>
                </a:cubicBezTo>
                <a:cubicBezTo>
                  <a:pt x="983824" y="535234"/>
                  <a:pt x="954393" y="540507"/>
                  <a:pt x="933873" y="529024"/>
                </a:cubicBezTo>
                <a:cubicBezTo>
                  <a:pt x="941730" y="527383"/>
                  <a:pt x="945482" y="525743"/>
                  <a:pt x="949117" y="520001"/>
                </a:cubicBezTo>
                <a:cubicBezTo>
                  <a:pt x="929769" y="513791"/>
                  <a:pt x="908898" y="508401"/>
                  <a:pt x="896586" y="498207"/>
                </a:cubicBezTo>
                <a:cubicBezTo>
                  <a:pt x="903153" y="498324"/>
                  <a:pt x="909367" y="499731"/>
                  <a:pt x="918044" y="493637"/>
                </a:cubicBezTo>
                <a:cubicBezTo>
                  <a:pt x="900690" y="484263"/>
                  <a:pt x="882164" y="476882"/>
                  <a:pt x="867741" y="462586"/>
                </a:cubicBezTo>
                <a:cubicBezTo>
                  <a:pt x="876653" y="462352"/>
                  <a:pt x="886385" y="462469"/>
                  <a:pt x="889199" y="459188"/>
                </a:cubicBezTo>
                <a:cubicBezTo>
                  <a:pt x="873252" y="449346"/>
                  <a:pt x="859885" y="438449"/>
                  <a:pt x="848746" y="426497"/>
                </a:cubicBezTo>
                <a:cubicBezTo>
                  <a:pt x="861409" y="428020"/>
                  <a:pt x="866686" y="426614"/>
                  <a:pt x="869735" y="424505"/>
                </a:cubicBezTo>
                <a:cubicBezTo>
                  <a:pt x="857657" y="412202"/>
                  <a:pt x="842414" y="401773"/>
                  <a:pt x="835261" y="386658"/>
                </a:cubicBezTo>
                <a:cubicBezTo>
                  <a:pt x="844524" y="389821"/>
                  <a:pt x="853084" y="391110"/>
                  <a:pt x="859299" y="386306"/>
                </a:cubicBezTo>
                <a:cubicBezTo>
                  <a:pt x="855195" y="377167"/>
                  <a:pt x="837607" y="371660"/>
                  <a:pt x="827640" y="350217"/>
                </a:cubicBezTo>
                <a:cubicBezTo>
                  <a:pt x="837372" y="351154"/>
                  <a:pt x="847808" y="352326"/>
                  <a:pt x="849918" y="350217"/>
                </a:cubicBezTo>
                <a:cubicBezTo>
                  <a:pt x="845345" y="331586"/>
                  <a:pt x="837489" y="321158"/>
                  <a:pt x="829868" y="310378"/>
                </a:cubicBezTo>
                <a:cubicBezTo>
                  <a:pt x="850856" y="310026"/>
                  <a:pt x="882750" y="310495"/>
                  <a:pt x="881343" y="308620"/>
                </a:cubicBezTo>
                <a:lnTo>
                  <a:pt x="868328" y="295380"/>
                </a:lnTo>
                <a:cubicBezTo>
                  <a:pt x="888847" y="289872"/>
                  <a:pt x="909836" y="296317"/>
                  <a:pt x="925079" y="301004"/>
                </a:cubicBezTo>
                <a:cubicBezTo>
                  <a:pt x="931997" y="295614"/>
                  <a:pt x="924962" y="288818"/>
                  <a:pt x="916637" y="281787"/>
                </a:cubicBezTo>
                <a:cubicBezTo>
                  <a:pt x="934108" y="284131"/>
                  <a:pt x="949820" y="288115"/>
                  <a:pt x="964125" y="293739"/>
                </a:cubicBezTo>
                <a:cubicBezTo>
                  <a:pt x="971747" y="286826"/>
                  <a:pt x="959200" y="279913"/>
                  <a:pt x="953103" y="273117"/>
                </a:cubicBezTo>
                <a:cubicBezTo>
                  <a:pt x="980072" y="278155"/>
                  <a:pt x="991446" y="285420"/>
                  <a:pt x="1002820" y="292567"/>
                </a:cubicBezTo>
                <a:cubicBezTo>
                  <a:pt x="1011027" y="284717"/>
                  <a:pt x="1003289" y="277921"/>
                  <a:pt x="997778" y="271125"/>
                </a:cubicBezTo>
                <a:close/>
                <a:moveTo>
                  <a:pt x="996434" y="242600"/>
                </a:moveTo>
                <a:cubicBezTo>
                  <a:pt x="990691" y="242834"/>
                  <a:pt x="984595" y="244827"/>
                  <a:pt x="977797" y="250336"/>
                </a:cubicBezTo>
                <a:cubicBezTo>
                  <a:pt x="960801" y="243772"/>
                  <a:pt x="944391" y="241545"/>
                  <a:pt x="929739" y="254790"/>
                </a:cubicBezTo>
                <a:cubicBezTo>
                  <a:pt x="907116" y="251860"/>
                  <a:pt x="899732" y="257955"/>
                  <a:pt x="894105" y="264989"/>
                </a:cubicBezTo>
                <a:cubicBezTo>
                  <a:pt x="889182" y="264871"/>
                  <a:pt x="856948" y="259948"/>
                  <a:pt x="842062" y="281985"/>
                </a:cubicBezTo>
                <a:cubicBezTo>
                  <a:pt x="804904" y="277531"/>
                  <a:pt x="793183" y="303788"/>
                  <a:pt x="806545" y="328287"/>
                </a:cubicBezTo>
                <a:cubicBezTo>
                  <a:pt x="798926" y="340126"/>
                  <a:pt x="791073" y="351731"/>
                  <a:pt x="808772" y="374120"/>
                </a:cubicBezTo>
                <a:cubicBezTo>
                  <a:pt x="802560" y="386546"/>
                  <a:pt x="806428" y="400143"/>
                  <a:pt x="821197" y="416437"/>
                </a:cubicBezTo>
                <a:cubicBezTo>
                  <a:pt x="817329" y="434020"/>
                  <a:pt x="824948" y="446445"/>
                  <a:pt x="838780" y="456057"/>
                </a:cubicBezTo>
                <a:cubicBezTo>
                  <a:pt x="836201" y="480087"/>
                  <a:pt x="860699" y="494036"/>
                  <a:pt x="868083" y="498959"/>
                </a:cubicBezTo>
                <a:cubicBezTo>
                  <a:pt x="870897" y="512908"/>
                  <a:pt x="876757" y="526154"/>
                  <a:pt x="904889" y="533422"/>
                </a:cubicBezTo>
                <a:cubicBezTo>
                  <a:pt x="909461" y="554287"/>
                  <a:pt x="926339" y="557921"/>
                  <a:pt x="942750" y="562258"/>
                </a:cubicBezTo>
                <a:cubicBezTo>
                  <a:pt x="888713" y="593673"/>
                  <a:pt x="842413" y="634934"/>
                  <a:pt x="842648" y="736329"/>
                </a:cubicBezTo>
                <a:lnTo>
                  <a:pt x="834794" y="750513"/>
                </a:lnTo>
                <a:cubicBezTo>
                  <a:pt x="772905" y="788140"/>
                  <a:pt x="717110" y="909228"/>
                  <a:pt x="804318" y="1007575"/>
                </a:cubicBezTo>
                <a:cubicBezTo>
                  <a:pt x="809945" y="1038404"/>
                  <a:pt x="819439" y="1060559"/>
                  <a:pt x="827996" y="1085058"/>
                </a:cubicBezTo>
                <a:cubicBezTo>
                  <a:pt x="840655" y="1183639"/>
                  <a:pt x="923644" y="1229941"/>
                  <a:pt x="945563" y="1235333"/>
                </a:cubicBezTo>
                <a:cubicBezTo>
                  <a:pt x="977563" y="1259832"/>
                  <a:pt x="1011789" y="1282924"/>
                  <a:pt x="1057972" y="1299218"/>
                </a:cubicBezTo>
                <a:cubicBezTo>
                  <a:pt x="1101577" y="1344113"/>
                  <a:pt x="1148697" y="1361227"/>
                  <a:pt x="1196169" y="1361227"/>
                </a:cubicBezTo>
                <a:cubicBezTo>
                  <a:pt x="1196873" y="1361227"/>
                  <a:pt x="1197576" y="1361227"/>
                  <a:pt x="1198279" y="1361227"/>
                </a:cubicBezTo>
                <a:cubicBezTo>
                  <a:pt x="1245751" y="1361227"/>
                  <a:pt x="1292989" y="1344113"/>
                  <a:pt x="1336476" y="1299218"/>
                </a:cubicBezTo>
                <a:cubicBezTo>
                  <a:pt x="1382777" y="1282924"/>
                  <a:pt x="1416886" y="1259832"/>
                  <a:pt x="1449003" y="1235333"/>
                </a:cubicBezTo>
                <a:cubicBezTo>
                  <a:pt x="1470805" y="1229941"/>
                  <a:pt x="1553794" y="1183639"/>
                  <a:pt x="1566453" y="1085058"/>
                </a:cubicBezTo>
                <a:cubicBezTo>
                  <a:pt x="1575010" y="1060559"/>
                  <a:pt x="1584505" y="1038404"/>
                  <a:pt x="1590248" y="1007575"/>
                </a:cubicBezTo>
                <a:cubicBezTo>
                  <a:pt x="1677339" y="909228"/>
                  <a:pt x="1621662" y="788140"/>
                  <a:pt x="1559772" y="750513"/>
                </a:cubicBezTo>
                <a:lnTo>
                  <a:pt x="1551801" y="736329"/>
                </a:lnTo>
                <a:cubicBezTo>
                  <a:pt x="1552153" y="634934"/>
                  <a:pt x="1505735" y="593673"/>
                  <a:pt x="1451816" y="562258"/>
                </a:cubicBezTo>
                <a:cubicBezTo>
                  <a:pt x="1468109" y="557921"/>
                  <a:pt x="1484989" y="554287"/>
                  <a:pt x="1489677" y="533422"/>
                </a:cubicBezTo>
                <a:cubicBezTo>
                  <a:pt x="1517691" y="526154"/>
                  <a:pt x="1523552" y="512908"/>
                  <a:pt x="1526365" y="498959"/>
                </a:cubicBezTo>
                <a:cubicBezTo>
                  <a:pt x="1533750" y="494036"/>
                  <a:pt x="1558365" y="480087"/>
                  <a:pt x="1555787" y="456057"/>
                </a:cubicBezTo>
                <a:cubicBezTo>
                  <a:pt x="1569501" y="446445"/>
                  <a:pt x="1577237" y="434020"/>
                  <a:pt x="1573252" y="416437"/>
                </a:cubicBezTo>
                <a:cubicBezTo>
                  <a:pt x="1588138" y="400143"/>
                  <a:pt x="1592006" y="386546"/>
                  <a:pt x="1585677" y="374120"/>
                </a:cubicBezTo>
                <a:cubicBezTo>
                  <a:pt x="1603493" y="351731"/>
                  <a:pt x="1595640" y="340126"/>
                  <a:pt x="1588021" y="328287"/>
                </a:cubicBezTo>
                <a:cubicBezTo>
                  <a:pt x="1601266" y="303788"/>
                  <a:pt x="1589545" y="277531"/>
                  <a:pt x="1552387" y="281985"/>
                </a:cubicBezTo>
                <a:cubicBezTo>
                  <a:pt x="1537618" y="259948"/>
                  <a:pt x="1505384" y="264871"/>
                  <a:pt x="1500344" y="264989"/>
                </a:cubicBezTo>
                <a:cubicBezTo>
                  <a:pt x="1494835" y="257955"/>
                  <a:pt x="1487450" y="251860"/>
                  <a:pt x="1464827" y="254790"/>
                </a:cubicBezTo>
                <a:cubicBezTo>
                  <a:pt x="1450058" y="241545"/>
                  <a:pt x="1433648" y="243772"/>
                  <a:pt x="1416769" y="250336"/>
                </a:cubicBezTo>
                <a:cubicBezTo>
                  <a:pt x="1396608" y="234511"/>
                  <a:pt x="1383363" y="247171"/>
                  <a:pt x="1368125" y="251977"/>
                </a:cubicBezTo>
                <a:cubicBezTo>
                  <a:pt x="1343861" y="244006"/>
                  <a:pt x="1338235" y="254908"/>
                  <a:pt x="1326279" y="259362"/>
                </a:cubicBezTo>
                <a:cubicBezTo>
                  <a:pt x="1299788" y="253735"/>
                  <a:pt x="1291700" y="265926"/>
                  <a:pt x="1279041" y="278821"/>
                </a:cubicBezTo>
                <a:lnTo>
                  <a:pt x="1264155" y="278586"/>
                </a:lnTo>
                <a:cubicBezTo>
                  <a:pt x="1224184" y="302147"/>
                  <a:pt x="1204257" y="350207"/>
                  <a:pt x="1197224" y="374824"/>
                </a:cubicBezTo>
                <a:cubicBezTo>
                  <a:pt x="1190191" y="350207"/>
                  <a:pt x="1170382" y="302147"/>
                  <a:pt x="1130294" y="278586"/>
                </a:cubicBezTo>
                <a:lnTo>
                  <a:pt x="1115525" y="278821"/>
                </a:lnTo>
                <a:cubicBezTo>
                  <a:pt x="1102749" y="265926"/>
                  <a:pt x="1094778" y="253735"/>
                  <a:pt x="1068170" y="259362"/>
                </a:cubicBezTo>
                <a:cubicBezTo>
                  <a:pt x="1056214" y="254908"/>
                  <a:pt x="1050705" y="244006"/>
                  <a:pt x="1026324" y="251977"/>
                </a:cubicBezTo>
                <a:cubicBezTo>
                  <a:pt x="1016361" y="248812"/>
                  <a:pt x="1007218" y="242248"/>
                  <a:pt x="996434" y="242600"/>
                </a:cubicBezTo>
                <a:close/>
                <a:moveTo>
                  <a:pt x="1701776" y="58976"/>
                </a:moveTo>
                <a:cubicBezTo>
                  <a:pt x="1680525" y="58976"/>
                  <a:pt x="1663299" y="76203"/>
                  <a:pt x="1663299" y="97454"/>
                </a:cubicBezTo>
                <a:cubicBezTo>
                  <a:pt x="1663299" y="118704"/>
                  <a:pt x="1680525" y="135931"/>
                  <a:pt x="1701776" y="135931"/>
                </a:cubicBezTo>
                <a:cubicBezTo>
                  <a:pt x="1723026" y="135931"/>
                  <a:pt x="1740253" y="118704"/>
                  <a:pt x="1740253" y="97454"/>
                </a:cubicBezTo>
                <a:cubicBezTo>
                  <a:pt x="1740253" y="76203"/>
                  <a:pt x="1723026" y="58976"/>
                  <a:pt x="1701776" y="58976"/>
                </a:cubicBezTo>
                <a:close/>
                <a:moveTo>
                  <a:pt x="98111" y="58976"/>
                </a:moveTo>
                <a:cubicBezTo>
                  <a:pt x="76860" y="58976"/>
                  <a:pt x="59633" y="76203"/>
                  <a:pt x="59633" y="97454"/>
                </a:cubicBezTo>
                <a:cubicBezTo>
                  <a:pt x="59633" y="118704"/>
                  <a:pt x="76860" y="135931"/>
                  <a:pt x="98111" y="135931"/>
                </a:cubicBezTo>
                <a:cubicBezTo>
                  <a:pt x="119361" y="135931"/>
                  <a:pt x="136588" y="118704"/>
                  <a:pt x="136588" y="97454"/>
                </a:cubicBezTo>
                <a:cubicBezTo>
                  <a:pt x="136588" y="76203"/>
                  <a:pt x="119361" y="58976"/>
                  <a:pt x="98111" y="58976"/>
                </a:cubicBezTo>
                <a:close/>
                <a:moveTo>
                  <a:pt x="77459" y="0"/>
                </a:moveTo>
                <a:lnTo>
                  <a:pt x="2273454" y="0"/>
                </a:lnTo>
                <a:cubicBezTo>
                  <a:pt x="2316233" y="0"/>
                  <a:pt x="2350913" y="34679"/>
                  <a:pt x="2350913" y="77459"/>
                </a:cubicBezTo>
                <a:lnTo>
                  <a:pt x="2350913" y="95281"/>
                </a:lnTo>
                <a:lnTo>
                  <a:pt x="2376506" y="95281"/>
                </a:lnTo>
                <a:lnTo>
                  <a:pt x="2376506" y="396305"/>
                </a:lnTo>
                <a:lnTo>
                  <a:pt x="2350913" y="396305"/>
                </a:lnTo>
                <a:lnTo>
                  <a:pt x="2350913" y="592913"/>
                </a:lnTo>
                <a:lnTo>
                  <a:pt x="2376506" y="592913"/>
                </a:lnTo>
                <a:lnTo>
                  <a:pt x="2376506" y="893937"/>
                </a:lnTo>
                <a:lnTo>
                  <a:pt x="2350913" y="893937"/>
                </a:lnTo>
                <a:lnTo>
                  <a:pt x="2350913" y="1079798"/>
                </a:lnTo>
                <a:lnTo>
                  <a:pt x="2394514" y="1079798"/>
                </a:lnTo>
                <a:lnTo>
                  <a:pt x="2394514" y="1435653"/>
                </a:lnTo>
                <a:lnTo>
                  <a:pt x="2350913" y="1435653"/>
                </a:lnTo>
                <a:lnTo>
                  <a:pt x="2350913" y="1472024"/>
                </a:lnTo>
                <a:cubicBezTo>
                  <a:pt x="2350913" y="1514803"/>
                  <a:pt x="2316233" y="1549483"/>
                  <a:pt x="2273454" y="1549483"/>
                </a:cubicBezTo>
                <a:lnTo>
                  <a:pt x="1574587" y="1549483"/>
                </a:lnTo>
                <a:lnTo>
                  <a:pt x="1574587" y="1603815"/>
                </a:lnTo>
                <a:lnTo>
                  <a:pt x="1389341" y="1603815"/>
                </a:lnTo>
                <a:lnTo>
                  <a:pt x="1389341" y="1549483"/>
                </a:lnTo>
                <a:lnTo>
                  <a:pt x="1107817" y="1549483"/>
                </a:lnTo>
                <a:lnTo>
                  <a:pt x="1107817" y="1603815"/>
                </a:lnTo>
                <a:lnTo>
                  <a:pt x="659328" y="1603815"/>
                </a:lnTo>
                <a:lnTo>
                  <a:pt x="659328" y="1549483"/>
                </a:lnTo>
                <a:lnTo>
                  <a:pt x="370491" y="1549483"/>
                </a:lnTo>
                <a:lnTo>
                  <a:pt x="370491" y="1577024"/>
                </a:lnTo>
                <a:lnTo>
                  <a:pt x="215452" y="1577024"/>
                </a:lnTo>
                <a:lnTo>
                  <a:pt x="215452" y="1549483"/>
                </a:lnTo>
                <a:lnTo>
                  <a:pt x="77459" y="1549483"/>
                </a:lnTo>
                <a:cubicBezTo>
                  <a:pt x="34680" y="1549483"/>
                  <a:pt x="0" y="1514803"/>
                  <a:pt x="0" y="1472024"/>
                </a:cubicBezTo>
                <a:lnTo>
                  <a:pt x="0" y="77459"/>
                </a:lnTo>
                <a:cubicBezTo>
                  <a:pt x="0" y="34679"/>
                  <a:pt x="34680" y="0"/>
                  <a:pt x="77459"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5" name="Freeform 2364"/>
          <p:cNvSpPr>
            <a:spLocks/>
          </p:cNvSpPr>
          <p:nvPr/>
        </p:nvSpPr>
        <p:spPr bwMode="auto">
          <a:xfrm>
            <a:off x="11035255" y="2119859"/>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369" name="Group 2368"/>
          <p:cNvGrpSpPr/>
          <p:nvPr/>
        </p:nvGrpSpPr>
        <p:grpSpPr>
          <a:xfrm>
            <a:off x="7467871" y="2716302"/>
            <a:ext cx="2394514" cy="1603815"/>
            <a:chOff x="7467871" y="2716302"/>
            <a:chExt cx="2394514" cy="1603815"/>
          </a:xfrm>
        </p:grpSpPr>
        <p:sp>
          <p:nvSpPr>
            <p:cNvPr id="2367" name="Freeform 2366"/>
            <p:cNvSpPr/>
            <p:nvPr/>
          </p:nvSpPr>
          <p:spPr>
            <a:xfrm>
              <a:off x="7467871" y="2716302"/>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8" name="Freeform 2367"/>
            <p:cNvSpPr>
              <a:spLocks/>
            </p:cNvSpPr>
            <p:nvPr/>
          </p:nvSpPr>
          <p:spPr bwMode="auto">
            <a:xfrm>
              <a:off x="8227184" y="2958888"/>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408" name="Group 2407"/>
          <p:cNvGrpSpPr/>
          <p:nvPr/>
        </p:nvGrpSpPr>
        <p:grpSpPr>
          <a:xfrm>
            <a:off x="7467871" y="4559066"/>
            <a:ext cx="2394514" cy="1603815"/>
            <a:chOff x="7467871" y="4559066"/>
            <a:chExt cx="2394514" cy="1603815"/>
          </a:xfrm>
        </p:grpSpPr>
        <p:sp>
          <p:nvSpPr>
            <p:cNvPr id="2362" name="Freeform 2361"/>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92" name="Raspberry Pi Logo Color"/>
            <p:cNvGrpSpPr>
              <a:grpSpLocks noChangeAspect="1"/>
            </p:cNvGrpSpPr>
            <p:nvPr/>
          </p:nvGrpSpPr>
          <p:grpSpPr>
            <a:xfrm>
              <a:off x="8191500" y="4799013"/>
              <a:ext cx="947738" cy="1111250"/>
              <a:chOff x="8191500" y="4799013"/>
              <a:chExt cx="947738" cy="1111250"/>
            </a:xfrm>
          </p:grpSpPr>
          <p:sp>
            <p:nvSpPr>
              <p:cNvPr id="2378"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9"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0"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1"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2"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3"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4"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5"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6"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7"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8"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9"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0"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1"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93" name="Raspberry Pi Logo Color"/>
          <p:cNvGrpSpPr>
            <a:grpSpLocks noChangeAspect="1"/>
          </p:cNvGrpSpPr>
          <p:nvPr/>
        </p:nvGrpSpPr>
        <p:grpSpPr>
          <a:xfrm>
            <a:off x="11001505" y="771167"/>
            <a:ext cx="947738" cy="1111250"/>
            <a:chOff x="8191500" y="4799013"/>
            <a:chExt cx="947738" cy="1111250"/>
          </a:xfrm>
        </p:grpSpPr>
        <p:sp>
          <p:nvSpPr>
            <p:cNvPr id="2394"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5"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6"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7"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8"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9"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0"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1"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2"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3"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4"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5"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6"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7"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207999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Z SPIDER MAIN BOARD</a:t>
            </a:r>
            <a:endParaRPr lang="en-US" dirty="0"/>
          </a:p>
        </p:txBody>
      </p:sp>
      <p:pic>
        <p:nvPicPr>
          <p:cNvPr id="7170" name="Picture 2" descr="http://www.seeedstudio.com/depot/bmz_cache/0/0cf2a2b466d5dda50e44ba06bd2a7f55.image.530x499.jpg" hidde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747" y="1675448"/>
            <a:ext cx="5048250" cy="4752976"/>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30"/>
          <p:cNvSpPr/>
          <p:nvPr/>
        </p:nvSpPr>
        <p:spPr>
          <a:xfrm>
            <a:off x="10337425" y="1618388"/>
            <a:ext cx="1413510" cy="1413510"/>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rot="16200000">
            <a:off x="10731689" y="2807843"/>
            <a:ext cx="624982" cy="1413510"/>
          </a:xfrm>
          <a:custGeom>
            <a:avLst/>
            <a:gdLst>
              <a:gd name="connsiteX0" fmla="*/ 2038351 w 2038351"/>
              <a:gd name="connsiteY0" fmla="*/ 4194174 h 4610099"/>
              <a:gd name="connsiteX1" fmla="*/ 2038351 w 2038351"/>
              <a:gd name="connsiteY1" fmla="*/ 4610099 h 4610099"/>
              <a:gd name="connsiteX2" fmla="*/ 0 w 2038351"/>
              <a:gd name="connsiteY2" fmla="*/ 4610099 h 4610099"/>
              <a:gd name="connsiteX3" fmla="*/ 0 w 2038351"/>
              <a:gd name="connsiteY3" fmla="*/ 4194174 h 4610099"/>
              <a:gd name="connsiteX4" fmla="*/ 2038351 w 2038351"/>
              <a:gd name="connsiteY4" fmla="*/ 2085974 h 4610099"/>
              <a:gd name="connsiteX5" fmla="*/ 2038351 w 2038351"/>
              <a:gd name="connsiteY5" fmla="*/ 2501900 h 4610099"/>
              <a:gd name="connsiteX6" fmla="*/ 1290640 w 2038351"/>
              <a:gd name="connsiteY6" fmla="*/ 2501900 h 4610099"/>
              <a:gd name="connsiteX7" fmla="*/ 1290640 w 2038351"/>
              <a:gd name="connsiteY7" fmla="*/ 3476625 h 4610099"/>
              <a:gd name="connsiteX8" fmla="*/ 2038351 w 2038351"/>
              <a:gd name="connsiteY8" fmla="*/ 3476625 h 4610099"/>
              <a:gd name="connsiteX9" fmla="*/ 2038351 w 2038351"/>
              <a:gd name="connsiteY9" fmla="*/ 3892550 h 4610099"/>
              <a:gd name="connsiteX10" fmla="*/ 0 w 2038351"/>
              <a:gd name="connsiteY10" fmla="*/ 3892550 h 4610099"/>
              <a:gd name="connsiteX11" fmla="*/ 0 w 2038351"/>
              <a:gd name="connsiteY11" fmla="*/ 3476625 h 4610099"/>
              <a:gd name="connsiteX12" fmla="*/ 874715 w 2038351"/>
              <a:gd name="connsiteY12" fmla="*/ 3476625 h 4610099"/>
              <a:gd name="connsiteX13" fmla="*/ 874715 w 2038351"/>
              <a:gd name="connsiteY13" fmla="*/ 2501900 h 4610099"/>
              <a:gd name="connsiteX14" fmla="*/ 0 w 2038351"/>
              <a:gd name="connsiteY14" fmla="*/ 2501900 h 4610099"/>
              <a:gd name="connsiteX15" fmla="*/ 0 w 2038351"/>
              <a:gd name="connsiteY15" fmla="*/ 2085974 h 4610099"/>
              <a:gd name="connsiteX16" fmla="*/ 2038351 w 2038351"/>
              <a:gd name="connsiteY16" fmla="*/ 533400 h 4610099"/>
              <a:gd name="connsiteX17" fmla="*/ 2038351 w 2038351"/>
              <a:gd name="connsiteY17" fmla="*/ 1695450 h 4610099"/>
              <a:gd name="connsiteX18" fmla="*/ 1635126 w 2038351"/>
              <a:gd name="connsiteY18" fmla="*/ 1695450 h 4610099"/>
              <a:gd name="connsiteX19" fmla="*/ 1635126 w 2038351"/>
              <a:gd name="connsiteY19" fmla="*/ 609600 h 4610099"/>
              <a:gd name="connsiteX20" fmla="*/ 1460501 w 2038351"/>
              <a:gd name="connsiteY20" fmla="*/ 434975 h 4610099"/>
              <a:gd name="connsiteX21" fmla="*/ 574675 w 2038351"/>
              <a:gd name="connsiteY21" fmla="*/ 434975 h 4610099"/>
              <a:gd name="connsiteX22" fmla="*/ 425450 w 2038351"/>
              <a:gd name="connsiteY22" fmla="*/ 584200 h 4610099"/>
              <a:gd name="connsiteX23" fmla="*/ 425450 w 2038351"/>
              <a:gd name="connsiteY23" fmla="*/ 1365250 h 4610099"/>
              <a:gd name="connsiteX24" fmla="*/ 784225 w 2038351"/>
              <a:gd name="connsiteY24" fmla="*/ 1365250 h 4610099"/>
              <a:gd name="connsiteX25" fmla="*/ 784225 w 2038351"/>
              <a:gd name="connsiteY25" fmla="*/ 908050 h 4610099"/>
              <a:gd name="connsiteX26" fmla="*/ 1181101 w 2038351"/>
              <a:gd name="connsiteY26" fmla="*/ 904875 h 4610099"/>
              <a:gd name="connsiteX27" fmla="*/ 1181101 w 2038351"/>
              <a:gd name="connsiteY27" fmla="*/ 1778000 h 4610099"/>
              <a:gd name="connsiteX28" fmla="*/ 0 w 2038351"/>
              <a:gd name="connsiteY28" fmla="*/ 1778000 h 4610099"/>
              <a:gd name="connsiteX29" fmla="*/ 0 w 2038351"/>
              <a:gd name="connsiteY29" fmla="*/ 504825 h 4610099"/>
              <a:gd name="connsiteX30" fmla="*/ 504825 w 2038351"/>
              <a:gd name="connsiteY30" fmla="*/ 0 h 4610099"/>
              <a:gd name="connsiteX31" fmla="*/ 1504951 w 2038351"/>
              <a:gd name="connsiteY31" fmla="*/ 0 h 4610099"/>
              <a:gd name="connsiteX32" fmla="*/ 2038351 w 2038351"/>
              <a:gd name="connsiteY32" fmla="*/ 533400 h 46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8351" h="4610099">
                <a:moveTo>
                  <a:pt x="2038351" y="4194174"/>
                </a:moveTo>
                <a:lnTo>
                  <a:pt x="2038351" y="4610099"/>
                </a:lnTo>
                <a:lnTo>
                  <a:pt x="0" y="4610099"/>
                </a:lnTo>
                <a:lnTo>
                  <a:pt x="0" y="4194174"/>
                </a:lnTo>
                <a:close/>
                <a:moveTo>
                  <a:pt x="2038351" y="2085974"/>
                </a:moveTo>
                <a:lnTo>
                  <a:pt x="2038351" y="2501900"/>
                </a:lnTo>
                <a:lnTo>
                  <a:pt x="1290640" y="2501900"/>
                </a:lnTo>
                <a:lnTo>
                  <a:pt x="1290640" y="3476625"/>
                </a:lnTo>
                <a:lnTo>
                  <a:pt x="2038351" y="3476625"/>
                </a:lnTo>
                <a:lnTo>
                  <a:pt x="2038351" y="3892550"/>
                </a:lnTo>
                <a:lnTo>
                  <a:pt x="0" y="3892550"/>
                </a:lnTo>
                <a:lnTo>
                  <a:pt x="0" y="3476625"/>
                </a:lnTo>
                <a:lnTo>
                  <a:pt x="874715" y="3476625"/>
                </a:lnTo>
                <a:lnTo>
                  <a:pt x="874715" y="2501900"/>
                </a:lnTo>
                <a:lnTo>
                  <a:pt x="0" y="2501900"/>
                </a:lnTo>
                <a:lnTo>
                  <a:pt x="0" y="2085974"/>
                </a:lnTo>
                <a:close/>
                <a:moveTo>
                  <a:pt x="2038351" y="533400"/>
                </a:moveTo>
                <a:lnTo>
                  <a:pt x="2038351" y="1695450"/>
                </a:lnTo>
                <a:lnTo>
                  <a:pt x="1635126" y="1695450"/>
                </a:lnTo>
                <a:lnTo>
                  <a:pt x="1635126" y="609600"/>
                </a:lnTo>
                <a:cubicBezTo>
                  <a:pt x="1630893" y="538692"/>
                  <a:pt x="1547284" y="439208"/>
                  <a:pt x="1460501" y="434975"/>
                </a:cubicBezTo>
                <a:lnTo>
                  <a:pt x="574675" y="434975"/>
                </a:lnTo>
                <a:cubicBezTo>
                  <a:pt x="512233" y="443442"/>
                  <a:pt x="427567" y="518583"/>
                  <a:pt x="425450" y="584200"/>
                </a:cubicBezTo>
                <a:lnTo>
                  <a:pt x="425450" y="1365250"/>
                </a:lnTo>
                <a:lnTo>
                  <a:pt x="784225" y="1365250"/>
                </a:lnTo>
                <a:lnTo>
                  <a:pt x="784225" y="908050"/>
                </a:lnTo>
                <a:cubicBezTo>
                  <a:pt x="916518" y="906992"/>
                  <a:pt x="1048809" y="905933"/>
                  <a:pt x="1181101" y="904875"/>
                </a:cubicBezTo>
                <a:lnTo>
                  <a:pt x="1181101" y="1778000"/>
                </a:lnTo>
                <a:lnTo>
                  <a:pt x="0" y="1778000"/>
                </a:lnTo>
                <a:lnTo>
                  <a:pt x="0" y="504825"/>
                </a:lnTo>
                <a:cubicBezTo>
                  <a:pt x="3175" y="266700"/>
                  <a:pt x="292100" y="6350"/>
                  <a:pt x="504825" y="0"/>
                </a:cubicBezTo>
                <a:lnTo>
                  <a:pt x="1504951" y="0"/>
                </a:lnTo>
                <a:cubicBezTo>
                  <a:pt x="1739901" y="0"/>
                  <a:pt x="2035176" y="244475"/>
                  <a:pt x="2038351" y="53340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G Logo"/>
          <p:cNvSpPr>
            <a:spLocks noChangeAspect="1"/>
          </p:cNvSpPr>
          <p:nvPr/>
        </p:nvSpPr>
        <p:spPr>
          <a:xfrm>
            <a:off x="10337425" y="4051936"/>
            <a:ext cx="1413510" cy="1413510"/>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75" name="Group 7174"/>
          <p:cNvGrpSpPr/>
          <p:nvPr/>
        </p:nvGrpSpPr>
        <p:grpSpPr>
          <a:xfrm>
            <a:off x="1346835" y="2006600"/>
            <a:ext cx="4165600" cy="3784600"/>
            <a:chOff x="2303647" y="2082800"/>
            <a:chExt cx="4165600" cy="3784600"/>
          </a:xfrm>
        </p:grpSpPr>
        <p:sp>
          <p:nvSpPr>
            <p:cNvPr id="28" name="Freeform 27"/>
            <p:cNvSpPr/>
            <p:nvPr/>
          </p:nvSpPr>
          <p:spPr>
            <a:xfrm>
              <a:off x="2303647" y="2082800"/>
              <a:ext cx="4165600"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Body"/>
            <p:cNvSpPr/>
            <p:nvPr/>
          </p:nvSpPr>
          <p:spPr>
            <a:xfrm>
              <a:off x="4167372" y="3169220"/>
              <a:ext cx="438150" cy="438150"/>
            </a:xfrm>
            <a:prstGeom prst="roundRect">
              <a:avLst/>
            </a:prstGeom>
            <a:solidFill>
              <a:srgbClr val="9E9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Button"/>
            <p:cNvSpPr/>
            <p:nvPr/>
          </p:nvSpPr>
          <p:spPr>
            <a:xfrm>
              <a:off x="4254051" y="3265103"/>
              <a:ext cx="253180" cy="253180"/>
            </a:xfrm>
            <a:prstGeom prst="ellipse">
              <a:avLst/>
            </a:prstGeom>
            <a:solidFill>
              <a:srgbClr val="383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G Logo"/>
            <p:cNvSpPr>
              <a:spLocks noChangeAspect="1"/>
            </p:cNvSpPr>
            <p:nvPr/>
          </p:nvSpPr>
          <p:spPr>
            <a:xfrm>
              <a:off x="2452758" y="5013219"/>
              <a:ext cx="264248" cy="264248"/>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GHI Logo"/>
            <p:cNvSpPr/>
            <p:nvPr/>
          </p:nvSpPr>
          <p:spPr>
            <a:xfrm>
              <a:off x="5993547" y="5013219"/>
              <a:ext cx="302207" cy="302207"/>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witches"/>
            <p:cNvSpPr/>
            <p:nvPr/>
          </p:nvSpPr>
          <p:spPr>
            <a:xfrm>
              <a:off x="4147266" y="4441508"/>
              <a:ext cx="469291" cy="373856"/>
            </a:xfrm>
            <a:prstGeom prst="rect">
              <a:avLst/>
            </a:prstGeom>
            <a:solidFill>
              <a:srgbClr val="424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ot 1"/>
            <p:cNvSpPr/>
            <p:nvPr/>
          </p:nvSpPr>
          <p:spPr>
            <a:xfrm>
              <a:off x="2917032"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68" name="Rectangle 7167"/>
            <p:cNvSpPr/>
            <p:nvPr/>
          </p:nvSpPr>
          <p:spPr>
            <a:xfrm>
              <a:off x="2886075"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lot 1"/>
            <p:cNvSpPr/>
            <p:nvPr/>
          </p:nvSpPr>
          <p:spPr>
            <a:xfrm>
              <a:off x="3926299"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895342"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lot 1"/>
            <p:cNvSpPr/>
            <p:nvPr/>
          </p:nvSpPr>
          <p:spPr>
            <a:xfrm>
              <a:off x="4943171"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4912214"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lot 1"/>
            <p:cNvSpPr/>
            <p:nvPr/>
          </p:nvSpPr>
          <p:spPr>
            <a:xfrm>
              <a:off x="2917032"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2886075"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Slot 1"/>
            <p:cNvSpPr/>
            <p:nvPr/>
          </p:nvSpPr>
          <p:spPr>
            <a:xfrm>
              <a:off x="3926299"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3895342"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ot 1"/>
            <p:cNvSpPr/>
            <p:nvPr/>
          </p:nvSpPr>
          <p:spPr>
            <a:xfrm>
              <a:off x="4943171"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4912214"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Slot 1"/>
            <p:cNvSpPr/>
            <p:nvPr/>
          </p:nvSpPr>
          <p:spPr>
            <a:xfrm rot="16200000">
              <a:off x="2305212"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358232"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lot 1"/>
            <p:cNvSpPr/>
            <p:nvPr/>
          </p:nvSpPr>
          <p:spPr>
            <a:xfrm rot="16200000">
              <a:off x="3209370"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3262390"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Slot 1"/>
            <p:cNvSpPr/>
            <p:nvPr/>
          </p:nvSpPr>
          <p:spPr>
            <a:xfrm rot="16200000">
              <a:off x="4607591"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4660611"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Slot 1"/>
            <p:cNvSpPr/>
            <p:nvPr/>
          </p:nvSpPr>
          <p:spPr>
            <a:xfrm rot="16200000">
              <a:off x="5511109"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5564129"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Slot 1"/>
            <p:cNvSpPr/>
            <p:nvPr/>
          </p:nvSpPr>
          <p:spPr>
            <a:xfrm rot="16200000">
              <a:off x="2305212"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2358232"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Slot 1"/>
            <p:cNvSpPr/>
            <p:nvPr/>
          </p:nvSpPr>
          <p:spPr>
            <a:xfrm rot="16200000">
              <a:off x="3209370"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3262390"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Slot 1"/>
            <p:cNvSpPr/>
            <p:nvPr/>
          </p:nvSpPr>
          <p:spPr>
            <a:xfrm rot="16200000">
              <a:off x="4607591"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4660611"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lot 1"/>
            <p:cNvSpPr/>
            <p:nvPr/>
          </p:nvSpPr>
          <p:spPr>
            <a:xfrm rot="16200000">
              <a:off x="5511109"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5564129"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p:cNvSpPr/>
            <p:nvPr/>
          </p:nvSpPr>
          <p:spPr>
            <a:xfrm>
              <a:off x="2965662" y="2171610"/>
              <a:ext cx="94431" cy="148121"/>
            </a:xfrm>
            <a:custGeom>
              <a:avLst/>
              <a:gdLst/>
              <a:ahLst/>
              <a:cxnLst/>
              <a:rect l="l" t="t" r="r" b="b"/>
              <a:pathLst>
                <a:path w="94431"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38745"/>
                  </a:lnTo>
                  <a:cubicBezTo>
                    <a:pt x="94431" y="141349"/>
                    <a:pt x="93520" y="143563"/>
                    <a:pt x="91697" y="145386"/>
                  </a:cubicBezTo>
                  <a:cubicBezTo>
                    <a:pt x="89874" y="147209"/>
                    <a:pt x="87660" y="148121"/>
                    <a:pt x="85055" y="148121"/>
                  </a:cubicBezTo>
                  <a:lnTo>
                    <a:pt x="9376" y="148121"/>
                  </a:lnTo>
                  <a:cubicBezTo>
                    <a:pt x="6772" y="148121"/>
                    <a:pt x="4558" y="147172"/>
                    <a:pt x="2735" y="145275"/>
                  </a:cubicBezTo>
                  <a:cubicBezTo>
                    <a:pt x="912" y="143377"/>
                    <a:pt x="0" y="141126"/>
                    <a:pt x="0" y="138521"/>
                  </a:cubicBezTo>
                  <a:cubicBezTo>
                    <a:pt x="0" y="135991"/>
                    <a:pt x="912" y="133833"/>
                    <a:pt x="2735" y="132047"/>
                  </a:cubicBezTo>
                  <a:cubicBezTo>
                    <a:pt x="4558" y="130262"/>
                    <a:pt x="6772" y="129369"/>
                    <a:pt x="9376" y="129369"/>
                  </a:cubicBezTo>
                  <a:lnTo>
                    <a:pt x="38174" y="129369"/>
                  </a:lnTo>
                  <a:lnTo>
                    <a:pt x="38174" y="18752"/>
                  </a:lnTo>
                  <a:lnTo>
                    <a:pt x="9823" y="18752"/>
                  </a:lnTo>
                  <a:cubicBezTo>
                    <a:pt x="7218" y="18752"/>
                    <a:pt x="5004" y="17840"/>
                    <a:pt x="3181" y="16017"/>
                  </a:cubicBezTo>
                  <a:cubicBezTo>
                    <a:pt x="1358" y="14194"/>
                    <a:pt x="446" y="11980"/>
                    <a:pt x="446" y="9376"/>
                  </a:cubicBezTo>
                  <a:cubicBezTo>
                    <a:pt x="446"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Freeform 150"/>
            <p:cNvSpPr/>
            <p:nvPr/>
          </p:nvSpPr>
          <p:spPr>
            <a:xfrm>
              <a:off x="3974705" y="2171610"/>
              <a:ext cx="95324" cy="148121"/>
            </a:xfrm>
            <a:custGeom>
              <a:avLst/>
              <a:gdLst/>
              <a:ahLst/>
              <a:cxnLst/>
              <a:rect l="l" t="t" r="r" b="b"/>
              <a:pathLst>
                <a:path w="95324" h="148121">
                  <a:moveTo>
                    <a:pt x="9376" y="0"/>
                  </a:moveTo>
                  <a:lnTo>
                    <a:pt x="76349" y="0"/>
                  </a:lnTo>
                  <a:cubicBezTo>
                    <a:pt x="81558" y="0"/>
                    <a:pt x="86022" y="1841"/>
                    <a:pt x="89743" y="5525"/>
                  </a:cubicBezTo>
                  <a:cubicBezTo>
                    <a:pt x="93464" y="9208"/>
                    <a:pt x="95324" y="13617"/>
                    <a:pt x="95324" y="18752"/>
                  </a:cubicBezTo>
                  <a:lnTo>
                    <a:pt x="95324" y="64405"/>
                  </a:lnTo>
                  <a:cubicBezTo>
                    <a:pt x="95324" y="69688"/>
                    <a:pt x="93464" y="74172"/>
                    <a:pt x="89743" y="77855"/>
                  </a:cubicBezTo>
                  <a:cubicBezTo>
                    <a:pt x="86022" y="81539"/>
                    <a:pt x="81558" y="83381"/>
                    <a:pt x="76349" y="83381"/>
                  </a:cubicBezTo>
                  <a:lnTo>
                    <a:pt x="19422" y="83381"/>
                  </a:lnTo>
                  <a:lnTo>
                    <a:pt x="19422" y="129369"/>
                  </a:lnTo>
                  <a:lnTo>
                    <a:pt x="85948" y="129369"/>
                  </a:lnTo>
                  <a:cubicBezTo>
                    <a:pt x="88478" y="129369"/>
                    <a:pt x="90673" y="130280"/>
                    <a:pt x="92534" y="132103"/>
                  </a:cubicBezTo>
                  <a:cubicBezTo>
                    <a:pt x="94394" y="133926"/>
                    <a:pt x="95324" y="136140"/>
                    <a:pt x="95324" y="138745"/>
                  </a:cubicBezTo>
                  <a:cubicBezTo>
                    <a:pt x="95324" y="141349"/>
                    <a:pt x="94394" y="143563"/>
                    <a:pt x="92534" y="145386"/>
                  </a:cubicBezTo>
                  <a:cubicBezTo>
                    <a:pt x="90673" y="147209"/>
                    <a:pt x="88478" y="148121"/>
                    <a:pt x="85948" y="148121"/>
                  </a:cubicBezTo>
                  <a:lnTo>
                    <a:pt x="669" y="148121"/>
                  </a:lnTo>
                  <a:lnTo>
                    <a:pt x="669" y="83381"/>
                  </a:lnTo>
                  <a:cubicBezTo>
                    <a:pt x="669" y="78172"/>
                    <a:pt x="2511" y="73707"/>
                    <a:pt x="6195" y="69986"/>
                  </a:cubicBezTo>
                  <a:cubicBezTo>
                    <a:pt x="9878" y="66265"/>
                    <a:pt x="14287" y="64405"/>
                    <a:pt x="19422" y="64405"/>
                  </a:cubicBezTo>
                  <a:lnTo>
                    <a:pt x="76349" y="64405"/>
                  </a:lnTo>
                  <a:lnTo>
                    <a:pt x="76349" y="18752"/>
                  </a:lnTo>
                  <a:lnTo>
                    <a:pt x="9376" y="18752"/>
                  </a:lnTo>
                  <a:cubicBezTo>
                    <a:pt x="6697" y="18752"/>
                    <a:pt x="4465" y="17840"/>
                    <a:pt x="2679" y="16017"/>
                  </a:cubicBezTo>
                  <a:cubicBezTo>
                    <a:pt x="893" y="14194"/>
                    <a:pt x="0" y="11980"/>
                    <a:pt x="0" y="9376"/>
                  </a:cubicBezTo>
                  <a:cubicBezTo>
                    <a:pt x="0" y="6771"/>
                    <a:pt x="893" y="4558"/>
                    <a:pt x="2679" y="2734"/>
                  </a:cubicBezTo>
                  <a:cubicBezTo>
                    <a:pt x="4465" y="911"/>
                    <a:pt x="6697"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151"/>
            <p:cNvSpPr/>
            <p:nvPr/>
          </p:nvSpPr>
          <p:spPr>
            <a:xfrm>
              <a:off x="4991800" y="2171610"/>
              <a:ext cx="95324" cy="148121"/>
            </a:xfrm>
            <a:custGeom>
              <a:avLst/>
              <a:gdLst/>
              <a:ahLst/>
              <a:cxnLst/>
              <a:rect l="l" t="t" r="r" b="b"/>
              <a:pathLst>
                <a:path w="95324" h="148121">
                  <a:moveTo>
                    <a:pt x="9376" y="0"/>
                  </a:moveTo>
                  <a:lnTo>
                    <a:pt x="76349" y="0"/>
                  </a:lnTo>
                  <a:cubicBezTo>
                    <a:pt x="81558" y="0"/>
                    <a:pt x="85986" y="1841"/>
                    <a:pt x="89632" y="5525"/>
                  </a:cubicBezTo>
                  <a:cubicBezTo>
                    <a:pt x="93278" y="9208"/>
                    <a:pt x="95101" y="13617"/>
                    <a:pt x="95101" y="18752"/>
                  </a:cubicBezTo>
                  <a:lnTo>
                    <a:pt x="95101" y="53913"/>
                  </a:lnTo>
                  <a:cubicBezTo>
                    <a:pt x="95101" y="62098"/>
                    <a:pt x="92571" y="68721"/>
                    <a:pt x="87511" y="73781"/>
                  </a:cubicBezTo>
                  <a:cubicBezTo>
                    <a:pt x="92720" y="79586"/>
                    <a:pt x="95324" y="85911"/>
                    <a:pt x="95324" y="92757"/>
                  </a:cubicBezTo>
                  <a:lnTo>
                    <a:pt x="95324" y="129369"/>
                  </a:lnTo>
                  <a:cubicBezTo>
                    <a:pt x="95324" y="134503"/>
                    <a:pt x="93464" y="138912"/>
                    <a:pt x="89743" y="142596"/>
                  </a:cubicBezTo>
                  <a:cubicBezTo>
                    <a:pt x="86023" y="146279"/>
                    <a:pt x="81558" y="148121"/>
                    <a:pt x="76349" y="148121"/>
                  </a:cubicBezTo>
                  <a:lnTo>
                    <a:pt x="10046" y="148121"/>
                  </a:lnTo>
                  <a:cubicBezTo>
                    <a:pt x="7441" y="148121"/>
                    <a:pt x="5228" y="147209"/>
                    <a:pt x="3405" y="145386"/>
                  </a:cubicBezTo>
                  <a:cubicBezTo>
                    <a:pt x="1581" y="143563"/>
                    <a:pt x="670" y="141349"/>
                    <a:pt x="670" y="138745"/>
                  </a:cubicBezTo>
                  <a:cubicBezTo>
                    <a:pt x="670" y="136140"/>
                    <a:pt x="1581" y="133926"/>
                    <a:pt x="3405" y="132103"/>
                  </a:cubicBezTo>
                  <a:cubicBezTo>
                    <a:pt x="5228" y="130280"/>
                    <a:pt x="7441" y="129369"/>
                    <a:pt x="10046" y="129369"/>
                  </a:cubicBezTo>
                  <a:lnTo>
                    <a:pt x="76126" y="129369"/>
                  </a:lnTo>
                  <a:lnTo>
                    <a:pt x="76126" y="92757"/>
                  </a:lnTo>
                  <a:cubicBezTo>
                    <a:pt x="76126" y="90152"/>
                    <a:pt x="75214" y="87901"/>
                    <a:pt x="73391" y="86004"/>
                  </a:cubicBezTo>
                  <a:cubicBezTo>
                    <a:pt x="71568" y="84106"/>
                    <a:pt x="69354" y="83157"/>
                    <a:pt x="66749" y="83157"/>
                  </a:cubicBezTo>
                  <a:lnTo>
                    <a:pt x="29022" y="83157"/>
                  </a:lnTo>
                  <a:cubicBezTo>
                    <a:pt x="26417" y="83157"/>
                    <a:pt x="24203" y="82264"/>
                    <a:pt x="22380" y="80479"/>
                  </a:cubicBezTo>
                  <a:cubicBezTo>
                    <a:pt x="20557" y="78693"/>
                    <a:pt x="19645" y="76460"/>
                    <a:pt x="19645" y="73781"/>
                  </a:cubicBezTo>
                  <a:cubicBezTo>
                    <a:pt x="19645" y="71177"/>
                    <a:pt x="20557" y="68963"/>
                    <a:pt x="22380" y="67140"/>
                  </a:cubicBezTo>
                  <a:cubicBezTo>
                    <a:pt x="24203" y="65317"/>
                    <a:pt x="26417" y="64405"/>
                    <a:pt x="29022" y="64405"/>
                  </a:cubicBezTo>
                  <a:lnTo>
                    <a:pt x="66973" y="64405"/>
                  </a:lnTo>
                  <a:cubicBezTo>
                    <a:pt x="69503" y="64405"/>
                    <a:pt x="71698" y="63493"/>
                    <a:pt x="73558" y="61670"/>
                  </a:cubicBezTo>
                  <a:cubicBezTo>
                    <a:pt x="75419" y="59847"/>
                    <a:pt x="76349" y="57633"/>
                    <a:pt x="76349" y="55029"/>
                  </a:cubicBezTo>
                  <a:lnTo>
                    <a:pt x="76349" y="18752"/>
                  </a:lnTo>
                  <a:lnTo>
                    <a:pt x="9376" y="18752"/>
                  </a:lnTo>
                  <a:cubicBezTo>
                    <a:pt x="6772" y="18752"/>
                    <a:pt x="4558" y="17840"/>
                    <a:pt x="2735" y="16017"/>
                  </a:cubicBezTo>
                  <a:cubicBezTo>
                    <a:pt x="912" y="14194"/>
                    <a:pt x="0" y="11980"/>
                    <a:pt x="0" y="9376"/>
                  </a:cubicBezTo>
                  <a:cubicBezTo>
                    <a:pt x="0" y="6771"/>
                    <a:pt x="912" y="4558"/>
                    <a:pt x="2735" y="2734"/>
                  </a:cubicBezTo>
                  <a:cubicBezTo>
                    <a:pt x="4558" y="911"/>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152"/>
            <p:cNvSpPr/>
            <p:nvPr/>
          </p:nvSpPr>
          <p:spPr>
            <a:xfrm>
              <a:off x="2939691" y="2794445"/>
              <a:ext cx="228228" cy="148344"/>
            </a:xfrm>
            <a:custGeom>
              <a:avLst/>
              <a:gdLst/>
              <a:ahLst/>
              <a:cxnLst/>
              <a:rect l="l" t="t" r="r" b="b"/>
              <a:pathLst>
                <a:path w="228228" h="148344">
                  <a:moveTo>
                    <a:pt x="37951" y="18975"/>
                  </a:moveTo>
                  <a:lnTo>
                    <a:pt x="37951" y="129592"/>
                  </a:lnTo>
                  <a:lnTo>
                    <a:pt x="44514" y="129569"/>
                  </a:lnTo>
                  <a:cubicBezTo>
                    <a:pt x="48668" y="129569"/>
                    <a:pt x="51786" y="127523"/>
                    <a:pt x="53870" y="123430"/>
                  </a:cubicBezTo>
                  <a:lnTo>
                    <a:pt x="72400" y="86597"/>
                  </a:lnTo>
                  <a:cubicBezTo>
                    <a:pt x="74707" y="81760"/>
                    <a:pt x="75875" y="77708"/>
                    <a:pt x="75903" y="74441"/>
                  </a:cubicBezTo>
                  <a:cubicBezTo>
                    <a:pt x="75900" y="70356"/>
                    <a:pt x="74969" y="66490"/>
                    <a:pt x="73110" y="62844"/>
                  </a:cubicBezTo>
                  <a:lnTo>
                    <a:pt x="53918" y="24664"/>
                  </a:lnTo>
                  <a:cubicBezTo>
                    <a:pt x="51910" y="20869"/>
                    <a:pt x="48636" y="18973"/>
                    <a:pt x="44094" y="18975"/>
                  </a:cubicBezTo>
                  <a:close/>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6" y="129592"/>
                    <a:pt x="223670" y="130503"/>
                    <a:pt x="225493"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3" y="141572"/>
                    <a:pt x="133573" y="138968"/>
                  </a:cubicBezTo>
                  <a:cubicBezTo>
                    <a:pt x="133573"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3" y="12129"/>
                    <a:pt x="133573" y="9599"/>
                  </a:cubicBezTo>
                  <a:cubicBezTo>
                    <a:pt x="133573" y="6920"/>
                    <a:pt x="134485" y="4651"/>
                    <a:pt x="136308" y="2790"/>
                  </a:cubicBezTo>
                  <a:cubicBezTo>
                    <a:pt x="138131" y="930"/>
                    <a:pt x="140345" y="0"/>
                    <a:pt x="142950" y="0"/>
                  </a:cubicBezTo>
                  <a:close/>
                  <a:moveTo>
                    <a:pt x="9600" y="0"/>
                  </a:moveTo>
                  <a:lnTo>
                    <a:pt x="46658" y="0"/>
                  </a:lnTo>
                  <a:cubicBezTo>
                    <a:pt x="51495" y="74"/>
                    <a:pt x="56201" y="1637"/>
                    <a:pt x="60778" y="4688"/>
                  </a:cubicBezTo>
                  <a:cubicBezTo>
                    <a:pt x="65354" y="7739"/>
                    <a:pt x="68722" y="11422"/>
                    <a:pt x="70880" y="15738"/>
                  </a:cubicBezTo>
                  <a:lnTo>
                    <a:pt x="89409" y="53243"/>
                  </a:lnTo>
                  <a:cubicBezTo>
                    <a:pt x="92906" y="60015"/>
                    <a:pt x="94655" y="67084"/>
                    <a:pt x="94655" y="74451"/>
                  </a:cubicBezTo>
                  <a:cubicBezTo>
                    <a:pt x="94655" y="81297"/>
                    <a:pt x="92795" y="88329"/>
                    <a:pt x="89074" y="95547"/>
                  </a:cubicBezTo>
                  <a:lnTo>
                    <a:pt x="70433" y="132606"/>
                  </a:lnTo>
                  <a:cubicBezTo>
                    <a:pt x="68052" y="137368"/>
                    <a:pt x="64629" y="141182"/>
                    <a:pt x="60164" y="144047"/>
                  </a:cubicBezTo>
                  <a:cubicBezTo>
                    <a:pt x="55699" y="146912"/>
                    <a:pt x="50713" y="148344"/>
                    <a:pt x="45207" y="148344"/>
                  </a:cubicBezTo>
                  <a:lnTo>
                    <a:pt x="9376" y="148344"/>
                  </a:lnTo>
                  <a:cubicBezTo>
                    <a:pt x="6772" y="148344"/>
                    <a:pt x="4558" y="147414"/>
                    <a:pt x="2735" y="145554"/>
                  </a:cubicBezTo>
                  <a:cubicBezTo>
                    <a:pt x="912" y="143693"/>
                    <a:pt x="0" y="141498"/>
                    <a:pt x="0" y="138968"/>
                  </a:cubicBezTo>
                  <a:cubicBezTo>
                    <a:pt x="0" y="136363"/>
                    <a:pt x="912" y="134112"/>
                    <a:pt x="2735" y="132215"/>
                  </a:cubicBezTo>
                  <a:cubicBezTo>
                    <a:pt x="4558" y="130317"/>
                    <a:pt x="6772" y="129369"/>
                    <a:pt x="9376" y="129369"/>
                  </a:cubicBezTo>
                  <a:lnTo>
                    <a:pt x="19199" y="129369"/>
                  </a:lnTo>
                  <a:lnTo>
                    <a:pt x="19199" y="18975"/>
                  </a:lnTo>
                  <a:lnTo>
                    <a:pt x="9600" y="18975"/>
                  </a:lnTo>
                  <a:cubicBezTo>
                    <a:pt x="6995" y="18975"/>
                    <a:pt x="4781" y="18027"/>
                    <a:pt x="2958" y="16129"/>
                  </a:cubicBezTo>
                  <a:cubicBezTo>
                    <a:pt x="1135" y="14231"/>
                    <a:pt x="223" y="11980"/>
                    <a:pt x="223" y="9376"/>
                  </a:cubicBezTo>
                  <a:cubicBezTo>
                    <a:pt x="223" y="6846"/>
                    <a:pt x="1135" y="4651"/>
                    <a:pt x="2958" y="2790"/>
                  </a:cubicBezTo>
                  <a:cubicBezTo>
                    <a:pt x="4781" y="930"/>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153"/>
            <p:cNvSpPr/>
            <p:nvPr/>
          </p:nvSpPr>
          <p:spPr>
            <a:xfrm>
              <a:off x="3949182" y="2794445"/>
              <a:ext cx="94655" cy="148344"/>
            </a:xfrm>
            <a:custGeom>
              <a:avLst/>
              <a:gdLst/>
              <a:ahLst/>
              <a:cxnLst/>
              <a:rect l="l" t="t" r="r" b="b"/>
              <a:pathLst>
                <a:path w="94655" h="148344">
                  <a:moveTo>
                    <a:pt x="9153" y="0"/>
                  </a:moveTo>
                  <a:lnTo>
                    <a:pt x="94655" y="0"/>
                  </a:lnTo>
                  <a:lnTo>
                    <a:pt x="94655" y="12055"/>
                  </a:lnTo>
                  <a:lnTo>
                    <a:pt x="25748" y="129592"/>
                  </a:lnTo>
                  <a:lnTo>
                    <a:pt x="85274" y="129592"/>
                  </a:lnTo>
                  <a:cubicBezTo>
                    <a:pt x="87879" y="129592"/>
                    <a:pt x="90094" y="130503"/>
                    <a:pt x="91919" y="132327"/>
                  </a:cubicBezTo>
                  <a:cubicBezTo>
                    <a:pt x="93743" y="134150"/>
                    <a:pt x="94655" y="136363"/>
                    <a:pt x="94655" y="138968"/>
                  </a:cubicBezTo>
                  <a:cubicBezTo>
                    <a:pt x="94655" y="141498"/>
                    <a:pt x="93725" y="143693"/>
                    <a:pt x="91865" y="145554"/>
                  </a:cubicBezTo>
                  <a:cubicBezTo>
                    <a:pt x="90004" y="147414"/>
                    <a:pt x="87809" y="148344"/>
                    <a:pt x="85279" y="148344"/>
                  </a:cubicBezTo>
                  <a:lnTo>
                    <a:pt x="0" y="148344"/>
                  </a:lnTo>
                  <a:lnTo>
                    <a:pt x="0" y="135954"/>
                  </a:lnTo>
                  <a:lnTo>
                    <a:pt x="68708" y="18975"/>
                  </a:lnTo>
                  <a:lnTo>
                    <a:pt x="9146" y="18975"/>
                  </a:lnTo>
                  <a:cubicBezTo>
                    <a:pt x="6619" y="18975"/>
                    <a:pt x="4462" y="18027"/>
                    <a:pt x="2678" y="16129"/>
                  </a:cubicBezTo>
                  <a:cubicBezTo>
                    <a:pt x="893" y="14231"/>
                    <a:pt x="0" y="11980"/>
                    <a:pt x="0" y="9376"/>
                  </a:cubicBezTo>
                  <a:cubicBezTo>
                    <a:pt x="0" y="6846"/>
                    <a:pt x="893" y="4651"/>
                    <a:pt x="2679" y="2790"/>
                  </a:cubicBezTo>
                  <a:cubicBezTo>
                    <a:pt x="4465" y="930"/>
                    <a:pt x="6623" y="0"/>
                    <a:pt x="91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154"/>
            <p:cNvSpPr/>
            <p:nvPr/>
          </p:nvSpPr>
          <p:spPr>
            <a:xfrm>
              <a:off x="4965830" y="2794445"/>
              <a:ext cx="228228" cy="148344"/>
            </a:xfrm>
            <a:custGeom>
              <a:avLst/>
              <a:gdLst/>
              <a:ahLst/>
              <a:cxnLst/>
              <a:rect l="l" t="t" r="r" b="b"/>
              <a:pathLst>
                <a:path w="228228" h="148344">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7" y="129592"/>
                    <a:pt x="223670" y="130503"/>
                    <a:pt x="225494"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4" y="141572"/>
                    <a:pt x="133574" y="138968"/>
                  </a:cubicBezTo>
                  <a:cubicBezTo>
                    <a:pt x="133574"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4" y="12129"/>
                    <a:pt x="133574" y="9599"/>
                  </a:cubicBezTo>
                  <a:cubicBezTo>
                    <a:pt x="133574" y="6920"/>
                    <a:pt x="134485" y="4651"/>
                    <a:pt x="136308" y="2790"/>
                  </a:cubicBezTo>
                  <a:cubicBezTo>
                    <a:pt x="138131" y="930"/>
                    <a:pt x="140345" y="0"/>
                    <a:pt x="142950" y="0"/>
                  </a:cubicBezTo>
                  <a:close/>
                  <a:moveTo>
                    <a:pt x="9377" y="0"/>
                  </a:moveTo>
                  <a:cubicBezTo>
                    <a:pt x="11907" y="0"/>
                    <a:pt x="14102" y="930"/>
                    <a:pt x="15962" y="2790"/>
                  </a:cubicBezTo>
                  <a:cubicBezTo>
                    <a:pt x="17823" y="4651"/>
                    <a:pt x="18753" y="6846"/>
                    <a:pt x="18753" y="9376"/>
                  </a:cubicBezTo>
                  <a:lnTo>
                    <a:pt x="18753" y="64628"/>
                  </a:lnTo>
                  <a:lnTo>
                    <a:pt x="75903" y="64628"/>
                  </a:lnTo>
                  <a:lnTo>
                    <a:pt x="75903" y="9376"/>
                  </a:lnTo>
                  <a:cubicBezTo>
                    <a:pt x="75903" y="6846"/>
                    <a:pt x="76814" y="4651"/>
                    <a:pt x="78637" y="2790"/>
                  </a:cubicBezTo>
                  <a:cubicBezTo>
                    <a:pt x="80461" y="930"/>
                    <a:pt x="82674" y="0"/>
                    <a:pt x="85279" y="0"/>
                  </a:cubicBezTo>
                  <a:cubicBezTo>
                    <a:pt x="87883" y="0"/>
                    <a:pt x="90097" y="930"/>
                    <a:pt x="91920" y="2790"/>
                  </a:cubicBezTo>
                  <a:cubicBezTo>
                    <a:pt x="93743" y="4651"/>
                    <a:pt x="94655" y="6920"/>
                    <a:pt x="94655" y="9599"/>
                  </a:cubicBezTo>
                  <a:lnTo>
                    <a:pt x="94655" y="138968"/>
                  </a:lnTo>
                  <a:cubicBezTo>
                    <a:pt x="94655" y="141498"/>
                    <a:pt x="93706" y="143693"/>
                    <a:pt x="91809" y="145554"/>
                  </a:cubicBezTo>
                  <a:cubicBezTo>
                    <a:pt x="89911" y="147414"/>
                    <a:pt x="87735" y="148344"/>
                    <a:pt x="85279" y="148344"/>
                  </a:cubicBezTo>
                  <a:cubicBezTo>
                    <a:pt x="82600" y="148344"/>
                    <a:pt x="80368" y="147433"/>
                    <a:pt x="78582" y="145609"/>
                  </a:cubicBezTo>
                  <a:cubicBezTo>
                    <a:pt x="76796" y="143786"/>
                    <a:pt x="75903" y="141572"/>
                    <a:pt x="75903" y="138968"/>
                  </a:cubicBezTo>
                  <a:lnTo>
                    <a:pt x="75903" y="83381"/>
                  </a:lnTo>
                  <a:lnTo>
                    <a:pt x="18976" y="83381"/>
                  </a:lnTo>
                  <a:lnTo>
                    <a:pt x="18976" y="138968"/>
                  </a:lnTo>
                  <a:cubicBezTo>
                    <a:pt x="18976" y="141498"/>
                    <a:pt x="18027" y="143693"/>
                    <a:pt x="16130" y="145554"/>
                  </a:cubicBezTo>
                  <a:cubicBezTo>
                    <a:pt x="14232" y="147414"/>
                    <a:pt x="11981" y="148344"/>
                    <a:pt x="9377" y="148344"/>
                  </a:cubicBezTo>
                  <a:cubicBezTo>
                    <a:pt x="6846" y="148344"/>
                    <a:pt x="4651" y="147433"/>
                    <a:pt x="2791" y="145609"/>
                  </a:cubicBezTo>
                  <a:cubicBezTo>
                    <a:pt x="931" y="143786"/>
                    <a:pt x="0" y="141572"/>
                    <a:pt x="0" y="138968"/>
                  </a:cubicBezTo>
                  <a:lnTo>
                    <a:pt x="0" y="9376"/>
                  </a:lnTo>
                  <a:cubicBezTo>
                    <a:pt x="0" y="6846"/>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2934900" y="5024995"/>
              <a:ext cx="180826" cy="148121"/>
            </a:xfrm>
            <a:custGeom>
              <a:avLst/>
              <a:gdLst/>
              <a:ahLst/>
              <a:cxnLst/>
              <a:rect l="l" t="t" r="r" b="b"/>
              <a:pathLst>
                <a:path w="180826"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lnTo>
                    <a:pt x="86524" y="81530"/>
                  </a:lnTo>
                  <a:lnTo>
                    <a:pt x="87553" y="76125"/>
                  </a:lnTo>
                  <a:cubicBezTo>
                    <a:pt x="88474" y="73893"/>
                    <a:pt x="89855" y="71847"/>
                    <a:pt x="91697" y="69986"/>
                  </a:cubicBezTo>
                  <a:cubicBezTo>
                    <a:pt x="95380" y="66266"/>
                    <a:pt x="99789" y="64405"/>
                    <a:pt x="104924" y="64405"/>
                  </a:cubicBezTo>
                  <a:lnTo>
                    <a:pt x="161851" y="64405"/>
                  </a:lnTo>
                  <a:lnTo>
                    <a:pt x="161851" y="18752"/>
                  </a:lnTo>
                  <a:lnTo>
                    <a:pt x="94878" y="18752"/>
                  </a:lnTo>
                  <a:cubicBezTo>
                    <a:pt x="92199" y="18752"/>
                    <a:pt x="89967" y="17841"/>
                    <a:pt x="88181" y="16017"/>
                  </a:cubicBezTo>
                  <a:cubicBezTo>
                    <a:pt x="86395" y="14194"/>
                    <a:pt x="85502" y="11980"/>
                    <a:pt x="85502" y="9376"/>
                  </a:cubicBezTo>
                  <a:cubicBezTo>
                    <a:pt x="85502" y="6771"/>
                    <a:pt x="86395" y="4558"/>
                    <a:pt x="88181" y="2735"/>
                  </a:cubicBezTo>
                  <a:cubicBezTo>
                    <a:pt x="89967" y="911"/>
                    <a:pt x="92199" y="0"/>
                    <a:pt x="94878" y="0"/>
                  </a:cubicBezTo>
                  <a:lnTo>
                    <a:pt x="161851" y="0"/>
                  </a:lnTo>
                  <a:cubicBezTo>
                    <a:pt x="167060" y="0"/>
                    <a:pt x="171524" y="1842"/>
                    <a:pt x="175245" y="5525"/>
                  </a:cubicBezTo>
                  <a:cubicBezTo>
                    <a:pt x="178966" y="9209"/>
                    <a:pt x="180826" y="13618"/>
                    <a:pt x="180826" y="18752"/>
                  </a:cubicBezTo>
                  <a:lnTo>
                    <a:pt x="180826" y="64405"/>
                  </a:lnTo>
                  <a:cubicBezTo>
                    <a:pt x="180826" y="69689"/>
                    <a:pt x="178966" y="74172"/>
                    <a:pt x="175245" y="77856"/>
                  </a:cubicBezTo>
                  <a:cubicBezTo>
                    <a:pt x="171524" y="81539"/>
                    <a:pt x="167060" y="83381"/>
                    <a:pt x="161851" y="83381"/>
                  </a:cubicBezTo>
                  <a:lnTo>
                    <a:pt x="104924" y="83381"/>
                  </a:lnTo>
                  <a:lnTo>
                    <a:pt x="104924" y="129369"/>
                  </a:lnTo>
                  <a:lnTo>
                    <a:pt x="171450" y="129369"/>
                  </a:lnTo>
                  <a:cubicBezTo>
                    <a:pt x="173980" y="129369"/>
                    <a:pt x="176175" y="130280"/>
                    <a:pt x="178036" y="132103"/>
                  </a:cubicBezTo>
                  <a:cubicBezTo>
                    <a:pt x="179896" y="133927"/>
                    <a:pt x="180826" y="136140"/>
                    <a:pt x="180826" y="138745"/>
                  </a:cubicBezTo>
                  <a:cubicBezTo>
                    <a:pt x="180826" y="141349"/>
                    <a:pt x="179896" y="143563"/>
                    <a:pt x="178036" y="145386"/>
                  </a:cubicBezTo>
                  <a:cubicBezTo>
                    <a:pt x="176175" y="147209"/>
                    <a:pt x="173980" y="148121"/>
                    <a:pt x="171450" y="148121"/>
                  </a:cubicBezTo>
                  <a:lnTo>
                    <a:pt x="86171" y="148121"/>
                  </a:lnTo>
                  <a:lnTo>
                    <a:pt x="86171" y="147661"/>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Freeform 195"/>
            <p:cNvSpPr/>
            <p:nvPr/>
          </p:nvSpPr>
          <p:spPr>
            <a:xfrm>
              <a:off x="3944510" y="5028208"/>
              <a:ext cx="181049" cy="148121"/>
            </a:xfrm>
            <a:custGeom>
              <a:avLst/>
              <a:gdLst/>
              <a:ahLst/>
              <a:cxnLst/>
              <a:rect l="l" t="t" r="r" b="b"/>
              <a:pathLst>
                <a:path w="181049"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29920"/>
                  </a:lnTo>
                  <a:lnTo>
                    <a:pt x="95771" y="129369"/>
                  </a:lnTo>
                  <a:lnTo>
                    <a:pt x="161851" y="129369"/>
                  </a:lnTo>
                  <a:lnTo>
                    <a:pt x="161851" y="92757"/>
                  </a:lnTo>
                  <a:cubicBezTo>
                    <a:pt x="161851" y="90152"/>
                    <a:pt x="160939" y="87901"/>
                    <a:pt x="159116" y="86004"/>
                  </a:cubicBezTo>
                  <a:cubicBezTo>
                    <a:pt x="157293" y="84106"/>
                    <a:pt x="155079" y="83158"/>
                    <a:pt x="152474" y="83158"/>
                  </a:cubicBezTo>
                  <a:lnTo>
                    <a:pt x="114746" y="83158"/>
                  </a:lnTo>
                  <a:cubicBezTo>
                    <a:pt x="112142" y="83158"/>
                    <a:pt x="109928" y="82265"/>
                    <a:pt x="108105" y="80479"/>
                  </a:cubicBezTo>
                  <a:cubicBezTo>
                    <a:pt x="106282" y="78693"/>
                    <a:pt x="105370" y="76460"/>
                    <a:pt x="105370" y="73781"/>
                  </a:cubicBezTo>
                  <a:cubicBezTo>
                    <a:pt x="105370" y="71177"/>
                    <a:pt x="106282" y="68963"/>
                    <a:pt x="108105" y="67140"/>
                  </a:cubicBezTo>
                  <a:cubicBezTo>
                    <a:pt x="109928" y="65317"/>
                    <a:pt x="112142" y="64405"/>
                    <a:pt x="114746" y="64405"/>
                  </a:cubicBezTo>
                  <a:lnTo>
                    <a:pt x="152698" y="64405"/>
                  </a:lnTo>
                  <a:cubicBezTo>
                    <a:pt x="155228" y="64405"/>
                    <a:pt x="157423" y="63494"/>
                    <a:pt x="159283" y="61670"/>
                  </a:cubicBezTo>
                  <a:cubicBezTo>
                    <a:pt x="161144" y="59847"/>
                    <a:pt x="162074" y="57633"/>
                    <a:pt x="162074" y="55029"/>
                  </a:cubicBezTo>
                  <a:lnTo>
                    <a:pt x="162074" y="18752"/>
                  </a:lnTo>
                  <a:lnTo>
                    <a:pt x="95101" y="18752"/>
                  </a:lnTo>
                  <a:cubicBezTo>
                    <a:pt x="92497" y="18752"/>
                    <a:pt x="90283" y="17841"/>
                    <a:pt x="88460" y="16017"/>
                  </a:cubicBezTo>
                  <a:cubicBezTo>
                    <a:pt x="86637" y="14194"/>
                    <a:pt x="85725" y="11980"/>
                    <a:pt x="85725" y="9376"/>
                  </a:cubicBezTo>
                  <a:cubicBezTo>
                    <a:pt x="85725" y="6771"/>
                    <a:pt x="86637" y="4558"/>
                    <a:pt x="88460" y="2735"/>
                  </a:cubicBezTo>
                  <a:cubicBezTo>
                    <a:pt x="90283" y="911"/>
                    <a:pt x="92497" y="0"/>
                    <a:pt x="95101" y="0"/>
                  </a:cubicBezTo>
                  <a:lnTo>
                    <a:pt x="162074" y="0"/>
                  </a:lnTo>
                  <a:cubicBezTo>
                    <a:pt x="167283" y="0"/>
                    <a:pt x="171710" y="1842"/>
                    <a:pt x="175357" y="5525"/>
                  </a:cubicBezTo>
                  <a:cubicBezTo>
                    <a:pt x="179003" y="9209"/>
                    <a:pt x="180826" y="13618"/>
                    <a:pt x="180826" y="18752"/>
                  </a:cubicBezTo>
                  <a:lnTo>
                    <a:pt x="180826" y="53913"/>
                  </a:lnTo>
                  <a:cubicBezTo>
                    <a:pt x="180826" y="62098"/>
                    <a:pt x="178296" y="68721"/>
                    <a:pt x="173236" y="73781"/>
                  </a:cubicBezTo>
                  <a:cubicBezTo>
                    <a:pt x="178445" y="79586"/>
                    <a:pt x="181049" y="85911"/>
                    <a:pt x="181049" y="92757"/>
                  </a:cubicBezTo>
                  <a:lnTo>
                    <a:pt x="181049" y="129369"/>
                  </a:lnTo>
                  <a:cubicBezTo>
                    <a:pt x="181049" y="134503"/>
                    <a:pt x="179189" y="138912"/>
                    <a:pt x="175468" y="142596"/>
                  </a:cubicBezTo>
                  <a:cubicBezTo>
                    <a:pt x="171748" y="146279"/>
                    <a:pt x="167283" y="148121"/>
                    <a:pt x="162074" y="148121"/>
                  </a:cubicBezTo>
                  <a:lnTo>
                    <a:pt x="95771" y="148121"/>
                  </a:lnTo>
                  <a:lnTo>
                    <a:pt x="90413" y="145915"/>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196"/>
            <p:cNvSpPr/>
            <p:nvPr/>
          </p:nvSpPr>
          <p:spPr>
            <a:xfrm>
              <a:off x="4963009" y="5024770"/>
              <a:ext cx="175803" cy="148344"/>
            </a:xfrm>
            <a:custGeom>
              <a:avLst/>
              <a:gdLst/>
              <a:ahLst/>
              <a:cxnLst/>
              <a:rect l="l" t="t" r="r" b="b"/>
              <a:pathLst>
                <a:path w="175803" h="148344">
                  <a:moveTo>
                    <a:pt x="100794" y="0"/>
                  </a:moveTo>
                  <a:cubicBezTo>
                    <a:pt x="103324" y="0"/>
                    <a:pt x="105519" y="948"/>
                    <a:pt x="107380" y="2846"/>
                  </a:cubicBezTo>
                  <a:cubicBezTo>
                    <a:pt x="109240" y="4743"/>
                    <a:pt x="110170" y="6994"/>
                    <a:pt x="110170" y="9599"/>
                  </a:cubicBezTo>
                  <a:lnTo>
                    <a:pt x="110170" y="80925"/>
                  </a:lnTo>
                  <a:lnTo>
                    <a:pt x="147675" y="80925"/>
                  </a:lnTo>
                  <a:lnTo>
                    <a:pt x="147675" y="26007"/>
                  </a:lnTo>
                  <a:cubicBezTo>
                    <a:pt x="147675" y="23403"/>
                    <a:pt x="148586" y="21152"/>
                    <a:pt x="150410" y="19254"/>
                  </a:cubicBezTo>
                  <a:cubicBezTo>
                    <a:pt x="152233" y="17357"/>
                    <a:pt x="154446" y="16408"/>
                    <a:pt x="157051" y="16408"/>
                  </a:cubicBezTo>
                  <a:cubicBezTo>
                    <a:pt x="159655" y="16408"/>
                    <a:pt x="161869" y="17357"/>
                    <a:pt x="163692" y="19254"/>
                  </a:cubicBezTo>
                  <a:cubicBezTo>
                    <a:pt x="165516" y="21152"/>
                    <a:pt x="166427" y="23403"/>
                    <a:pt x="166427" y="26007"/>
                  </a:cubicBezTo>
                  <a:lnTo>
                    <a:pt x="166427" y="80925"/>
                  </a:lnTo>
                  <a:cubicBezTo>
                    <a:pt x="169032" y="80925"/>
                    <a:pt x="171245" y="81836"/>
                    <a:pt x="173069" y="83660"/>
                  </a:cubicBezTo>
                  <a:cubicBezTo>
                    <a:pt x="174892" y="85483"/>
                    <a:pt x="175803" y="87697"/>
                    <a:pt x="175803" y="90301"/>
                  </a:cubicBezTo>
                  <a:cubicBezTo>
                    <a:pt x="175803" y="92906"/>
                    <a:pt x="174892" y="95119"/>
                    <a:pt x="173069" y="96942"/>
                  </a:cubicBezTo>
                  <a:cubicBezTo>
                    <a:pt x="171245" y="98766"/>
                    <a:pt x="169032" y="99677"/>
                    <a:pt x="166427" y="99677"/>
                  </a:cubicBezTo>
                  <a:lnTo>
                    <a:pt x="166427" y="138968"/>
                  </a:lnTo>
                  <a:cubicBezTo>
                    <a:pt x="166427" y="141572"/>
                    <a:pt x="165497" y="143786"/>
                    <a:pt x="163637" y="145609"/>
                  </a:cubicBezTo>
                  <a:cubicBezTo>
                    <a:pt x="161776" y="147432"/>
                    <a:pt x="159581" y="148344"/>
                    <a:pt x="157051" y="148344"/>
                  </a:cubicBezTo>
                  <a:cubicBezTo>
                    <a:pt x="154446" y="148344"/>
                    <a:pt x="152233" y="147432"/>
                    <a:pt x="150410" y="145609"/>
                  </a:cubicBezTo>
                  <a:cubicBezTo>
                    <a:pt x="148586" y="143786"/>
                    <a:pt x="147675" y="141572"/>
                    <a:pt x="147675" y="138968"/>
                  </a:cubicBezTo>
                  <a:lnTo>
                    <a:pt x="147675" y="99900"/>
                  </a:lnTo>
                  <a:lnTo>
                    <a:pt x="94432" y="99900"/>
                  </a:lnTo>
                  <a:lnTo>
                    <a:pt x="94432" y="138968"/>
                  </a:lnTo>
                  <a:cubicBezTo>
                    <a:pt x="94432" y="141572"/>
                    <a:pt x="93520" y="143786"/>
                    <a:pt x="91697" y="145609"/>
                  </a:cubicBezTo>
                  <a:cubicBezTo>
                    <a:pt x="89874" y="147432"/>
                    <a:pt x="87660" y="148344"/>
                    <a:pt x="85055" y="148344"/>
                  </a:cubicBezTo>
                  <a:lnTo>
                    <a:pt x="9376" y="148344"/>
                  </a:lnTo>
                  <a:cubicBezTo>
                    <a:pt x="6772" y="148344"/>
                    <a:pt x="4558" y="147395"/>
                    <a:pt x="2735" y="145498"/>
                  </a:cubicBezTo>
                  <a:cubicBezTo>
                    <a:pt x="912" y="143600"/>
                    <a:pt x="0" y="141349"/>
                    <a:pt x="0" y="138745"/>
                  </a:cubicBezTo>
                  <a:cubicBezTo>
                    <a:pt x="0" y="136215"/>
                    <a:pt x="912" y="134056"/>
                    <a:pt x="2735" y="132271"/>
                  </a:cubicBezTo>
                  <a:cubicBezTo>
                    <a:pt x="4558" y="130485"/>
                    <a:pt x="6772" y="129592"/>
                    <a:pt x="9376" y="129592"/>
                  </a:cubicBezTo>
                  <a:lnTo>
                    <a:pt x="38175" y="129592"/>
                  </a:lnTo>
                  <a:lnTo>
                    <a:pt x="38175" y="18975"/>
                  </a:lnTo>
                  <a:lnTo>
                    <a:pt x="9823" y="18975"/>
                  </a:lnTo>
                  <a:cubicBezTo>
                    <a:pt x="7218" y="18975"/>
                    <a:pt x="5004" y="18064"/>
                    <a:pt x="3181" y="16240"/>
                  </a:cubicBezTo>
                  <a:cubicBezTo>
                    <a:pt x="1358" y="14417"/>
                    <a:pt x="447" y="12203"/>
                    <a:pt x="447" y="9599"/>
                  </a:cubicBezTo>
                  <a:cubicBezTo>
                    <a:pt x="447" y="6994"/>
                    <a:pt x="1358" y="4781"/>
                    <a:pt x="3181" y="2958"/>
                  </a:cubicBezTo>
                  <a:cubicBezTo>
                    <a:pt x="5004" y="1134"/>
                    <a:pt x="7218" y="223"/>
                    <a:pt x="9823" y="223"/>
                  </a:cubicBezTo>
                  <a:lnTo>
                    <a:pt x="56927" y="223"/>
                  </a:lnTo>
                  <a:lnTo>
                    <a:pt x="56927" y="129592"/>
                  </a:lnTo>
                  <a:lnTo>
                    <a:pt x="75679" y="129592"/>
                  </a:lnTo>
                  <a:lnTo>
                    <a:pt x="75679" y="90524"/>
                  </a:lnTo>
                  <a:cubicBezTo>
                    <a:pt x="75679" y="87994"/>
                    <a:pt x="76591" y="85799"/>
                    <a:pt x="78414" y="83939"/>
                  </a:cubicBezTo>
                  <a:cubicBezTo>
                    <a:pt x="80237" y="82078"/>
                    <a:pt x="82451" y="81148"/>
                    <a:pt x="85055" y="81148"/>
                  </a:cubicBezTo>
                  <a:lnTo>
                    <a:pt x="91195" y="83676"/>
                  </a:lnTo>
                  <a:lnTo>
                    <a:pt x="91195" y="9599"/>
                  </a:lnTo>
                  <a:cubicBezTo>
                    <a:pt x="91195" y="6994"/>
                    <a:pt x="92143" y="4743"/>
                    <a:pt x="94041" y="2846"/>
                  </a:cubicBezTo>
                  <a:cubicBezTo>
                    <a:pt x="95938" y="948"/>
                    <a:pt x="98189" y="0"/>
                    <a:pt x="1007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2961284" y="5637009"/>
              <a:ext cx="94878" cy="148344"/>
            </a:xfrm>
            <a:custGeom>
              <a:avLst/>
              <a:gdLst/>
              <a:ahLst/>
              <a:cxnLst/>
              <a:rect l="l" t="t" r="r" b="b"/>
              <a:pathLst>
                <a:path w="94878" h="148344">
                  <a:moveTo>
                    <a:pt x="18976" y="83827"/>
                  </a:moveTo>
                  <a:lnTo>
                    <a:pt x="18976" y="129369"/>
                  </a:lnTo>
                  <a:lnTo>
                    <a:pt x="56927" y="129369"/>
                  </a:lnTo>
                  <a:cubicBezTo>
                    <a:pt x="61987" y="129369"/>
                    <a:pt x="66378" y="127527"/>
                    <a:pt x="70098" y="123843"/>
                  </a:cubicBezTo>
                  <a:cubicBezTo>
                    <a:pt x="73819" y="120160"/>
                    <a:pt x="75679" y="115751"/>
                    <a:pt x="75679" y="110616"/>
                  </a:cubicBezTo>
                  <a:lnTo>
                    <a:pt x="75679" y="102803"/>
                  </a:lnTo>
                  <a:cubicBezTo>
                    <a:pt x="75679" y="97594"/>
                    <a:pt x="73838" y="93129"/>
                    <a:pt x="70154" y="89408"/>
                  </a:cubicBezTo>
                  <a:cubicBezTo>
                    <a:pt x="66471" y="85688"/>
                    <a:pt x="62062" y="83827"/>
                    <a:pt x="56927" y="83827"/>
                  </a:cubicBezTo>
                  <a:close/>
                  <a:moveTo>
                    <a:pt x="18753" y="18752"/>
                  </a:moveTo>
                  <a:lnTo>
                    <a:pt x="18753" y="64182"/>
                  </a:lnTo>
                  <a:lnTo>
                    <a:pt x="56927" y="64182"/>
                  </a:lnTo>
                  <a:cubicBezTo>
                    <a:pt x="61987" y="64182"/>
                    <a:pt x="66378" y="62340"/>
                    <a:pt x="70098" y="58657"/>
                  </a:cubicBezTo>
                  <a:cubicBezTo>
                    <a:pt x="73819" y="54973"/>
                    <a:pt x="75679" y="50564"/>
                    <a:pt x="75679" y="45430"/>
                  </a:cubicBezTo>
                  <a:lnTo>
                    <a:pt x="75679" y="37728"/>
                  </a:lnTo>
                  <a:cubicBezTo>
                    <a:pt x="75679" y="32519"/>
                    <a:pt x="73838" y="28054"/>
                    <a:pt x="70154" y="24333"/>
                  </a:cubicBezTo>
                  <a:cubicBezTo>
                    <a:pt x="66471" y="20613"/>
                    <a:pt x="62062" y="18752"/>
                    <a:pt x="56927" y="18752"/>
                  </a:cubicBezTo>
                  <a:close/>
                  <a:moveTo>
                    <a:pt x="0" y="0"/>
                  </a:moveTo>
                  <a:lnTo>
                    <a:pt x="57373" y="0"/>
                  </a:lnTo>
                  <a:cubicBezTo>
                    <a:pt x="67717" y="0"/>
                    <a:pt x="76554" y="3683"/>
                    <a:pt x="83883" y="11050"/>
                  </a:cubicBezTo>
                  <a:cubicBezTo>
                    <a:pt x="91213" y="18417"/>
                    <a:pt x="94878" y="27310"/>
                    <a:pt x="94878" y="37728"/>
                  </a:cubicBezTo>
                  <a:lnTo>
                    <a:pt x="94878" y="45653"/>
                  </a:lnTo>
                  <a:cubicBezTo>
                    <a:pt x="94878" y="56741"/>
                    <a:pt x="90599" y="66191"/>
                    <a:pt x="82042" y="74005"/>
                  </a:cubicBezTo>
                  <a:cubicBezTo>
                    <a:pt x="90599" y="81967"/>
                    <a:pt x="94878" y="91417"/>
                    <a:pt x="94878" y="102356"/>
                  </a:cubicBezTo>
                  <a:lnTo>
                    <a:pt x="94878" y="110616"/>
                  </a:lnTo>
                  <a:cubicBezTo>
                    <a:pt x="94878" y="120960"/>
                    <a:pt x="91213" y="129834"/>
                    <a:pt x="83883" y="137238"/>
                  </a:cubicBezTo>
                  <a:cubicBezTo>
                    <a:pt x="76554" y="144642"/>
                    <a:pt x="67717" y="148344"/>
                    <a:pt x="57373"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3687682" y="5637009"/>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4990218" y="5649986"/>
              <a:ext cx="94431" cy="148344"/>
            </a:xfrm>
            <a:custGeom>
              <a:avLst/>
              <a:gdLst/>
              <a:ahLst/>
              <a:cxnLst/>
              <a:rect l="l" t="t" r="r" b="b"/>
              <a:pathLst>
                <a:path w="94431" h="148344">
                  <a:moveTo>
                    <a:pt x="18752" y="18975"/>
                  </a:moveTo>
                  <a:lnTo>
                    <a:pt x="18752" y="48667"/>
                  </a:lnTo>
                  <a:lnTo>
                    <a:pt x="66303" y="48667"/>
                  </a:lnTo>
                  <a:cubicBezTo>
                    <a:pt x="68907" y="48667"/>
                    <a:pt x="71121" y="47755"/>
                    <a:pt x="72944" y="45932"/>
                  </a:cubicBezTo>
                  <a:cubicBezTo>
                    <a:pt x="74768" y="44109"/>
                    <a:pt x="75679" y="41895"/>
                    <a:pt x="75679" y="39290"/>
                  </a:cubicBezTo>
                  <a:lnTo>
                    <a:pt x="75679" y="28352"/>
                  </a:lnTo>
                  <a:cubicBezTo>
                    <a:pt x="75679" y="25747"/>
                    <a:pt x="74768" y="23533"/>
                    <a:pt x="72944" y="21710"/>
                  </a:cubicBezTo>
                  <a:cubicBezTo>
                    <a:pt x="71121" y="19887"/>
                    <a:pt x="68907" y="18975"/>
                    <a:pt x="66303" y="18975"/>
                  </a:cubicBezTo>
                  <a:close/>
                  <a:moveTo>
                    <a:pt x="0" y="0"/>
                  </a:moveTo>
                  <a:lnTo>
                    <a:pt x="66303" y="0"/>
                  </a:lnTo>
                  <a:cubicBezTo>
                    <a:pt x="73968" y="0"/>
                    <a:pt x="80572" y="2790"/>
                    <a:pt x="86116" y="8371"/>
                  </a:cubicBezTo>
                  <a:cubicBezTo>
                    <a:pt x="91660" y="13952"/>
                    <a:pt x="94431" y="20613"/>
                    <a:pt x="94431" y="28352"/>
                  </a:cubicBezTo>
                  <a:lnTo>
                    <a:pt x="94431" y="39067"/>
                  </a:lnTo>
                  <a:cubicBezTo>
                    <a:pt x="94431" y="46881"/>
                    <a:pt x="91678" y="53559"/>
                    <a:pt x="86172" y="59103"/>
                  </a:cubicBezTo>
                  <a:cubicBezTo>
                    <a:pt x="80665" y="64647"/>
                    <a:pt x="74042" y="67419"/>
                    <a:pt x="66303" y="67419"/>
                  </a:cubicBezTo>
                  <a:lnTo>
                    <a:pt x="54360" y="67419"/>
                  </a:lnTo>
                  <a:lnTo>
                    <a:pt x="92651" y="133275"/>
                  </a:lnTo>
                  <a:cubicBezTo>
                    <a:pt x="93838" y="135210"/>
                    <a:pt x="94431" y="137145"/>
                    <a:pt x="94431" y="139080"/>
                  </a:cubicBezTo>
                  <a:cubicBezTo>
                    <a:pt x="94431" y="141610"/>
                    <a:pt x="93461" y="143786"/>
                    <a:pt x="91521" y="145610"/>
                  </a:cubicBezTo>
                  <a:cubicBezTo>
                    <a:pt x="89580" y="147433"/>
                    <a:pt x="87378" y="148344"/>
                    <a:pt x="84916" y="148344"/>
                  </a:cubicBezTo>
                  <a:cubicBezTo>
                    <a:pt x="81183" y="148362"/>
                    <a:pt x="78354" y="146696"/>
                    <a:pt x="76427" y="143346"/>
                  </a:cubicBezTo>
                  <a:lnTo>
                    <a:pt x="32524" y="67419"/>
                  </a:lnTo>
                  <a:lnTo>
                    <a:pt x="18976" y="67419"/>
                  </a:lnTo>
                  <a:lnTo>
                    <a:pt x="18976" y="138968"/>
                  </a:lnTo>
                  <a:cubicBezTo>
                    <a:pt x="18976" y="141573"/>
                    <a:pt x="18027" y="143786"/>
                    <a:pt x="16129" y="145610"/>
                  </a:cubicBezTo>
                  <a:cubicBezTo>
                    <a:pt x="14232" y="147433"/>
                    <a:pt x="11981" y="148344"/>
                    <a:pt x="9376" y="148344"/>
                  </a:cubicBezTo>
                  <a:cubicBezTo>
                    <a:pt x="6772" y="148344"/>
                    <a:pt x="4558" y="147433"/>
                    <a:pt x="2735" y="145610"/>
                  </a:cubicBezTo>
                  <a:cubicBezTo>
                    <a:pt x="912" y="143786"/>
                    <a:pt x="0" y="141573"/>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3971807" y="5639251"/>
              <a:ext cx="95325" cy="148344"/>
            </a:xfrm>
            <a:custGeom>
              <a:avLst/>
              <a:gdLst/>
              <a:ahLst/>
              <a:cxnLst/>
              <a:rect l="l" t="t" r="r" b="b"/>
              <a:pathLst>
                <a:path w="95325" h="148344">
                  <a:moveTo>
                    <a:pt x="54806" y="0"/>
                  </a:moveTo>
                  <a:lnTo>
                    <a:pt x="85948" y="0"/>
                  </a:lnTo>
                  <a:cubicBezTo>
                    <a:pt x="88553" y="0"/>
                    <a:pt x="90767" y="911"/>
                    <a:pt x="92590" y="2735"/>
                  </a:cubicBezTo>
                  <a:cubicBezTo>
                    <a:pt x="94413" y="4558"/>
                    <a:pt x="95325" y="6771"/>
                    <a:pt x="95325" y="9376"/>
                  </a:cubicBezTo>
                  <a:cubicBezTo>
                    <a:pt x="95325" y="12129"/>
                    <a:pt x="94337" y="14418"/>
                    <a:pt x="92362" y="16241"/>
                  </a:cubicBezTo>
                  <a:cubicBezTo>
                    <a:pt x="90387" y="18064"/>
                    <a:pt x="88244" y="18975"/>
                    <a:pt x="85933" y="18975"/>
                  </a:cubicBezTo>
                  <a:lnTo>
                    <a:pt x="56194" y="18975"/>
                  </a:lnTo>
                  <a:cubicBezTo>
                    <a:pt x="53288" y="18939"/>
                    <a:pt x="50757" y="20299"/>
                    <a:pt x="48602" y="23055"/>
                  </a:cubicBezTo>
                  <a:lnTo>
                    <a:pt x="22298" y="56907"/>
                  </a:lnTo>
                  <a:cubicBezTo>
                    <a:pt x="20069" y="59589"/>
                    <a:pt x="18962" y="63311"/>
                    <a:pt x="18976" y="68075"/>
                  </a:cubicBezTo>
                  <a:lnTo>
                    <a:pt x="18976" y="119991"/>
                  </a:lnTo>
                  <a:cubicBezTo>
                    <a:pt x="18976" y="122670"/>
                    <a:pt x="19887" y="124940"/>
                    <a:pt x="21711" y="126800"/>
                  </a:cubicBezTo>
                  <a:cubicBezTo>
                    <a:pt x="23534" y="128661"/>
                    <a:pt x="25747" y="129592"/>
                    <a:pt x="28352" y="129592"/>
                  </a:cubicBezTo>
                  <a:lnTo>
                    <a:pt x="66526" y="129592"/>
                  </a:lnTo>
                  <a:cubicBezTo>
                    <a:pt x="69056" y="129592"/>
                    <a:pt x="71252" y="128662"/>
                    <a:pt x="73112" y="126801"/>
                  </a:cubicBezTo>
                  <a:cubicBezTo>
                    <a:pt x="74972" y="124941"/>
                    <a:pt x="75903" y="122746"/>
                    <a:pt x="75903" y="120216"/>
                  </a:cubicBezTo>
                  <a:lnTo>
                    <a:pt x="75903" y="99901"/>
                  </a:lnTo>
                  <a:lnTo>
                    <a:pt x="56480" y="99901"/>
                  </a:lnTo>
                  <a:cubicBezTo>
                    <a:pt x="53802" y="99901"/>
                    <a:pt x="51569" y="98989"/>
                    <a:pt x="49783" y="97166"/>
                  </a:cubicBezTo>
                  <a:cubicBezTo>
                    <a:pt x="47997" y="95343"/>
                    <a:pt x="47104" y="93129"/>
                    <a:pt x="47104" y="90525"/>
                  </a:cubicBezTo>
                  <a:cubicBezTo>
                    <a:pt x="47104" y="87920"/>
                    <a:pt x="47997" y="85706"/>
                    <a:pt x="49783" y="83883"/>
                  </a:cubicBezTo>
                  <a:cubicBezTo>
                    <a:pt x="51569" y="82060"/>
                    <a:pt x="53802" y="81148"/>
                    <a:pt x="56480" y="81148"/>
                  </a:cubicBezTo>
                  <a:lnTo>
                    <a:pt x="94655" y="81148"/>
                  </a:lnTo>
                  <a:lnTo>
                    <a:pt x="94655" y="120216"/>
                  </a:lnTo>
                  <a:cubicBezTo>
                    <a:pt x="94655" y="127955"/>
                    <a:pt x="91902" y="134578"/>
                    <a:pt x="86395" y="140084"/>
                  </a:cubicBezTo>
                  <a:cubicBezTo>
                    <a:pt x="80888" y="145591"/>
                    <a:pt x="74265" y="148344"/>
                    <a:pt x="66526" y="148344"/>
                  </a:cubicBezTo>
                  <a:lnTo>
                    <a:pt x="28352" y="148344"/>
                  </a:lnTo>
                  <a:cubicBezTo>
                    <a:pt x="20538" y="148344"/>
                    <a:pt x="13860" y="145591"/>
                    <a:pt x="8316" y="140084"/>
                  </a:cubicBezTo>
                  <a:cubicBezTo>
                    <a:pt x="2772" y="134578"/>
                    <a:pt x="0" y="127955"/>
                    <a:pt x="0" y="120216"/>
                  </a:cubicBezTo>
                  <a:lnTo>
                    <a:pt x="0" y="68312"/>
                  </a:lnTo>
                  <a:cubicBezTo>
                    <a:pt x="0" y="59010"/>
                    <a:pt x="2493" y="51159"/>
                    <a:pt x="7479" y="44760"/>
                  </a:cubicBezTo>
                  <a:lnTo>
                    <a:pt x="35161" y="9599"/>
                  </a:lnTo>
                  <a:cubicBezTo>
                    <a:pt x="37170" y="6920"/>
                    <a:pt x="39979" y="4651"/>
                    <a:pt x="43588" y="2790"/>
                  </a:cubicBezTo>
                  <a:cubicBezTo>
                    <a:pt x="47197" y="930"/>
                    <a:pt x="50937" y="0"/>
                    <a:pt x="548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5677162" y="5649986"/>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8" y="874"/>
                    <a:pt x="91585" y="2623"/>
                  </a:cubicBezTo>
                  <a:cubicBezTo>
                    <a:pt x="93483" y="4372"/>
                    <a:pt x="94431" y="6697"/>
                    <a:pt x="94431" y="9599"/>
                  </a:cubicBezTo>
                  <a:lnTo>
                    <a:pt x="94431" y="29245"/>
                  </a:lnTo>
                  <a:lnTo>
                    <a:pt x="56704" y="77151"/>
                  </a:lnTo>
                  <a:lnTo>
                    <a:pt x="56704" y="138956"/>
                  </a:lnTo>
                  <a:cubicBezTo>
                    <a:pt x="56704" y="141564"/>
                    <a:pt x="55773" y="143781"/>
                    <a:pt x="53913" y="145606"/>
                  </a:cubicBezTo>
                  <a:cubicBezTo>
                    <a:pt x="52053" y="147432"/>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174"/>
            <p:cNvSpPr/>
            <p:nvPr/>
          </p:nvSpPr>
          <p:spPr>
            <a:xfrm>
              <a:off x="2443287" y="3064784"/>
              <a:ext cx="84609" cy="148345"/>
            </a:xfrm>
            <a:custGeom>
              <a:avLst/>
              <a:gdLst/>
              <a:ahLst/>
              <a:cxnLst/>
              <a:rect l="l" t="t" r="r" b="b"/>
              <a:pathLst>
                <a:path w="84609" h="148345">
                  <a:moveTo>
                    <a:pt x="9600" y="0"/>
                  </a:moveTo>
                  <a:cubicBezTo>
                    <a:pt x="12130" y="0"/>
                    <a:pt x="14325" y="949"/>
                    <a:pt x="16185" y="2847"/>
                  </a:cubicBezTo>
                  <a:cubicBezTo>
                    <a:pt x="18046" y="4744"/>
                    <a:pt x="18976" y="6995"/>
                    <a:pt x="18976" y="9600"/>
                  </a:cubicBezTo>
                  <a:lnTo>
                    <a:pt x="18976" y="80926"/>
                  </a:lnTo>
                  <a:lnTo>
                    <a:pt x="56481" y="80926"/>
                  </a:lnTo>
                  <a:lnTo>
                    <a:pt x="56481" y="26008"/>
                  </a:lnTo>
                  <a:cubicBezTo>
                    <a:pt x="56481" y="23404"/>
                    <a:pt x="57392" y="21153"/>
                    <a:pt x="59215" y="19255"/>
                  </a:cubicBezTo>
                  <a:cubicBezTo>
                    <a:pt x="61039" y="17358"/>
                    <a:pt x="63252" y="16409"/>
                    <a:pt x="65857" y="16409"/>
                  </a:cubicBezTo>
                  <a:cubicBezTo>
                    <a:pt x="68461" y="16409"/>
                    <a:pt x="70675" y="17358"/>
                    <a:pt x="72498" y="19255"/>
                  </a:cubicBezTo>
                  <a:cubicBezTo>
                    <a:pt x="74321" y="21153"/>
                    <a:pt x="75233" y="23404"/>
                    <a:pt x="75233" y="26008"/>
                  </a:cubicBezTo>
                  <a:lnTo>
                    <a:pt x="75233" y="80926"/>
                  </a:lnTo>
                  <a:cubicBezTo>
                    <a:pt x="77838" y="80926"/>
                    <a:pt x="80051" y="81837"/>
                    <a:pt x="81874" y="83660"/>
                  </a:cubicBezTo>
                  <a:cubicBezTo>
                    <a:pt x="83698" y="85484"/>
                    <a:pt x="84609" y="87697"/>
                    <a:pt x="84609" y="90302"/>
                  </a:cubicBezTo>
                  <a:cubicBezTo>
                    <a:pt x="84609" y="92906"/>
                    <a:pt x="83698" y="95120"/>
                    <a:pt x="81874" y="96943"/>
                  </a:cubicBezTo>
                  <a:cubicBezTo>
                    <a:pt x="80051" y="98767"/>
                    <a:pt x="77838" y="99678"/>
                    <a:pt x="75233" y="99678"/>
                  </a:cubicBezTo>
                  <a:lnTo>
                    <a:pt x="75233" y="138969"/>
                  </a:lnTo>
                  <a:cubicBezTo>
                    <a:pt x="75233" y="141573"/>
                    <a:pt x="74303" y="143787"/>
                    <a:pt x="72442" y="145610"/>
                  </a:cubicBezTo>
                  <a:cubicBezTo>
                    <a:pt x="70582" y="147433"/>
                    <a:pt x="68387" y="148345"/>
                    <a:pt x="65857" y="148345"/>
                  </a:cubicBezTo>
                  <a:cubicBezTo>
                    <a:pt x="63252" y="148345"/>
                    <a:pt x="61039" y="147433"/>
                    <a:pt x="59215" y="145610"/>
                  </a:cubicBezTo>
                  <a:cubicBezTo>
                    <a:pt x="57392" y="143787"/>
                    <a:pt x="56481" y="141573"/>
                    <a:pt x="56481" y="138969"/>
                  </a:cubicBezTo>
                  <a:lnTo>
                    <a:pt x="56481" y="99901"/>
                  </a:lnTo>
                  <a:lnTo>
                    <a:pt x="0" y="99901"/>
                  </a:lnTo>
                  <a:lnTo>
                    <a:pt x="0" y="9600"/>
                  </a:lnTo>
                  <a:cubicBezTo>
                    <a:pt x="0" y="6995"/>
                    <a:pt x="949" y="4744"/>
                    <a:pt x="2847" y="2847"/>
                  </a:cubicBezTo>
                  <a:cubicBezTo>
                    <a:pt x="4744" y="949"/>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3344655" y="3065008"/>
              <a:ext cx="94431" cy="148121"/>
            </a:xfrm>
            <a:custGeom>
              <a:avLst/>
              <a:gdLst/>
              <a:ahLst/>
              <a:cxnLst/>
              <a:rect l="l" t="t" r="r" b="b"/>
              <a:pathLst>
                <a:path w="94431" h="148121">
                  <a:moveTo>
                    <a:pt x="18975" y="0"/>
                  </a:moveTo>
                  <a:lnTo>
                    <a:pt x="85055" y="0"/>
                  </a:lnTo>
                  <a:cubicBezTo>
                    <a:pt x="87585" y="0"/>
                    <a:pt x="89780" y="930"/>
                    <a:pt x="91641" y="2790"/>
                  </a:cubicBezTo>
                  <a:cubicBezTo>
                    <a:pt x="93501" y="4651"/>
                    <a:pt x="94431" y="6846"/>
                    <a:pt x="94431" y="9376"/>
                  </a:cubicBezTo>
                  <a:cubicBezTo>
                    <a:pt x="94431" y="11980"/>
                    <a:pt x="93520" y="14194"/>
                    <a:pt x="91697" y="16017"/>
                  </a:cubicBezTo>
                  <a:cubicBezTo>
                    <a:pt x="89873" y="17840"/>
                    <a:pt x="87660" y="18752"/>
                    <a:pt x="85055" y="18752"/>
                  </a:cubicBezTo>
                  <a:lnTo>
                    <a:pt x="37951" y="18752"/>
                  </a:lnTo>
                  <a:lnTo>
                    <a:pt x="37951" y="64628"/>
                  </a:lnTo>
                  <a:lnTo>
                    <a:pt x="75679" y="64628"/>
                  </a:lnTo>
                  <a:cubicBezTo>
                    <a:pt x="80739" y="64628"/>
                    <a:pt x="85130" y="66489"/>
                    <a:pt x="88850" y="70209"/>
                  </a:cubicBezTo>
                  <a:cubicBezTo>
                    <a:pt x="92571" y="73930"/>
                    <a:pt x="94431" y="78321"/>
                    <a:pt x="94431" y="83381"/>
                  </a:cubicBezTo>
                  <a:lnTo>
                    <a:pt x="94431" y="129369"/>
                  </a:lnTo>
                  <a:cubicBezTo>
                    <a:pt x="94431" y="134503"/>
                    <a:pt x="92590" y="138912"/>
                    <a:pt x="88906" y="142596"/>
                  </a:cubicBezTo>
                  <a:cubicBezTo>
                    <a:pt x="85223" y="146279"/>
                    <a:pt x="80814" y="148121"/>
                    <a:pt x="75679" y="148121"/>
                  </a:cubicBezTo>
                  <a:lnTo>
                    <a:pt x="32258" y="148121"/>
                  </a:lnTo>
                  <a:cubicBezTo>
                    <a:pt x="28389" y="148121"/>
                    <a:pt x="24259" y="147191"/>
                    <a:pt x="19868" y="145330"/>
                  </a:cubicBezTo>
                  <a:lnTo>
                    <a:pt x="5693" y="139414"/>
                  </a:lnTo>
                  <a:cubicBezTo>
                    <a:pt x="1897" y="137852"/>
                    <a:pt x="0" y="134875"/>
                    <a:pt x="0" y="130485"/>
                  </a:cubicBezTo>
                  <a:cubicBezTo>
                    <a:pt x="0" y="127880"/>
                    <a:pt x="856" y="125666"/>
                    <a:pt x="2567" y="123843"/>
                  </a:cubicBezTo>
                  <a:cubicBezTo>
                    <a:pt x="4279" y="122020"/>
                    <a:pt x="6362" y="121109"/>
                    <a:pt x="8818" y="121109"/>
                  </a:cubicBezTo>
                  <a:cubicBezTo>
                    <a:pt x="10678" y="121109"/>
                    <a:pt x="12836" y="121667"/>
                    <a:pt x="15292" y="122783"/>
                  </a:cubicBezTo>
                  <a:lnTo>
                    <a:pt x="27682" y="128029"/>
                  </a:lnTo>
                  <a:cubicBezTo>
                    <a:pt x="29170" y="128922"/>
                    <a:pt x="30696" y="129369"/>
                    <a:pt x="32258" y="129369"/>
                  </a:cubicBezTo>
                  <a:lnTo>
                    <a:pt x="75679" y="129369"/>
                  </a:lnTo>
                  <a:lnTo>
                    <a:pt x="75679" y="83381"/>
                  </a:lnTo>
                  <a:lnTo>
                    <a:pt x="18975" y="8338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Freeform 175"/>
            <p:cNvSpPr/>
            <p:nvPr/>
          </p:nvSpPr>
          <p:spPr>
            <a:xfrm>
              <a:off x="3053994" y="3044449"/>
              <a:ext cx="94655" cy="148344"/>
            </a:xfrm>
            <a:custGeom>
              <a:avLst/>
              <a:gdLst/>
              <a:ahLst/>
              <a:cxnLst/>
              <a:rect l="l" t="t" r="r" b="b"/>
              <a:pathLst>
                <a:path w="94655" h="148344">
                  <a:moveTo>
                    <a:pt x="9377" y="0"/>
                  </a:moveTo>
                  <a:lnTo>
                    <a:pt x="85279" y="0"/>
                  </a:lnTo>
                  <a:cubicBezTo>
                    <a:pt x="87735" y="0"/>
                    <a:pt x="89911" y="930"/>
                    <a:pt x="91809" y="2790"/>
                  </a:cubicBezTo>
                  <a:cubicBezTo>
                    <a:pt x="93706" y="4651"/>
                    <a:pt x="94655" y="6846"/>
                    <a:pt x="94655" y="9376"/>
                  </a:cubicBezTo>
                  <a:cubicBezTo>
                    <a:pt x="94655" y="11980"/>
                    <a:pt x="93725" y="14231"/>
                    <a:pt x="91865" y="16129"/>
                  </a:cubicBezTo>
                  <a:cubicBezTo>
                    <a:pt x="90004" y="18027"/>
                    <a:pt x="87809" y="18975"/>
                    <a:pt x="85279" y="18975"/>
                  </a:cubicBezTo>
                  <a:lnTo>
                    <a:pt x="56927" y="18975"/>
                  </a:lnTo>
                  <a:lnTo>
                    <a:pt x="56927" y="129592"/>
                  </a:lnTo>
                  <a:lnTo>
                    <a:pt x="85279" y="129592"/>
                  </a:lnTo>
                  <a:cubicBezTo>
                    <a:pt x="87883" y="129592"/>
                    <a:pt x="90097" y="130503"/>
                    <a:pt x="91920" y="132327"/>
                  </a:cubicBezTo>
                  <a:cubicBezTo>
                    <a:pt x="93744" y="134150"/>
                    <a:pt x="94655" y="136363"/>
                    <a:pt x="94655" y="138968"/>
                  </a:cubicBezTo>
                  <a:cubicBezTo>
                    <a:pt x="94655" y="141572"/>
                    <a:pt x="93725" y="143786"/>
                    <a:pt x="91865" y="145609"/>
                  </a:cubicBezTo>
                  <a:cubicBezTo>
                    <a:pt x="90004" y="147433"/>
                    <a:pt x="87809" y="148344"/>
                    <a:pt x="85279" y="148344"/>
                  </a:cubicBezTo>
                  <a:lnTo>
                    <a:pt x="9377" y="148344"/>
                  </a:lnTo>
                  <a:cubicBezTo>
                    <a:pt x="6772" y="148344"/>
                    <a:pt x="4558" y="147433"/>
                    <a:pt x="2735" y="145609"/>
                  </a:cubicBezTo>
                  <a:cubicBezTo>
                    <a:pt x="912" y="143786"/>
                    <a:pt x="0" y="141572"/>
                    <a:pt x="0" y="138968"/>
                  </a:cubicBezTo>
                  <a:cubicBezTo>
                    <a:pt x="0" y="136363"/>
                    <a:pt x="912" y="134150"/>
                    <a:pt x="2735" y="132327"/>
                  </a:cubicBezTo>
                  <a:cubicBezTo>
                    <a:pt x="4558" y="130503"/>
                    <a:pt x="6772" y="129592"/>
                    <a:pt x="9377" y="129592"/>
                  </a:cubicBezTo>
                  <a:lnTo>
                    <a:pt x="38175" y="129592"/>
                  </a:lnTo>
                  <a:lnTo>
                    <a:pt x="38175" y="18975"/>
                  </a:lnTo>
                  <a:lnTo>
                    <a:pt x="9377" y="18975"/>
                  </a:lnTo>
                  <a:cubicBezTo>
                    <a:pt x="6772" y="18975"/>
                    <a:pt x="4558" y="18045"/>
                    <a:pt x="2735" y="16185"/>
                  </a:cubicBezTo>
                  <a:cubicBezTo>
                    <a:pt x="912" y="14324"/>
                    <a:pt x="0" y="12129"/>
                    <a:pt x="0" y="9599"/>
                  </a:cubicBezTo>
                  <a:cubicBezTo>
                    <a:pt x="0" y="6920"/>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Freeform 176"/>
            <p:cNvSpPr/>
            <p:nvPr/>
          </p:nvSpPr>
          <p:spPr>
            <a:xfrm>
              <a:off x="3053993" y="3237325"/>
              <a:ext cx="95102" cy="148349"/>
            </a:xfrm>
            <a:custGeom>
              <a:avLst/>
              <a:gdLst/>
              <a:ahLst/>
              <a:cxnLst/>
              <a:rect l="l" t="t" r="r" b="b"/>
              <a:pathLst>
                <a:path w="95102" h="148349">
                  <a:moveTo>
                    <a:pt x="9377" y="5"/>
                  </a:moveTo>
                  <a:cubicBezTo>
                    <a:pt x="11981" y="5"/>
                    <a:pt x="14195" y="917"/>
                    <a:pt x="16018" y="2741"/>
                  </a:cubicBezTo>
                  <a:cubicBezTo>
                    <a:pt x="17841" y="4565"/>
                    <a:pt x="18753" y="6781"/>
                    <a:pt x="18753" y="9388"/>
                  </a:cubicBezTo>
                  <a:lnTo>
                    <a:pt x="18753" y="53735"/>
                  </a:lnTo>
                  <a:lnTo>
                    <a:pt x="78805" y="2462"/>
                  </a:lnTo>
                  <a:cubicBezTo>
                    <a:pt x="80889" y="749"/>
                    <a:pt x="83233" y="-70"/>
                    <a:pt x="85837" y="5"/>
                  </a:cubicBezTo>
                  <a:cubicBezTo>
                    <a:pt x="88442" y="5"/>
                    <a:pt x="90637" y="959"/>
                    <a:pt x="92423" y="2868"/>
                  </a:cubicBezTo>
                  <a:cubicBezTo>
                    <a:pt x="94209" y="4778"/>
                    <a:pt x="95102" y="6980"/>
                    <a:pt x="95102" y="9477"/>
                  </a:cubicBezTo>
                  <a:cubicBezTo>
                    <a:pt x="95063" y="12046"/>
                    <a:pt x="94040" y="14187"/>
                    <a:pt x="92032" y="15898"/>
                  </a:cubicBezTo>
                  <a:lnTo>
                    <a:pt x="23999" y="73730"/>
                  </a:lnTo>
                  <a:lnTo>
                    <a:pt x="92116" y="132576"/>
                  </a:lnTo>
                  <a:cubicBezTo>
                    <a:pt x="93977" y="134138"/>
                    <a:pt x="94898" y="136150"/>
                    <a:pt x="94878" y="138612"/>
                  </a:cubicBezTo>
                  <a:cubicBezTo>
                    <a:pt x="94878" y="141075"/>
                    <a:pt x="93967" y="143313"/>
                    <a:pt x="92144" y="145328"/>
                  </a:cubicBezTo>
                  <a:cubicBezTo>
                    <a:pt x="90321" y="147342"/>
                    <a:pt x="88069" y="148349"/>
                    <a:pt x="85391" y="148349"/>
                  </a:cubicBezTo>
                  <a:cubicBezTo>
                    <a:pt x="82861" y="148349"/>
                    <a:pt x="80591" y="147494"/>
                    <a:pt x="78582" y="145784"/>
                  </a:cubicBezTo>
                  <a:lnTo>
                    <a:pt x="18753" y="94267"/>
                  </a:lnTo>
                  <a:lnTo>
                    <a:pt x="18753" y="138982"/>
                  </a:lnTo>
                  <a:cubicBezTo>
                    <a:pt x="18753" y="141584"/>
                    <a:pt x="17841" y="143796"/>
                    <a:pt x="16018" y="145617"/>
                  </a:cubicBezTo>
                  <a:cubicBezTo>
                    <a:pt x="14195" y="147438"/>
                    <a:pt x="11981" y="148349"/>
                    <a:pt x="9377" y="148349"/>
                  </a:cubicBezTo>
                  <a:cubicBezTo>
                    <a:pt x="6847" y="148349"/>
                    <a:pt x="4651" y="147438"/>
                    <a:pt x="2791" y="145614"/>
                  </a:cubicBezTo>
                  <a:cubicBezTo>
                    <a:pt x="931" y="143791"/>
                    <a:pt x="0" y="141577"/>
                    <a:pt x="0" y="138973"/>
                  </a:cubicBezTo>
                  <a:lnTo>
                    <a:pt x="0" y="9604"/>
                  </a:lnTo>
                  <a:cubicBezTo>
                    <a:pt x="0" y="6925"/>
                    <a:pt x="912" y="4656"/>
                    <a:pt x="2735" y="2795"/>
                  </a:cubicBezTo>
                  <a:cubicBezTo>
                    <a:pt x="4558" y="935"/>
                    <a:pt x="6772" y="5"/>
                    <a:pt x="9377" y="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reeform 177"/>
            <p:cNvSpPr/>
            <p:nvPr/>
          </p:nvSpPr>
          <p:spPr>
            <a:xfrm>
              <a:off x="3053994" y="3401636"/>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1"/>
                    <a:pt x="91883" y="134391"/>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8"/>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3055557" y="3768349"/>
              <a:ext cx="95213" cy="148344"/>
            </a:xfrm>
            <a:custGeom>
              <a:avLst/>
              <a:gdLst/>
              <a:ahLst/>
              <a:cxnLst/>
              <a:rect l="l" t="t" r="r" b="b"/>
              <a:pathLst>
                <a:path w="95213" h="148344">
                  <a:moveTo>
                    <a:pt x="9570" y="0"/>
                  </a:moveTo>
                  <a:cubicBezTo>
                    <a:pt x="13205" y="0"/>
                    <a:pt x="15875" y="1499"/>
                    <a:pt x="17580"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3" y="148344"/>
                    <a:pt x="79125" y="146859"/>
                    <a:pt x="77338" y="143888"/>
                  </a:cubicBezTo>
                  <a:lnTo>
                    <a:pt x="47577" y="92891"/>
                  </a:lnTo>
                  <a:lnTo>
                    <a:pt x="17622" y="143871"/>
                  </a:lnTo>
                  <a:cubicBezTo>
                    <a:pt x="15912" y="146853"/>
                    <a:pt x="13273" y="148344"/>
                    <a:pt x="9704" y="148344"/>
                  </a:cubicBezTo>
                  <a:cubicBezTo>
                    <a:pt x="7026"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2"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3958599"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7" y="874"/>
                    <a:pt x="91585" y="2623"/>
                  </a:cubicBezTo>
                  <a:cubicBezTo>
                    <a:pt x="93483" y="4372"/>
                    <a:pt x="94431" y="6697"/>
                    <a:pt x="94431" y="9599"/>
                  </a:cubicBezTo>
                  <a:lnTo>
                    <a:pt x="94431" y="29244"/>
                  </a:lnTo>
                  <a:lnTo>
                    <a:pt x="56703" y="77151"/>
                  </a:lnTo>
                  <a:lnTo>
                    <a:pt x="56703" y="138956"/>
                  </a:lnTo>
                  <a:cubicBezTo>
                    <a:pt x="56703" y="141564"/>
                    <a:pt x="55773" y="143780"/>
                    <a:pt x="53913" y="145606"/>
                  </a:cubicBezTo>
                  <a:cubicBezTo>
                    <a:pt x="52053" y="147431"/>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3958376" y="3044449"/>
              <a:ext cx="94431" cy="148344"/>
            </a:xfrm>
            <a:custGeom>
              <a:avLst/>
              <a:gdLst/>
              <a:ahLst/>
              <a:cxnLst/>
              <a:rect l="l" t="t" r="r" b="b"/>
              <a:pathLst>
                <a:path w="94431" h="148344">
                  <a:moveTo>
                    <a:pt x="0" y="0"/>
                  </a:moveTo>
                  <a:lnTo>
                    <a:pt x="85055" y="0"/>
                  </a:lnTo>
                  <a:cubicBezTo>
                    <a:pt x="87511" y="0"/>
                    <a:pt x="89687" y="930"/>
                    <a:pt x="91585" y="2790"/>
                  </a:cubicBezTo>
                  <a:cubicBezTo>
                    <a:pt x="93482" y="4651"/>
                    <a:pt x="94431" y="6846"/>
                    <a:pt x="94431" y="9376"/>
                  </a:cubicBezTo>
                  <a:cubicBezTo>
                    <a:pt x="94431" y="11980"/>
                    <a:pt x="93501" y="14231"/>
                    <a:pt x="91641" y="16129"/>
                  </a:cubicBezTo>
                  <a:cubicBezTo>
                    <a:pt x="89780" y="18027"/>
                    <a:pt x="87585" y="18975"/>
                    <a:pt x="85055" y="18975"/>
                  </a:cubicBezTo>
                  <a:lnTo>
                    <a:pt x="18752" y="18975"/>
                  </a:lnTo>
                  <a:lnTo>
                    <a:pt x="18752" y="48443"/>
                  </a:lnTo>
                  <a:lnTo>
                    <a:pt x="66303" y="48443"/>
                  </a:lnTo>
                  <a:cubicBezTo>
                    <a:pt x="68907" y="48443"/>
                    <a:pt x="71121" y="49355"/>
                    <a:pt x="72944" y="51178"/>
                  </a:cubicBezTo>
                  <a:cubicBezTo>
                    <a:pt x="74767" y="53001"/>
                    <a:pt x="75679" y="55215"/>
                    <a:pt x="75679" y="57819"/>
                  </a:cubicBezTo>
                  <a:cubicBezTo>
                    <a:pt x="75679" y="60424"/>
                    <a:pt x="74767" y="62638"/>
                    <a:pt x="72944" y="64461"/>
                  </a:cubicBezTo>
                  <a:cubicBezTo>
                    <a:pt x="71121" y="66284"/>
                    <a:pt x="68907" y="67196"/>
                    <a:pt x="66303" y="67196"/>
                  </a:cubicBezTo>
                  <a:lnTo>
                    <a:pt x="18752" y="67196"/>
                  </a:lnTo>
                  <a:lnTo>
                    <a:pt x="18752" y="138968"/>
                  </a:lnTo>
                  <a:cubicBezTo>
                    <a:pt x="18752" y="141572"/>
                    <a:pt x="17840" y="143786"/>
                    <a:pt x="16017" y="145609"/>
                  </a:cubicBezTo>
                  <a:cubicBezTo>
                    <a:pt x="14194" y="147433"/>
                    <a:pt x="11980" y="148344"/>
                    <a:pt x="9376" y="148344"/>
                  </a:cubicBezTo>
                  <a:cubicBezTo>
                    <a:pt x="6771" y="148344"/>
                    <a:pt x="4558" y="147433"/>
                    <a:pt x="2734" y="145609"/>
                  </a:cubicBezTo>
                  <a:cubicBezTo>
                    <a:pt x="911"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4740868" y="3065007"/>
              <a:ext cx="94431" cy="148121"/>
            </a:xfrm>
            <a:custGeom>
              <a:avLst/>
              <a:gdLst/>
              <a:ahLst/>
              <a:cxnLst/>
              <a:rect l="l" t="t" r="r" b="b"/>
              <a:pathLst>
                <a:path w="94431" h="148121">
                  <a:moveTo>
                    <a:pt x="18752" y="99677"/>
                  </a:moveTo>
                  <a:lnTo>
                    <a:pt x="18752" y="129369"/>
                  </a:lnTo>
                  <a:lnTo>
                    <a:pt x="75456" y="129369"/>
                  </a:lnTo>
                  <a:lnTo>
                    <a:pt x="75456" y="99677"/>
                  </a:lnTo>
                  <a:close/>
                  <a:moveTo>
                    <a:pt x="9599" y="0"/>
                  </a:moveTo>
                  <a:lnTo>
                    <a:pt x="18975" y="0"/>
                  </a:lnTo>
                  <a:cubicBezTo>
                    <a:pt x="21580" y="0"/>
                    <a:pt x="23794" y="930"/>
                    <a:pt x="25617" y="2790"/>
                  </a:cubicBezTo>
                  <a:cubicBezTo>
                    <a:pt x="27440" y="4651"/>
                    <a:pt x="28352" y="6846"/>
                    <a:pt x="28352" y="9376"/>
                  </a:cubicBezTo>
                  <a:cubicBezTo>
                    <a:pt x="28352" y="11980"/>
                    <a:pt x="27440" y="14194"/>
                    <a:pt x="25617" y="16017"/>
                  </a:cubicBezTo>
                  <a:cubicBezTo>
                    <a:pt x="23794" y="17840"/>
                    <a:pt x="21580" y="18752"/>
                    <a:pt x="18975" y="18752"/>
                  </a:cubicBezTo>
                  <a:lnTo>
                    <a:pt x="18975" y="80702"/>
                  </a:lnTo>
                  <a:lnTo>
                    <a:pt x="85055" y="80702"/>
                  </a:lnTo>
                  <a:cubicBezTo>
                    <a:pt x="87585" y="80702"/>
                    <a:pt x="89780" y="81651"/>
                    <a:pt x="91641" y="83548"/>
                  </a:cubicBezTo>
                  <a:cubicBezTo>
                    <a:pt x="93501" y="85446"/>
                    <a:pt x="94431" y="87697"/>
                    <a:pt x="94431" y="90301"/>
                  </a:cubicBezTo>
                  <a:lnTo>
                    <a:pt x="94431" y="138745"/>
                  </a:lnTo>
                  <a:cubicBezTo>
                    <a:pt x="94431" y="141349"/>
                    <a:pt x="93482" y="143563"/>
                    <a:pt x="91585" y="145386"/>
                  </a:cubicBezTo>
                  <a:cubicBezTo>
                    <a:pt x="89687" y="147209"/>
                    <a:pt x="87436" y="148121"/>
                    <a:pt x="84832" y="148121"/>
                  </a:cubicBezTo>
                  <a:lnTo>
                    <a:pt x="9599" y="148121"/>
                  </a:lnTo>
                  <a:cubicBezTo>
                    <a:pt x="6995" y="148121"/>
                    <a:pt x="4744" y="147191"/>
                    <a:pt x="2846" y="145330"/>
                  </a:cubicBezTo>
                  <a:cubicBezTo>
                    <a:pt x="949" y="143470"/>
                    <a:pt x="0" y="141275"/>
                    <a:pt x="0" y="138745"/>
                  </a:cubicBezTo>
                  <a:lnTo>
                    <a:pt x="0" y="9376"/>
                  </a:lnTo>
                  <a:cubicBezTo>
                    <a:pt x="0" y="6771"/>
                    <a:pt x="930" y="4558"/>
                    <a:pt x="2790" y="2734"/>
                  </a:cubicBezTo>
                  <a:cubicBezTo>
                    <a:pt x="4651" y="911"/>
                    <a:pt x="6920" y="0"/>
                    <a:pt x="95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5357042" y="3044449"/>
              <a:ext cx="94878" cy="148344"/>
            </a:xfrm>
            <a:custGeom>
              <a:avLst/>
              <a:gdLst/>
              <a:ahLst/>
              <a:cxnLst/>
              <a:rect l="l" t="t" r="r" b="b"/>
              <a:pathLst>
                <a:path w="94878" h="148344">
                  <a:moveTo>
                    <a:pt x="48444" y="0"/>
                  </a:moveTo>
                  <a:lnTo>
                    <a:pt x="85502" y="0"/>
                  </a:lnTo>
                  <a:cubicBezTo>
                    <a:pt x="88107" y="0"/>
                    <a:pt x="90320" y="930"/>
                    <a:pt x="92144" y="2790"/>
                  </a:cubicBezTo>
                  <a:cubicBezTo>
                    <a:pt x="93967" y="4651"/>
                    <a:pt x="94878" y="6846"/>
                    <a:pt x="94878" y="9376"/>
                  </a:cubicBezTo>
                  <a:cubicBezTo>
                    <a:pt x="94878" y="11980"/>
                    <a:pt x="93967" y="14231"/>
                    <a:pt x="92145" y="16129"/>
                  </a:cubicBezTo>
                  <a:cubicBezTo>
                    <a:pt x="90323" y="18027"/>
                    <a:pt x="88111" y="18975"/>
                    <a:pt x="85507" y="18975"/>
                  </a:cubicBezTo>
                  <a:lnTo>
                    <a:pt x="49806" y="18975"/>
                  </a:lnTo>
                  <a:cubicBezTo>
                    <a:pt x="46831" y="18983"/>
                    <a:pt x="44411" y="20735"/>
                    <a:pt x="42547" y="24230"/>
                  </a:cubicBezTo>
                  <a:lnTo>
                    <a:pt x="21749" y="63055"/>
                  </a:lnTo>
                  <a:cubicBezTo>
                    <a:pt x="20108" y="66105"/>
                    <a:pt x="19296" y="69717"/>
                    <a:pt x="19311" y="73891"/>
                  </a:cubicBezTo>
                  <a:cubicBezTo>
                    <a:pt x="19300" y="78289"/>
                    <a:pt x="20187" y="82162"/>
                    <a:pt x="21972" y="85512"/>
                  </a:cubicBezTo>
                  <a:lnTo>
                    <a:pt x="41827" y="123692"/>
                  </a:lnTo>
                  <a:cubicBezTo>
                    <a:pt x="43686" y="127637"/>
                    <a:pt x="46738" y="129603"/>
                    <a:pt x="50981" y="129592"/>
                  </a:cubicBezTo>
                  <a:lnTo>
                    <a:pt x="84825" y="129592"/>
                  </a:lnTo>
                  <a:cubicBezTo>
                    <a:pt x="87432" y="129592"/>
                    <a:pt x="89685" y="130503"/>
                    <a:pt x="91584" y="132327"/>
                  </a:cubicBezTo>
                  <a:cubicBezTo>
                    <a:pt x="93482" y="134150"/>
                    <a:pt x="94432" y="136363"/>
                    <a:pt x="94432" y="138968"/>
                  </a:cubicBezTo>
                  <a:cubicBezTo>
                    <a:pt x="94432" y="141572"/>
                    <a:pt x="93483" y="143786"/>
                    <a:pt x="91585" y="145609"/>
                  </a:cubicBezTo>
                  <a:cubicBezTo>
                    <a:pt x="89688" y="147433"/>
                    <a:pt x="87437" y="148344"/>
                    <a:pt x="84832" y="148344"/>
                  </a:cubicBezTo>
                  <a:lnTo>
                    <a:pt x="49783" y="148344"/>
                  </a:lnTo>
                  <a:cubicBezTo>
                    <a:pt x="45318" y="148344"/>
                    <a:pt x="40705" y="146930"/>
                    <a:pt x="35942" y="144103"/>
                  </a:cubicBezTo>
                  <a:cubicBezTo>
                    <a:pt x="31180" y="141275"/>
                    <a:pt x="27868" y="138112"/>
                    <a:pt x="26008" y="134615"/>
                  </a:cubicBezTo>
                  <a:lnTo>
                    <a:pt x="4354" y="92757"/>
                  </a:lnTo>
                  <a:cubicBezTo>
                    <a:pt x="1451" y="86729"/>
                    <a:pt x="0" y="80553"/>
                    <a:pt x="0" y="74228"/>
                  </a:cubicBezTo>
                  <a:cubicBezTo>
                    <a:pt x="0" y="67233"/>
                    <a:pt x="1377" y="61168"/>
                    <a:pt x="4130" y="56033"/>
                  </a:cubicBezTo>
                  <a:lnTo>
                    <a:pt x="26008" y="14622"/>
                  </a:lnTo>
                  <a:cubicBezTo>
                    <a:pt x="28092" y="10753"/>
                    <a:pt x="31329" y="7348"/>
                    <a:pt x="35719" y="4409"/>
                  </a:cubicBezTo>
                  <a:cubicBezTo>
                    <a:pt x="40109" y="1469"/>
                    <a:pt x="44351" y="0"/>
                    <a:pt x="484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5356374" y="3237330"/>
              <a:ext cx="95101" cy="148344"/>
            </a:xfrm>
            <a:custGeom>
              <a:avLst/>
              <a:gdLst/>
              <a:ahLst/>
              <a:cxnLst/>
              <a:rect l="l" t="t" r="r" b="b"/>
              <a:pathLst>
                <a:path w="95101" h="148344">
                  <a:moveTo>
                    <a:pt x="21344" y="0"/>
                  </a:moveTo>
                  <a:lnTo>
                    <a:pt x="70180" y="0"/>
                  </a:lnTo>
                  <a:cubicBezTo>
                    <a:pt x="76140" y="0"/>
                    <a:pt x="81783" y="2511"/>
                    <a:pt x="87110" y="7534"/>
                  </a:cubicBezTo>
                  <a:cubicBezTo>
                    <a:pt x="92437" y="12557"/>
                    <a:pt x="95101" y="18640"/>
                    <a:pt x="95101" y="25784"/>
                  </a:cubicBezTo>
                  <a:cubicBezTo>
                    <a:pt x="95101" y="28463"/>
                    <a:pt x="94152" y="30733"/>
                    <a:pt x="92254" y="32593"/>
                  </a:cubicBezTo>
                  <a:cubicBezTo>
                    <a:pt x="90357" y="34453"/>
                    <a:pt x="88255" y="35384"/>
                    <a:pt x="85948" y="35384"/>
                  </a:cubicBezTo>
                  <a:cubicBezTo>
                    <a:pt x="82748" y="35384"/>
                    <a:pt x="80553" y="34658"/>
                    <a:pt x="79362" y="33207"/>
                  </a:cubicBezTo>
                  <a:cubicBezTo>
                    <a:pt x="78172" y="31756"/>
                    <a:pt x="77036" y="29058"/>
                    <a:pt x="75954" y="25114"/>
                  </a:cubicBezTo>
                  <a:cubicBezTo>
                    <a:pt x="74873" y="21170"/>
                    <a:pt x="72468" y="19199"/>
                    <a:pt x="68741" y="19199"/>
                  </a:cubicBezTo>
                  <a:lnTo>
                    <a:pt x="22331" y="19199"/>
                  </a:lnTo>
                  <a:cubicBezTo>
                    <a:pt x="20094" y="19199"/>
                    <a:pt x="18975" y="19920"/>
                    <a:pt x="18975" y="21363"/>
                  </a:cubicBezTo>
                  <a:cubicBezTo>
                    <a:pt x="18916" y="22273"/>
                    <a:pt x="19371" y="23323"/>
                    <a:pt x="20341" y="24513"/>
                  </a:cubicBezTo>
                  <a:lnTo>
                    <a:pt x="90064" y="113412"/>
                  </a:lnTo>
                  <a:cubicBezTo>
                    <a:pt x="93422" y="117724"/>
                    <a:pt x="95101" y="122336"/>
                    <a:pt x="95101" y="127248"/>
                  </a:cubicBezTo>
                  <a:cubicBezTo>
                    <a:pt x="95101" y="132829"/>
                    <a:pt x="93073" y="137740"/>
                    <a:pt x="89017" y="141982"/>
                  </a:cubicBezTo>
                  <a:cubicBezTo>
                    <a:pt x="84962" y="146223"/>
                    <a:pt x="80441" y="148344"/>
                    <a:pt x="75455" y="148344"/>
                  </a:cubicBezTo>
                  <a:lnTo>
                    <a:pt x="24891" y="148344"/>
                  </a:lnTo>
                  <a:cubicBezTo>
                    <a:pt x="18194" y="148344"/>
                    <a:pt x="12371" y="145795"/>
                    <a:pt x="7422" y="140698"/>
                  </a:cubicBezTo>
                  <a:cubicBezTo>
                    <a:pt x="2474" y="135601"/>
                    <a:pt x="0" y="130001"/>
                    <a:pt x="0" y="123899"/>
                  </a:cubicBezTo>
                  <a:cubicBezTo>
                    <a:pt x="0" y="116904"/>
                    <a:pt x="3274" y="113407"/>
                    <a:pt x="9822" y="113407"/>
                  </a:cubicBezTo>
                  <a:cubicBezTo>
                    <a:pt x="12352" y="113407"/>
                    <a:pt x="14510" y="114318"/>
                    <a:pt x="16296" y="116141"/>
                  </a:cubicBezTo>
                  <a:cubicBezTo>
                    <a:pt x="18082" y="117965"/>
                    <a:pt x="18975" y="120104"/>
                    <a:pt x="18975" y="122560"/>
                  </a:cubicBezTo>
                  <a:cubicBezTo>
                    <a:pt x="18975" y="124569"/>
                    <a:pt x="19663" y="126243"/>
                    <a:pt x="21040" y="127583"/>
                  </a:cubicBezTo>
                  <a:cubicBezTo>
                    <a:pt x="22417" y="128922"/>
                    <a:pt x="24147" y="129592"/>
                    <a:pt x="26231" y="129592"/>
                  </a:cubicBezTo>
                  <a:lnTo>
                    <a:pt x="72888" y="129592"/>
                  </a:lnTo>
                  <a:cubicBezTo>
                    <a:pt x="74897" y="129592"/>
                    <a:pt x="75902" y="128795"/>
                    <a:pt x="75902" y="127202"/>
                  </a:cubicBezTo>
                  <a:cubicBezTo>
                    <a:pt x="75958" y="126444"/>
                    <a:pt x="75501" y="125471"/>
                    <a:pt x="74531" y="124281"/>
                  </a:cubicBezTo>
                  <a:lnTo>
                    <a:pt x="4923" y="35380"/>
                  </a:lnTo>
                  <a:cubicBezTo>
                    <a:pt x="1641" y="31141"/>
                    <a:pt x="0" y="26528"/>
                    <a:pt x="0" y="21543"/>
                  </a:cubicBezTo>
                  <a:cubicBezTo>
                    <a:pt x="0" y="15738"/>
                    <a:pt x="2085" y="10697"/>
                    <a:pt x="6257" y="6418"/>
                  </a:cubicBezTo>
                  <a:cubicBezTo>
                    <a:pt x="10429" y="2139"/>
                    <a:pt x="15458"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Freeform 219"/>
            <p:cNvSpPr/>
            <p:nvPr/>
          </p:nvSpPr>
          <p:spPr>
            <a:xfrm>
              <a:off x="5356820"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8" y="874"/>
                    <a:pt x="91585" y="2623"/>
                  </a:cubicBezTo>
                  <a:cubicBezTo>
                    <a:pt x="93483" y="4372"/>
                    <a:pt x="94431" y="6697"/>
                    <a:pt x="94431" y="9599"/>
                  </a:cubicBezTo>
                  <a:lnTo>
                    <a:pt x="94431" y="29244"/>
                  </a:lnTo>
                  <a:lnTo>
                    <a:pt x="56704" y="77151"/>
                  </a:lnTo>
                  <a:lnTo>
                    <a:pt x="56704" y="138956"/>
                  </a:lnTo>
                  <a:cubicBezTo>
                    <a:pt x="56704" y="141564"/>
                    <a:pt x="55773" y="143780"/>
                    <a:pt x="53913" y="145606"/>
                  </a:cubicBezTo>
                  <a:cubicBezTo>
                    <a:pt x="52053" y="147431"/>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5643938" y="3065230"/>
              <a:ext cx="94432" cy="147898"/>
            </a:xfrm>
            <a:custGeom>
              <a:avLst/>
              <a:gdLst/>
              <a:ahLst/>
              <a:cxnLst/>
              <a:rect l="l" t="t" r="r" b="b"/>
              <a:pathLst>
                <a:path w="94432" h="147898">
                  <a:moveTo>
                    <a:pt x="9377" y="0"/>
                  </a:moveTo>
                  <a:lnTo>
                    <a:pt x="94432" y="0"/>
                  </a:lnTo>
                  <a:lnTo>
                    <a:pt x="94432" y="57596"/>
                  </a:lnTo>
                  <a:cubicBezTo>
                    <a:pt x="94432" y="60647"/>
                    <a:pt x="93278" y="63177"/>
                    <a:pt x="90972" y="65187"/>
                  </a:cubicBezTo>
                  <a:lnTo>
                    <a:pt x="56481" y="94655"/>
                  </a:lnTo>
                  <a:lnTo>
                    <a:pt x="56481" y="138298"/>
                  </a:lnTo>
                  <a:cubicBezTo>
                    <a:pt x="56481" y="140903"/>
                    <a:pt x="55569" y="143154"/>
                    <a:pt x="53746" y="145052"/>
                  </a:cubicBezTo>
                  <a:cubicBezTo>
                    <a:pt x="51923" y="146949"/>
                    <a:pt x="49709" y="147898"/>
                    <a:pt x="47104" y="147898"/>
                  </a:cubicBezTo>
                  <a:cubicBezTo>
                    <a:pt x="44500" y="147898"/>
                    <a:pt x="42249" y="146967"/>
                    <a:pt x="40351" y="145106"/>
                  </a:cubicBezTo>
                  <a:cubicBezTo>
                    <a:pt x="38454" y="143246"/>
                    <a:pt x="37505" y="141049"/>
                    <a:pt x="37505" y="138518"/>
                  </a:cubicBezTo>
                  <a:lnTo>
                    <a:pt x="37505" y="91177"/>
                  </a:lnTo>
                  <a:cubicBezTo>
                    <a:pt x="37505" y="87604"/>
                    <a:pt x="38615" y="84850"/>
                    <a:pt x="40836" y="82915"/>
                  </a:cubicBezTo>
                  <a:lnTo>
                    <a:pt x="75456" y="53630"/>
                  </a:lnTo>
                  <a:lnTo>
                    <a:pt x="75456" y="18752"/>
                  </a:lnTo>
                  <a:lnTo>
                    <a:pt x="18753" y="18752"/>
                  </a:lnTo>
                  <a:cubicBezTo>
                    <a:pt x="17413" y="24110"/>
                    <a:pt x="14288" y="26789"/>
                    <a:pt x="9377" y="26789"/>
                  </a:cubicBezTo>
                  <a:cubicBezTo>
                    <a:pt x="6772" y="26789"/>
                    <a:pt x="4558" y="25877"/>
                    <a:pt x="2735" y="24054"/>
                  </a:cubicBezTo>
                  <a:cubicBezTo>
                    <a:pt x="912" y="22231"/>
                    <a:pt x="0" y="20017"/>
                    <a:pt x="0" y="17413"/>
                  </a:cubicBezTo>
                  <a:lnTo>
                    <a:pt x="0" y="9376"/>
                  </a:lnTo>
                  <a:cubicBezTo>
                    <a:pt x="0" y="6772"/>
                    <a:pt x="912" y="4558"/>
                    <a:pt x="2735" y="2735"/>
                  </a:cubicBezTo>
                  <a:cubicBezTo>
                    <a:pt x="4558" y="912"/>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6260114" y="3044449"/>
              <a:ext cx="94654" cy="148344"/>
            </a:xfrm>
            <a:custGeom>
              <a:avLst/>
              <a:gdLst/>
              <a:ahLst/>
              <a:cxnLst/>
              <a:rect l="l" t="t" r="r" b="b"/>
              <a:pathLst>
                <a:path w="94654" h="148344">
                  <a:moveTo>
                    <a:pt x="0" y="0"/>
                  </a:moveTo>
                  <a:lnTo>
                    <a:pt x="85055" y="0"/>
                  </a:lnTo>
                  <a:cubicBezTo>
                    <a:pt x="87660" y="0"/>
                    <a:pt x="89911" y="948"/>
                    <a:pt x="91808" y="2846"/>
                  </a:cubicBezTo>
                  <a:cubicBezTo>
                    <a:pt x="93706" y="4744"/>
                    <a:pt x="94654" y="6995"/>
                    <a:pt x="94654" y="9599"/>
                  </a:cubicBezTo>
                  <a:cubicBezTo>
                    <a:pt x="94654" y="12129"/>
                    <a:pt x="93706" y="14324"/>
                    <a:pt x="91808" y="16185"/>
                  </a:cubicBezTo>
                  <a:cubicBezTo>
                    <a:pt x="89911" y="18045"/>
                    <a:pt x="87660" y="18975"/>
                    <a:pt x="85055" y="18975"/>
                  </a:cubicBezTo>
                  <a:lnTo>
                    <a:pt x="18752" y="18975"/>
                  </a:lnTo>
                  <a:lnTo>
                    <a:pt x="18752" y="64628"/>
                  </a:lnTo>
                  <a:lnTo>
                    <a:pt x="47327" y="64628"/>
                  </a:lnTo>
                  <a:cubicBezTo>
                    <a:pt x="49857" y="64628"/>
                    <a:pt x="52052" y="65558"/>
                    <a:pt x="53913" y="67419"/>
                  </a:cubicBezTo>
                  <a:cubicBezTo>
                    <a:pt x="55773" y="69279"/>
                    <a:pt x="56703" y="71474"/>
                    <a:pt x="56703" y="74004"/>
                  </a:cubicBezTo>
                  <a:cubicBezTo>
                    <a:pt x="56703" y="76683"/>
                    <a:pt x="55792" y="78953"/>
                    <a:pt x="53969" y="80813"/>
                  </a:cubicBezTo>
                  <a:cubicBezTo>
                    <a:pt x="52145" y="82674"/>
                    <a:pt x="49932" y="83604"/>
                    <a:pt x="47327" y="83604"/>
                  </a:cubicBezTo>
                  <a:lnTo>
                    <a:pt x="18752" y="83604"/>
                  </a:lnTo>
                  <a:lnTo>
                    <a:pt x="18752" y="129592"/>
                  </a:lnTo>
                  <a:lnTo>
                    <a:pt x="85278" y="129592"/>
                  </a:lnTo>
                  <a:cubicBezTo>
                    <a:pt x="87808" y="129592"/>
                    <a:pt x="90004" y="130503"/>
                    <a:pt x="91864" y="132327"/>
                  </a:cubicBezTo>
                  <a:cubicBezTo>
                    <a:pt x="93724" y="134150"/>
                    <a:pt x="94654" y="136363"/>
                    <a:pt x="94654" y="138968"/>
                  </a:cubicBezTo>
                  <a:cubicBezTo>
                    <a:pt x="94654" y="141572"/>
                    <a:pt x="93706" y="143786"/>
                    <a:pt x="91808" y="145609"/>
                  </a:cubicBezTo>
                  <a:cubicBezTo>
                    <a:pt x="89911" y="147433"/>
                    <a:pt x="87660" y="148344"/>
                    <a:pt x="85055"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6261454" y="3768349"/>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Freeform 220"/>
            <p:cNvSpPr/>
            <p:nvPr/>
          </p:nvSpPr>
          <p:spPr>
            <a:xfrm>
              <a:off x="2437819" y="4056095"/>
              <a:ext cx="94655" cy="148121"/>
            </a:xfrm>
            <a:custGeom>
              <a:avLst/>
              <a:gdLst/>
              <a:ahLst/>
              <a:cxnLst/>
              <a:rect l="l" t="t" r="r" b="b"/>
              <a:pathLst>
                <a:path w="94655" h="148121">
                  <a:moveTo>
                    <a:pt x="18976" y="83381"/>
                  </a:moveTo>
                  <a:lnTo>
                    <a:pt x="18976" y="129369"/>
                  </a:lnTo>
                  <a:lnTo>
                    <a:pt x="75902" y="129369"/>
                  </a:lnTo>
                  <a:lnTo>
                    <a:pt x="75902" y="83381"/>
                  </a:lnTo>
                  <a:close/>
                  <a:moveTo>
                    <a:pt x="37728" y="18752"/>
                  </a:moveTo>
                  <a:lnTo>
                    <a:pt x="37728" y="64628"/>
                  </a:lnTo>
                  <a:lnTo>
                    <a:pt x="57150" y="64628"/>
                  </a:lnTo>
                  <a:lnTo>
                    <a:pt x="57150" y="18752"/>
                  </a:lnTo>
                  <a:close/>
                  <a:moveTo>
                    <a:pt x="28352" y="0"/>
                  </a:moveTo>
                  <a:lnTo>
                    <a:pt x="66526" y="0"/>
                  </a:lnTo>
                  <a:cubicBezTo>
                    <a:pt x="69131" y="0"/>
                    <a:pt x="71344" y="911"/>
                    <a:pt x="73168" y="2734"/>
                  </a:cubicBezTo>
                  <a:cubicBezTo>
                    <a:pt x="74991" y="4558"/>
                    <a:pt x="75902" y="6771"/>
                    <a:pt x="75902" y="9376"/>
                  </a:cubicBezTo>
                  <a:lnTo>
                    <a:pt x="75902" y="64628"/>
                  </a:lnTo>
                  <a:cubicBezTo>
                    <a:pt x="80962" y="64628"/>
                    <a:pt x="85353" y="66433"/>
                    <a:pt x="89074" y="70042"/>
                  </a:cubicBezTo>
                  <a:cubicBezTo>
                    <a:pt x="92794" y="73651"/>
                    <a:pt x="94655" y="78097"/>
                    <a:pt x="94655" y="83381"/>
                  </a:cubicBezTo>
                  <a:lnTo>
                    <a:pt x="94655" y="129369"/>
                  </a:lnTo>
                  <a:cubicBezTo>
                    <a:pt x="94655" y="134503"/>
                    <a:pt x="92794" y="138912"/>
                    <a:pt x="89074" y="142596"/>
                  </a:cubicBezTo>
                  <a:cubicBezTo>
                    <a:pt x="85353" y="146279"/>
                    <a:pt x="80962" y="148121"/>
                    <a:pt x="75902" y="148121"/>
                  </a:cubicBezTo>
                  <a:lnTo>
                    <a:pt x="18976" y="148121"/>
                  </a:lnTo>
                  <a:cubicBezTo>
                    <a:pt x="13692" y="148121"/>
                    <a:pt x="9209" y="146186"/>
                    <a:pt x="5525" y="142317"/>
                  </a:cubicBezTo>
                  <a:cubicBezTo>
                    <a:pt x="1842" y="138447"/>
                    <a:pt x="0" y="134057"/>
                    <a:pt x="0" y="129145"/>
                  </a:cubicBezTo>
                  <a:lnTo>
                    <a:pt x="0" y="83381"/>
                  </a:lnTo>
                  <a:cubicBezTo>
                    <a:pt x="0" y="78246"/>
                    <a:pt x="1860" y="73837"/>
                    <a:pt x="5581" y="70154"/>
                  </a:cubicBezTo>
                  <a:cubicBezTo>
                    <a:pt x="9302" y="66470"/>
                    <a:pt x="13767" y="64628"/>
                    <a:pt x="18976" y="64628"/>
                  </a:cubicBezTo>
                  <a:lnTo>
                    <a:pt x="18976" y="9376"/>
                  </a:lnTo>
                  <a:cubicBezTo>
                    <a:pt x="18976" y="6771"/>
                    <a:pt x="19869" y="4558"/>
                    <a:pt x="21654" y="2734"/>
                  </a:cubicBezTo>
                  <a:cubicBezTo>
                    <a:pt x="23440" y="911"/>
                    <a:pt x="25673" y="0"/>
                    <a:pt x="283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3054217"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2" y="13952"/>
                    <a:pt x="94654" y="20612"/>
                    <a:pt x="94654" y="28351"/>
                  </a:cubicBezTo>
                  <a:lnTo>
                    <a:pt x="94654" y="63512"/>
                  </a:lnTo>
                  <a:cubicBezTo>
                    <a:pt x="94654" y="71251"/>
                    <a:pt x="91901" y="77874"/>
                    <a:pt x="86394" y="83381"/>
                  </a:cubicBezTo>
                  <a:cubicBezTo>
                    <a:pt x="80888" y="88887"/>
                    <a:pt x="74265" y="91641"/>
                    <a:pt x="66526" y="91641"/>
                  </a:cubicBezTo>
                  <a:lnTo>
                    <a:pt x="18975" y="91641"/>
                  </a:lnTo>
                  <a:lnTo>
                    <a:pt x="18975" y="138968"/>
                  </a:lnTo>
                  <a:cubicBezTo>
                    <a:pt x="18975" y="141572"/>
                    <a:pt x="18064" y="143786"/>
                    <a:pt x="16241" y="145609"/>
                  </a:cubicBezTo>
                  <a:cubicBezTo>
                    <a:pt x="14417"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3053994" y="4228418"/>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Freeform 224"/>
            <p:cNvSpPr/>
            <p:nvPr/>
          </p:nvSpPr>
          <p:spPr>
            <a:xfrm>
              <a:off x="3054441"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Freeform 225"/>
            <p:cNvSpPr/>
            <p:nvPr/>
          </p:nvSpPr>
          <p:spPr>
            <a:xfrm>
              <a:off x="3342869" y="4055871"/>
              <a:ext cx="94208" cy="148122"/>
            </a:xfrm>
            <a:custGeom>
              <a:avLst/>
              <a:gdLst/>
              <a:ahLst/>
              <a:cxnLst/>
              <a:rect l="l" t="t" r="r" b="b"/>
              <a:pathLst>
                <a:path w="94208" h="148122">
                  <a:moveTo>
                    <a:pt x="18752" y="18976"/>
                  </a:moveTo>
                  <a:lnTo>
                    <a:pt x="18752" y="48444"/>
                  </a:lnTo>
                  <a:lnTo>
                    <a:pt x="75679" y="48444"/>
                  </a:lnTo>
                  <a:lnTo>
                    <a:pt x="75679" y="18976"/>
                  </a:lnTo>
                  <a:close/>
                  <a:moveTo>
                    <a:pt x="9376" y="0"/>
                  </a:moveTo>
                  <a:lnTo>
                    <a:pt x="84832" y="0"/>
                  </a:lnTo>
                  <a:cubicBezTo>
                    <a:pt x="87362" y="0"/>
                    <a:pt x="89557" y="931"/>
                    <a:pt x="91418" y="2791"/>
                  </a:cubicBezTo>
                  <a:cubicBezTo>
                    <a:pt x="93278" y="4651"/>
                    <a:pt x="94208" y="6847"/>
                    <a:pt x="94208" y="9377"/>
                  </a:cubicBezTo>
                  <a:lnTo>
                    <a:pt x="94208" y="138746"/>
                  </a:lnTo>
                  <a:cubicBezTo>
                    <a:pt x="94208" y="141350"/>
                    <a:pt x="93297" y="143564"/>
                    <a:pt x="91473" y="145387"/>
                  </a:cubicBezTo>
                  <a:cubicBezTo>
                    <a:pt x="89650" y="147210"/>
                    <a:pt x="87436" y="148122"/>
                    <a:pt x="84832" y="148122"/>
                  </a:cubicBezTo>
                  <a:lnTo>
                    <a:pt x="75456" y="148122"/>
                  </a:lnTo>
                  <a:cubicBezTo>
                    <a:pt x="72926" y="148122"/>
                    <a:pt x="70731" y="147210"/>
                    <a:pt x="68870" y="145387"/>
                  </a:cubicBezTo>
                  <a:cubicBezTo>
                    <a:pt x="67010" y="143564"/>
                    <a:pt x="66080" y="141350"/>
                    <a:pt x="66080" y="138746"/>
                  </a:cubicBezTo>
                  <a:cubicBezTo>
                    <a:pt x="66080" y="136141"/>
                    <a:pt x="66991" y="133927"/>
                    <a:pt x="68814" y="132104"/>
                  </a:cubicBezTo>
                  <a:cubicBezTo>
                    <a:pt x="70637" y="130281"/>
                    <a:pt x="72851" y="129369"/>
                    <a:pt x="75456" y="129369"/>
                  </a:cubicBezTo>
                  <a:lnTo>
                    <a:pt x="75456" y="67420"/>
                  </a:lnTo>
                  <a:lnTo>
                    <a:pt x="9376" y="67420"/>
                  </a:lnTo>
                  <a:cubicBezTo>
                    <a:pt x="6846" y="67420"/>
                    <a:pt x="4651" y="66489"/>
                    <a:pt x="2790" y="64629"/>
                  </a:cubicBezTo>
                  <a:cubicBezTo>
                    <a:pt x="930" y="62769"/>
                    <a:pt x="0" y="60574"/>
                    <a:pt x="0" y="58043"/>
                  </a:cubicBezTo>
                  <a:lnTo>
                    <a:pt x="0" y="9377"/>
                  </a:lnTo>
                  <a:cubicBezTo>
                    <a:pt x="0" y="6847"/>
                    <a:pt x="930" y="4651"/>
                    <a:pt x="2790" y="2791"/>
                  </a:cubicBezTo>
                  <a:cubicBezTo>
                    <a:pt x="4651" y="931"/>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Freeform 226"/>
            <p:cNvSpPr/>
            <p:nvPr/>
          </p:nvSpPr>
          <p:spPr>
            <a:xfrm>
              <a:off x="3958376"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8"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6"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Freeform 227"/>
            <p:cNvSpPr/>
            <p:nvPr/>
          </p:nvSpPr>
          <p:spPr>
            <a:xfrm>
              <a:off x="3958152" y="4228418"/>
              <a:ext cx="94655" cy="148344"/>
            </a:xfrm>
            <a:custGeom>
              <a:avLst/>
              <a:gdLst/>
              <a:ahLst/>
              <a:cxnLst/>
              <a:rect l="l" t="t" r="r" b="b"/>
              <a:pathLst>
                <a:path w="94655" h="148344">
                  <a:moveTo>
                    <a:pt x="47328" y="18752"/>
                  </a:moveTo>
                  <a:cubicBezTo>
                    <a:pt x="44649" y="18752"/>
                    <a:pt x="42565" y="20203"/>
                    <a:pt x="41077" y="23105"/>
                  </a:cubicBezTo>
                  <a:lnTo>
                    <a:pt x="21655" y="62619"/>
                  </a:lnTo>
                  <a:cubicBezTo>
                    <a:pt x="19869" y="66563"/>
                    <a:pt x="18976" y="70433"/>
                    <a:pt x="18976" y="74228"/>
                  </a:cubicBezTo>
                  <a:cubicBezTo>
                    <a:pt x="18976" y="78321"/>
                    <a:pt x="19869" y="82227"/>
                    <a:pt x="21655" y="85948"/>
                  </a:cubicBezTo>
                  <a:lnTo>
                    <a:pt x="41635" y="125908"/>
                  </a:lnTo>
                  <a:cubicBezTo>
                    <a:pt x="42677" y="128364"/>
                    <a:pt x="44574" y="129592"/>
                    <a:pt x="47328" y="129592"/>
                  </a:cubicBezTo>
                  <a:cubicBezTo>
                    <a:pt x="49709" y="129592"/>
                    <a:pt x="51532" y="128364"/>
                    <a:pt x="52797" y="125908"/>
                  </a:cubicBezTo>
                  <a:lnTo>
                    <a:pt x="72889" y="85948"/>
                  </a:lnTo>
                  <a:cubicBezTo>
                    <a:pt x="74749" y="82004"/>
                    <a:pt x="75680" y="78097"/>
                    <a:pt x="75680" y="74228"/>
                  </a:cubicBezTo>
                  <a:cubicBezTo>
                    <a:pt x="75680" y="70135"/>
                    <a:pt x="74749" y="66266"/>
                    <a:pt x="72889" y="62619"/>
                  </a:cubicBezTo>
                  <a:lnTo>
                    <a:pt x="53244" y="23105"/>
                  </a:lnTo>
                  <a:cubicBezTo>
                    <a:pt x="51979" y="20203"/>
                    <a:pt x="50007" y="18752"/>
                    <a:pt x="47328" y="18752"/>
                  </a:cubicBezTo>
                  <a:close/>
                  <a:moveTo>
                    <a:pt x="47328" y="0"/>
                  </a:moveTo>
                  <a:cubicBezTo>
                    <a:pt x="57746" y="0"/>
                    <a:pt x="65187" y="4576"/>
                    <a:pt x="69652" y="13729"/>
                  </a:cubicBezTo>
                  <a:lnTo>
                    <a:pt x="90302" y="55810"/>
                  </a:lnTo>
                  <a:cubicBezTo>
                    <a:pt x="93204" y="61540"/>
                    <a:pt x="94655" y="67754"/>
                    <a:pt x="94655" y="74451"/>
                  </a:cubicBezTo>
                  <a:cubicBezTo>
                    <a:pt x="94655" y="81000"/>
                    <a:pt x="93204" y="87176"/>
                    <a:pt x="90302" y="92980"/>
                  </a:cubicBezTo>
                  <a:lnTo>
                    <a:pt x="69652" y="134615"/>
                  </a:lnTo>
                  <a:cubicBezTo>
                    <a:pt x="65262" y="143768"/>
                    <a:pt x="57820" y="148344"/>
                    <a:pt x="47328" y="148344"/>
                  </a:cubicBezTo>
                  <a:cubicBezTo>
                    <a:pt x="42342" y="148344"/>
                    <a:pt x="37859" y="147042"/>
                    <a:pt x="33877" y="144438"/>
                  </a:cubicBezTo>
                  <a:cubicBezTo>
                    <a:pt x="29896" y="141833"/>
                    <a:pt x="26901" y="138559"/>
                    <a:pt x="24892" y="134615"/>
                  </a:cubicBezTo>
                  <a:lnTo>
                    <a:pt x="4130" y="92980"/>
                  </a:lnTo>
                  <a:cubicBezTo>
                    <a:pt x="1377" y="87548"/>
                    <a:pt x="0" y="81372"/>
                    <a:pt x="0" y="74451"/>
                  </a:cubicBezTo>
                  <a:cubicBezTo>
                    <a:pt x="0" y="67531"/>
                    <a:pt x="1377" y="61317"/>
                    <a:pt x="4130" y="55810"/>
                  </a:cubicBezTo>
                  <a:lnTo>
                    <a:pt x="24892" y="13729"/>
                  </a:lnTo>
                  <a:cubicBezTo>
                    <a:pt x="29580" y="4576"/>
                    <a:pt x="37059" y="0"/>
                    <a:pt x="473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Freeform 231"/>
            <p:cNvSpPr/>
            <p:nvPr/>
          </p:nvSpPr>
          <p:spPr>
            <a:xfrm>
              <a:off x="3958599"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3958151" y="4392724"/>
              <a:ext cx="95102" cy="148344"/>
            </a:xfrm>
            <a:custGeom>
              <a:avLst/>
              <a:gdLst/>
              <a:ahLst/>
              <a:cxnLst/>
              <a:rect l="l" t="t" r="r" b="b"/>
              <a:pathLst>
                <a:path w="95102" h="148344">
                  <a:moveTo>
                    <a:pt x="21344" y="0"/>
                  </a:moveTo>
                  <a:lnTo>
                    <a:pt x="70180" y="0"/>
                  </a:lnTo>
                  <a:cubicBezTo>
                    <a:pt x="76141" y="0"/>
                    <a:pt x="81784" y="2511"/>
                    <a:pt x="87111" y="7534"/>
                  </a:cubicBezTo>
                  <a:cubicBezTo>
                    <a:pt x="92438" y="12557"/>
                    <a:pt x="95102" y="18641"/>
                    <a:pt x="95102" y="25784"/>
                  </a:cubicBezTo>
                  <a:cubicBezTo>
                    <a:pt x="95102" y="28463"/>
                    <a:pt x="94153" y="30733"/>
                    <a:pt x="92255" y="32593"/>
                  </a:cubicBezTo>
                  <a:cubicBezTo>
                    <a:pt x="90358" y="34454"/>
                    <a:pt x="88256" y="35384"/>
                    <a:pt x="85949" y="35384"/>
                  </a:cubicBezTo>
                  <a:cubicBezTo>
                    <a:pt x="82749" y="35384"/>
                    <a:pt x="80554" y="34658"/>
                    <a:pt x="79363" y="33207"/>
                  </a:cubicBezTo>
                  <a:cubicBezTo>
                    <a:pt x="78172" y="31756"/>
                    <a:pt x="77036" y="29059"/>
                    <a:pt x="75955" y="25115"/>
                  </a:cubicBezTo>
                  <a:cubicBezTo>
                    <a:pt x="74874" y="21171"/>
                    <a:pt x="72469" y="19199"/>
                    <a:pt x="68742" y="19199"/>
                  </a:cubicBezTo>
                  <a:lnTo>
                    <a:pt x="22332" y="19199"/>
                  </a:lnTo>
                  <a:cubicBezTo>
                    <a:pt x="20095" y="19199"/>
                    <a:pt x="18976" y="19920"/>
                    <a:pt x="18976" y="21363"/>
                  </a:cubicBezTo>
                  <a:cubicBezTo>
                    <a:pt x="18917" y="22273"/>
                    <a:pt x="19372" y="23323"/>
                    <a:pt x="20342" y="24513"/>
                  </a:cubicBezTo>
                  <a:lnTo>
                    <a:pt x="90065" y="113412"/>
                  </a:lnTo>
                  <a:cubicBezTo>
                    <a:pt x="93423" y="117725"/>
                    <a:pt x="95102" y="122337"/>
                    <a:pt x="95102" y="127248"/>
                  </a:cubicBezTo>
                  <a:cubicBezTo>
                    <a:pt x="95102" y="132829"/>
                    <a:pt x="93074" y="137740"/>
                    <a:pt x="89018" y="141982"/>
                  </a:cubicBezTo>
                  <a:cubicBezTo>
                    <a:pt x="84963" y="146223"/>
                    <a:pt x="80442" y="148344"/>
                    <a:pt x="75456" y="148344"/>
                  </a:cubicBezTo>
                  <a:lnTo>
                    <a:pt x="24892" y="148344"/>
                  </a:lnTo>
                  <a:cubicBezTo>
                    <a:pt x="18195" y="148344"/>
                    <a:pt x="12372" y="145796"/>
                    <a:pt x="7423" y="140698"/>
                  </a:cubicBezTo>
                  <a:cubicBezTo>
                    <a:pt x="2475" y="135601"/>
                    <a:pt x="0" y="130001"/>
                    <a:pt x="0" y="123899"/>
                  </a:cubicBezTo>
                  <a:cubicBezTo>
                    <a:pt x="0" y="116904"/>
                    <a:pt x="3275" y="113407"/>
                    <a:pt x="9823" y="113407"/>
                  </a:cubicBezTo>
                  <a:cubicBezTo>
                    <a:pt x="12353" y="113407"/>
                    <a:pt x="14511" y="114318"/>
                    <a:pt x="16297" y="116142"/>
                  </a:cubicBezTo>
                  <a:cubicBezTo>
                    <a:pt x="18083" y="117965"/>
                    <a:pt x="18976" y="120104"/>
                    <a:pt x="18976" y="122560"/>
                  </a:cubicBezTo>
                  <a:cubicBezTo>
                    <a:pt x="18976" y="124569"/>
                    <a:pt x="19664" y="126243"/>
                    <a:pt x="21041" y="127583"/>
                  </a:cubicBezTo>
                  <a:cubicBezTo>
                    <a:pt x="22418" y="128922"/>
                    <a:pt x="24148" y="129592"/>
                    <a:pt x="26231" y="129592"/>
                  </a:cubicBezTo>
                  <a:lnTo>
                    <a:pt x="72889" y="129592"/>
                  </a:lnTo>
                  <a:cubicBezTo>
                    <a:pt x="74898" y="129592"/>
                    <a:pt x="75903" y="128795"/>
                    <a:pt x="75903" y="127203"/>
                  </a:cubicBezTo>
                  <a:cubicBezTo>
                    <a:pt x="75959" y="126444"/>
                    <a:pt x="75502" y="125471"/>
                    <a:pt x="74532" y="124281"/>
                  </a:cubicBezTo>
                  <a:lnTo>
                    <a:pt x="4924" y="35380"/>
                  </a:lnTo>
                  <a:cubicBezTo>
                    <a:pt x="1642" y="31141"/>
                    <a:pt x="0" y="26528"/>
                    <a:pt x="0" y="21543"/>
                  </a:cubicBezTo>
                  <a:cubicBezTo>
                    <a:pt x="0" y="15738"/>
                    <a:pt x="2086" y="10697"/>
                    <a:pt x="6258" y="6418"/>
                  </a:cubicBezTo>
                  <a:cubicBezTo>
                    <a:pt x="10430" y="2139"/>
                    <a:pt x="15459"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Freeform 229"/>
            <p:cNvSpPr/>
            <p:nvPr/>
          </p:nvSpPr>
          <p:spPr>
            <a:xfrm>
              <a:off x="3958152" y="4555071"/>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Freeform 238"/>
            <p:cNvSpPr/>
            <p:nvPr/>
          </p:nvSpPr>
          <p:spPr>
            <a:xfrm>
              <a:off x="4673516" y="4055871"/>
              <a:ext cx="151805" cy="148345"/>
            </a:xfrm>
            <a:custGeom>
              <a:avLst/>
              <a:gdLst/>
              <a:ahLst/>
              <a:cxnLst/>
              <a:rect l="l" t="t" r="r" b="b"/>
              <a:pathLst>
                <a:path w="151805" h="148345">
                  <a:moveTo>
                    <a:pt x="76126" y="18976"/>
                  </a:moveTo>
                  <a:lnTo>
                    <a:pt x="76126" y="89450"/>
                  </a:lnTo>
                  <a:lnTo>
                    <a:pt x="78414" y="83940"/>
                  </a:lnTo>
                  <a:cubicBezTo>
                    <a:pt x="80237" y="82079"/>
                    <a:pt x="82451" y="81149"/>
                    <a:pt x="85055" y="81149"/>
                  </a:cubicBezTo>
                  <a:cubicBezTo>
                    <a:pt x="87660" y="81149"/>
                    <a:pt x="89874" y="82061"/>
                    <a:pt x="91697" y="83884"/>
                  </a:cubicBezTo>
                  <a:cubicBezTo>
                    <a:pt x="93520" y="85707"/>
                    <a:pt x="94432" y="87921"/>
                    <a:pt x="94432" y="90525"/>
                  </a:cubicBezTo>
                  <a:lnTo>
                    <a:pt x="94432" y="129593"/>
                  </a:lnTo>
                  <a:lnTo>
                    <a:pt x="133276" y="129593"/>
                  </a:lnTo>
                  <a:lnTo>
                    <a:pt x="133276" y="18976"/>
                  </a:lnTo>
                  <a:close/>
                  <a:moveTo>
                    <a:pt x="75456" y="0"/>
                  </a:moveTo>
                  <a:lnTo>
                    <a:pt x="133945" y="0"/>
                  </a:lnTo>
                  <a:cubicBezTo>
                    <a:pt x="138782" y="0"/>
                    <a:pt x="142968" y="1786"/>
                    <a:pt x="146503" y="5358"/>
                  </a:cubicBezTo>
                  <a:cubicBezTo>
                    <a:pt x="150037" y="8930"/>
                    <a:pt x="151805" y="13172"/>
                    <a:pt x="151805" y="18083"/>
                  </a:cubicBezTo>
                  <a:lnTo>
                    <a:pt x="151805" y="130262"/>
                  </a:lnTo>
                  <a:cubicBezTo>
                    <a:pt x="151805" y="135248"/>
                    <a:pt x="150037" y="139508"/>
                    <a:pt x="146503" y="143043"/>
                  </a:cubicBezTo>
                  <a:cubicBezTo>
                    <a:pt x="142968" y="146578"/>
                    <a:pt x="138708" y="148345"/>
                    <a:pt x="133722" y="148345"/>
                  </a:cubicBezTo>
                  <a:lnTo>
                    <a:pt x="85055" y="148345"/>
                  </a:lnTo>
                  <a:lnTo>
                    <a:pt x="75456" y="148345"/>
                  </a:lnTo>
                  <a:lnTo>
                    <a:pt x="9376" y="148345"/>
                  </a:lnTo>
                  <a:cubicBezTo>
                    <a:pt x="6772" y="148345"/>
                    <a:pt x="4558" y="147396"/>
                    <a:pt x="2735" y="145499"/>
                  </a:cubicBezTo>
                  <a:cubicBezTo>
                    <a:pt x="912" y="143601"/>
                    <a:pt x="0" y="141350"/>
                    <a:pt x="0" y="138746"/>
                  </a:cubicBezTo>
                  <a:cubicBezTo>
                    <a:pt x="0" y="136215"/>
                    <a:pt x="912" y="134057"/>
                    <a:pt x="2735" y="132271"/>
                  </a:cubicBezTo>
                  <a:cubicBezTo>
                    <a:pt x="4558" y="130486"/>
                    <a:pt x="6772" y="129593"/>
                    <a:pt x="9376" y="129593"/>
                  </a:cubicBezTo>
                  <a:lnTo>
                    <a:pt x="38175" y="129593"/>
                  </a:lnTo>
                  <a:lnTo>
                    <a:pt x="38175" y="18976"/>
                  </a:lnTo>
                  <a:lnTo>
                    <a:pt x="9823" y="18976"/>
                  </a:lnTo>
                  <a:cubicBezTo>
                    <a:pt x="7218" y="18976"/>
                    <a:pt x="5004" y="18064"/>
                    <a:pt x="3181" y="16241"/>
                  </a:cubicBezTo>
                  <a:cubicBezTo>
                    <a:pt x="1358" y="14418"/>
                    <a:pt x="447" y="12204"/>
                    <a:pt x="447" y="9600"/>
                  </a:cubicBezTo>
                  <a:cubicBezTo>
                    <a:pt x="447" y="6995"/>
                    <a:pt x="1358" y="4782"/>
                    <a:pt x="3181" y="2958"/>
                  </a:cubicBezTo>
                  <a:cubicBezTo>
                    <a:pt x="5004" y="1135"/>
                    <a:pt x="7218" y="224"/>
                    <a:pt x="9823" y="224"/>
                  </a:cubicBezTo>
                  <a:lnTo>
                    <a:pt x="56927" y="224"/>
                  </a:lnTo>
                  <a:lnTo>
                    <a:pt x="56927" y="129593"/>
                  </a:lnTo>
                  <a:lnTo>
                    <a:pt x="57373" y="129593"/>
                  </a:lnTo>
                  <a:lnTo>
                    <a:pt x="57373" y="18083"/>
                  </a:lnTo>
                  <a:cubicBezTo>
                    <a:pt x="57373" y="13172"/>
                    <a:pt x="59159" y="8930"/>
                    <a:pt x="62731" y="5358"/>
                  </a:cubicBezTo>
                  <a:cubicBezTo>
                    <a:pt x="66303" y="1786"/>
                    <a:pt x="70545" y="0"/>
                    <a:pt x="75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Freeform 237"/>
            <p:cNvSpPr/>
            <p:nvPr/>
          </p:nvSpPr>
          <p:spPr>
            <a:xfrm>
              <a:off x="5356597"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9"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7"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Freeform 239"/>
            <p:cNvSpPr/>
            <p:nvPr/>
          </p:nvSpPr>
          <p:spPr>
            <a:xfrm>
              <a:off x="5356373" y="4228418"/>
              <a:ext cx="94654" cy="148344"/>
            </a:xfrm>
            <a:custGeom>
              <a:avLst/>
              <a:gdLst/>
              <a:ahLst/>
              <a:cxnLst/>
              <a:rect l="l" t="t" r="r" b="b"/>
              <a:pathLst>
                <a:path w="94654" h="148344">
                  <a:moveTo>
                    <a:pt x="9376" y="0"/>
                  </a:moveTo>
                  <a:lnTo>
                    <a:pt x="85278" y="0"/>
                  </a:lnTo>
                  <a:cubicBezTo>
                    <a:pt x="87734" y="0"/>
                    <a:pt x="89910" y="930"/>
                    <a:pt x="91808" y="2790"/>
                  </a:cubicBezTo>
                  <a:cubicBezTo>
                    <a:pt x="93705" y="4651"/>
                    <a:pt x="94654" y="6846"/>
                    <a:pt x="94654" y="9376"/>
                  </a:cubicBezTo>
                  <a:cubicBezTo>
                    <a:pt x="94654" y="11980"/>
                    <a:pt x="93724" y="14232"/>
                    <a:pt x="91864" y="16129"/>
                  </a:cubicBezTo>
                  <a:cubicBezTo>
                    <a:pt x="90003" y="18027"/>
                    <a:pt x="87808" y="18975"/>
                    <a:pt x="85278" y="18975"/>
                  </a:cubicBezTo>
                  <a:lnTo>
                    <a:pt x="56926" y="18975"/>
                  </a:lnTo>
                  <a:lnTo>
                    <a:pt x="56926" y="129592"/>
                  </a:lnTo>
                  <a:lnTo>
                    <a:pt x="85278" y="129592"/>
                  </a:lnTo>
                  <a:cubicBezTo>
                    <a:pt x="87883" y="129592"/>
                    <a:pt x="90096" y="130503"/>
                    <a:pt x="91920" y="132327"/>
                  </a:cubicBezTo>
                  <a:cubicBezTo>
                    <a:pt x="93743" y="134150"/>
                    <a:pt x="94654" y="136364"/>
                    <a:pt x="94654" y="138968"/>
                  </a:cubicBezTo>
                  <a:cubicBezTo>
                    <a:pt x="94654" y="141573"/>
                    <a:pt x="93724" y="143786"/>
                    <a:pt x="91864" y="145610"/>
                  </a:cubicBezTo>
                  <a:cubicBezTo>
                    <a:pt x="90003" y="147433"/>
                    <a:pt x="87808" y="148344"/>
                    <a:pt x="85278" y="148344"/>
                  </a:cubicBezTo>
                  <a:lnTo>
                    <a:pt x="9376" y="148344"/>
                  </a:lnTo>
                  <a:cubicBezTo>
                    <a:pt x="6771" y="148344"/>
                    <a:pt x="4557" y="147433"/>
                    <a:pt x="2734" y="145610"/>
                  </a:cubicBezTo>
                  <a:cubicBezTo>
                    <a:pt x="911" y="143786"/>
                    <a:pt x="0" y="141573"/>
                    <a:pt x="0" y="138968"/>
                  </a:cubicBezTo>
                  <a:cubicBezTo>
                    <a:pt x="0" y="136364"/>
                    <a:pt x="911" y="134150"/>
                    <a:pt x="2734" y="132327"/>
                  </a:cubicBezTo>
                  <a:cubicBezTo>
                    <a:pt x="4557" y="130503"/>
                    <a:pt x="6771" y="129592"/>
                    <a:pt x="9376" y="129592"/>
                  </a:cubicBezTo>
                  <a:lnTo>
                    <a:pt x="38174" y="129592"/>
                  </a:lnTo>
                  <a:lnTo>
                    <a:pt x="38174" y="18975"/>
                  </a:lnTo>
                  <a:lnTo>
                    <a:pt x="9376" y="18975"/>
                  </a:lnTo>
                  <a:cubicBezTo>
                    <a:pt x="6771" y="18975"/>
                    <a:pt x="4557" y="18045"/>
                    <a:pt x="2734" y="16185"/>
                  </a:cubicBezTo>
                  <a:cubicBezTo>
                    <a:pt x="911" y="14325"/>
                    <a:pt x="0" y="12129"/>
                    <a:pt x="0" y="9599"/>
                  </a:cubicBezTo>
                  <a:cubicBezTo>
                    <a:pt x="0" y="6920"/>
                    <a:pt x="911" y="4651"/>
                    <a:pt x="2734" y="2790"/>
                  </a:cubicBezTo>
                  <a:cubicBezTo>
                    <a:pt x="4557" y="930"/>
                    <a:pt x="6771"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Freeform 241"/>
            <p:cNvSpPr/>
            <p:nvPr/>
          </p:nvSpPr>
          <p:spPr>
            <a:xfrm>
              <a:off x="5357936"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Freeform 240"/>
            <p:cNvSpPr/>
            <p:nvPr/>
          </p:nvSpPr>
          <p:spPr>
            <a:xfrm>
              <a:off x="5356373" y="4392947"/>
              <a:ext cx="94654" cy="148121"/>
            </a:xfrm>
            <a:custGeom>
              <a:avLst/>
              <a:gdLst/>
              <a:ahLst/>
              <a:cxnLst/>
              <a:rect l="l" t="t" r="r" b="b"/>
              <a:pathLst>
                <a:path w="94654" h="148121">
                  <a:moveTo>
                    <a:pt x="0" y="0"/>
                  </a:moveTo>
                  <a:lnTo>
                    <a:pt x="94654" y="0"/>
                  </a:lnTo>
                  <a:lnTo>
                    <a:pt x="94654" y="25561"/>
                  </a:lnTo>
                  <a:cubicBezTo>
                    <a:pt x="94654" y="28166"/>
                    <a:pt x="93724" y="30380"/>
                    <a:pt x="91864" y="32203"/>
                  </a:cubicBezTo>
                  <a:cubicBezTo>
                    <a:pt x="90003" y="34026"/>
                    <a:pt x="87808" y="34937"/>
                    <a:pt x="85278" y="34937"/>
                  </a:cubicBezTo>
                  <a:cubicBezTo>
                    <a:pt x="82674" y="34937"/>
                    <a:pt x="80423" y="34007"/>
                    <a:pt x="78525" y="32147"/>
                  </a:cubicBezTo>
                  <a:cubicBezTo>
                    <a:pt x="76627" y="30287"/>
                    <a:pt x="75679" y="28091"/>
                    <a:pt x="75679" y="25561"/>
                  </a:cubicBezTo>
                  <a:lnTo>
                    <a:pt x="75679" y="18752"/>
                  </a:lnTo>
                  <a:lnTo>
                    <a:pt x="56703" y="18752"/>
                  </a:lnTo>
                  <a:lnTo>
                    <a:pt x="56703" y="138745"/>
                  </a:lnTo>
                  <a:cubicBezTo>
                    <a:pt x="56703" y="141350"/>
                    <a:pt x="55773" y="143563"/>
                    <a:pt x="53913" y="145387"/>
                  </a:cubicBezTo>
                  <a:cubicBezTo>
                    <a:pt x="52052" y="147210"/>
                    <a:pt x="49857" y="148121"/>
                    <a:pt x="47327" y="148121"/>
                  </a:cubicBezTo>
                  <a:cubicBezTo>
                    <a:pt x="44648" y="148121"/>
                    <a:pt x="42378" y="147210"/>
                    <a:pt x="40518" y="145387"/>
                  </a:cubicBezTo>
                  <a:cubicBezTo>
                    <a:pt x="38658" y="143563"/>
                    <a:pt x="37728" y="141350"/>
                    <a:pt x="37728" y="138745"/>
                  </a:cubicBezTo>
                  <a:lnTo>
                    <a:pt x="37728" y="18752"/>
                  </a:lnTo>
                  <a:lnTo>
                    <a:pt x="18752" y="18752"/>
                  </a:lnTo>
                  <a:lnTo>
                    <a:pt x="18752" y="25338"/>
                  </a:lnTo>
                  <a:cubicBezTo>
                    <a:pt x="18752" y="27943"/>
                    <a:pt x="17840" y="30156"/>
                    <a:pt x="16017" y="31979"/>
                  </a:cubicBezTo>
                  <a:cubicBezTo>
                    <a:pt x="14194" y="33803"/>
                    <a:pt x="11980" y="34714"/>
                    <a:pt x="9376" y="34714"/>
                  </a:cubicBezTo>
                  <a:cubicBezTo>
                    <a:pt x="6771" y="34714"/>
                    <a:pt x="4557" y="33803"/>
                    <a:pt x="2734" y="31979"/>
                  </a:cubicBezTo>
                  <a:cubicBezTo>
                    <a:pt x="911" y="30156"/>
                    <a:pt x="0" y="27943"/>
                    <a:pt x="0" y="253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Freeform 235"/>
            <p:cNvSpPr/>
            <p:nvPr/>
          </p:nvSpPr>
          <p:spPr>
            <a:xfrm>
              <a:off x="5596084" y="4056095"/>
              <a:ext cx="151582" cy="148121"/>
            </a:xfrm>
            <a:custGeom>
              <a:avLst/>
              <a:gdLst/>
              <a:ahLst/>
              <a:cxnLst/>
              <a:rect l="l" t="t" r="r" b="b"/>
              <a:pathLst>
                <a:path w="151582" h="148121">
                  <a:moveTo>
                    <a:pt x="9823" y="0"/>
                  </a:moveTo>
                  <a:lnTo>
                    <a:pt x="56927" y="0"/>
                  </a:lnTo>
                  <a:lnTo>
                    <a:pt x="56927" y="129369"/>
                  </a:lnTo>
                  <a:lnTo>
                    <a:pt x="66526"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2" y="87697"/>
                    <a:pt x="94432" y="90301"/>
                  </a:cubicBezTo>
                  <a:lnTo>
                    <a:pt x="94432" y="129369"/>
                  </a:lnTo>
                  <a:lnTo>
                    <a:pt x="95324" y="129369"/>
                  </a:lnTo>
                  <a:lnTo>
                    <a:pt x="95324" y="18752"/>
                  </a:lnTo>
                  <a:lnTo>
                    <a:pt x="66973" y="18752"/>
                  </a:lnTo>
                  <a:cubicBezTo>
                    <a:pt x="64368" y="18752"/>
                    <a:pt x="62154" y="17840"/>
                    <a:pt x="60331" y="16017"/>
                  </a:cubicBezTo>
                  <a:cubicBezTo>
                    <a:pt x="58508" y="14194"/>
                    <a:pt x="57597" y="11980"/>
                    <a:pt x="57597" y="9376"/>
                  </a:cubicBezTo>
                  <a:cubicBezTo>
                    <a:pt x="57597" y="6771"/>
                    <a:pt x="58508" y="4558"/>
                    <a:pt x="60331" y="2734"/>
                  </a:cubicBezTo>
                  <a:cubicBezTo>
                    <a:pt x="62154" y="911"/>
                    <a:pt x="64368" y="0"/>
                    <a:pt x="66973" y="0"/>
                  </a:cubicBezTo>
                  <a:lnTo>
                    <a:pt x="114077" y="0"/>
                  </a:lnTo>
                  <a:lnTo>
                    <a:pt x="114077" y="129369"/>
                  </a:lnTo>
                  <a:lnTo>
                    <a:pt x="132829" y="129369"/>
                  </a:lnTo>
                  <a:lnTo>
                    <a:pt x="132829" y="90301"/>
                  </a:lnTo>
                  <a:cubicBezTo>
                    <a:pt x="132829" y="87771"/>
                    <a:pt x="133741" y="85576"/>
                    <a:pt x="135564" y="83716"/>
                  </a:cubicBezTo>
                  <a:cubicBezTo>
                    <a:pt x="137387" y="81855"/>
                    <a:pt x="139601" y="80925"/>
                    <a:pt x="142205" y="80925"/>
                  </a:cubicBezTo>
                  <a:cubicBezTo>
                    <a:pt x="144810" y="80925"/>
                    <a:pt x="147024" y="81837"/>
                    <a:pt x="148847" y="83660"/>
                  </a:cubicBezTo>
                  <a:cubicBezTo>
                    <a:pt x="150670" y="85483"/>
                    <a:pt x="151582" y="87697"/>
                    <a:pt x="151582" y="90301"/>
                  </a:cubicBezTo>
                  <a:lnTo>
                    <a:pt x="151582" y="138745"/>
                  </a:lnTo>
                  <a:cubicBezTo>
                    <a:pt x="151582" y="141349"/>
                    <a:pt x="150670" y="143563"/>
                    <a:pt x="148847" y="145386"/>
                  </a:cubicBezTo>
                  <a:cubicBezTo>
                    <a:pt x="147024" y="147209"/>
                    <a:pt x="144810" y="148121"/>
                    <a:pt x="142205" y="148121"/>
                  </a:cubicBezTo>
                  <a:lnTo>
                    <a:pt x="85055" y="148121"/>
                  </a:lnTo>
                  <a:lnTo>
                    <a:pt x="66526" y="148121"/>
                  </a:lnTo>
                  <a:lnTo>
                    <a:pt x="9376" y="148121"/>
                  </a:lnTo>
                  <a:cubicBezTo>
                    <a:pt x="6772" y="148121"/>
                    <a:pt x="4558" y="147172"/>
                    <a:pt x="2735" y="145275"/>
                  </a:cubicBezTo>
                  <a:cubicBezTo>
                    <a:pt x="912" y="143377"/>
                    <a:pt x="0" y="141126"/>
                    <a:pt x="0" y="138522"/>
                  </a:cubicBezTo>
                  <a:cubicBezTo>
                    <a:pt x="0" y="135991"/>
                    <a:pt x="912" y="133833"/>
                    <a:pt x="2735" y="132047"/>
                  </a:cubicBezTo>
                  <a:cubicBezTo>
                    <a:pt x="4558" y="130262"/>
                    <a:pt x="6772" y="129369"/>
                    <a:pt x="9376" y="129369"/>
                  </a:cubicBezTo>
                  <a:lnTo>
                    <a:pt x="38175" y="129369"/>
                  </a:lnTo>
                  <a:lnTo>
                    <a:pt x="38175" y="18752"/>
                  </a:lnTo>
                  <a:lnTo>
                    <a:pt x="9823" y="18752"/>
                  </a:lnTo>
                  <a:cubicBezTo>
                    <a:pt x="7218" y="18752"/>
                    <a:pt x="5004" y="17840"/>
                    <a:pt x="3181" y="16017"/>
                  </a:cubicBezTo>
                  <a:cubicBezTo>
                    <a:pt x="1358" y="14194"/>
                    <a:pt x="447" y="11980"/>
                    <a:pt x="447" y="9376"/>
                  </a:cubicBezTo>
                  <a:cubicBezTo>
                    <a:pt x="447"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Freeform 232"/>
            <p:cNvSpPr/>
            <p:nvPr/>
          </p:nvSpPr>
          <p:spPr>
            <a:xfrm>
              <a:off x="6260114"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3" y="13952"/>
                    <a:pt x="94654" y="20612"/>
                    <a:pt x="94654" y="28351"/>
                  </a:cubicBezTo>
                  <a:lnTo>
                    <a:pt x="94654" y="63512"/>
                  </a:lnTo>
                  <a:cubicBezTo>
                    <a:pt x="94654" y="71251"/>
                    <a:pt x="91901" y="77874"/>
                    <a:pt x="86395" y="83381"/>
                  </a:cubicBezTo>
                  <a:cubicBezTo>
                    <a:pt x="80888" y="88887"/>
                    <a:pt x="74265" y="91641"/>
                    <a:pt x="66526" y="91641"/>
                  </a:cubicBezTo>
                  <a:lnTo>
                    <a:pt x="18975" y="91641"/>
                  </a:lnTo>
                  <a:lnTo>
                    <a:pt x="18975" y="138968"/>
                  </a:lnTo>
                  <a:cubicBezTo>
                    <a:pt x="18975" y="141572"/>
                    <a:pt x="18064" y="143786"/>
                    <a:pt x="16241" y="145609"/>
                  </a:cubicBezTo>
                  <a:cubicBezTo>
                    <a:pt x="14418"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Freeform 233"/>
            <p:cNvSpPr/>
            <p:nvPr/>
          </p:nvSpPr>
          <p:spPr>
            <a:xfrm>
              <a:off x="6259891" y="4228418"/>
              <a:ext cx="94654" cy="148344"/>
            </a:xfrm>
            <a:custGeom>
              <a:avLst/>
              <a:gdLst/>
              <a:ahLst/>
              <a:cxnLst/>
              <a:rect l="l" t="t" r="r" b="b"/>
              <a:pathLst>
                <a:path w="94654" h="148344">
                  <a:moveTo>
                    <a:pt x="9376" y="0"/>
                  </a:moveTo>
                  <a:cubicBezTo>
                    <a:pt x="11906" y="0"/>
                    <a:pt x="14101" y="930"/>
                    <a:pt x="15961" y="2790"/>
                  </a:cubicBezTo>
                  <a:cubicBezTo>
                    <a:pt x="17822" y="4651"/>
                    <a:pt x="18752" y="6846"/>
                    <a:pt x="18752" y="9376"/>
                  </a:cubicBezTo>
                  <a:lnTo>
                    <a:pt x="18752" y="120216"/>
                  </a:lnTo>
                  <a:cubicBezTo>
                    <a:pt x="18752" y="122671"/>
                    <a:pt x="19682" y="124811"/>
                    <a:pt x="21542" y="126634"/>
                  </a:cubicBezTo>
                  <a:cubicBezTo>
                    <a:pt x="23403" y="128457"/>
                    <a:pt x="25598" y="129369"/>
                    <a:pt x="28128" y="129369"/>
                  </a:cubicBezTo>
                  <a:lnTo>
                    <a:pt x="66526" y="129369"/>
                  </a:lnTo>
                  <a:cubicBezTo>
                    <a:pt x="69130" y="129369"/>
                    <a:pt x="71344" y="128476"/>
                    <a:pt x="73167" y="126690"/>
                  </a:cubicBezTo>
                  <a:cubicBezTo>
                    <a:pt x="74990" y="124904"/>
                    <a:pt x="75902" y="122746"/>
                    <a:pt x="75902" y="120216"/>
                  </a:cubicBezTo>
                  <a:lnTo>
                    <a:pt x="75902" y="9599"/>
                  </a:lnTo>
                  <a:cubicBezTo>
                    <a:pt x="75902" y="6920"/>
                    <a:pt x="76813" y="4651"/>
                    <a:pt x="78637" y="2790"/>
                  </a:cubicBezTo>
                  <a:cubicBezTo>
                    <a:pt x="80460" y="930"/>
                    <a:pt x="82674" y="0"/>
                    <a:pt x="85278" y="0"/>
                  </a:cubicBezTo>
                  <a:cubicBezTo>
                    <a:pt x="87883" y="0"/>
                    <a:pt x="90096" y="930"/>
                    <a:pt x="91920" y="2790"/>
                  </a:cubicBezTo>
                  <a:cubicBezTo>
                    <a:pt x="93743" y="4651"/>
                    <a:pt x="94654" y="6920"/>
                    <a:pt x="94654" y="9599"/>
                  </a:cubicBezTo>
                  <a:lnTo>
                    <a:pt x="94654" y="119992"/>
                  </a:lnTo>
                  <a:cubicBezTo>
                    <a:pt x="94654" y="127732"/>
                    <a:pt x="91882" y="134392"/>
                    <a:pt x="86338" y="139973"/>
                  </a:cubicBezTo>
                  <a:cubicBezTo>
                    <a:pt x="80795" y="145554"/>
                    <a:pt x="74190" y="148344"/>
                    <a:pt x="66526" y="148344"/>
                  </a:cubicBezTo>
                  <a:lnTo>
                    <a:pt x="28128" y="148344"/>
                  </a:lnTo>
                  <a:cubicBezTo>
                    <a:pt x="20389" y="148344"/>
                    <a:pt x="13766" y="145591"/>
                    <a:pt x="8260" y="140084"/>
                  </a:cubicBezTo>
                  <a:cubicBezTo>
                    <a:pt x="2753" y="134578"/>
                    <a:pt x="0" y="127955"/>
                    <a:pt x="0" y="120216"/>
                  </a:cubicBezTo>
                  <a:lnTo>
                    <a:pt x="0" y="9599"/>
                  </a:lnTo>
                  <a:cubicBezTo>
                    <a:pt x="0" y="6995"/>
                    <a:pt x="930" y="4744"/>
                    <a:pt x="2790" y="2846"/>
                  </a:cubicBezTo>
                  <a:cubicBezTo>
                    <a:pt x="4650" y="949"/>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Freeform 234"/>
            <p:cNvSpPr/>
            <p:nvPr/>
          </p:nvSpPr>
          <p:spPr>
            <a:xfrm>
              <a:off x="6261454"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8" name="Freeform 327"/>
          <p:cNvSpPr/>
          <p:nvPr/>
        </p:nvSpPr>
        <p:spPr>
          <a:xfrm>
            <a:off x="5861474" y="1987416"/>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409"/>
          <p:cNvSpPr/>
          <p:nvPr/>
        </p:nvSpPr>
        <p:spPr>
          <a:xfrm>
            <a:off x="6112317" y="2171713"/>
            <a:ext cx="953464" cy="953465"/>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2" name="Group 411"/>
          <p:cNvGrpSpPr/>
          <p:nvPr/>
        </p:nvGrpSpPr>
        <p:grpSpPr>
          <a:xfrm>
            <a:off x="5861474" y="3435351"/>
            <a:ext cx="1455150" cy="1322058"/>
            <a:chOff x="5661660" y="2006600"/>
            <a:chExt cx="4165599" cy="3784600"/>
          </a:xfrm>
        </p:grpSpPr>
        <p:sp>
          <p:nvSpPr>
            <p:cNvPr id="413" name="Freeform 412"/>
            <p:cNvSpPr/>
            <p:nvPr/>
          </p:nvSpPr>
          <p:spPr>
            <a:xfrm>
              <a:off x="5661660" y="2006600"/>
              <a:ext cx="4165599"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Freeform 413"/>
            <p:cNvSpPr/>
            <p:nvPr/>
          </p:nvSpPr>
          <p:spPr>
            <a:xfrm>
              <a:off x="6379738" y="2534179"/>
              <a:ext cx="2729443" cy="2729444"/>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77" name="Group 7176"/>
          <p:cNvGrpSpPr/>
          <p:nvPr/>
        </p:nvGrpSpPr>
        <p:grpSpPr>
          <a:xfrm>
            <a:off x="5861474" y="4937019"/>
            <a:ext cx="1455150" cy="1322058"/>
            <a:chOff x="7016885" y="4937019"/>
            <a:chExt cx="1455150" cy="1322058"/>
          </a:xfrm>
        </p:grpSpPr>
        <p:sp>
          <p:nvSpPr>
            <p:cNvPr id="421" name="Freeform 42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424" name="Group 423"/>
          <p:cNvGrpSpPr/>
          <p:nvPr/>
        </p:nvGrpSpPr>
        <p:grpSpPr>
          <a:xfrm>
            <a:off x="10337425" y="103885"/>
            <a:ext cx="1413510" cy="1194008"/>
            <a:chOff x="4398963" y="2495551"/>
            <a:chExt cx="4232275" cy="3575050"/>
          </a:xfrm>
        </p:grpSpPr>
        <p:sp>
          <p:nvSpPr>
            <p:cNvPr id="425" name="Freeform 424"/>
            <p:cNvSpPr>
              <a:spLocks/>
            </p:cNvSpPr>
            <p:nvPr/>
          </p:nvSpPr>
          <p:spPr bwMode="auto">
            <a:xfrm>
              <a:off x="5626100" y="3163888"/>
              <a:ext cx="425450" cy="750888"/>
            </a:xfrm>
            <a:custGeom>
              <a:avLst/>
              <a:gdLst>
                <a:gd name="T0" fmla="*/ 99 w 873"/>
                <a:gd name="T1" fmla="*/ 1389 h 1534"/>
                <a:gd name="T2" fmla="*/ 37 w 873"/>
                <a:gd name="T3" fmla="*/ 1177 h 1534"/>
                <a:gd name="T4" fmla="*/ 611 w 873"/>
                <a:gd name="T5" fmla="*/ 187 h 1534"/>
                <a:gd name="T6" fmla="*/ 736 w 873"/>
                <a:gd name="T7" fmla="*/ 33 h 1534"/>
                <a:gd name="T8" fmla="*/ 848 w 873"/>
                <a:gd name="T9" fmla="*/ 166 h 1534"/>
                <a:gd name="T10" fmla="*/ 573 w 873"/>
                <a:gd name="T11" fmla="*/ 744 h 1534"/>
                <a:gd name="T12" fmla="*/ 99 w 873"/>
                <a:gd name="T13" fmla="*/ 1389 h 1534"/>
              </a:gdLst>
              <a:ahLst/>
              <a:cxnLst>
                <a:cxn ang="0">
                  <a:pos x="T0" y="T1"/>
                </a:cxn>
                <a:cxn ang="0">
                  <a:pos x="T2" y="T3"/>
                </a:cxn>
                <a:cxn ang="0">
                  <a:pos x="T4" y="T5"/>
                </a:cxn>
                <a:cxn ang="0">
                  <a:pos x="T6" y="T7"/>
                </a:cxn>
                <a:cxn ang="0">
                  <a:pos x="T8" y="T9"/>
                </a:cxn>
                <a:cxn ang="0">
                  <a:pos x="T10" y="T11"/>
                </a:cxn>
                <a:cxn ang="0">
                  <a:pos x="T12" y="T13"/>
                </a:cxn>
              </a:cxnLst>
              <a:rect l="0" t="0" r="r" b="b"/>
              <a:pathLst>
                <a:path w="873" h="1534">
                  <a:moveTo>
                    <a:pt x="99" y="1389"/>
                  </a:moveTo>
                  <a:cubicBezTo>
                    <a:pt x="62" y="1360"/>
                    <a:pt x="0" y="1239"/>
                    <a:pt x="37" y="1177"/>
                  </a:cubicBezTo>
                  <a:cubicBezTo>
                    <a:pt x="74" y="1114"/>
                    <a:pt x="586" y="258"/>
                    <a:pt x="611" y="187"/>
                  </a:cubicBezTo>
                  <a:cubicBezTo>
                    <a:pt x="636" y="117"/>
                    <a:pt x="690" y="0"/>
                    <a:pt x="736" y="33"/>
                  </a:cubicBezTo>
                  <a:cubicBezTo>
                    <a:pt x="781" y="67"/>
                    <a:pt x="823" y="158"/>
                    <a:pt x="848" y="166"/>
                  </a:cubicBezTo>
                  <a:cubicBezTo>
                    <a:pt x="873" y="175"/>
                    <a:pt x="673" y="574"/>
                    <a:pt x="573" y="744"/>
                  </a:cubicBezTo>
                  <a:cubicBezTo>
                    <a:pt x="474" y="915"/>
                    <a:pt x="286" y="1534"/>
                    <a:pt x="99" y="138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5"/>
            <p:cNvSpPr>
              <a:spLocks noEditPoints="1"/>
            </p:cNvSpPr>
            <p:nvPr/>
          </p:nvSpPr>
          <p:spPr bwMode="auto">
            <a:xfrm>
              <a:off x="5622925" y="3168651"/>
              <a:ext cx="428625" cy="696913"/>
            </a:xfrm>
            <a:custGeom>
              <a:avLst/>
              <a:gdLst>
                <a:gd name="T0" fmla="*/ 722 w 874"/>
                <a:gd name="T1" fmla="*/ 0 h 1426"/>
                <a:gd name="T2" fmla="*/ 694 w 874"/>
                <a:gd name="T3" fmla="*/ 8 h 1426"/>
                <a:gd name="T4" fmla="*/ 653 w 874"/>
                <a:gd name="T5" fmla="*/ 52 h 1426"/>
                <a:gd name="T6" fmla="*/ 596 w 874"/>
                <a:gd name="T7" fmla="*/ 173 h 1426"/>
                <a:gd name="T8" fmla="*/ 567 w 874"/>
                <a:gd name="T9" fmla="*/ 230 h 1426"/>
                <a:gd name="T10" fmla="*/ 503 w 874"/>
                <a:gd name="T11" fmla="*/ 345 h 1426"/>
                <a:gd name="T12" fmla="*/ 315 w 874"/>
                <a:gd name="T13" fmla="*/ 667 h 1426"/>
                <a:gd name="T14" fmla="*/ 24 w 874"/>
                <a:gd name="T15" fmla="*/ 1158 h 1426"/>
                <a:gd name="T16" fmla="*/ 25 w 874"/>
                <a:gd name="T17" fmla="*/ 1294 h 1426"/>
                <a:gd name="T18" fmla="*/ 91 w 874"/>
                <a:gd name="T19" fmla="*/ 1397 h 1426"/>
                <a:gd name="T20" fmla="*/ 176 w 874"/>
                <a:gd name="T21" fmla="*/ 1422 h 1426"/>
                <a:gd name="T22" fmla="*/ 256 w 874"/>
                <a:gd name="T23" fmla="*/ 1380 h 1426"/>
                <a:gd name="T24" fmla="*/ 391 w 874"/>
                <a:gd name="T25" fmla="*/ 1186 h 1426"/>
                <a:gd name="T26" fmla="*/ 595 w 874"/>
                <a:gd name="T27" fmla="*/ 746 h 1426"/>
                <a:gd name="T28" fmla="*/ 779 w 874"/>
                <a:gd name="T29" fmla="*/ 395 h 1426"/>
                <a:gd name="T30" fmla="*/ 852 w 874"/>
                <a:gd name="T31" fmla="*/ 236 h 1426"/>
                <a:gd name="T32" fmla="*/ 871 w 874"/>
                <a:gd name="T33" fmla="*/ 184 h 1426"/>
                <a:gd name="T34" fmla="*/ 874 w 874"/>
                <a:gd name="T35" fmla="*/ 165 h 1426"/>
                <a:gd name="T36" fmla="*/ 872 w 874"/>
                <a:gd name="T37" fmla="*/ 154 h 1426"/>
                <a:gd name="T38" fmla="*/ 858 w 874"/>
                <a:gd name="T39" fmla="*/ 139 h 1426"/>
                <a:gd name="T40" fmla="*/ 846 w 874"/>
                <a:gd name="T41" fmla="*/ 126 h 1426"/>
                <a:gd name="T42" fmla="*/ 820 w 874"/>
                <a:gd name="T43" fmla="*/ 90 h 1426"/>
                <a:gd name="T44" fmla="*/ 751 w 874"/>
                <a:gd name="T45" fmla="*/ 9 h 1426"/>
                <a:gd name="T46" fmla="*/ 722 w 874"/>
                <a:gd name="T47" fmla="*/ 0 h 1426"/>
                <a:gd name="T48" fmla="*/ 728 w 874"/>
                <a:gd name="T49" fmla="*/ 42 h 1426"/>
                <a:gd name="T50" fmla="*/ 787 w 874"/>
                <a:gd name="T51" fmla="*/ 113 h 1426"/>
                <a:gd name="T52" fmla="*/ 814 w 874"/>
                <a:gd name="T53" fmla="*/ 151 h 1426"/>
                <a:gd name="T54" fmla="*/ 833 w 874"/>
                <a:gd name="T55" fmla="*/ 170 h 1426"/>
                <a:gd name="T56" fmla="*/ 832 w 874"/>
                <a:gd name="T57" fmla="*/ 173 h 1426"/>
                <a:gd name="T58" fmla="*/ 815 w 874"/>
                <a:gd name="T59" fmla="*/ 221 h 1426"/>
                <a:gd name="T60" fmla="*/ 743 w 874"/>
                <a:gd name="T61" fmla="*/ 378 h 1426"/>
                <a:gd name="T62" fmla="*/ 560 w 874"/>
                <a:gd name="T63" fmla="*/ 726 h 1426"/>
                <a:gd name="T64" fmla="*/ 355 w 874"/>
                <a:gd name="T65" fmla="*/ 1168 h 1426"/>
                <a:gd name="T66" fmla="*/ 229 w 874"/>
                <a:gd name="T67" fmla="*/ 1351 h 1426"/>
                <a:gd name="T68" fmla="*/ 171 w 874"/>
                <a:gd name="T69" fmla="*/ 1382 h 1426"/>
                <a:gd name="T70" fmla="*/ 116 w 874"/>
                <a:gd name="T71" fmla="*/ 1365 h 1426"/>
                <a:gd name="T72" fmla="*/ 63 w 874"/>
                <a:gd name="T73" fmla="*/ 1280 h 1426"/>
                <a:gd name="T74" fmla="*/ 58 w 874"/>
                <a:gd name="T75" fmla="*/ 1179 h 1426"/>
                <a:gd name="T76" fmla="*/ 350 w 874"/>
                <a:gd name="T77" fmla="*/ 687 h 1426"/>
                <a:gd name="T78" fmla="*/ 537 w 874"/>
                <a:gd name="T79" fmla="*/ 365 h 1426"/>
                <a:gd name="T80" fmla="*/ 602 w 874"/>
                <a:gd name="T81" fmla="*/ 249 h 1426"/>
                <a:gd name="T82" fmla="*/ 634 w 874"/>
                <a:gd name="T83" fmla="*/ 186 h 1426"/>
                <a:gd name="T84" fmla="*/ 686 w 874"/>
                <a:gd name="T85" fmla="*/ 74 h 1426"/>
                <a:gd name="T86" fmla="*/ 715 w 874"/>
                <a:gd name="T87" fmla="*/ 42 h 1426"/>
                <a:gd name="T88" fmla="*/ 728 w 874"/>
                <a:gd name="T89" fmla="*/ 42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4" h="1426">
                  <a:moveTo>
                    <a:pt x="722" y="0"/>
                  </a:moveTo>
                  <a:cubicBezTo>
                    <a:pt x="712" y="0"/>
                    <a:pt x="702" y="3"/>
                    <a:pt x="694" y="8"/>
                  </a:cubicBezTo>
                  <a:cubicBezTo>
                    <a:pt x="677" y="18"/>
                    <a:pt x="665" y="34"/>
                    <a:pt x="653" y="52"/>
                  </a:cubicBezTo>
                  <a:cubicBezTo>
                    <a:pt x="629" y="89"/>
                    <a:pt x="609" y="136"/>
                    <a:pt x="596" y="173"/>
                  </a:cubicBezTo>
                  <a:cubicBezTo>
                    <a:pt x="594" y="177"/>
                    <a:pt x="583" y="200"/>
                    <a:pt x="567" y="230"/>
                  </a:cubicBezTo>
                  <a:cubicBezTo>
                    <a:pt x="551" y="260"/>
                    <a:pt x="528" y="299"/>
                    <a:pt x="503" y="345"/>
                  </a:cubicBezTo>
                  <a:cubicBezTo>
                    <a:pt x="451" y="436"/>
                    <a:pt x="383" y="552"/>
                    <a:pt x="315" y="667"/>
                  </a:cubicBezTo>
                  <a:cubicBezTo>
                    <a:pt x="180" y="898"/>
                    <a:pt x="42" y="1127"/>
                    <a:pt x="24" y="1158"/>
                  </a:cubicBezTo>
                  <a:cubicBezTo>
                    <a:pt x="0" y="1199"/>
                    <a:pt x="9" y="1250"/>
                    <a:pt x="25" y="1294"/>
                  </a:cubicBezTo>
                  <a:cubicBezTo>
                    <a:pt x="42" y="1339"/>
                    <a:pt x="66" y="1377"/>
                    <a:pt x="91" y="1397"/>
                  </a:cubicBezTo>
                  <a:cubicBezTo>
                    <a:pt x="118" y="1417"/>
                    <a:pt x="148" y="1426"/>
                    <a:pt x="176" y="1422"/>
                  </a:cubicBezTo>
                  <a:cubicBezTo>
                    <a:pt x="205" y="1418"/>
                    <a:pt x="231" y="1402"/>
                    <a:pt x="256" y="1380"/>
                  </a:cubicBezTo>
                  <a:cubicBezTo>
                    <a:pt x="305" y="1337"/>
                    <a:pt x="349" y="1266"/>
                    <a:pt x="391" y="1186"/>
                  </a:cubicBezTo>
                  <a:cubicBezTo>
                    <a:pt x="474" y="1027"/>
                    <a:pt x="547" y="827"/>
                    <a:pt x="595" y="746"/>
                  </a:cubicBezTo>
                  <a:cubicBezTo>
                    <a:pt x="645" y="660"/>
                    <a:pt x="720" y="518"/>
                    <a:pt x="779" y="395"/>
                  </a:cubicBezTo>
                  <a:cubicBezTo>
                    <a:pt x="809" y="334"/>
                    <a:pt x="835" y="278"/>
                    <a:pt x="852" y="236"/>
                  </a:cubicBezTo>
                  <a:cubicBezTo>
                    <a:pt x="861" y="215"/>
                    <a:pt x="867" y="197"/>
                    <a:pt x="871" y="184"/>
                  </a:cubicBezTo>
                  <a:cubicBezTo>
                    <a:pt x="872" y="177"/>
                    <a:pt x="874" y="171"/>
                    <a:pt x="874" y="165"/>
                  </a:cubicBezTo>
                  <a:cubicBezTo>
                    <a:pt x="874" y="162"/>
                    <a:pt x="874" y="158"/>
                    <a:pt x="872" y="154"/>
                  </a:cubicBezTo>
                  <a:cubicBezTo>
                    <a:pt x="871" y="149"/>
                    <a:pt x="866" y="142"/>
                    <a:pt x="858" y="139"/>
                  </a:cubicBezTo>
                  <a:cubicBezTo>
                    <a:pt x="861" y="140"/>
                    <a:pt x="853" y="136"/>
                    <a:pt x="846" y="126"/>
                  </a:cubicBezTo>
                  <a:cubicBezTo>
                    <a:pt x="838" y="117"/>
                    <a:pt x="830" y="104"/>
                    <a:pt x="820" y="90"/>
                  </a:cubicBezTo>
                  <a:cubicBezTo>
                    <a:pt x="801" y="62"/>
                    <a:pt x="779" y="29"/>
                    <a:pt x="751" y="9"/>
                  </a:cubicBezTo>
                  <a:cubicBezTo>
                    <a:pt x="743" y="3"/>
                    <a:pt x="732" y="0"/>
                    <a:pt x="722" y="0"/>
                  </a:cubicBezTo>
                  <a:close/>
                  <a:moveTo>
                    <a:pt x="728" y="42"/>
                  </a:moveTo>
                  <a:cubicBezTo>
                    <a:pt x="746" y="55"/>
                    <a:pt x="768" y="85"/>
                    <a:pt x="787" y="113"/>
                  </a:cubicBezTo>
                  <a:cubicBezTo>
                    <a:pt x="797" y="127"/>
                    <a:pt x="806" y="140"/>
                    <a:pt x="814" y="151"/>
                  </a:cubicBezTo>
                  <a:cubicBezTo>
                    <a:pt x="820" y="158"/>
                    <a:pt x="826" y="164"/>
                    <a:pt x="833" y="170"/>
                  </a:cubicBezTo>
                  <a:cubicBezTo>
                    <a:pt x="832" y="171"/>
                    <a:pt x="833" y="171"/>
                    <a:pt x="832" y="173"/>
                  </a:cubicBezTo>
                  <a:cubicBezTo>
                    <a:pt x="829" y="184"/>
                    <a:pt x="823" y="200"/>
                    <a:pt x="815" y="221"/>
                  </a:cubicBezTo>
                  <a:cubicBezTo>
                    <a:pt x="798" y="261"/>
                    <a:pt x="773" y="317"/>
                    <a:pt x="743" y="378"/>
                  </a:cubicBezTo>
                  <a:cubicBezTo>
                    <a:pt x="684" y="500"/>
                    <a:pt x="610" y="642"/>
                    <a:pt x="560" y="726"/>
                  </a:cubicBezTo>
                  <a:cubicBezTo>
                    <a:pt x="508" y="816"/>
                    <a:pt x="437" y="1012"/>
                    <a:pt x="355" y="1168"/>
                  </a:cubicBezTo>
                  <a:cubicBezTo>
                    <a:pt x="315" y="1246"/>
                    <a:pt x="271" y="1314"/>
                    <a:pt x="229" y="1351"/>
                  </a:cubicBezTo>
                  <a:cubicBezTo>
                    <a:pt x="208" y="1369"/>
                    <a:pt x="188" y="1380"/>
                    <a:pt x="171" y="1382"/>
                  </a:cubicBezTo>
                  <a:cubicBezTo>
                    <a:pt x="153" y="1385"/>
                    <a:pt x="136" y="1381"/>
                    <a:pt x="116" y="1365"/>
                  </a:cubicBezTo>
                  <a:cubicBezTo>
                    <a:pt x="103" y="1355"/>
                    <a:pt x="77" y="1319"/>
                    <a:pt x="63" y="1280"/>
                  </a:cubicBezTo>
                  <a:cubicBezTo>
                    <a:pt x="48" y="1242"/>
                    <a:pt x="45" y="1201"/>
                    <a:pt x="58" y="1179"/>
                  </a:cubicBezTo>
                  <a:cubicBezTo>
                    <a:pt x="77" y="1148"/>
                    <a:pt x="214" y="918"/>
                    <a:pt x="350" y="687"/>
                  </a:cubicBezTo>
                  <a:cubicBezTo>
                    <a:pt x="418" y="572"/>
                    <a:pt x="485" y="456"/>
                    <a:pt x="537" y="365"/>
                  </a:cubicBezTo>
                  <a:cubicBezTo>
                    <a:pt x="563" y="319"/>
                    <a:pt x="586" y="280"/>
                    <a:pt x="602" y="249"/>
                  </a:cubicBezTo>
                  <a:cubicBezTo>
                    <a:pt x="619" y="218"/>
                    <a:pt x="629" y="199"/>
                    <a:pt x="634" y="186"/>
                  </a:cubicBezTo>
                  <a:cubicBezTo>
                    <a:pt x="646" y="152"/>
                    <a:pt x="665" y="106"/>
                    <a:pt x="686" y="74"/>
                  </a:cubicBezTo>
                  <a:cubicBezTo>
                    <a:pt x="696" y="59"/>
                    <a:pt x="707" y="47"/>
                    <a:pt x="715" y="42"/>
                  </a:cubicBezTo>
                  <a:cubicBezTo>
                    <a:pt x="722" y="38"/>
                    <a:pt x="722" y="38"/>
                    <a:pt x="72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6"/>
            <p:cNvSpPr>
              <a:spLocks/>
            </p:cNvSpPr>
            <p:nvPr/>
          </p:nvSpPr>
          <p:spPr bwMode="auto">
            <a:xfrm>
              <a:off x="4670425" y="4732338"/>
              <a:ext cx="393700" cy="620713"/>
            </a:xfrm>
            <a:custGeom>
              <a:avLst/>
              <a:gdLst>
                <a:gd name="T0" fmla="*/ 155 w 805"/>
                <a:gd name="T1" fmla="*/ 1252 h 1270"/>
                <a:gd name="T2" fmla="*/ 47 w 805"/>
                <a:gd name="T3" fmla="*/ 1126 h 1270"/>
                <a:gd name="T4" fmla="*/ 388 w 805"/>
                <a:gd name="T5" fmla="*/ 676 h 1270"/>
                <a:gd name="T6" fmla="*/ 661 w 805"/>
                <a:gd name="T7" fmla="*/ 56 h 1270"/>
                <a:gd name="T8" fmla="*/ 738 w 805"/>
                <a:gd name="T9" fmla="*/ 3 h 1270"/>
                <a:gd name="T10" fmla="*/ 805 w 805"/>
                <a:gd name="T11" fmla="*/ 53 h 1270"/>
                <a:gd name="T12" fmla="*/ 641 w 805"/>
                <a:gd name="T13" fmla="*/ 662 h 1270"/>
                <a:gd name="T14" fmla="*/ 155 w 805"/>
                <a:gd name="T15" fmla="*/ 1252 h 1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1270">
                  <a:moveTo>
                    <a:pt x="155" y="1252"/>
                  </a:moveTo>
                  <a:cubicBezTo>
                    <a:pt x="72" y="1251"/>
                    <a:pt x="0" y="1162"/>
                    <a:pt x="47" y="1126"/>
                  </a:cubicBezTo>
                  <a:cubicBezTo>
                    <a:pt x="79" y="1103"/>
                    <a:pt x="305" y="853"/>
                    <a:pt x="388" y="676"/>
                  </a:cubicBezTo>
                  <a:cubicBezTo>
                    <a:pt x="470" y="500"/>
                    <a:pt x="649" y="94"/>
                    <a:pt x="661" y="56"/>
                  </a:cubicBezTo>
                  <a:cubicBezTo>
                    <a:pt x="673" y="18"/>
                    <a:pt x="696" y="0"/>
                    <a:pt x="738" y="3"/>
                  </a:cubicBezTo>
                  <a:cubicBezTo>
                    <a:pt x="779" y="6"/>
                    <a:pt x="805" y="0"/>
                    <a:pt x="805" y="53"/>
                  </a:cubicBezTo>
                  <a:cubicBezTo>
                    <a:pt x="805" y="106"/>
                    <a:pt x="752" y="450"/>
                    <a:pt x="641" y="662"/>
                  </a:cubicBezTo>
                  <a:cubicBezTo>
                    <a:pt x="529" y="873"/>
                    <a:pt x="379" y="1270"/>
                    <a:pt x="155" y="125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7"/>
            <p:cNvSpPr>
              <a:spLocks/>
            </p:cNvSpPr>
            <p:nvPr/>
          </p:nvSpPr>
          <p:spPr bwMode="auto">
            <a:xfrm>
              <a:off x="4884738" y="4197351"/>
              <a:ext cx="501650" cy="655638"/>
            </a:xfrm>
            <a:custGeom>
              <a:avLst/>
              <a:gdLst>
                <a:gd name="T0" fmla="*/ 956 w 1027"/>
                <a:gd name="T1" fmla="*/ 77 h 1340"/>
                <a:gd name="T2" fmla="*/ 812 w 1027"/>
                <a:gd name="T3" fmla="*/ 577 h 1340"/>
                <a:gd name="T4" fmla="*/ 562 w 1027"/>
                <a:gd name="T5" fmla="*/ 1068 h 1340"/>
                <a:gd name="T6" fmla="*/ 312 w 1027"/>
                <a:gd name="T7" fmla="*/ 1100 h 1340"/>
                <a:gd name="T8" fmla="*/ 471 w 1027"/>
                <a:gd name="T9" fmla="*/ 577 h 1340"/>
                <a:gd name="T10" fmla="*/ 956 w 1027"/>
                <a:gd name="T11" fmla="*/ 77 h 1340"/>
              </a:gdLst>
              <a:ahLst/>
              <a:cxnLst>
                <a:cxn ang="0">
                  <a:pos x="T0" y="T1"/>
                </a:cxn>
                <a:cxn ang="0">
                  <a:pos x="T2" y="T3"/>
                </a:cxn>
                <a:cxn ang="0">
                  <a:pos x="T4" y="T5"/>
                </a:cxn>
                <a:cxn ang="0">
                  <a:pos x="T6" y="T7"/>
                </a:cxn>
                <a:cxn ang="0">
                  <a:pos x="T8" y="T9"/>
                </a:cxn>
                <a:cxn ang="0">
                  <a:pos x="T10" y="T11"/>
                </a:cxn>
              </a:cxnLst>
              <a:rect l="0" t="0" r="r" b="b"/>
              <a:pathLst>
                <a:path w="1027" h="1340">
                  <a:moveTo>
                    <a:pt x="956" y="77"/>
                  </a:moveTo>
                  <a:cubicBezTo>
                    <a:pt x="1027" y="147"/>
                    <a:pt x="906" y="427"/>
                    <a:pt x="812" y="577"/>
                  </a:cubicBezTo>
                  <a:cubicBezTo>
                    <a:pt x="718" y="727"/>
                    <a:pt x="597" y="953"/>
                    <a:pt x="562" y="1068"/>
                  </a:cubicBezTo>
                  <a:cubicBezTo>
                    <a:pt x="421" y="1340"/>
                    <a:pt x="428" y="1083"/>
                    <a:pt x="312" y="1100"/>
                  </a:cubicBezTo>
                  <a:cubicBezTo>
                    <a:pt x="0" y="1163"/>
                    <a:pt x="142" y="994"/>
                    <a:pt x="471" y="577"/>
                  </a:cubicBezTo>
                  <a:cubicBezTo>
                    <a:pt x="700" y="283"/>
                    <a:pt x="862" y="0"/>
                    <a:pt x="956" y="7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28"/>
            <p:cNvSpPr>
              <a:spLocks/>
            </p:cNvSpPr>
            <p:nvPr/>
          </p:nvSpPr>
          <p:spPr bwMode="auto">
            <a:xfrm>
              <a:off x="5238750" y="4156076"/>
              <a:ext cx="288925" cy="287338"/>
            </a:xfrm>
            <a:custGeom>
              <a:avLst/>
              <a:gdLst>
                <a:gd name="T0" fmla="*/ 220 w 591"/>
                <a:gd name="T1" fmla="*/ 153 h 588"/>
                <a:gd name="T2" fmla="*/ 214 w 591"/>
                <a:gd name="T3" fmla="*/ 418 h 588"/>
                <a:gd name="T4" fmla="*/ 555 w 591"/>
                <a:gd name="T5" fmla="*/ 365 h 588"/>
                <a:gd name="T6" fmla="*/ 535 w 591"/>
                <a:gd name="T7" fmla="*/ 9 h 588"/>
                <a:gd name="T8" fmla="*/ 188 w 591"/>
                <a:gd name="T9" fmla="*/ 0 h 588"/>
                <a:gd name="T10" fmla="*/ 26 w 591"/>
                <a:gd name="T11" fmla="*/ 165 h 588"/>
                <a:gd name="T12" fmla="*/ 220 w 591"/>
                <a:gd name="T13" fmla="*/ 153 h 588"/>
              </a:gdLst>
              <a:ahLst/>
              <a:cxnLst>
                <a:cxn ang="0">
                  <a:pos x="T0" y="T1"/>
                </a:cxn>
                <a:cxn ang="0">
                  <a:pos x="T2" y="T3"/>
                </a:cxn>
                <a:cxn ang="0">
                  <a:pos x="T4" y="T5"/>
                </a:cxn>
                <a:cxn ang="0">
                  <a:pos x="T6" y="T7"/>
                </a:cxn>
                <a:cxn ang="0">
                  <a:pos x="T8" y="T9"/>
                </a:cxn>
                <a:cxn ang="0">
                  <a:pos x="T10" y="T11"/>
                </a:cxn>
                <a:cxn ang="0">
                  <a:pos x="T12" y="T13"/>
                </a:cxn>
              </a:cxnLst>
              <a:rect l="0" t="0" r="r" b="b"/>
              <a:pathLst>
                <a:path w="591" h="588">
                  <a:moveTo>
                    <a:pt x="220" y="153"/>
                  </a:moveTo>
                  <a:cubicBezTo>
                    <a:pt x="267" y="206"/>
                    <a:pt x="282" y="247"/>
                    <a:pt x="214" y="418"/>
                  </a:cubicBezTo>
                  <a:cubicBezTo>
                    <a:pt x="147" y="588"/>
                    <a:pt x="520" y="388"/>
                    <a:pt x="555" y="365"/>
                  </a:cubicBezTo>
                  <a:cubicBezTo>
                    <a:pt x="591" y="341"/>
                    <a:pt x="591" y="9"/>
                    <a:pt x="535" y="9"/>
                  </a:cubicBezTo>
                  <a:cubicBezTo>
                    <a:pt x="479" y="9"/>
                    <a:pt x="256" y="0"/>
                    <a:pt x="188" y="0"/>
                  </a:cubicBezTo>
                  <a:cubicBezTo>
                    <a:pt x="120" y="0"/>
                    <a:pt x="0" y="132"/>
                    <a:pt x="26" y="165"/>
                  </a:cubicBezTo>
                  <a:cubicBezTo>
                    <a:pt x="82" y="235"/>
                    <a:pt x="150" y="100"/>
                    <a:pt x="220" y="15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29"/>
            <p:cNvSpPr>
              <a:spLocks/>
            </p:cNvSpPr>
            <p:nvPr/>
          </p:nvSpPr>
          <p:spPr bwMode="auto">
            <a:xfrm>
              <a:off x="5622925" y="3843338"/>
              <a:ext cx="95250" cy="144463"/>
            </a:xfrm>
            <a:custGeom>
              <a:avLst/>
              <a:gdLst>
                <a:gd name="T0" fmla="*/ 112 w 195"/>
                <a:gd name="T1" fmla="*/ 225 h 294"/>
                <a:gd name="T2" fmla="*/ 26 w 195"/>
                <a:gd name="T3" fmla="*/ 280 h 294"/>
                <a:gd name="T4" fmla="*/ 3 w 195"/>
                <a:gd name="T5" fmla="*/ 192 h 294"/>
                <a:gd name="T6" fmla="*/ 23 w 195"/>
                <a:gd name="T7" fmla="*/ 83 h 294"/>
                <a:gd name="T8" fmla="*/ 29 w 195"/>
                <a:gd name="T9" fmla="*/ 11 h 294"/>
                <a:gd name="T10" fmla="*/ 170 w 195"/>
                <a:gd name="T11" fmla="*/ 35 h 294"/>
                <a:gd name="T12" fmla="*/ 186 w 195"/>
                <a:gd name="T13" fmla="*/ 122 h 294"/>
                <a:gd name="T14" fmla="*/ 112 w 195"/>
                <a:gd name="T15" fmla="*/ 225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94">
                  <a:moveTo>
                    <a:pt x="112" y="225"/>
                  </a:moveTo>
                  <a:cubicBezTo>
                    <a:pt x="92" y="235"/>
                    <a:pt x="62" y="294"/>
                    <a:pt x="26" y="280"/>
                  </a:cubicBezTo>
                  <a:cubicBezTo>
                    <a:pt x="14" y="275"/>
                    <a:pt x="0" y="216"/>
                    <a:pt x="3" y="192"/>
                  </a:cubicBezTo>
                  <a:cubicBezTo>
                    <a:pt x="6" y="169"/>
                    <a:pt x="26" y="110"/>
                    <a:pt x="23" y="83"/>
                  </a:cubicBezTo>
                  <a:cubicBezTo>
                    <a:pt x="20" y="57"/>
                    <a:pt x="20" y="23"/>
                    <a:pt x="29" y="11"/>
                  </a:cubicBezTo>
                  <a:cubicBezTo>
                    <a:pt x="38" y="0"/>
                    <a:pt x="153" y="17"/>
                    <a:pt x="170" y="35"/>
                  </a:cubicBezTo>
                  <a:cubicBezTo>
                    <a:pt x="188" y="53"/>
                    <a:pt x="195" y="95"/>
                    <a:pt x="186" y="122"/>
                  </a:cubicBezTo>
                  <a:cubicBezTo>
                    <a:pt x="178" y="148"/>
                    <a:pt x="161" y="205"/>
                    <a:pt x="112" y="22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30"/>
            <p:cNvSpPr>
              <a:spLocks/>
            </p:cNvSpPr>
            <p:nvPr/>
          </p:nvSpPr>
          <p:spPr bwMode="auto">
            <a:xfrm>
              <a:off x="4405313" y="4651376"/>
              <a:ext cx="263525" cy="323850"/>
            </a:xfrm>
            <a:custGeom>
              <a:avLst/>
              <a:gdLst>
                <a:gd name="T0" fmla="*/ 410 w 538"/>
                <a:gd name="T1" fmla="*/ 119 h 661"/>
                <a:gd name="T2" fmla="*/ 242 w 538"/>
                <a:gd name="T3" fmla="*/ 335 h 661"/>
                <a:gd name="T4" fmla="*/ 25 w 538"/>
                <a:gd name="T5" fmla="*/ 521 h 661"/>
                <a:gd name="T6" fmla="*/ 41 w 538"/>
                <a:gd name="T7" fmla="*/ 645 h 661"/>
                <a:gd name="T8" fmla="*/ 163 w 538"/>
                <a:gd name="T9" fmla="*/ 635 h 661"/>
                <a:gd name="T10" fmla="*/ 353 w 538"/>
                <a:gd name="T11" fmla="*/ 468 h 661"/>
                <a:gd name="T12" fmla="*/ 495 w 538"/>
                <a:gd name="T13" fmla="*/ 224 h 661"/>
                <a:gd name="T14" fmla="*/ 410 w 538"/>
                <a:gd name="T15" fmla="*/ 11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661">
                  <a:moveTo>
                    <a:pt x="410" y="119"/>
                  </a:moveTo>
                  <a:cubicBezTo>
                    <a:pt x="369" y="191"/>
                    <a:pt x="308" y="283"/>
                    <a:pt x="242" y="335"/>
                  </a:cubicBezTo>
                  <a:cubicBezTo>
                    <a:pt x="155" y="405"/>
                    <a:pt x="32" y="504"/>
                    <a:pt x="25" y="521"/>
                  </a:cubicBezTo>
                  <a:cubicBezTo>
                    <a:pt x="0" y="557"/>
                    <a:pt x="1" y="623"/>
                    <a:pt x="41" y="645"/>
                  </a:cubicBezTo>
                  <a:cubicBezTo>
                    <a:pt x="67" y="661"/>
                    <a:pt x="136" y="644"/>
                    <a:pt x="163" y="635"/>
                  </a:cubicBezTo>
                  <a:cubicBezTo>
                    <a:pt x="247" y="601"/>
                    <a:pt x="302" y="538"/>
                    <a:pt x="353" y="468"/>
                  </a:cubicBezTo>
                  <a:cubicBezTo>
                    <a:pt x="411" y="386"/>
                    <a:pt x="452" y="314"/>
                    <a:pt x="495" y="224"/>
                  </a:cubicBezTo>
                  <a:cubicBezTo>
                    <a:pt x="538" y="118"/>
                    <a:pt x="462" y="0"/>
                    <a:pt x="410" y="11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31"/>
            <p:cNvSpPr>
              <a:spLocks/>
            </p:cNvSpPr>
            <p:nvPr/>
          </p:nvSpPr>
          <p:spPr bwMode="auto">
            <a:xfrm>
              <a:off x="4554538" y="3894138"/>
              <a:ext cx="330200" cy="839788"/>
            </a:xfrm>
            <a:custGeom>
              <a:avLst/>
              <a:gdLst>
                <a:gd name="T0" fmla="*/ 150 w 676"/>
                <a:gd name="T1" fmla="*/ 1607 h 1717"/>
                <a:gd name="T2" fmla="*/ 53 w 676"/>
                <a:gd name="T3" fmla="*/ 1677 h 1717"/>
                <a:gd name="T4" fmla="*/ 108 w 676"/>
                <a:gd name="T5" fmla="*/ 1490 h 1717"/>
                <a:gd name="T6" fmla="*/ 234 w 676"/>
                <a:gd name="T7" fmla="*/ 1191 h 1717"/>
                <a:gd name="T8" fmla="*/ 466 w 676"/>
                <a:gd name="T9" fmla="*/ 495 h 1717"/>
                <a:gd name="T10" fmla="*/ 593 w 676"/>
                <a:gd name="T11" fmla="*/ 57 h 1717"/>
                <a:gd name="T12" fmla="*/ 651 w 676"/>
                <a:gd name="T13" fmla="*/ 13 h 1717"/>
                <a:gd name="T14" fmla="*/ 665 w 676"/>
                <a:gd name="T15" fmla="*/ 247 h 1717"/>
                <a:gd name="T16" fmla="*/ 573 w 676"/>
                <a:gd name="T17" fmla="*/ 715 h 1717"/>
                <a:gd name="T18" fmla="*/ 363 w 676"/>
                <a:gd name="T19" fmla="*/ 1579 h 1717"/>
                <a:gd name="T20" fmla="*/ 249 w 676"/>
                <a:gd name="T21" fmla="*/ 1716 h 1717"/>
                <a:gd name="T22" fmla="*/ 150 w 676"/>
                <a:gd name="T23" fmla="*/ 160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6" h="1717">
                  <a:moveTo>
                    <a:pt x="150" y="1607"/>
                  </a:moveTo>
                  <a:cubicBezTo>
                    <a:pt x="110" y="1603"/>
                    <a:pt x="86" y="1700"/>
                    <a:pt x="53" y="1677"/>
                  </a:cubicBezTo>
                  <a:cubicBezTo>
                    <a:pt x="0" y="1640"/>
                    <a:pt x="72" y="1578"/>
                    <a:pt x="108" y="1490"/>
                  </a:cubicBezTo>
                  <a:cubicBezTo>
                    <a:pt x="149" y="1388"/>
                    <a:pt x="196" y="1292"/>
                    <a:pt x="234" y="1191"/>
                  </a:cubicBezTo>
                  <a:cubicBezTo>
                    <a:pt x="320" y="962"/>
                    <a:pt x="393" y="728"/>
                    <a:pt x="466" y="495"/>
                  </a:cubicBezTo>
                  <a:cubicBezTo>
                    <a:pt x="511" y="350"/>
                    <a:pt x="560" y="210"/>
                    <a:pt x="593" y="57"/>
                  </a:cubicBezTo>
                  <a:cubicBezTo>
                    <a:pt x="605" y="2"/>
                    <a:pt x="636" y="0"/>
                    <a:pt x="651" y="13"/>
                  </a:cubicBezTo>
                  <a:cubicBezTo>
                    <a:pt x="676" y="35"/>
                    <a:pt x="671" y="169"/>
                    <a:pt x="665" y="247"/>
                  </a:cubicBezTo>
                  <a:cubicBezTo>
                    <a:pt x="655" y="406"/>
                    <a:pt x="607" y="560"/>
                    <a:pt x="573" y="715"/>
                  </a:cubicBezTo>
                  <a:cubicBezTo>
                    <a:pt x="509" y="1004"/>
                    <a:pt x="427" y="1349"/>
                    <a:pt x="363" y="1579"/>
                  </a:cubicBezTo>
                  <a:cubicBezTo>
                    <a:pt x="347" y="1636"/>
                    <a:pt x="308" y="1714"/>
                    <a:pt x="249" y="1716"/>
                  </a:cubicBezTo>
                  <a:cubicBezTo>
                    <a:pt x="200" y="1717"/>
                    <a:pt x="199" y="1612"/>
                    <a:pt x="150" y="160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32"/>
            <p:cNvSpPr>
              <a:spLocks/>
            </p:cNvSpPr>
            <p:nvPr/>
          </p:nvSpPr>
          <p:spPr bwMode="auto">
            <a:xfrm>
              <a:off x="4805363" y="3378201"/>
              <a:ext cx="644525" cy="615950"/>
            </a:xfrm>
            <a:custGeom>
              <a:avLst/>
              <a:gdLst>
                <a:gd name="T0" fmla="*/ 148 w 1320"/>
                <a:gd name="T1" fmla="*/ 1067 h 1260"/>
                <a:gd name="T2" fmla="*/ 220 w 1320"/>
                <a:gd name="T3" fmla="*/ 1249 h 1260"/>
                <a:gd name="T4" fmla="*/ 304 w 1320"/>
                <a:gd name="T5" fmla="*/ 1199 h 1260"/>
                <a:gd name="T6" fmla="*/ 449 w 1320"/>
                <a:gd name="T7" fmla="*/ 1012 h 1260"/>
                <a:gd name="T8" fmla="*/ 741 w 1320"/>
                <a:gd name="T9" fmla="*/ 663 h 1260"/>
                <a:gd name="T10" fmla="*/ 1117 w 1320"/>
                <a:gd name="T11" fmla="*/ 314 h 1260"/>
                <a:gd name="T12" fmla="*/ 1274 w 1320"/>
                <a:gd name="T13" fmla="*/ 156 h 1260"/>
                <a:gd name="T14" fmla="*/ 1305 w 1320"/>
                <a:gd name="T15" fmla="*/ 27 h 1260"/>
                <a:gd name="T16" fmla="*/ 1268 w 1320"/>
                <a:gd name="T17" fmla="*/ 1 h 1260"/>
                <a:gd name="T18" fmla="*/ 955 w 1320"/>
                <a:gd name="T19" fmla="*/ 210 h 1260"/>
                <a:gd name="T20" fmla="*/ 417 w 1320"/>
                <a:gd name="T21" fmla="*/ 646 h 1260"/>
                <a:gd name="T22" fmla="*/ 62 w 1320"/>
                <a:gd name="T23" fmla="*/ 954 h 1260"/>
                <a:gd name="T24" fmla="*/ 4 w 1320"/>
                <a:gd name="T25" fmla="*/ 1103 h 1260"/>
                <a:gd name="T26" fmla="*/ 34 w 1320"/>
                <a:gd name="T27" fmla="*/ 1150 h 1260"/>
                <a:gd name="T28" fmla="*/ 148 w 1320"/>
                <a:gd name="T29" fmla="*/ 1067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0" h="1260">
                  <a:moveTo>
                    <a:pt x="148" y="1067"/>
                  </a:moveTo>
                  <a:cubicBezTo>
                    <a:pt x="230" y="1129"/>
                    <a:pt x="158" y="1228"/>
                    <a:pt x="220" y="1249"/>
                  </a:cubicBezTo>
                  <a:cubicBezTo>
                    <a:pt x="251" y="1260"/>
                    <a:pt x="285" y="1220"/>
                    <a:pt x="304" y="1199"/>
                  </a:cubicBezTo>
                  <a:cubicBezTo>
                    <a:pt x="350" y="1149"/>
                    <a:pt x="399" y="1073"/>
                    <a:pt x="449" y="1012"/>
                  </a:cubicBezTo>
                  <a:cubicBezTo>
                    <a:pt x="544" y="894"/>
                    <a:pt x="636" y="773"/>
                    <a:pt x="741" y="663"/>
                  </a:cubicBezTo>
                  <a:cubicBezTo>
                    <a:pt x="859" y="539"/>
                    <a:pt x="994" y="433"/>
                    <a:pt x="1117" y="314"/>
                  </a:cubicBezTo>
                  <a:cubicBezTo>
                    <a:pt x="1171" y="263"/>
                    <a:pt x="1238" y="221"/>
                    <a:pt x="1274" y="156"/>
                  </a:cubicBezTo>
                  <a:cubicBezTo>
                    <a:pt x="1295" y="118"/>
                    <a:pt x="1320" y="69"/>
                    <a:pt x="1305" y="27"/>
                  </a:cubicBezTo>
                  <a:cubicBezTo>
                    <a:pt x="1300" y="13"/>
                    <a:pt x="1283" y="2"/>
                    <a:pt x="1268" y="1"/>
                  </a:cubicBezTo>
                  <a:cubicBezTo>
                    <a:pt x="1143" y="0"/>
                    <a:pt x="1056" y="135"/>
                    <a:pt x="955" y="210"/>
                  </a:cubicBezTo>
                  <a:cubicBezTo>
                    <a:pt x="769" y="347"/>
                    <a:pt x="594" y="497"/>
                    <a:pt x="417" y="646"/>
                  </a:cubicBezTo>
                  <a:cubicBezTo>
                    <a:pt x="297" y="746"/>
                    <a:pt x="152" y="826"/>
                    <a:pt x="62" y="954"/>
                  </a:cubicBezTo>
                  <a:cubicBezTo>
                    <a:pt x="32" y="997"/>
                    <a:pt x="0" y="1050"/>
                    <a:pt x="4" y="1103"/>
                  </a:cubicBezTo>
                  <a:cubicBezTo>
                    <a:pt x="6" y="1121"/>
                    <a:pt x="14" y="1147"/>
                    <a:pt x="34" y="1150"/>
                  </a:cubicBezTo>
                  <a:cubicBezTo>
                    <a:pt x="63" y="1151"/>
                    <a:pt x="83" y="1023"/>
                    <a:pt x="148" y="106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33"/>
            <p:cNvSpPr>
              <a:spLocks/>
            </p:cNvSpPr>
            <p:nvPr/>
          </p:nvSpPr>
          <p:spPr bwMode="auto">
            <a:xfrm>
              <a:off x="5335588" y="3217863"/>
              <a:ext cx="361950" cy="279400"/>
            </a:xfrm>
            <a:custGeom>
              <a:avLst/>
              <a:gdLst>
                <a:gd name="T0" fmla="*/ 223 w 740"/>
                <a:gd name="T1" fmla="*/ 332 h 572"/>
                <a:gd name="T2" fmla="*/ 228 w 740"/>
                <a:gd name="T3" fmla="*/ 527 h 572"/>
                <a:gd name="T4" fmla="*/ 562 w 740"/>
                <a:gd name="T5" fmla="*/ 307 h 572"/>
                <a:gd name="T6" fmla="*/ 721 w 740"/>
                <a:gd name="T7" fmla="*/ 191 h 572"/>
                <a:gd name="T8" fmla="*/ 715 w 740"/>
                <a:gd name="T9" fmla="*/ 45 h 572"/>
                <a:gd name="T10" fmla="*/ 574 w 740"/>
                <a:gd name="T11" fmla="*/ 37 h 572"/>
                <a:gd name="T12" fmla="*/ 347 w 740"/>
                <a:gd name="T13" fmla="*/ 127 h 572"/>
                <a:gd name="T14" fmla="*/ 85 w 740"/>
                <a:gd name="T15" fmla="*/ 318 h 572"/>
                <a:gd name="T16" fmla="*/ 223 w 740"/>
                <a:gd name="T17" fmla="*/ 33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0" h="572">
                  <a:moveTo>
                    <a:pt x="223" y="332"/>
                  </a:moveTo>
                  <a:cubicBezTo>
                    <a:pt x="261" y="386"/>
                    <a:pt x="170" y="477"/>
                    <a:pt x="228" y="527"/>
                  </a:cubicBezTo>
                  <a:cubicBezTo>
                    <a:pt x="278" y="572"/>
                    <a:pt x="529" y="331"/>
                    <a:pt x="562" y="307"/>
                  </a:cubicBezTo>
                  <a:cubicBezTo>
                    <a:pt x="595" y="282"/>
                    <a:pt x="703" y="209"/>
                    <a:pt x="721" y="191"/>
                  </a:cubicBezTo>
                  <a:cubicBezTo>
                    <a:pt x="740" y="173"/>
                    <a:pt x="738" y="90"/>
                    <a:pt x="715" y="45"/>
                  </a:cubicBezTo>
                  <a:cubicBezTo>
                    <a:pt x="691" y="0"/>
                    <a:pt x="623" y="20"/>
                    <a:pt x="574" y="37"/>
                  </a:cubicBezTo>
                  <a:cubicBezTo>
                    <a:pt x="526" y="55"/>
                    <a:pt x="366" y="119"/>
                    <a:pt x="347" y="127"/>
                  </a:cubicBezTo>
                  <a:cubicBezTo>
                    <a:pt x="213" y="190"/>
                    <a:pt x="0" y="256"/>
                    <a:pt x="85" y="318"/>
                  </a:cubicBezTo>
                  <a:cubicBezTo>
                    <a:pt x="112" y="333"/>
                    <a:pt x="187" y="298"/>
                    <a:pt x="223" y="33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34"/>
            <p:cNvSpPr>
              <a:spLocks/>
            </p:cNvSpPr>
            <p:nvPr/>
          </p:nvSpPr>
          <p:spPr bwMode="auto">
            <a:xfrm>
              <a:off x="5588000" y="3176588"/>
              <a:ext cx="361950" cy="652463"/>
            </a:xfrm>
            <a:custGeom>
              <a:avLst/>
              <a:gdLst>
                <a:gd name="T0" fmla="*/ 193 w 739"/>
                <a:gd name="T1" fmla="*/ 127 h 1336"/>
                <a:gd name="T2" fmla="*/ 159 w 739"/>
                <a:gd name="T3" fmla="*/ 314 h 1336"/>
                <a:gd name="T4" fmla="*/ 33 w 739"/>
                <a:gd name="T5" fmla="*/ 438 h 1336"/>
                <a:gd name="T6" fmla="*/ 237 w 739"/>
                <a:gd name="T7" fmla="*/ 779 h 1336"/>
                <a:gd name="T8" fmla="*/ 554 w 739"/>
                <a:gd name="T9" fmla="*/ 1329 h 1336"/>
                <a:gd name="T10" fmla="*/ 657 w 739"/>
                <a:gd name="T11" fmla="*/ 1138 h 1336"/>
                <a:gd name="T12" fmla="*/ 734 w 739"/>
                <a:gd name="T13" fmla="*/ 969 h 1336"/>
                <a:gd name="T14" fmla="*/ 486 w 739"/>
                <a:gd name="T15" fmla="*/ 570 h 1336"/>
                <a:gd name="T16" fmla="*/ 174 w 739"/>
                <a:gd name="T17" fmla="*/ 9 h 1336"/>
                <a:gd name="T18" fmla="*/ 2 w 739"/>
                <a:gd name="T19" fmla="*/ 96 h 1336"/>
                <a:gd name="T20" fmla="*/ 193 w 739"/>
                <a:gd name="T21" fmla="*/ 127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9" h="1336">
                  <a:moveTo>
                    <a:pt x="193" y="127"/>
                  </a:moveTo>
                  <a:cubicBezTo>
                    <a:pt x="247" y="247"/>
                    <a:pt x="203" y="285"/>
                    <a:pt x="159" y="314"/>
                  </a:cubicBezTo>
                  <a:cubicBezTo>
                    <a:pt x="54" y="384"/>
                    <a:pt x="11" y="399"/>
                    <a:pt x="33" y="438"/>
                  </a:cubicBezTo>
                  <a:cubicBezTo>
                    <a:pt x="81" y="557"/>
                    <a:pt x="170" y="663"/>
                    <a:pt x="237" y="779"/>
                  </a:cubicBezTo>
                  <a:cubicBezTo>
                    <a:pt x="287" y="866"/>
                    <a:pt x="525" y="1322"/>
                    <a:pt x="554" y="1329"/>
                  </a:cubicBezTo>
                  <a:cubicBezTo>
                    <a:pt x="583" y="1336"/>
                    <a:pt x="622" y="1230"/>
                    <a:pt x="657" y="1138"/>
                  </a:cubicBezTo>
                  <a:cubicBezTo>
                    <a:pt x="691" y="1047"/>
                    <a:pt x="739" y="1032"/>
                    <a:pt x="734" y="969"/>
                  </a:cubicBezTo>
                  <a:cubicBezTo>
                    <a:pt x="730" y="921"/>
                    <a:pt x="507" y="609"/>
                    <a:pt x="486" y="570"/>
                  </a:cubicBezTo>
                  <a:cubicBezTo>
                    <a:pt x="404" y="445"/>
                    <a:pt x="318" y="15"/>
                    <a:pt x="174" y="9"/>
                  </a:cubicBezTo>
                  <a:cubicBezTo>
                    <a:pt x="77" y="0"/>
                    <a:pt x="11" y="49"/>
                    <a:pt x="2" y="96"/>
                  </a:cubicBezTo>
                  <a:cubicBezTo>
                    <a:pt x="0" y="193"/>
                    <a:pt x="143" y="49"/>
                    <a:pt x="193" y="12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5"/>
            <p:cNvSpPr>
              <a:spLocks/>
            </p:cNvSpPr>
            <p:nvPr/>
          </p:nvSpPr>
          <p:spPr bwMode="auto">
            <a:xfrm>
              <a:off x="5953125" y="3028951"/>
              <a:ext cx="93662" cy="227013"/>
            </a:xfrm>
            <a:custGeom>
              <a:avLst/>
              <a:gdLst>
                <a:gd name="T0" fmla="*/ 108 w 193"/>
                <a:gd name="T1" fmla="*/ 340 h 463"/>
                <a:gd name="T2" fmla="*/ 17 w 193"/>
                <a:gd name="T3" fmla="*/ 207 h 463"/>
                <a:gd name="T4" fmla="*/ 130 w 193"/>
                <a:gd name="T5" fmla="*/ 27 h 463"/>
                <a:gd name="T6" fmla="*/ 191 w 193"/>
                <a:gd name="T7" fmla="*/ 414 h 463"/>
                <a:gd name="T8" fmla="*/ 108 w 193"/>
                <a:gd name="T9" fmla="*/ 340 h 463"/>
              </a:gdLst>
              <a:ahLst/>
              <a:cxnLst>
                <a:cxn ang="0">
                  <a:pos x="T0" y="T1"/>
                </a:cxn>
                <a:cxn ang="0">
                  <a:pos x="T2" y="T3"/>
                </a:cxn>
                <a:cxn ang="0">
                  <a:pos x="T4" y="T5"/>
                </a:cxn>
                <a:cxn ang="0">
                  <a:pos x="T6" y="T7"/>
                </a:cxn>
                <a:cxn ang="0">
                  <a:pos x="T8" y="T9"/>
                </a:cxn>
              </a:cxnLst>
              <a:rect l="0" t="0" r="r" b="b"/>
              <a:pathLst>
                <a:path w="193" h="463">
                  <a:moveTo>
                    <a:pt x="108" y="340"/>
                  </a:moveTo>
                  <a:cubicBezTo>
                    <a:pt x="80" y="304"/>
                    <a:pt x="0" y="246"/>
                    <a:pt x="17" y="207"/>
                  </a:cubicBezTo>
                  <a:cubicBezTo>
                    <a:pt x="33" y="168"/>
                    <a:pt x="113" y="35"/>
                    <a:pt x="130" y="27"/>
                  </a:cubicBezTo>
                  <a:cubicBezTo>
                    <a:pt x="191" y="0"/>
                    <a:pt x="193" y="331"/>
                    <a:pt x="191" y="414"/>
                  </a:cubicBezTo>
                  <a:cubicBezTo>
                    <a:pt x="190" y="463"/>
                    <a:pt x="108" y="340"/>
                    <a:pt x="108" y="34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6"/>
            <p:cNvSpPr>
              <a:spLocks/>
            </p:cNvSpPr>
            <p:nvPr/>
          </p:nvSpPr>
          <p:spPr bwMode="auto">
            <a:xfrm>
              <a:off x="6027738" y="2976563"/>
              <a:ext cx="247650" cy="762000"/>
            </a:xfrm>
            <a:custGeom>
              <a:avLst/>
              <a:gdLst>
                <a:gd name="T0" fmla="*/ 147 w 507"/>
                <a:gd name="T1" fmla="*/ 7 h 1558"/>
                <a:gd name="T2" fmla="*/ 391 w 507"/>
                <a:gd name="T3" fmla="*/ 690 h 1558"/>
                <a:gd name="T4" fmla="*/ 507 w 507"/>
                <a:gd name="T5" fmla="*/ 1403 h 1558"/>
                <a:gd name="T6" fmla="*/ 418 w 507"/>
                <a:gd name="T7" fmla="*/ 1558 h 1558"/>
                <a:gd name="T8" fmla="*/ 139 w 507"/>
                <a:gd name="T9" fmla="*/ 1196 h 1558"/>
                <a:gd name="T10" fmla="*/ 18 w 507"/>
                <a:gd name="T11" fmla="*/ 173 h 1558"/>
                <a:gd name="T12" fmla="*/ 147 w 507"/>
                <a:gd name="T13" fmla="*/ 7 h 1558"/>
              </a:gdLst>
              <a:ahLst/>
              <a:cxnLst>
                <a:cxn ang="0">
                  <a:pos x="T0" y="T1"/>
                </a:cxn>
                <a:cxn ang="0">
                  <a:pos x="T2" y="T3"/>
                </a:cxn>
                <a:cxn ang="0">
                  <a:pos x="T4" y="T5"/>
                </a:cxn>
                <a:cxn ang="0">
                  <a:pos x="T6" y="T7"/>
                </a:cxn>
                <a:cxn ang="0">
                  <a:pos x="T8" y="T9"/>
                </a:cxn>
                <a:cxn ang="0">
                  <a:pos x="T10" y="T11"/>
                </a:cxn>
                <a:cxn ang="0">
                  <a:pos x="T12" y="T13"/>
                </a:cxn>
              </a:cxnLst>
              <a:rect l="0" t="0" r="r" b="b"/>
              <a:pathLst>
                <a:path w="507" h="1558">
                  <a:moveTo>
                    <a:pt x="147" y="7"/>
                  </a:moveTo>
                  <a:cubicBezTo>
                    <a:pt x="333" y="4"/>
                    <a:pt x="405" y="0"/>
                    <a:pt x="391" y="690"/>
                  </a:cubicBezTo>
                  <a:cubicBezTo>
                    <a:pt x="385" y="966"/>
                    <a:pt x="507" y="1403"/>
                    <a:pt x="507" y="1403"/>
                  </a:cubicBezTo>
                  <a:lnTo>
                    <a:pt x="418" y="1558"/>
                  </a:lnTo>
                  <a:cubicBezTo>
                    <a:pt x="378" y="1330"/>
                    <a:pt x="211" y="1334"/>
                    <a:pt x="139" y="1196"/>
                  </a:cubicBezTo>
                  <a:cubicBezTo>
                    <a:pt x="139" y="1196"/>
                    <a:pt x="18" y="190"/>
                    <a:pt x="18" y="173"/>
                  </a:cubicBezTo>
                  <a:cubicBezTo>
                    <a:pt x="0" y="93"/>
                    <a:pt x="87" y="18"/>
                    <a:pt x="147" y="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7"/>
            <p:cNvSpPr>
              <a:spLocks/>
            </p:cNvSpPr>
            <p:nvPr/>
          </p:nvSpPr>
          <p:spPr bwMode="auto">
            <a:xfrm>
              <a:off x="6423025" y="2860676"/>
              <a:ext cx="360362" cy="503238"/>
            </a:xfrm>
            <a:custGeom>
              <a:avLst/>
              <a:gdLst>
                <a:gd name="T0" fmla="*/ 0 w 740"/>
                <a:gd name="T1" fmla="*/ 1031 h 1031"/>
                <a:gd name="T2" fmla="*/ 130 w 740"/>
                <a:gd name="T3" fmla="*/ 601 h 1031"/>
                <a:gd name="T4" fmla="*/ 430 w 740"/>
                <a:gd name="T5" fmla="*/ 138 h 1031"/>
                <a:gd name="T6" fmla="*/ 460 w 740"/>
                <a:gd name="T7" fmla="*/ 571 h 1031"/>
                <a:gd name="T8" fmla="*/ 385 w 740"/>
                <a:gd name="T9" fmla="*/ 746 h 1031"/>
                <a:gd name="T10" fmla="*/ 0 w 740"/>
                <a:gd name="T11" fmla="*/ 1031 h 1031"/>
              </a:gdLst>
              <a:ahLst/>
              <a:cxnLst>
                <a:cxn ang="0">
                  <a:pos x="T0" y="T1"/>
                </a:cxn>
                <a:cxn ang="0">
                  <a:pos x="T2" y="T3"/>
                </a:cxn>
                <a:cxn ang="0">
                  <a:pos x="T4" y="T5"/>
                </a:cxn>
                <a:cxn ang="0">
                  <a:pos x="T6" y="T7"/>
                </a:cxn>
                <a:cxn ang="0">
                  <a:pos x="T8" y="T9"/>
                </a:cxn>
                <a:cxn ang="0">
                  <a:pos x="T10" y="T11"/>
                </a:cxn>
              </a:cxnLst>
              <a:rect l="0" t="0" r="r" b="b"/>
              <a:pathLst>
                <a:path w="740" h="1031">
                  <a:moveTo>
                    <a:pt x="0" y="1031"/>
                  </a:moveTo>
                  <a:cubicBezTo>
                    <a:pt x="0" y="1031"/>
                    <a:pt x="88" y="796"/>
                    <a:pt x="130" y="601"/>
                  </a:cubicBezTo>
                  <a:cubicBezTo>
                    <a:pt x="172" y="407"/>
                    <a:pt x="119" y="0"/>
                    <a:pt x="430" y="138"/>
                  </a:cubicBezTo>
                  <a:cubicBezTo>
                    <a:pt x="740" y="277"/>
                    <a:pt x="513" y="463"/>
                    <a:pt x="460" y="571"/>
                  </a:cubicBezTo>
                  <a:cubicBezTo>
                    <a:pt x="407" y="679"/>
                    <a:pt x="385" y="746"/>
                    <a:pt x="385" y="746"/>
                  </a:cubicBezTo>
                  <a:cubicBezTo>
                    <a:pt x="385" y="746"/>
                    <a:pt x="108" y="926"/>
                    <a:pt x="0" y="103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38"/>
            <p:cNvSpPr>
              <a:spLocks/>
            </p:cNvSpPr>
            <p:nvPr/>
          </p:nvSpPr>
          <p:spPr bwMode="auto">
            <a:xfrm>
              <a:off x="6623050" y="3076576"/>
              <a:ext cx="106362" cy="122238"/>
            </a:xfrm>
            <a:custGeom>
              <a:avLst/>
              <a:gdLst>
                <a:gd name="T0" fmla="*/ 14 w 219"/>
                <a:gd name="T1" fmla="*/ 211 h 250"/>
                <a:gd name="T2" fmla="*/ 139 w 219"/>
                <a:gd name="T3" fmla="*/ 0 h 250"/>
                <a:gd name="T4" fmla="*/ 216 w 219"/>
                <a:gd name="T5" fmla="*/ 142 h 250"/>
                <a:gd name="T6" fmla="*/ 0 w 219"/>
                <a:gd name="T7" fmla="*/ 250 h 250"/>
                <a:gd name="T8" fmla="*/ 14 w 219"/>
                <a:gd name="T9" fmla="*/ 211 h 250"/>
              </a:gdLst>
              <a:ahLst/>
              <a:cxnLst>
                <a:cxn ang="0">
                  <a:pos x="T0" y="T1"/>
                </a:cxn>
                <a:cxn ang="0">
                  <a:pos x="T2" y="T3"/>
                </a:cxn>
                <a:cxn ang="0">
                  <a:pos x="T4" y="T5"/>
                </a:cxn>
                <a:cxn ang="0">
                  <a:pos x="T6" y="T7"/>
                </a:cxn>
                <a:cxn ang="0">
                  <a:pos x="T8" y="T9"/>
                </a:cxn>
              </a:cxnLst>
              <a:rect l="0" t="0" r="r" b="b"/>
              <a:pathLst>
                <a:path w="219" h="250">
                  <a:moveTo>
                    <a:pt x="14" y="211"/>
                  </a:moveTo>
                  <a:cubicBezTo>
                    <a:pt x="49" y="98"/>
                    <a:pt x="97" y="68"/>
                    <a:pt x="139" y="0"/>
                  </a:cubicBezTo>
                  <a:cubicBezTo>
                    <a:pt x="196" y="20"/>
                    <a:pt x="219" y="70"/>
                    <a:pt x="216" y="142"/>
                  </a:cubicBezTo>
                  <a:cubicBezTo>
                    <a:pt x="189" y="139"/>
                    <a:pt x="82" y="205"/>
                    <a:pt x="0" y="250"/>
                  </a:cubicBezTo>
                  <a:lnTo>
                    <a:pt x="14" y="211"/>
                  </a:ln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9"/>
            <p:cNvSpPr>
              <a:spLocks/>
            </p:cNvSpPr>
            <p:nvPr/>
          </p:nvSpPr>
          <p:spPr bwMode="auto">
            <a:xfrm>
              <a:off x="5365750" y="4570413"/>
              <a:ext cx="198437" cy="200025"/>
            </a:xfrm>
            <a:custGeom>
              <a:avLst/>
              <a:gdLst>
                <a:gd name="T0" fmla="*/ 278 w 409"/>
                <a:gd name="T1" fmla="*/ 0 h 409"/>
                <a:gd name="T2" fmla="*/ 390 w 409"/>
                <a:gd name="T3" fmla="*/ 132 h 409"/>
                <a:gd name="T4" fmla="*/ 164 w 409"/>
                <a:gd name="T5" fmla="*/ 397 h 409"/>
                <a:gd name="T6" fmla="*/ 8 w 409"/>
                <a:gd name="T7" fmla="*/ 365 h 409"/>
                <a:gd name="T8" fmla="*/ 144 w 409"/>
                <a:gd name="T9" fmla="*/ 205 h 409"/>
                <a:gd name="T10" fmla="*/ 278 w 409"/>
                <a:gd name="T11" fmla="*/ 0 h 409"/>
              </a:gdLst>
              <a:ahLst/>
              <a:cxnLst>
                <a:cxn ang="0">
                  <a:pos x="T0" y="T1"/>
                </a:cxn>
                <a:cxn ang="0">
                  <a:pos x="T2" y="T3"/>
                </a:cxn>
                <a:cxn ang="0">
                  <a:pos x="T4" y="T5"/>
                </a:cxn>
                <a:cxn ang="0">
                  <a:pos x="T6" y="T7"/>
                </a:cxn>
                <a:cxn ang="0">
                  <a:pos x="T8" y="T9"/>
                </a:cxn>
                <a:cxn ang="0">
                  <a:pos x="T10" y="T11"/>
                </a:cxn>
              </a:cxnLst>
              <a:rect l="0" t="0" r="r" b="b"/>
              <a:pathLst>
                <a:path w="409" h="409">
                  <a:moveTo>
                    <a:pt x="278" y="0"/>
                  </a:moveTo>
                  <a:cubicBezTo>
                    <a:pt x="280" y="34"/>
                    <a:pt x="371" y="117"/>
                    <a:pt x="390" y="132"/>
                  </a:cubicBezTo>
                  <a:cubicBezTo>
                    <a:pt x="409" y="146"/>
                    <a:pt x="207" y="385"/>
                    <a:pt x="164" y="397"/>
                  </a:cubicBezTo>
                  <a:cubicBezTo>
                    <a:pt x="120" y="409"/>
                    <a:pt x="0" y="390"/>
                    <a:pt x="8" y="365"/>
                  </a:cubicBezTo>
                  <a:cubicBezTo>
                    <a:pt x="15" y="341"/>
                    <a:pt x="110" y="253"/>
                    <a:pt x="144" y="205"/>
                  </a:cubicBezTo>
                  <a:cubicBezTo>
                    <a:pt x="178" y="156"/>
                    <a:pt x="224" y="0"/>
                    <a:pt x="278"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0"/>
            <p:cNvSpPr>
              <a:spLocks noEditPoints="1"/>
            </p:cNvSpPr>
            <p:nvPr/>
          </p:nvSpPr>
          <p:spPr bwMode="auto">
            <a:xfrm>
              <a:off x="4675188" y="4722813"/>
              <a:ext cx="398462" cy="633413"/>
            </a:xfrm>
            <a:custGeom>
              <a:avLst/>
              <a:gdLst>
                <a:gd name="T0" fmla="*/ 729 w 815"/>
                <a:gd name="T1" fmla="*/ 2 h 1296"/>
                <a:gd name="T2" fmla="*/ 667 w 815"/>
                <a:gd name="T3" fmla="*/ 17 h 1296"/>
                <a:gd name="T4" fmla="*/ 632 w 815"/>
                <a:gd name="T5" fmla="*/ 69 h 1296"/>
                <a:gd name="T6" fmla="*/ 597 w 815"/>
                <a:gd name="T7" fmla="*/ 155 h 1296"/>
                <a:gd name="T8" fmla="*/ 523 w 815"/>
                <a:gd name="T9" fmla="*/ 325 h 1296"/>
                <a:gd name="T10" fmla="*/ 360 w 815"/>
                <a:gd name="T11" fmla="*/ 687 h 1296"/>
                <a:gd name="T12" fmla="*/ 173 w 815"/>
                <a:gd name="T13" fmla="*/ 965 h 1296"/>
                <a:gd name="T14" fmla="*/ 77 w 815"/>
                <a:gd name="T15" fmla="*/ 1076 h 1296"/>
                <a:gd name="T16" fmla="*/ 25 w 815"/>
                <a:gd name="T17" fmla="*/ 1129 h 1296"/>
                <a:gd name="T18" fmla="*/ 25 w 815"/>
                <a:gd name="T19" fmla="*/ 1129 h 1296"/>
                <a:gd name="T20" fmla="*/ 24 w 815"/>
                <a:gd name="T21" fmla="*/ 1129 h 1296"/>
                <a:gd name="T22" fmla="*/ 2 w 815"/>
                <a:gd name="T23" fmla="*/ 1182 h 1296"/>
                <a:gd name="T24" fmla="*/ 27 w 815"/>
                <a:gd name="T25" fmla="*/ 1234 h 1296"/>
                <a:gd name="T26" fmla="*/ 145 w 815"/>
                <a:gd name="T27" fmla="*/ 1291 h 1296"/>
                <a:gd name="T28" fmla="*/ 312 w 815"/>
                <a:gd name="T29" fmla="*/ 1232 h 1296"/>
                <a:gd name="T30" fmla="*/ 447 w 815"/>
                <a:gd name="T31" fmla="*/ 1073 h 1296"/>
                <a:gd name="T32" fmla="*/ 648 w 815"/>
                <a:gd name="T33" fmla="*/ 690 h 1296"/>
                <a:gd name="T34" fmla="*/ 774 w 815"/>
                <a:gd name="T35" fmla="*/ 321 h 1296"/>
                <a:gd name="T36" fmla="*/ 805 w 815"/>
                <a:gd name="T37" fmla="*/ 163 h 1296"/>
                <a:gd name="T38" fmla="*/ 815 w 815"/>
                <a:gd name="T39" fmla="*/ 72 h 1296"/>
                <a:gd name="T40" fmla="*/ 809 w 815"/>
                <a:gd name="T41" fmla="*/ 34 h 1296"/>
                <a:gd name="T42" fmla="*/ 785 w 815"/>
                <a:gd name="T43" fmla="*/ 10 h 1296"/>
                <a:gd name="T44" fmla="*/ 729 w 815"/>
                <a:gd name="T45" fmla="*/ 2 h 1296"/>
                <a:gd name="T46" fmla="*/ 726 w 815"/>
                <a:gd name="T47" fmla="*/ 42 h 1296"/>
                <a:gd name="T48" fmla="*/ 768 w 815"/>
                <a:gd name="T49" fmla="*/ 46 h 1296"/>
                <a:gd name="T50" fmla="*/ 772 w 815"/>
                <a:gd name="T51" fmla="*/ 50 h 1296"/>
                <a:gd name="T52" fmla="*/ 775 w 815"/>
                <a:gd name="T53" fmla="*/ 72 h 1296"/>
                <a:gd name="T54" fmla="*/ 765 w 815"/>
                <a:gd name="T55" fmla="*/ 156 h 1296"/>
                <a:gd name="T56" fmla="*/ 735 w 815"/>
                <a:gd name="T57" fmla="*/ 312 h 1296"/>
                <a:gd name="T58" fmla="*/ 613 w 815"/>
                <a:gd name="T59" fmla="*/ 671 h 1296"/>
                <a:gd name="T60" fmla="*/ 413 w 815"/>
                <a:gd name="T61" fmla="*/ 1051 h 1296"/>
                <a:gd name="T62" fmla="*/ 287 w 815"/>
                <a:gd name="T63" fmla="*/ 1201 h 1296"/>
                <a:gd name="T64" fmla="*/ 147 w 815"/>
                <a:gd name="T65" fmla="*/ 1252 h 1296"/>
                <a:gd name="T66" fmla="*/ 146 w 815"/>
                <a:gd name="T67" fmla="*/ 1251 h 1296"/>
                <a:gd name="T68" fmla="*/ 146 w 815"/>
                <a:gd name="T69" fmla="*/ 1251 h 1296"/>
                <a:gd name="T70" fmla="*/ 57 w 815"/>
                <a:gd name="T71" fmla="*/ 1209 h 1296"/>
                <a:gd name="T72" fmla="*/ 42 w 815"/>
                <a:gd name="T73" fmla="*/ 1178 h 1296"/>
                <a:gd name="T74" fmla="*/ 49 w 815"/>
                <a:gd name="T75" fmla="*/ 1161 h 1296"/>
                <a:gd name="T76" fmla="*/ 48 w 815"/>
                <a:gd name="T77" fmla="*/ 1161 h 1296"/>
                <a:gd name="T78" fmla="*/ 107 w 815"/>
                <a:gd name="T79" fmla="*/ 1103 h 1296"/>
                <a:gd name="T80" fmla="*/ 204 w 815"/>
                <a:gd name="T81" fmla="*/ 990 h 1296"/>
                <a:gd name="T82" fmla="*/ 396 w 815"/>
                <a:gd name="T83" fmla="*/ 704 h 1296"/>
                <a:gd name="T84" fmla="*/ 559 w 815"/>
                <a:gd name="T85" fmla="*/ 341 h 1296"/>
                <a:gd name="T86" fmla="*/ 633 w 815"/>
                <a:gd name="T87" fmla="*/ 171 h 1296"/>
                <a:gd name="T88" fmla="*/ 670 w 815"/>
                <a:gd name="T89" fmla="*/ 81 h 1296"/>
                <a:gd name="T90" fmla="*/ 690 w 815"/>
                <a:gd name="T91" fmla="*/ 49 h 1296"/>
                <a:gd name="T92" fmla="*/ 726 w 815"/>
                <a:gd name="T93"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5" h="1296">
                  <a:moveTo>
                    <a:pt x="729" y="2"/>
                  </a:moveTo>
                  <a:cubicBezTo>
                    <a:pt x="705" y="0"/>
                    <a:pt x="684" y="5"/>
                    <a:pt x="667" y="17"/>
                  </a:cubicBezTo>
                  <a:cubicBezTo>
                    <a:pt x="650" y="29"/>
                    <a:pt x="639" y="47"/>
                    <a:pt x="632" y="69"/>
                  </a:cubicBezTo>
                  <a:cubicBezTo>
                    <a:pt x="630" y="74"/>
                    <a:pt x="616" y="109"/>
                    <a:pt x="597" y="155"/>
                  </a:cubicBezTo>
                  <a:cubicBezTo>
                    <a:pt x="577" y="201"/>
                    <a:pt x="551" y="261"/>
                    <a:pt x="523" y="325"/>
                  </a:cubicBezTo>
                  <a:cubicBezTo>
                    <a:pt x="466" y="453"/>
                    <a:pt x="401" y="599"/>
                    <a:pt x="360" y="687"/>
                  </a:cubicBezTo>
                  <a:cubicBezTo>
                    <a:pt x="320" y="772"/>
                    <a:pt x="243" y="878"/>
                    <a:pt x="173" y="965"/>
                  </a:cubicBezTo>
                  <a:cubicBezTo>
                    <a:pt x="138" y="1008"/>
                    <a:pt x="104" y="1047"/>
                    <a:pt x="77" y="1076"/>
                  </a:cubicBezTo>
                  <a:cubicBezTo>
                    <a:pt x="50" y="1105"/>
                    <a:pt x="28" y="1126"/>
                    <a:pt x="25" y="1129"/>
                  </a:cubicBezTo>
                  <a:lnTo>
                    <a:pt x="25" y="1129"/>
                  </a:lnTo>
                  <a:lnTo>
                    <a:pt x="24" y="1129"/>
                  </a:lnTo>
                  <a:cubicBezTo>
                    <a:pt x="8" y="1142"/>
                    <a:pt x="0" y="1163"/>
                    <a:pt x="2" y="1182"/>
                  </a:cubicBezTo>
                  <a:cubicBezTo>
                    <a:pt x="4" y="1201"/>
                    <a:pt x="14" y="1219"/>
                    <a:pt x="27" y="1234"/>
                  </a:cubicBezTo>
                  <a:cubicBezTo>
                    <a:pt x="53" y="1266"/>
                    <a:pt x="96" y="1290"/>
                    <a:pt x="145" y="1291"/>
                  </a:cubicBezTo>
                  <a:cubicBezTo>
                    <a:pt x="206" y="1296"/>
                    <a:pt x="263" y="1272"/>
                    <a:pt x="312" y="1232"/>
                  </a:cubicBezTo>
                  <a:cubicBezTo>
                    <a:pt x="362" y="1192"/>
                    <a:pt x="406" y="1136"/>
                    <a:pt x="447" y="1073"/>
                  </a:cubicBezTo>
                  <a:cubicBezTo>
                    <a:pt x="527" y="947"/>
                    <a:pt x="593" y="794"/>
                    <a:pt x="648" y="690"/>
                  </a:cubicBezTo>
                  <a:cubicBezTo>
                    <a:pt x="706" y="581"/>
                    <a:pt x="747" y="441"/>
                    <a:pt x="774" y="321"/>
                  </a:cubicBezTo>
                  <a:cubicBezTo>
                    <a:pt x="788" y="261"/>
                    <a:pt x="798" y="206"/>
                    <a:pt x="805" y="163"/>
                  </a:cubicBezTo>
                  <a:cubicBezTo>
                    <a:pt x="812" y="119"/>
                    <a:pt x="815" y="89"/>
                    <a:pt x="815" y="72"/>
                  </a:cubicBezTo>
                  <a:cubicBezTo>
                    <a:pt x="815" y="57"/>
                    <a:pt x="813" y="45"/>
                    <a:pt x="809" y="34"/>
                  </a:cubicBezTo>
                  <a:cubicBezTo>
                    <a:pt x="804" y="23"/>
                    <a:pt x="795" y="15"/>
                    <a:pt x="785" y="10"/>
                  </a:cubicBezTo>
                  <a:cubicBezTo>
                    <a:pt x="766" y="1"/>
                    <a:pt x="748" y="3"/>
                    <a:pt x="729" y="2"/>
                  </a:cubicBezTo>
                  <a:close/>
                  <a:moveTo>
                    <a:pt x="726" y="42"/>
                  </a:moveTo>
                  <a:cubicBezTo>
                    <a:pt x="748" y="43"/>
                    <a:pt x="764" y="44"/>
                    <a:pt x="768" y="46"/>
                  </a:cubicBezTo>
                  <a:cubicBezTo>
                    <a:pt x="771" y="47"/>
                    <a:pt x="771" y="47"/>
                    <a:pt x="772" y="50"/>
                  </a:cubicBezTo>
                  <a:cubicBezTo>
                    <a:pt x="774" y="54"/>
                    <a:pt x="775" y="60"/>
                    <a:pt x="775" y="72"/>
                  </a:cubicBezTo>
                  <a:cubicBezTo>
                    <a:pt x="775" y="82"/>
                    <a:pt x="772" y="114"/>
                    <a:pt x="765" y="156"/>
                  </a:cubicBezTo>
                  <a:cubicBezTo>
                    <a:pt x="759" y="199"/>
                    <a:pt x="749" y="253"/>
                    <a:pt x="735" y="312"/>
                  </a:cubicBezTo>
                  <a:cubicBezTo>
                    <a:pt x="708" y="430"/>
                    <a:pt x="667" y="568"/>
                    <a:pt x="613" y="671"/>
                  </a:cubicBezTo>
                  <a:cubicBezTo>
                    <a:pt x="556" y="778"/>
                    <a:pt x="491" y="930"/>
                    <a:pt x="413" y="1051"/>
                  </a:cubicBezTo>
                  <a:cubicBezTo>
                    <a:pt x="374" y="1112"/>
                    <a:pt x="332" y="1165"/>
                    <a:pt x="287" y="1201"/>
                  </a:cubicBezTo>
                  <a:cubicBezTo>
                    <a:pt x="243" y="1237"/>
                    <a:pt x="197" y="1255"/>
                    <a:pt x="147" y="1252"/>
                  </a:cubicBezTo>
                  <a:lnTo>
                    <a:pt x="146" y="1251"/>
                  </a:lnTo>
                  <a:lnTo>
                    <a:pt x="146" y="1251"/>
                  </a:lnTo>
                  <a:cubicBezTo>
                    <a:pt x="111" y="1251"/>
                    <a:pt x="76" y="1231"/>
                    <a:pt x="57" y="1209"/>
                  </a:cubicBezTo>
                  <a:cubicBezTo>
                    <a:pt x="48" y="1197"/>
                    <a:pt x="43" y="1186"/>
                    <a:pt x="42" y="1178"/>
                  </a:cubicBezTo>
                  <a:cubicBezTo>
                    <a:pt x="41" y="1170"/>
                    <a:pt x="42" y="1166"/>
                    <a:pt x="49" y="1161"/>
                  </a:cubicBezTo>
                  <a:lnTo>
                    <a:pt x="48" y="1161"/>
                  </a:lnTo>
                  <a:cubicBezTo>
                    <a:pt x="61" y="1152"/>
                    <a:pt x="79" y="1133"/>
                    <a:pt x="107" y="1103"/>
                  </a:cubicBezTo>
                  <a:cubicBezTo>
                    <a:pt x="134" y="1073"/>
                    <a:pt x="168" y="1034"/>
                    <a:pt x="204" y="990"/>
                  </a:cubicBezTo>
                  <a:cubicBezTo>
                    <a:pt x="275" y="902"/>
                    <a:pt x="353" y="795"/>
                    <a:pt x="396" y="704"/>
                  </a:cubicBezTo>
                  <a:cubicBezTo>
                    <a:pt x="437" y="615"/>
                    <a:pt x="502" y="470"/>
                    <a:pt x="559" y="341"/>
                  </a:cubicBezTo>
                  <a:cubicBezTo>
                    <a:pt x="587" y="277"/>
                    <a:pt x="614" y="217"/>
                    <a:pt x="633" y="171"/>
                  </a:cubicBezTo>
                  <a:cubicBezTo>
                    <a:pt x="653" y="125"/>
                    <a:pt x="666" y="94"/>
                    <a:pt x="670" y="81"/>
                  </a:cubicBezTo>
                  <a:cubicBezTo>
                    <a:pt x="675" y="64"/>
                    <a:pt x="682" y="55"/>
                    <a:pt x="690" y="49"/>
                  </a:cubicBezTo>
                  <a:cubicBezTo>
                    <a:pt x="698" y="44"/>
                    <a:pt x="709" y="41"/>
                    <a:pt x="726"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41"/>
            <p:cNvSpPr>
              <a:spLocks noEditPoints="1"/>
            </p:cNvSpPr>
            <p:nvPr/>
          </p:nvSpPr>
          <p:spPr bwMode="auto">
            <a:xfrm>
              <a:off x="4941888" y="4219576"/>
              <a:ext cx="431800" cy="571500"/>
            </a:xfrm>
            <a:custGeom>
              <a:avLst/>
              <a:gdLst>
                <a:gd name="T0" fmla="*/ 799 w 883"/>
                <a:gd name="T1" fmla="*/ 1 h 1172"/>
                <a:gd name="T2" fmla="*/ 745 w 883"/>
                <a:gd name="T3" fmla="*/ 21 h 1172"/>
                <a:gd name="T4" fmla="*/ 632 w 883"/>
                <a:gd name="T5" fmla="*/ 132 h 1172"/>
                <a:gd name="T6" fmla="*/ 338 w 883"/>
                <a:gd name="T7" fmla="*/ 521 h 1172"/>
                <a:gd name="T8" fmla="*/ 16 w 883"/>
                <a:gd name="T9" fmla="*/ 968 h 1172"/>
                <a:gd name="T10" fmla="*/ 1 w 883"/>
                <a:gd name="T11" fmla="*/ 1031 h 1172"/>
                <a:gd name="T12" fmla="*/ 33 w 883"/>
                <a:gd name="T13" fmla="*/ 1078 h 1172"/>
                <a:gd name="T14" fmla="*/ 199 w 883"/>
                <a:gd name="T15" fmla="*/ 1076 h 1172"/>
                <a:gd name="T16" fmla="*/ 198 w 883"/>
                <a:gd name="T17" fmla="*/ 1077 h 1172"/>
                <a:gd name="T18" fmla="*/ 250 w 883"/>
                <a:gd name="T19" fmla="*/ 1097 h 1172"/>
                <a:gd name="T20" fmla="*/ 297 w 883"/>
                <a:gd name="T21" fmla="*/ 1151 h 1172"/>
                <a:gd name="T22" fmla="*/ 331 w 883"/>
                <a:gd name="T23" fmla="*/ 1170 h 1172"/>
                <a:gd name="T24" fmla="*/ 374 w 883"/>
                <a:gd name="T25" fmla="*/ 1159 h 1172"/>
                <a:gd name="T26" fmla="*/ 463 w 883"/>
                <a:gd name="T27" fmla="*/ 1034 h 1172"/>
                <a:gd name="T28" fmla="*/ 464 w 883"/>
                <a:gd name="T29" fmla="*/ 1032 h 1172"/>
                <a:gd name="T30" fmla="*/ 464 w 883"/>
                <a:gd name="T31" fmla="*/ 1030 h 1172"/>
                <a:gd name="T32" fmla="*/ 712 w 883"/>
                <a:gd name="T33" fmla="*/ 544 h 1172"/>
                <a:gd name="T34" fmla="*/ 848 w 883"/>
                <a:gd name="T35" fmla="*/ 260 h 1172"/>
                <a:gd name="T36" fmla="*/ 880 w 883"/>
                <a:gd name="T37" fmla="*/ 122 h 1172"/>
                <a:gd name="T38" fmla="*/ 853 w 883"/>
                <a:gd name="T39" fmla="*/ 20 h 1172"/>
                <a:gd name="T40" fmla="*/ 853 w 883"/>
                <a:gd name="T41" fmla="*/ 19 h 1172"/>
                <a:gd name="T42" fmla="*/ 852 w 883"/>
                <a:gd name="T43" fmla="*/ 18 h 1172"/>
                <a:gd name="T44" fmla="*/ 799 w 883"/>
                <a:gd name="T45" fmla="*/ 1 h 1172"/>
                <a:gd name="T46" fmla="*/ 802 w 883"/>
                <a:gd name="T47" fmla="*/ 41 h 1172"/>
                <a:gd name="T48" fmla="*/ 825 w 883"/>
                <a:gd name="T49" fmla="*/ 49 h 1172"/>
                <a:gd name="T50" fmla="*/ 840 w 883"/>
                <a:gd name="T51" fmla="*/ 119 h 1172"/>
                <a:gd name="T52" fmla="*/ 810 w 883"/>
                <a:gd name="T53" fmla="*/ 247 h 1172"/>
                <a:gd name="T54" fmla="*/ 678 w 883"/>
                <a:gd name="T55" fmla="*/ 523 h 1172"/>
                <a:gd name="T56" fmla="*/ 427 w 883"/>
                <a:gd name="T57" fmla="*/ 1016 h 1172"/>
                <a:gd name="T58" fmla="*/ 352 w 883"/>
                <a:gd name="T59" fmla="*/ 1126 h 1172"/>
                <a:gd name="T60" fmla="*/ 338 w 883"/>
                <a:gd name="T61" fmla="*/ 1130 h 1172"/>
                <a:gd name="T62" fmla="*/ 325 w 883"/>
                <a:gd name="T63" fmla="*/ 1122 h 1172"/>
                <a:gd name="T64" fmla="*/ 277 w 883"/>
                <a:gd name="T65" fmla="*/ 1069 h 1172"/>
                <a:gd name="T66" fmla="*/ 192 w 883"/>
                <a:gd name="T67" fmla="*/ 1037 h 1172"/>
                <a:gd name="T68" fmla="*/ 192 w 883"/>
                <a:gd name="T69" fmla="*/ 1037 h 1172"/>
                <a:gd name="T70" fmla="*/ 191 w 883"/>
                <a:gd name="T71" fmla="*/ 1037 h 1172"/>
                <a:gd name="T72" fmla="*/ 51 w 883"/>
                <a:gd name="T73" fmla="*/ 1043 h 1172"/>
                <a:gd name="T74" fmla="*/ 41 w 883"/>
                <a:gd name="T75" fmla="*/ 1028 h 1172"/>
                <a:gd name="T76" fmla="*/ 52 w 883"/>
                <a:gd name="T77" fmla="*/ 984 h 1172"/>
                <a:gd name="T78" fmla="*/ 370 w 883"/>
                <a:gd name="T79" fmla="*/ 546 h 1172"/>
                <a:gd name="T80" fmla="*/ 370 w 883"/>
                <a:gd name="T81" fmla="*/ 546 h 1172"/>
                <a:gd name="T82" fmla="*/ 370 w 883"/>
                <a:gd name="T83" fmla="*/ 546 h 1172"/>
                <a:gd name="T84" fmla="*/ 663 w 883"/>
                <a:gd name="T85" fmla="*/ 158 h 1172"/>
                <a:gd name="T86" fmla="*/ 767 w 883"/>
                <a:gd name="T87" fmla="*/ 55 h 1172"/>
                <a:gd name="T88" fmla="*/ 802 w 883"/>
                <a:gd name="T89" fmla="*/ 41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3" h="1172">
                  <a:moveTo>
                    <a:pt x="799" y="1"/>
                  </a:moveTo>
                  <a:cubicBezTo>
                    <a:pt x="781" y="3"/>
                    <a:pt x="763" y="10"/>
                    <a:pt x="745" y="21"/>
                  </a:cubicBezTo>
                  <a:cubicBezTo>
                    <a:pt x="710" y="44"/>
                    <a:pt x="673" y="82"/>
                    <a:pt x="632" y="132"/>
                  </a:cubicBezTo>
                  <a:cubicBezTo>
                    <a:pt x="550" y="231"/>
                    <a:pt x="452" y="375"/>
                    <a:pt x="338" y="521"/>
                  </a:cubicBezTo>
                  <a:cubicBezTo>
                    <a:pt x="174" y="730"/>
                    <a:pt x="56" y="875"/>
                    <a:pt x="16" y="968"/>
                  </a:cubicBezTo>
                  <a:cubicBezTo>
                    <a:pt x="6" y="991"/>
                    <a:pt x="0" y="1011"/>
                    <a:pt x="1" y="1031"/>
                  </a:cubicBezTo>
                  <a:cubicBezTo>
                    <a:pt x="3" y="1051"/>
                    <a:pt x="15" y="1069"/>
                    <a:pt x="33" y="1078"/>
                  </a:cubicBezTo>
                  <a:cubicBezTo>
                    <a:pt x="68" y="1097"/>
                    <a:pt x="120" y="1093"/>
                    <a:pt x="199" y="1076"/>
                  </a:cubicBezTo>
                  <a:lnTo>
                    <a:pt x="198" y="1077"/>
                  </a:lnTo>
                  <a:cubicBezTo>
                    <a:pt x="220" y="1073"/>
                    <a:pt x="234" y="1082"/>
                    <a:pt x="250" y="1097"/>
                  </a:cubicBezTo>
                  <a:cubicBezTo>
                    <a:pt x="265" y="1113"/>
                    <a:pt x="279" y="1134"/>
                    <a:pt x="297" y="1151"/>
                  </a:cubicBezTo>
                  <a:cubicBezTo>
                    <a:pt x="306" y="1159"/>
                    <a:pt x="317" y="1167"/>
                    <a:pt x="331" y="1170"/>
                  </a:cubicBezTo>
                  <a:cubicBezTo>
                    <a:pt x="345" y="1172"/>
                    <a:pt x="361" y="1168"/>
                    <a:pt x="374" y="1159"/>
                  </a:cubicBezTo>
                  <a:cubicBezTo>
                    <a:pt x="401" y="1140"/>
                    <a:pt x="427" y="1103"/>
                    <a:pt x="463" y="1034"/>
                  </a:cubicBezTo>
                  <a:lnTo>
                    <a:pt x="464" y="1032"/>
                  </a:lnTo>
                  <a:lnTo>
                    <a:pt x="464" y="1030"/>
                  </a:lnTo>
                  <a:cubicBezTo>
                    <a:pt x="498" y="921"/>
                    <a:pt x="619" y="693"/>
                    <a:pt x="712" y="544"/>
                  </a:cubicBezTo>
                  <a:cubicBezTo>
                    <a:pt x="760" y="468"/>
                    <a:pt x="814" y="360"/>
                    <a:pt x="848" y="260"/>
                  </a:cubicBezTo>
                  <a:cubicBezTo>
                    <a:pt x="865" y="211"/>
                    <a:pt x="876" y="163"/>
                    <a:pt x="880" y="122"/>
                  </a:cubicBezTo>
                  <a:cubicBezTo>
                    <a:pt x="883" y="81"/>
                    <a:pt x="878" y="44"/>
                    <a:pt x="853" y="20"/>
                  </a:cubicBezTo>
                  <a:lnTo>
                    <a:pt x="853" y="19"/>
                  </a:lnTo>
                  <a:lnTo>
                    <a:pt x="852" y="18"/>
                  </a:lnTo>
                  <a:cubicBezTo>
                    <a:pt x="837" y="6"/>
                    <a:pt x="818" y="0"/>
                    <a:pt x="799" y="1"/>
                  </a:cubicBezTo>
                  <a:close/>
                  <a:moveTo>
                    <a:pt x="802" y="41"/>
                  </a:moveTo>
                  <a:cubicBezTo>
                    <a:pt x="811" y="41"/>
                    <a:pt x="818" y="43"/>
                    <a:pt x="825" y="49"/>
                  </a:cubicBezTo>
                  <a:cubicBezTo>
                    <a:pt x="836" y="60"/>
                    <a:pt x="842" y="84"/>
                    <a:pt x="840" y="119"/>
                  </a:cubicBezTo>
                  <a:cubicBezTo>
                    <a:pt x="837" y="155"/>
                    <a:pt x="826" y="200"/>
                    <a:pt x="810" y="247"/>
                  </a:cubicBezTo>
                  <a:cubicBezTo>
                    <a:pt x="777" y="343"/>
                    <a:pt x="724" y="449"/>
                    <a:pt x="678" y="523"/>
                  </a:cubicBezTo>
                  <a:cubicBezTo>
                    <a:pt x="584" y="673"/>
                    <a:pt x="465" y="895"/>
                    <a:pt x="427" y="1016"/>
                  </a:cubicBezTo>
                  <a:cubicBezTo>
                    <a:pt x="393" y="1082"/>
                    <a:pt x="366" y="1115"/>
                    <a:pt x="352" y="1126"/>
                  </a:cubicBezTo>
                  <a:cubicBezTo>
                    <a:pt x="344" y="1131"/>
                    <a:pt x="341" y="1131"/>
                    <a:pt x="338" y="1130"/>
                  </a:cubicBezTo>
                  <a:cubicBezTo>
                    <a:pt x="335" y="1130"/>
                    <a:pt x="331" y="1127"/>
                    <a:pt x="325" y="1122"/>
                  </a:cubicBezTo>
                  <a:cubicBezTo>
                    <a:pt x="312" y="1111"/>
                    <a:pt x="298" y="1088"/>
                    <a:pt x="277" y="1069"/>
                  </a:cubicBezTo>
                  <a:cubicBezTo>
                    <a:pt x="257" y="1049"/>
                    <a:pt x="228" y="1032"/>
                    <a:pt x="192" y="1037"/>
                  </a:cubicBezTo>
                  <a:lnTo>
                    <a:pt x="192" y="1037"/>
                  </a:lnTo>
                  <a:lnTo>
                    <a:pt x="191" y="1037"/>
                  </a:lnTo>
                  <a:cubicBezTo>
                    <a:pt x="115" y="1053"/>
                    <a:pt x="67" y="1051"/>
                    <a:pt x="51" y="1043"/>
                  </a:cubicBezTo>
                  <a:cubicBezTo>
                    <a:pt x="44" y="1039"/>
                    <a:pt x="42" y="1036"/>
                    <a:pt x="41" y="1028"/>
                  </a:cubicBezTo>
                  <a:cubicBezTo>
                    <a:pt x="41" y="1019"/>
                    <a:pt x="44" y="1004"/>
                    <a:pt x="52" y="984"/>
                  </a:cubicBezTo>
                  <a:cubicBezTo>
                    <a:pt x="87" y="904"/>
                    <a:pt x="205" y="755"/>
                    <a:pt x="370" y="546"/>
                  </a:cubicBezTo>
                  <a:lnTo>
                    <a:pt x="370" y="546"/>
                  </a:lnTo>
                  <a:lnTo>
                    <a:pt x="370" y="546"/>
                  </a:lnTo>
                  <a:cubicBezTo>
                    <a:pt x="485" y="398"/>
                    <a:pt x="583" y="254"/>
                    <a:pt x="663" y="158"/>
                  </a:cubicBezTo>
                  <a:cubicBezTo>
                    <a:pt x="703" y="109"/>
                    <a:pt x="738" y="73"/>
                    <a:pt x="767" y="55"/>
                  </a:cubicBezTo>
                  <a:cubicBezTo>
                    <a:pt x="781" y="46"/>
                    <a:pt x="793" y="42"/>
                    <a:pt x="80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42"/>
            <p:cNvSpPr>
              <a:spLocks noEditPoints="1"/>
            </p:cNvSpPr>
            <p:nvPr/>
          </p:nvSpPr>
          <p:spPr bwMode="auto">
            <a:xfrm>
              <a:off x="5240338" y="4146551"/>
              <a:ext cx="292100" cy="258763"/>
            </a:xfrm>
            <a:custGeom>
              <a:avLst/>
              <a:gdLst>
                <a:gd name="T0" fmla="*/ 186 w 599"/>
                <a:gd name="T1" fmla="*/ 0 h 531"/>
                <a:gd name="T2" fmla="*/ 118 w 599"/>
                <a:gd name="T3" fmla="*/ 24 h 531"/>
                <a:gd name="T4" fmla="*/ 56 w 599"/>
                <a:gd name="T5" fmla="*/ 76 h 531"/>
                <a:gd name="T6" fmla="*/ 11 w 599"/>
                <a:gd name="T7" fmla="*/ 136 h 531"/>
                <a:gd name="T8" fmla="*/ 1 w 599"/>
                <a:gd name="T9" fmla="*/ 166 h 531"/>
                <a:gd name="T10" fmla="*/ 9 w 599"/>
                <a:gd name="T11" fmla="*/ 197 h 531"/>
                <a:gd name="T12" fmla="*/ 71 w 599"/>
                <a:gd name="T13" fmla="*/ 225 h 531"/>
                <a:gd name="T14" fmla="*/ 126 w 599"/>
                <a:gd name="T15" fmla="*/ 203 h 531"/>
                <a:gd name="T16" fmla="*/ 171 w 599"/>
                <a:gd name="T17" fmla="*/ 182 h 531"/>
                <a:gd name="T18" fmla="*/ 205 w 599"/>
                <a:gd name="T19" fmla="*/ 188 h 531"/>
                <a:gd name="T20" fmla="*/ 238 w 599"/>
                <a:gd name="T21" fmla="*/ 262 h 531"/>
                <a:gd name="T22" fmla="*/ 194 w 599"/>
                <a:gd name="T23" fmla="*/ 430 h 531"/>
                <a:gd name="T24" fmla="*/ 187 w 599"/>
                <a:gd name="T25" fmla="*/ 492 h 531"/>
                <a:gd name="T26" fmla="*/ 229 w 599"/>
                <a:gd name="T27" fmla="*/ 524 h 531"/>
                <a:gd name="T28" fmla="*/ 351 w 599"/>
                <a:gd name="T29" fmla="*/ 503 h 531"/>
                <a:gd name="T30" fmla="*/ 485 w 599"/>
                <a:gd name="T31" fmla="*/ 445 h 531"/>
                <a:gd name="T32" fmla="*/ 565 w 599"/>
                <a:gd name="T33" fmla="*/ 401 h 531"/>
                <a:gd name="T34" fmla="*/ 584 w 599"/>
                <a:gd name="T35" fmla="*/ 368 h 531"/>
                <a:gd name="T36" fmla="*/ 593 w 599"/>
                <a:gd name="T37" fmla="*/ 321 h 531"/>
                <a:gd name="T38" fmla="*/ 597 w 599"/>
                <a:gd name="T39" fmla="*/ 197 h 531"/>
                <a:gd name="T40" fmla="*/ 584 w 599"/>
                <a:gd name="T41" fmla="*/ 77 h 531"/>
                <a:gd name="T42" fmla="*/ 569 w 599"/>
                <a:gd name="T43" fmla="*/ 33 h 531"/>
                <a:gd name="T44" fmla="*/ 533 w 599"/>
                <a:gd name="T45" fmla="*/ 9 h 531"/>
                <a:gd name="T46" fmla="*/ 186 w 599"/>
                <a:gd name="T47" fmla="*/ 0 h 531"/>
                <a:gd name="T48" fmla="*/ 186 w 599"/>
                <a:gd name="T49" fmla="*/ 40 h 531"/>
                <a:gd name="T50" fmla="*/ 533 w 599"/>
                <a:gd name="T51" fmla="*/ 49 h 531"/>
                <a:gd name="T52" fmla="*/ 534 w 599"/>
                <a:gd name="T53" fmla="*/ 53 h 531"/>
                <a:gd name="T54" fmla="*/ 545 w 599"/>
                <a:gd name="T55" fmla="*/ 86 h 531"/>
                <a:gd name="T56" fmla="*/ 557 w 599"/>
                <a:gd name="T57" fmla="*/ 199 h 531"/>
                <a:gd name="T58" fmla="*/ 553 w 599"/>
                <a:gd name="T59" fmla="*/ 317 h 531"/>
                <a:gd name="T60" fmla="*/ 546 w 599"/>
                <a:gd name="T61" fmla="*/ 357 h 531"/>
                <a:gd name="T62" fmla="*/ 542 w 599"/>
                <a:gd name="T63" fmla="*/ 368 h 531"/>
                <a:gd name="T64" fmla="*/ 467 w 599"/>
                <a:gd name="T65" fmla="*/ 409 h 531"/>
                <a:gd name="T66" fmla="*/ 338 w 599"/>
                <a:gd name="T67" fmla="*/ 465 h 531"/>
                <a:gd name="T68" fmla="*/ 236 w 599"/>
                <a:gd name="T69" fmla="*/ 485 h 531"/>
                <a:gd name="T70" fmla="*/ 225 w 599"/>
                <a:gd name="T71" fmla="*/ 479 h 531"/>
                <a:gd name="T72" fmla="*/ 231 w 599"/>
                <a:gd name="T73" fmla="*/ 445 h 531"/>
                <a:gd name="T74" fmla="*/ 278 w 599"/>
                <a:gd name="T75" fmla="*/ 261 h 531"/>
                <a:gd name="T76" fmla="*/ 233 w 599"/>
                <a:gd name="T77" fmla="*/ 160 h 531"/>
                <a:gd name="T78" fmla="*/ 232 w 599"/>
                <a:gd name="T79" fmla="*/ 158 h 531"/>
                <a:gd name="T80" fmla="*/ 230 w 599"/>
                <a:gd name="T81" fmla="*/ 157 h 531"/>
                <a:gd name="T82" fmla="*/ 161 w 599"/>
                <a:gd name="T83" fmla="*/ 143 h 531"/>
                <a:gd name="T84" fmla="*/ 106 w 599"/>
                <a:gd name="T85" fmla="*/ 168 h 531"/>
                <a:gd name="T86" fmla="*/ 66 w 599"/>
                <a:gd name="T87" fmla="*/ 185 h 531"/>
                <a:gd name="T88" fmla="*/ 40 w 599"/>
                <a:gd name="T89" fmla="*/ 172 h 531"/>
                <a:gd name="T90" fmla="*/ 41 w 599"/>
                <a:gd name="T91" fmla="*/ 171 h 531"/>
                <a:gd name="T92" fmla="*/ 47 w 599"/>
                <a:gd name="T93" fmla="*/ 154 h 531"/>
                <a:gd name="T94" fmla="*/ 85 w 599"/>
                <a:gd name="T95" fmla="*/ 104 h 531"/>
                <a:gd name="T96" fmla="*/ 139 w 599"/>
                <a:gd name="T97" fmla="*/ 58 h 531"/>
                <a:gd name="T98" fmla="*/ 186 w 599"/>
                <a:gd name="T99" fmla="*/ 4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31">
                  <a:moveTo>
                    <a:pt x="186" y="0"/>
                  </a:moveTo>
                  <a:cubicBezTo>
                    <a:pt x="163" y="0"/>
                    <a:pt x="140" y="10"/>
                    <a:pt x="118" y="24"/>
                  </a:cubicBezTo>
                  <a:cubicBezTo>
                    <a:pt x="96" y="38"/>
                    <a:pt x="74" y="57"/>
                    <a:pt x="56" y="76"/>
                  </a:cubicBezTo>
                  <a:cubicBezTo>
                    <a:pt x="37" y="96"/>
                    <a:pt x="21" y="117"/>
                    <a:pt x="11" y="136"/>
                  </a:cubicBezTo>
                  <a:cubicBezTo>
                    <a:pt x="6" y="146"/>
                    <a:pt x="3" y="155"/>
                    <a:pt x="1" y="166"/>
                  </a:cubicBezTo>
                  <a:cubicBezTo>
                    <a:pt x="0" y="176"/>
                    <a:pt x="1" y="188"/>
                    <a:pt x="9" y="197"/>
                  </a:cubicBezTo>
                  <a:cubicBezTo>
                    <a:pt x="26" y="219"/>
                    <a:pt x="50" y="228"/>
                    <a:pt x="71" y="225"/>
                  </a:cubicBezTo>
                  <a:cubicBezTo>
                    <a:pt x="92" y="222"/>
                    <a:pt x="109" y="212"/>
                    <a:pt x="126" y="203"/>
                  </a:cubicBezTo>
                  <a:cubicBezTo>
                    <a:pt x="142" y="194"/>
                    <a:pt x="158" y="185"/>
                    <a:pt x="171" y="182"/>
                  </a:cubicBezTo>
                  <a:cubicBezTo>
                    <a:pt x="183" y="179"/>
                    <a:pt x="193" y="180"/>
                    <a:pt x="205" y="188"/>
                  </a:cubicBezTo>
                  <a:cubicBezTo>
                    <a:pt x="226" y="212"/>
                    <a:pt x="237" y="230"/>
                    <a:pt x="238" y="262"/>
                  </a:cubicBezTo>
                  <a:cubicBezTo>
                    <a:pt x="239" y="295"/>
                    <a:pt x="227" y="346"/>
                    <a:pt x="194" y="430"/>
                  </a:cubicBezTo>
                  <a:cubicBezTo>
                    <a:pt x="184" y="454"/>
                    <a:pt x="181" y="474"/>
                    <a:pt x="187" y="492"/>
                  </a:cubicBezTo>
                  <a:cubicBezTo>
                    <a:pt x="194" y="510"/>
                    <a:pt x="211" y="521"/>
                    <a:pt x="229" y="524"/>
                  </a:cubicBezTo>
                  <a:cubicBezTo>
                    <a:pt x="263" y="531"/>
                    <a:pt x="305" y="519"/>
                    <a:pt x="351" y="503"/>
                  </a:cubicBezTo>
                  <a:cubicBezTo>
                    <a:pt x="397" y="486"/>
                    <a:pt x="445" y="464"/>
                    <a:pt x="485" y="445"/>
                  </a:cubicBezTo>
                  <a:cubicBezTo>
                    <a:pt x="524" y="425"/>
                    <a:pt x="553" y="409"/>
                    <a:pt x="565" y="401"/>
                  </a:cubicBezTo>
                  <a:cubicBezTo>
                    <a:pt x="578" y="392"/>
                    <a:pt x="580" y="381"/>
                    <a:pt x="584" y="368"/>
                  </a:cubicBezTo>
                  <a:cubicBezTo>
                    <a:pt x="588" y="355"/>
                    <a:pt x="591" y="339"/>
                    <a:pt x="593" y="321"/>
                  </a:cubicBezTo>
                  <a:cubicBezTo>
                    <a:pt x="597" y="286"/>
                    <a:pt x="599" y="241"/>
                    <a:pt x="597" y="197"/>
                  </a:cubicBezTo>
                  <a:cubicBezTo>
                    <a:pt x="596" y="153"/>
                    <a:pt x="592" y="110"/>
                    <a:pt x="584" y="77"/>
                  </a:cubicBezTo>
                  <a:cubicBezTo>
                    <a:pt x="580" y="60"/>
                    <a:pt x="576" y="45"/>
                    <a:pt x="569" y="33"/>
                  </a:cubicBezTo>
                  <a:cubicBezTo>
                    <a:pt x="562" y="21"/>
                    <a:pt x="550" y="9"/>
                    <a:pt x="533" y="9"/>
                  </a:cubicBezTo>
                  <a:cubicBezTo>
                    <a:pt x="479" y="9"/>
                    <a:pt x="256" y="0"/>
                    <a:pt x="186" y="0"/>
                  </a:cubicBezTo>
                  <a:close/>
                  <a:moveTo>
                    <a:pt x="186" y="40"/>
                  </a:moveTo>
                  <a:cubicBezTo>
                    <a:pt x="252" y="40"/>
                    <a:pt x="475" y="49"/>
                    <a:pt x="533" y="49"/>
                  </a:cubicBezTo>
                  <a:cubicBezTo>
                    <a:pt x="530" y="49"/>
                    <a:pt x="530" y="47"/>
                    <a:pt x="534" y="53"/>
                  </a:cubicBezTo>
                  <a:cubicBezTo>
                    <a:pt x="538" y="59"/>
                    <a:pt x="542" y="71"/>
                    <a:pt x="545" y="86"/>
                  </a:cubicBezTo>
                  <a:cubicBezTo>
                    <a:pt x="552" y="115"/>
                    <a:pt x="556" y="156"/>
                    <a:pt x="557" y="199"/>
                  </a:cubicBezTo>
                  <a:cubicBezTo>
                    <a:pt x="559" y="241"/>
                    <a:pt x="557" y="284"/>
                    <a:pt x="553" y="317"/>
                  </a:cubicBezTo>
                  <a:cubicBezTo>
                    <a:pt x="551" y="333"/>
                    <a:pt x="549" y="347"/>
                    <a:pt x="546" y="357"/>
                  </a:cubicBezTo>
                  <a:cubicBezTo>
                    <a:pt x="543" y="367"/>
                    <a:pt x="538" y="371"/>
                    <a:pt x="542" y="368"/>
                  </a:cubicBezTo>
                  <a:cubicBezTo>
                    <a:pt x="536" y="372"/>
                    <a:pt x="505" y="390"/>
                    <a:pt x="467" y="409"/>
                  </a:cubicBezTo>
                  <a:cubicBezTo>
                    <a:pt x="428" y="428"/>
                    <a:pt x="381" y="450"/>
                    <a:pt x="338" y="465"/>
                  </a:cubicBezTo>
                  <a:cubicBezTo>
                    <a:pt x="294" y="480"/>
                    <a:pt x="253" y="488"/>
                    <a:pt x="236" y="485"/>
                  </a:cubicBezTo>
                  <a:cubicBezTo>
                    <a:pt x="227" y="483"/>
                    <a:pt x="226" y="482"/>
                    <a:pt x="225" y="479"/>
                  </a:cubicBezTo>
                  <a:cubicBezTo>
                    <a:pt x="224" y="475"/>
                    <a:pt x="223" y="464"/>
                    <a:pt x="231" y="445"/>
                  </a:cubicBezTo>
                  <a:cubicBezTo>
                    <a:pt x="265" y="359"/>
                    <a:pt x="280" y="304"/>
                    <a:pt x="278" y="261"/>
                  </a:cubicBezTo>
                  <a:cubicBezTo>
                    <a:pt x="277" y="217"/>
                    <a:pt x="258" y="187"/>
                    <a:pt x="233" y="160"/>
                  </a:cubicBezTo>
                  <a:lnTo>
                    <a:pt x="232" y="158"/>
                  </a:lnTo>
                  <a:lnTo>
                    <a:pt x="230" y="157"/>
                  </a:lnTo>
                  <a:cubicBezTo>
                    <a:pt x="208" y="140"/>
                    <a:pt x="183" y="138"/>
                    <a:pt x="161" y="143"/>
                  </a:cubicBezTo>
                  <a:cubicBezTo>
                    <a:pt x="140" y="148"/>
                    <a:pt x="122" y="159"/>
                    <a:pt x="106" y="168"/>
                  </a:cubicBezTo>
                  <a:cubicBezTo>
                    <a:pt x="90" y="177"/>
                    <a:pt x="75" y="184"/>
                    <a:pt x="66" y="185"/>
                  </a:cubicBezTo>
                  <a:cubicBezTo>
                    <a:pt x="56" y="187"/>
                    <a:pt x="51" y="186"/>
                    <a:pt x="40" y="172"/>
                  </a:cubicBezTo>
                  <a:cubicBezTo>
                    <a:pt x="41" y="174"/>
                    <a:pt x="40" y="174"/>
                    <a:pt x="41" y="171"/>
                  </a:cubicBezTo>
                  <a:cubicBezTo>
                    <a:pt x="41" y="168"/>
                    <a:pt x="43" y="162"/>
                    <a:pt x="47" y="154"/>
                  </a:cubicBezTo>
                  <a:cubicBezTo>
                    <a:pt x="54" y="140"/>
                    <a:pt x="68" y="121"/>
                    <a:pt x="85" y="104"/>
                  </a:cubicBezTo>
                  <a:cubicBezTo>
                    <a:pt x="101" y="86"/>
                    <a:pt x="121" y="70"/>
                    <a:pt x="139" y="58"/>
                  </a:cubicBezTo>
                  <a:cubicBezTo>
                    <a:pt x="158" y="46"/>
                    <a:pt x="176" y="40"/>
                    <a:pt x="186"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43"/>
            <p:cNvSpPr>
              <a:spLocks noEditPoints="1"/>
            </p:cNvSpPr>
            <p:nvPr/>
          </p:nvSpPr>
          <p:spPr bwMode="auto">
            <a:xfrm>
              <a:off x="5613400" y="3836988"/>
              <a:ext cx="112712" cy="155575"/>
            </a:xfrm>
            <a:custGeom>
              <a:avLst/>
              <a:gdLst>
                <a:gd name="T0" fmla="*/ 72 w 230"/>
                <a:gd name="T1" fmla="*/ 1 h 317"/>
                <a:gd name="T2" fmla="*/ 53 w 230"/>
                <a:gd name="T3" fmla="*/ 2 h 317"/>
                <a:gd name="T4" fmla="*/ 32 w 230"/>
                <a:gd name="T5" fmla="*/ 12 h 317"/>
                <a:gd name="T6" fmla="*/ 21 w 230"/>
                <a:gd name="T7" fmla="*/ 54 h 317"/>
                <a:gd name="T8" fmla="*/ 22 w 230"/>
                <a:gd name="T9" fmla="*/ 99 h 317"/>
                <a:gd name="T10" fmla="*/ 14 w 230"/>
                <a:gd name="T11" fmla="*/ 147 h 317"/>
                <a:gd name="T12" fmla="*/ 2 w 230"/>
                <a:gd name="T13" fmla="*/ 203 h 317"/>
                <a:gd name="T14" fmla="*/ 8 w 230"/>
                <a:gd name="T15" fmla="*/ 261 h 317"/>
                <a:gd name="T16" fmla="*/ 18 w 230"/>
                <a:gd name="T17" fmla="*/ 288 h 317"/>
                <a:gd name="T18" fmla="*/ 38 w 230"/>
                <a:gd name="T19" fmla="*/ 311 h 317"/>
                <a:gd name="T20" fmla="*/ 79 w 230"/>
                <a:gd name="T21" fmla="*/ 310 h 317"/>
                <a:gd name="T22" fmla="*/ 108 w 230"/>
                <a:gd name="T23" fmla="*/ 289 h 317"/>
                <a:gd name="T24" fmla="*/ 129 w 230"/>
                <a:gd name="T25" fmla="*/ 267 h 317"/>
                <a:gd name="T26" fmla="*/ 140 w 230"/>
                <a:gd name="T27" fmla="*/ 256 h 317"/>
                <a:gd name="T28" fmla="*/ 139 w 230"/>
                <a:gd name="T29" fmla="*/ 257 h 317"/>
                <a:gd name="T30" fmla="*/ 224 w 230"/>
                <a:gd name="T31" fmla="*/ 141 h 317"/>
                <a:gd name="T32" fmla="*/ 227 w 230"/>
                <a:gd name="T33" fmla="*/ 84 h 317"/>
                <a:gd name="T34" fmla="*/ 203 w 230"/>
                <a:gd name="T35" fmla="*/ 34 h 317"/>
                <a:gd name="T36" fmla="*/ 167 w 230"/>
                <a:gd name="T37" fmla="*/ 16 h 317"/>
                <a:gd name="T38" fmla="*/ 119 w 230"/>
                <a:gd name="T39" fmla="*/ 5 h 317"/>
                <a:gd name="T40" fmla="*/ 72 w 230"/>
                <a:gd name="T41" fmla="*/ 1 h 317"/>
                <a:gd name="T42" fmla="*/ 71 w 230"/>
                <a:gd name="T43" fmla="*/ 41 h 317"/>
                <a:gd name="T44" fmla="*/ 112 w 230"/>
                <a:gd name="T45" fmla="*/ 45 h 317"/>
                <a:gd name="T46" fmla="*/ 155 w 230"/>
                <a:gd name="T47" fmla="*/ 54 h 317"/>
                <a:gd name="T48" fmla="*/ 175 w 230"/>
                <a:gd name="T49" fmla="*/ 62 h 317"/>
                <a:gd name="T50" fmla="*/ 188 w 230"/>
                <a:gd name="T51" fmla="*/ 92 h 317"/>
                <a:gd name="T52" fmla="*/ 187 w 230"/>
                <a:gd name="T53" fmla="*/ 128 h 317"/>
                <a:gd name="T54" fmla="*/ 124 w 230"/>
                <a:gd name="T55" fmla="*/ 220 h 317"/>
                <a:gd name="T56" fmla="*/ 123 w 230"/>
                <a:gd name="T57" fmla="*/ 220 h 317"/>
                <a:gd name="T58" fmla="*/ 123 w 230"/>
                <a:gd name="T59" fmla="*/ 220 h 317"/>
                <a:gd name="T60" fmla="*/ 100 w 230"/>
                <a:gd name="T61" fmla="*/ 239 h 317"/>
                <a:gd name="T62" fmla="*/ 80 w 230"/>
                <a:gd name="T63" fmla="*/ 260 h 317"/>
                <a:gd name="T64" fmla="*/ 62 w 230"/>
                <a:gd name="T65" fmla="*/ 273 h 317"/>
                <a:gd name="T66" fmla="*/ 56 w 230"/>
                <a:gd name="T67" fmla="*/ 274 h 317"/>
                <a:gd name="T68" fmla="*/ 54 w 230"/>
                <a:gd name="T69" fmla="*/ 272 h 317"/>
                <a:gd name="T70" fmla="*/ 47 w 230"/>
                <a:gd name="T71" fmla="*/ 251 h 317"/>
                <a:gd name="T72" fmla="*/ 42 w 230"/>
                <a:gd name="T73" fmla="*/ 208 h 317"/>
                <a:gd name="T74" fmla="*/ 53 w 230"/>
                <a:gd name="T75" fmla="*/ 157 h 317"/>
                <a:gd name="T76" fmla="*/ 61 w 230"/>
                <a:gd name="T77" fmla="*/ 94 h 317"/>
                <a:gd name="T78" fmla="*/ 60 w 230"/>
                <a:gd name="T79" fmla="*/ 56 h 317"/>
                <a:gd name="T80" fmla="*/ 63 w 230"/>
                <a:gd name="T81" fmla="*/ 41 h 317"/>
                <a:gd name="T82" fmla="*/ 71 w 230"/>
                <a:gd name="T83" fmla="*/ 4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317">
                  <a:moveTo>
                    <a:pt x="72" y="1"/>
                  </a:moveTo>
                  <a:cubicBezTo>
                    <a:pt x="65" y="0"/>
                    <a:pt x="59" y="1"/>
                    <a:pt x="53" y="2"/>
                  </a:cubicBezTo>
                  <a:cubicBezTo>
                    <a:pt x="47" y="2"/>
                    <a:pt x="40" y="2"/>
                    <a:pt x="32" y="12"/>
                  </a:cubicBezTo>
                  <a:cubicBezTo>
                    <a:pt x="22" y="25"/>
                    <a:pt x="22" y="39"/>
                    <a:pt x="21" y="54"/>
                  </a:cubicBezTo>
                  <a:cubicBezTo>
                    <a:pt x="19" y="68"/>
                    <a:pt x="20" y="84"/>
                    <a:pt x="22" y="99"/>
                  </a:cubicBezTo>
                  <a:cubicBezTo>
                    <a:pt x="22" y="105"/>
                    <a:pt x="19" y="127"/>
                    <a:pt x="14" y="147"/>
                  </a:cubicBezTo>
                  <a:cubicBezTo>
                    <a:pt x="10" y="168"/>
                    <a:pt x="4" y="187"/>
                    <a:pt x="2" y="203"/>
                  </a:cubicBezTo>
                  <a:cubicBezTo>
                    <a:pt x="0" y="220"/>
                    <a:pt x="3" y="241"/>
                    <a:pt x="8" y="261"/>
                  </a:cubicBezTo>
                  <a:cubicBezTo>
                    <a:pt x="11" y="271"/>
                    <a:pt x="14" y="280"/>
                    <a:pt x="18" y="288"/>
                  </a:cubicBezTo>
                  <a:cubicBezTo>
                    <a:pt x="22" y="297"/>
                    <a:pt x="23" y="305"/>
                    <a:pt x="38" y="311"/>
                  </a:cubicBezTo>
                  <a:cubicBezTo>
                    <a:pt x="52" y="317"/>
                    <a:pt x="67" y="315"/>
                    <a:pt x="79" y="310"/>
                  </a:cubicBezTo>
                  <a:cubicBezTo>
                    <a:pt x="91" y="305"/>
                    <a:pt x="100" y="297"/>
                    <a:pt x="108" y="289"/>
                  </a:cubicBezTo>
                  <a:cubicBezTo>
                    <a:pt x="116" y="281"/>
                    <a:pt x="123" y="273"/>
                    <a:pt x="129" y="267"/>
                  </a:cubicBezTo>
                  <a:cubicBezTo>
                    <a:pt x="135" y="260"/>
                    <a:pt x="140" y="256"/>
                    <a:pt x="140" y="256"/>
                  </a:cubicBezTo>
                  <a:lnTo>
                    <a:pt x="139" y="257"/>
                  </a:lnTo>
                  <a:cubicBezTo>
                    <a:pt x="198" y="232"/>
                    <a:pt x="216" y="166"/>
                    <a:pt x="224" y="141"/>
                  </a:cubicBezTo>
                  <a:cubicBezTo>
                    <a:pt x="230" y="123"/>
                    <a:pt x="230" y="103"/>
                    <a:pt x="227" y="84"/>
                  </a:cubicBezTo>
                  <a:cubicBezTo>
                    <a:pt x="224" y="65"/>
                    <a:pt x="217" y="47"/>
                    <a:pt x="203" y="34"/>
                  </a:cubicBezTo>
                  <a:cubicBezTo>
                    <a:pt x="193" y="23"/>
                    <a:pt x="181" y="20"/>
                    <a:pt x="167" y="16"/>
                  </a:cubicBezTo>
                  <a:cubicBezTo>
                    <a:pt x="152" y="12"/>
                    <a:pt x="135" y="8"/>
                    <a:pt x="119" y="5"/>
                  </a:cubicBezTo>
                  <a:cubicBezTo>
                    <a:pt x="102" y="3"/>
                    <a:pt x="86" y="1"/>
                    <a:pt x="72" y="1"/>
                  </a:cubicBezTo>
                  <a:close/>
                  <a:moveTo>
                    <a:pt x="71" y="41"/>
                  </a:moveTo>
                  <a:cubicBezTo>
                    <a:pt x="82" y="41"/>
                    <a:pt x="97" y="42"/>
                    <a:pt x="112" y="45"/>
                  </a:cubicBezTo>
                  <a:cubicBezTo>
                    <a:pt x="128" y="47"/>
                    <a:pt x="143" y="51"/>
                    <a:pt x="155" y="54"/>
                  </a:cubicBezTo>
                  <a:cubicBezTo>
                    <a:pt x="168" y="58"/>
                    <a:pt x="177" y="64"/>
                    <a:pt x="175" y="62"/>
                  </a:cubicBezTo>
                  <a:cubicBezTo>
                    <a:pt x="179" y="66"/>
                    <a:pt x="185" y="78"/>
                    <a:pt x="188" y="92"/>
                  </a:cubicBezTo>
                  <a:cubicBezTo>
                    <a:pt x="190" y="105"/>
                    <a:pt x="189" y="120"/>
                    <a:pt x="187" y="128"/>
                  </a:cubicBezTo>
                  <a:cubicBezTo>
                    <a:pt x="177" y="156"/>
                    <a:pt x="161" y="204"/>
                    <a:pt x="124" y="220"/>
                  </a:cubicBezTo>
                  <a:lnTo>
                    <a:pt x="123" y="220"/>
                  </a:lnTo>
                  <a:lnTo>
                    <a:pt x="123" y="220"/>
                  </a:lnTo>
                  <a:cubicBezTo>
                    <a:pt x="112" y="225"/>
                    <a:pt x="106" y="232"/>
                    <a:pt x="100" y="239"/>
                  </a:cubicBezTo>
                  <a:cubicBezTo>
                    <a:pt x="93" y="246"/>
                    <a:pt x="86" y="254"/>
                    <a:pt x="80" y="260"/>
                  </a:cubicBezTo>
                  <a:cubicBezTo>
                    <a:pt x="73" y="267"/>
                    <a:pt x="67" y="271"/>
                    <a:pt x="62" y="273"/>
                  </a:cubicBezTo>
                  <a:cubicBezTo>
                    <a:pt x="59" y="275"/>
                    <a:pt x="58" y="274"/>
                    <a:pt x="56" y="274"/>
                  </a:cubicBezTo>
                  <a:cubicBezTo>
                    <a:pt x="55" y="273"/>
                    <a:pt x="55" y="273"/>
                    <a:pt x="54" y="272"/>
                  </a:cubicBezTo>
                  <a:cubicBezTo>
                    <a:pt x="52" y="267"/>
                    <a:pt x="49" y="259"/>
                    <a:pt x="47" y="251"/>
                  </a:cubicBezTo>
                  <a:cubicBezTo>
                    <a:pt x="43" y="234"/>
                    <a:pt x="41" y="213"/>
                    <a:pt x="42" y="208"/>
                  </a:cubicBezTo>
                  <a:cubicBezTo>
                    <a:pt x="43" y="199"/>
                    <a:pt x="48" y="178"/>
                    <a:pt x="53" y="157"/>
                  </a:cubicBezTo>
                  <a:cubicBezTo>
                    <a:pt x="58" y="135"/>
                    <a:pt x="64" y="114"/>
                    <a:pt x="61" y="94"/>
                  </a:cubicBezTo>
                  <a:cubicBezTo>
                    <a:pt x="60" y="82"/>
                    <a:pt x="60" y="68"/>
                    <a:pt x="60" y="56"/>
                  </a:cubicBezTo>
                  <a:cubicBezTo>
                    <a:pt x="61" y="47"/>
                    <a:pt x="63" y="43"/>
                    <a:pt x="63" y="41"/>
                  </a:cubicBezTo>
                  <a:cubicBezTo>
                    <a:pt x="66" y="41"/>
                    <a:pt x="68" y="41"/>
                    <a:pt x="71"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44"/>
            <p:cNvSpPr>
              <a:spLocks noEditPoints="1"/>
            </p:cNvSpPr>
            <p:nvPr/>
          </p:nvSpPr>
          <p:spPr bwMode="auto">
            <a:xfrm>
              <a:off x="4398963" y="4673601"/>
              <a:ext cx="269875" cy="307975"/>
            </a:xfrm>
            <a:custGeom>
              <a:avLst/>
              <a:gdLst>
                <a:gd name="T0" fmla="*/ 460 w 551"/>
                <a:gd name="T1" fmla="*/ 6 h 631"/>
                <a:gd name="T2" fmla="*/ 405 w 551"/>
                <a:gd name="T3" fmla="*/ 65 h 631"/>
                <a:gd name="T4" fmla="*/ 406 w 551"/>
                <a:gd name="T5" fmla="*/ 64 h 631"/>
                <a:gd name="T6" fmla="*/ 244 w 551"/>
                <a:gd name="T7" fmla="*/ 274 h 631"/>
                <a:gd name="T8" fmla="*/ 244 w 551"/>
                <a:gd name="T9" fmla="*/ 274 h 631"/>
                <a:gd name="T10" fmla="*/ 244 w 551"/>
                <a:gd name="T11" fmla="*/ 274 h 631"/>
                <a:gd name="T12" fmla="*/ 105 w 551"/>
                <a:gd name="T13" fmla="*/ 387 h 631"/>
                <a:gd name="T14" fmla="*/ 50 w 551"/>
                <a:gd name="T15" fmla="*/ 435 h 631"/>
                <a:gd name="T16" fmla="*/ 32 w 551"/>
                <a:gd name="T17" fmla="*/ 452 h 631"/>
                <a:gd name="T18" fmla="*/ 21 w 551"/>
                <a:gd name="T19" fmla="*/ 466 h 631"/>
                <a:gd name="T20" fmla="*/ 3 w 551"/>
                <a:gd name="T21" fmla="*/ 545 h 631"/>
                <a:gd name="T22" fmla="*/ 45 w 551"/>
                <a:gd name="T23" fmla="*/ 617 h 631"/>
                <a:gd name="T24" fmla="*/ 118 w 551"/>
                <a:gd name="T25" fmla="*/ 624 h 631"/>
                <a:gd name="T26" fmla="*/ 183 w 551"/>
                <a:gd name="T27" fmla="*/ 609 h 631"/>
                <a:gd name="T28" fmla="*/ 184 w 551"/>
                <a:gd name="T29" fmla="*/ 609 h 631"/>
                <a:gd name="T30" fmla="*/ 185 w 551"/>
                <a:gd name="T31" fmla="*/ 609 h 631"/>
                <a:gd name="T32" fmla="*/ 383 w 551"/>
                <a:gd name="T33" fmla="*/ 434 h 631"/>
                <a:gd name="T34" fmla="*/ 383 w 551"/>
                <a:gd name="T35" fmla="*/ 434 h 631"/>
                <a:gd name="T36" fmla="*/ 383 w 551"/>
                <a:gd name="T37" fmla="*/ 434 h 631"/>
                <a:gd name="T38" fmla="*/ 527 w 551"/>
                <a:gd name="T39" fmla="*/ 188 h 631"/>
                <a:gd name="T40" fmla="*/ 527 w 551"/>
                <a:gd name="T41" fmla="*/ 187 h 631"/>
                <a:gd name="T42" fmla="*/ 527 w 551"/>
                <a:gd name="T43" fmla="*/ 187 h 631"/>
                <a:gd name="T44" fmla="*/ 518 w 551"/>
                <a:gd name="T45" fmla="*/ 31 h 631"/>
                <a:gd name="T46" fmla="*/ 460 w 551"/>
                <a:gd name="T47" fmla="*/ 6 h 631"/>
                <a:gd name="T48" fmla="*/ 471 w 551"/>
                <a:gd name="T49" fmla="*/ 45 h 631"/>
                <a:gd name="T50" fmla="*/ 486 w 551"/>
                <a:gd name="T51" fmla="*/ 54 h 631"/>
                <a:gd name="T52" fmla="*/ 490 w 551"/>
                <a:gd name="T53" fmla="*/ 171 h 631"/>
                <a:gd name="T54" fmla="*/ 350 w 551"/>
                <a:gd name="T55" fmla="*/ 411 h 631"/>
                <a:gd name="T56" fmla="*/ 170 w 551"/>
                <a:gd name="T57" fmla="*/ 571 h 631"/>
                <a:gd name="T58" fmla="*/ 113 w 551"/>
                <a:gd name="T59" fmla="*/ 585 h 631"/>
                <a:gd name="T60" fmla="*/ 66 w 551"/>
                <a:gd name="T61" fmla="*/ 583 h 631"/>
                <a:gd name="T62" fmla="*/ 65 w 551"/>
                <a:gd name="T63" fmla="*/ 582 h 631"/>
                <a:gd name="T64" fmla="*/ 65 w 551"/>
                <a:gd name="T65" fmla="*/ 582 h 631"/>
                <a:gd name="T66" fmla="*/ 43 w 551"/>
                <a:gd name="T67" fmla="*/ 541 h 631"/>
                <a:gd name="T68" fmla="*/ 55 w 551"/>
                <a:gd name="T69" fmla="*/ 487 h 631"/>
                <a:gd name="T70" fmla="*/ 56 w 551"/>
                <a:gd name="T71" fmla="*/ 485 h 631"/>
                <a:gd name="T72" fmla="*/ 57 w 551"/>
                <a:gd name="T73" fmla="*/ 484 h 631"/>
                <a:gd name="T74" fmla="*/ 61 w 551"/>
                <a:gd name="T75" fmla="*/ 480 h 631"/>
                <a:gd name="T76" fmla="*/ 77 w 551"/>
                <a:gd name="T77" fmla="*/ 464 h 631"/>
                <a:gd name="T78" fmla="*/ 130 w 551"/>
                <a:gd name="T79" fmla="*/ 418 h 631"/>
                <a:gd name="T80" fmla="*/ 268 w 551"/>
                <a:gd name="T81" fmla="*/ 306 h 631"/>
                <a:gd name="T82" fmla="*/ 269 w 551"/>
                <a:gd name="T83" fmla="*/ 306 h 631"/>
                <a:gd name="T84" fmla="*/ 441 w 551"/>
                <a:gd name="T85" fmla="*/ 83 h 631"/>
                <a:gd name="T86" fmla="*/ 442 w 551"/>
                <a:gd name="T87" fmla="*/ 83 h 631"/>
                <a:gd name="T88" fmla="*/ 442 w 551"/>
                <a:gd name="T89" fmla="*/ 82 h 631"/>
                <a:gd name="T90" fmla="*/ 471 w 551"/>
                <a:gd name="T91" fmla="*/ 4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1" h="631">
                  <a:moveTo>
                    <a:pt x="460" y="6"/>
                  </a:moveTo>
                  <a:cubicBezTo>
                    <a:pt x="437" y="13"/>
                    <a:pt x="420" y="33"/>
                    <a:pt x="405" y="65"/>
                  </a:cubicBezTo>
                  <a:lnTo>
                    <a:pt x="406" y="64"/>
                  </a:lnTo>
                  <a:cubicBezTo>
                    <a:pt x="366" y="135"/>
                    <a:pt x="305" y="226"/>
                    <a:pt x="244" y="274"/>
                  </a:cubicBezTo>
                  <a:lnTo>
                    <a:pt x="244" y="274"/>
                  </a:lnTo>
                  <a:lnTo>
                    <a:pt x="244" y="274"/>
                  </a:lnTo>
                  <a:cubicBezTo>
                    <a:pt x="200" y="309"/>
                    <a:pt x="147" y="352"/>
                    <a:pt x="105" y="387"/>
                  </a:cubicBezTo>
                  <a:cubicBezTo>
                    <a:pt x="83" y="405"/>
                    <a:pt x="64" y="422"/>
                    <a:pt x="50" y="435"/>
                  </a:cubicBezTo>
                  <a:cubicBezTo>
                    <a:pt x="43" y="441"/>
                    <a:pt x="37" y="447"/>
                    <a:pt x="32" y="452"/>
                  </a:cubicBezTo>
                  <a:cubicBezTo>
                    <a:pt x="28" y="457"/>
                    <a:pt x="25" y="460"/>
                    <a:pt x="21" y="466"/>
                  </a:cubicBezTo>
                  <a:cubicBezTo>
                    <a:pt x="7" y="489"/>
                    <a:pt x="0" y="517"/>
                    <a:pt x="3" y="545"/>
                  </a:cubicBezTo>
                  <a:cubicBezTo>
                    <a:pt x="5" y="573"/>
                    <a:pt x="18" y="602"/>
                    <a:pt x="45" y="617"/>
                  </a:cubicBezTo>
                  <a:cubicBezTo>
                    <a:pt x="67" y="631"/>
                    <a:pt x="93" y="628"/>
                    <a:pt x="118" y="624"/>
                  </a:cubicBezTo>
                  <a:cubicBezTo>
                    <a:pt x="144" y="621"/>
                    <a:pt x="169" y="614"/>
                    <a:pt x="183" y="609"/>
                  </a:cubicBezTo>
                  <a:lnTo>
                    <a:pt x="184" y="609"/>
                  </a:lnTo>
                  <a:lnTo>
                    <a:pt x="185" y="609"/>
                  </a:lnTo>
                  <a:cubicBezTo>
                    <a:pt x="273" y="572"/>
                    <a:pt x="331" y="506"/>
                    <a:pt x="383" y="434"/>
                  </a:cubicBezTo>
                  <a:lnTo>
                    <a:pt x="383" y="434"/>
                  </a:lnTo>
                  <a:lnTo>
                    <a:pt x="383" y="434"/>
                  </a:lnTo>
                  <a:cubicBezTo>
                    <a:pt x="442" y="352"/>
                    <a:pt x="484" y="279"/>
                    <a:pt x="527" y="188"/>
                  </a:cubicBezTo>
                  <a:lnTo>
                    <a:pt x="527" y="187"/>
                  </a:lnTo>
                  <a:lnTo>
                    <a:pt x="527" y="187"/>
                  </a:lnTo>
                  <a:cubicBezTo>
                    <a:pt x="551" y="128"/>
                    <a:pt x="544" y="67"/>
                    <a:pt x="518" y="31"/>
                  </a:cubicBezTo>
                  <a:cubicBezTo>
                    <a:pt x="505" y="13"/>
                    <a:pt x="483" y="0"/>
                    <a:pt x="460" y="6"/>
                  </a:cubicBezTo>
                  <a:close/>
                  <a:moveTo>
                    <a:pt x="471" y="45"/>
                  </a:moveTo>
                  <a:cubicBezTo>
                    <a:pt x="475" y="43"/>
                    <a:pt x="479" y="44"/>
                    <a:pt x="486" y="54"/>
                  </a:cubicBezTo>
                  <a:cubicBezTo>
                    <a:pt x="500" y="74"/>
                    <a:pt x="509" y="125"/>
                    <a:pt x="490" y="171"/>
                  </a:cubicBezTo>
                  <a:cubicBezTo>
                    <a:pt x="448" y="260"/>
                    <a:pt x="408" y="331"/>
                    <a:pt x="350" y="411"/>
                  </a:cubicBezTo>
                  <a:cubicBezTo>
                    <a:pt x="300" y="480"/>
                    <a:pt x="248" y="539"/>
                    <a:pt x="170" y="571"/>
                  </a:cubicBezTo>
                  <a:cubicBezTo>
                    <a:pt x="158" y="575"/>
                    <a:pt x="135" y="581"/>
                    <a:pt x="113" y="585"/>
                  </a:cubicBezTo>
                  <a:cubicBezTo>
                    <a:pt x="90" y="588"/>
                    <a:pt x="69" y="585"/>
                    <a:pt x="66" y="583"/>
                  </a:cubicBezTo>
                  <a:lnTo>
                    <a:pt x="65" y="582"/>
                  </a:lnTo>
                  <a:lnTo>
                    <a:pt x="65" y="582"/>
                  </a:lnTo>
                  <a:cubicBezTo>
                    <a:pt x="52" y="575"/>
                    <a:pt x="44" y="560"/>
                    <a:pt x="43" y="541"/>
                  </a:cubicBezTo>
                  <a:cubicBezTo>
                    <a:pt x="41" y="522"/>
                    <a:pt x="46" y="500"/>
                    <a:pt x="55" y="487"/>
                  </a:cubicBezTo>
                  <a:lnTo>
                    <a:pt x="56" y="485"/>
                  </a:lnTo>
                  <a:lnTo>
                    <a:pt x="57" y="484"/>
                  </a:lnTo>
                  <a:cubicBezTo>
                    <a:pt x="55" y="488"/>
                    <a:pt x="57" y="483"/>
                    <a:pt x="61" y="480"/>
                  </a:cubicBezTo>
                  <a:cubicBezTo>
                    <a:pt x="65" y="476"/>
                    <a:pt x="70" y="470"/>
                    <a:pt x="77" y="464"/>
                  </a:cubicBezTo>
                  <a:cubicBezTo>
                    <a:pt x="90" y="452"/>
                    <a:pt x="109" y="436"/>
                    <a:pt x="130" y="418"/>
                  </a:cubicBezTo>
                  <a:cubicBezTo>
                    <a:pt x="172" y="383"/>
                    <a:pt x="225" y="340"/>
                    <a:pt x="268" y="306"/>
                  </a:cubicBezTo>
                  <a:lnTo>
                    <a:pt x="269" y="306"/>
                  </a:lnTo>
                  <a:cubicBezTo>
                    <a:pt x="339" y="250"/>
                    <a:pt x="400" y="157"/>
                    <a:pt x="441" y="83"/>
                  </a:cubicBezTo>
                  <a:lnTo>
                    <a:pt x="442" y="83"/>
                  </a:lnTo>
                  <a:lnTo>
                    <a:pt x="442" y="82"/>
                  </a:lnTo>
                  <a:cubicBezTo>
                    <a:pt x="454" y="55"/>
                    <a:pt x="466" y="46"/>
                    <a:pt x="47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5"/>
            <p:cNvSpPr>
              <a:spLocks noEditPoints="1"/>
            </p:cNvSpPr>
            <p:nvPr/>
          </p:nvSpPr>
          <p:spPr bwMode="auto">
            <a:xfrm>
              <a:off x="4562475" y="3887788"/>
              <a:ext cx="330200" cy="855663"/>
            </a:xfrm>
            <a:custGeom>
              <a:avLst/>
              <a:gdLst>
                <a:gd name="T0" fmla="*/ 626 w 677"/>
                <a:gd name="T1" fmla="*/ 1 h 1750"/>
                <a:gd name="T2" fmla="*/ 597 w 677"/>
                <a:gd name="T3" fmla="*/ 6 h 1750"/>
                <a:gd name="T4" fmla="*/ 559 w 677"/>
                <a:gd name="T5" fmla="*/ 67 h 1750"/>
                <a:gd name="T6" fmla="*/ 433 w 677"/>
                <a:gd name="T7" fmla="*/ 503 h 1750"/>
                <a:gd name="T8" fmla="*/ 202 w 677"/>
                <a:gd name="T9" fmla="*/ 1198 h 1750"/>
                <a:gd name="T10" fmla="*/ 75 w 677"/>
                <a:gd name="T11" fmla="*/ 1496 h 1750"/>
                <a:gd name="T12" fmla="*/ 15 w 677"/>
                <a:gd name="T13" fmla="*/ 1607 h 1750"/>
                <a:gd name="T14" fmla="*/ 0 w 677"/>
                <a:gd name="T15" fmla="*/ 1659 h 1750"/>
                <a:gd name="T16" fmla="*/ 27 w 677"/>
                <a:gd name="T17" fmla="*/ 1708 h 1750"/>
                <a:gd name="T18" fmla="*/ 53 w 677"/>
                <a:gd name="T19" fmla="*/ 1715 h 1750"/>
                <a:gd name="T20" fmla="*/ 75 w 677"/>
                <a:gd name="T21" fmla="*/ 1705 h 1750"/>
                <a:gd name="T22" fmla="*/ 101 w 677"/>
                <a:gd name="T23" fmla="*/ 1675 h 1750"/>
                <a:gd name="T24" fmla="*/ 123 w 677"/>
                <a:gd name="T25" fmla="*/ 1648 h 1750"/>
                <a:gd name="T26" fmla="*/ 134 w 677"/>
                <a:gd name="T27" fmla="*/ 1641 h 1750"/>
                <a:gd name="T28" fmla="*/ 149 w 677"/>
                <a:gd name="T29" fmla="*/ 1652 h 1750"/>
                <a:gd name="T30" fmla="*/ 167 w 677"/>
                <a:gd name="T31" fmla="*/ 1686 h 1750"/>
                <a:gd name="T32" fmla="*/ 190 w 677"/>
                <a:gd name="T33" fmla="*/ 1726 h 1750"/>
                <a:gd name="T34" fmla="*/ 235 w 677"/>
                <a:gd name="T35" fmla="*/ 1750 h 1750"/>
                <a:gd name="T36" fmla="*/ 325 w 677"/>
                <a:gd name="T37" fmla="*/ 1694 h 1750"/>
                <a:gd name="T38" fmla="*/ 368 w 677"/>
                <a:gd name="T39" fmla="*/ 1598 h 1750"/>
                <a:gd name="T40" fmla="*/ 578 w 677"/>
                <a:gd name="T41" fmla="*/ 733 h 1750"/>
                <a:gd name="T42" fmla="*/ 671 w 677"/>
                <a:gd name="T43" fmla="*/ 263 h 1750"/>
                <a:gd name="T44" fmla="*/ 676 w 677"/>
                <a:gd name="T45" fmla="*/ 123 h 1750"/>
                <a:gd name="T46" fmla="*/ 670 w 677"/>
                <a:gd name="T47" fmla="*/ 58 h 1750"/>
                <a:gd name="T48" fmla="*/ 650 w 677"/>
                <a:gd name="T49" fmla="*/ 12 h 1750"/>
                <a:gd name="T50" fmla="*/ 626 w 677"/>
                <a:gd name="T51" fmla="*/ 1 h 1750"/>
                <a:gd name="T52" fmla="*/ 616 w 677"/>
                <a:gd name="T53" fmla="*/ 41 h 1750"/>
                <a:gd name="T54" fmla="*/ 624 w 677"/>
                <a:gd name="T55" fmla="*/ 42 h 1750"/>
                <a:gd name="T56" fmla="*/ 631 w 677"/>
                <a:gd name="T57" fmla="*/ 65 h 1750"/>
                <a:gd name="T58" fmla="*/ 636 w 677"/>
                <a:gd name="T59" fmla="*/ 123 h 1750"/>
                <a:gd name="T60" fmla="*/ 631 w 677"/>
                <a:gd name="T61" fmla="*/ 260 h 1750"/>
                <a:gd name="T62" fmla="*/ 539 w 677"/>
                <a:gd name="T63" fmla="*/ 724 h 1750"/>
                <a:gd name="T64" fmla="*/ 330 w 677"/>
                <a:gd name="T65" fmla="*/ 1587 h 1750"/>
                <a:gd name="T66" fmla="*/ 292 w 677"/>
                <a:gd name="T67" fmla="*/ 1670 h 1750"/>
                <a:gd name="T68" fmla="*/ 234 w 677"/>
                <a:gd name="T69" fmla="*/ 1710 h 1750"/>
                <a:gd name="T70" fmla="*/ 221 w 677"/>
                <a:gd name="T71" fmla="*/ 1701 h 1750"/>
                <a:gd name="T72" fmla="*/ 203 w 677"/>
                <a:gd name="T73" fmla="*/ 1669 h 1750"/>
                <a:gd name="T74" fmla="*/ 181 w 677"/>
                <a:gd name="T75" fmla="*/ 1628 h 1750"/>
                <a:gd name="T76" fmla="*/ 138 w 677"/>
                <a:gd name="T77" fmla="*/ 1601 h 1750"/>
                <a:gd name="T78" fmla="*/ 95 w 677"/>
                <a:gd name="T79" fmla="*/ 1619 h 1750"/>
                <a:gd name="T80" fmla="*/ 69 w 677"/>
                <a:gd name="T81" fmla="*/ 1651 h 1750"/>
                <a:gd name="T82" fmla="*/ 50 w 677"/>
                <a:gd name="T83" fmla="*/ 1674 h 1750"/>
                <a:gd name="T84" fmla="*/ 50 w 677"/>
                <a:gd name="T85" fmla="*/ 1674 h 1750"/>
                <a:gd name="T86" fmla="*/ 40 w 677"/>
                <a:gd name="T87" fmla="*/ 1658 h 1750"/>
                <a:gd name="T88" fmla="*/ 51 w 677"/>
                <a:gd name="T89" fmla="*/ 1626 h 1750"/>
                <a:gd name="T90" fmla="*/ 112 w 677"/>
                <a:gd name="T91" fmla="*/ 1511 h 1750"/>
                <a:gd name="T92" fmla="*/ 239 w 677"/>
                <a:gd name="T93" fmla="*/ 1212 h 1750"/>
                <a:gd name="T94" fmla="*/ 471 w 677"/>
                <a:gd name="T95" fmla="*/ 515 h 1750"/>
                <a:gd name="T96" fmla="*/ 598 w 677"/>
                <a:gd name="T97" fmla="*/ 76 h 1750"/>
                <a:gd name="T98" fmla="*/ 616 w 677"/>
                <a:gd name="T99" fmla="*/ 41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7" h="1750">
                  <a:moveTo>
                    <a:pt x="626" y="1"/>
                  </a:moveTo>
                  <a:cubicBezTo>
                    <a:pt x="616" y="0"/>
                    <a:pt x="607" y="1"/>
                    <a:pt x="597" y="6"/>
                  </a:cubicBezTo>
                  <a:cubicBezTo>
                    <a:pt x="579" y="16"/>
                    <a:pt x="566" y="36"/>
                    <a:pt x="559" y="67"/>
                  </a:cubicBezTo>
                  <a:cubicBezTo>
                    <a:pt x="526" y="218"/>
                    <a:pt x="478" y="357"/>
                    <a:pt x="433" y="503"/>
                  </a:cubicBezTo>
                  <a:cubicBezTo>
                    <a:pt x="360" y="736"/>
                    <a:pt x="288" y="970"/>
                    <a:pt x="202" y="1198"/>
                  </a:cubicBezTo>
                  <a:cubicBezTo>
                    <a:pt x="164" y="1298"/>
                    <a:pt x="116" y="1393"/>
                    <a:pt x="75" y="1496"/>
                  </a:cubicBezTo>
                  <a:cubicBezTo>
                    <a:pt x="59" y="1538"/>
                    <a:pt x="33" y="1574"/>
                    <a:pt x="15" y="1607"/>
                  </a:cubicBezTo>
                  <a:cubicBezTo>
                    <a:pt x="7" y="1624"/>
                    <a:pt x="0" y="1641"/>
                    <a:pt x="0" y="1659"/>
                  </a:cubicBezTo>
                  <a:cubicBezTo>
                    <a:pt x="0" y="1677"/>
                    <a:pt x="10" y="1695"/>
                    <a:pt x="27" y="1708"/>
                  </a:cubicBezTo>
                  <a:cubicBezTo>
                    <a:pt x="35" y="1713"/>
                    <a:pt x="44" y="1716"/>
                    <a:pt x="53" y="1715"/>
                  </a:cubicBezTo>
                  <a:cubicBezTo>
                    <a:pt x="62" y="1713"/>
                    <a:pt x="69" y="1710"/>
                    <a:pt x="75" y="1705"/>
                  </a:cubicBezTo>
                  <a:cubicBezTo>
                    <a:pt x="86" y="1697"/>
                    <a:pt x="93" y="1686"/>
                    <a:pt x="101" y="1675"/>
                  </a:cubicBezTo>
                  <a:cubicBezTo>
                    <a:pt x="109" y="1664"/>
                    <a:pt x="116" y="1654"/>
                    <a:pt x="123" y="1648"/>
                  </a:cubicBezTo>
                  <a:cubicBezTo>
                    <a:pt x="129" y="1642"/>
                    <a:pt x="132" y="1641"/>
                    <a:pt x="134" y="1641"/>
                  </a:cubicBezTo>
                  <a:cubicBezTo>
                    <a:pt x="139" y="1642"/>
                    <a:pt x="143" y="1644"/>
                    <a:pt x="149" y="1652"/>
                  </a:cubicBezTo>
                  <a:cubicBezTo>
                    <a:pt x="155" y="1660"/>
                    <a:pt x="161" y="1673"/>
                    <a:pt x="167" y="1686"/>
                  </a:cubicBezTo>
                  <a:cubicBezTo>
                    <a:pt x="174" y="1700"/>
                    <a:pt x="180" y="1714"/>
                    <a:pt x="190" y="1726"/>
                  </a:cubicBezTo>
                  <a:cubicBezTo>
                    <a:pt x="200" y="1739"/>
                    <a:pt x="216" y="1750"/>
                    <a:pt x="235" y="1750"/>
                  </a:cubicBezTo>
                  <a:cubicBezTo>
                    <a:pt x="274" y="1749"/>
                    <a:pt x="303" y="1723"/>
                    <a:pt x="325" y="1694"/>
                  </a:cubicBezTo>
                  <a:cubicBezTo>
                    <a:pt x="346" y="1664"/>
                    <a:pt x="360" y="1628"/>
                    <a:pt x="368" y="1598"/>
                  </a:cubicBezTo>
                  <a:cubicBezTo>
                    <a:pt x="432" y="1368"/>
                    <a:pt x="515" y="1023"/>
                    <a:pt x="578" y="733"/>
                  </a:cubicBezTo>
                  <a:cubicBezTo>
                    <a:pt x="612" y="579"/>
                    <a:pt x="661" y="424"/>
                    <a:pt x="671" y="263"/>
                  </a:cubicBezTo>
                  <a:cubicBezTo>
                    <a:pt x="674" y="223"/>
                    <a:pt x="677" y="170"/>
                    <a:pt x="676" y="123"/>
                  </a:cubicBezTo>
                  <a:cubicBezTo>
                    <a:pt x="675" y="99"/>
                    <a:pt x="674" y="77"/>
                    <a:pt x="670" y="58"/>
                  </a:cubicBezTo>
                  <a:cubicBezTo>
                    <a:pt x="667" y="40"/>
                    <a:pt x="664" y="24"/>
                    <a:pt x="650" y="12"/>
                  </a:cubicBezTo>
                  <a:cubicBezTo>
                    <a:pt x="643" y="6"/>
                    <a:pt x="635" y="2"/>
                    <a:pt x="626" y="1"/>
                  </a:cubicBezTo>
                  <a:close/>
                  <a:moveTo>
                    <a:pt x="616" y="41"/>
                  </a:moveTo>
                  <a:cubicBezTo>
                    <a:pt x="620" y="39"/>
                    <a:pt x="622" y="41"/>
                    <a:pt x="624" y="42"/>
                  </a:cubicBezTo>
                  <a:cubicBezTo>
                    <a:pt x="622" y="41"/>
                    <a:pt x="628" y="50"/>
                    <a:pt x="631" y="65"/>
                  </a:cubicBezTo>
                  <a:cubicBezTo>
                    <a:pt x="634" y="80"/>
                    <a:pt x="635" y="101"/>
                    <a:pt x="636" y="123"/>
                  </a:cubicBezTo>
                  <a:cubicBezTo>
                    <a:pt x="637" y="168"/>
                    <a:pt x="634" y="221"/>
                    <a:pt x="631" y="260"/>
                  </a:cubicBezTo>
                  <a:cubicBezTo>
                    <a:pt x="621" y="415"/>
                    <a:pt x="574" y="568"/>
                    <a:pt x="539" y="724"/>
                  </a:cubicBezTo>
                  <a:cubicBezTo>
                    <a:pt x="476" y="1013"/>
                    <a:pt x="393" y="1359"/>
                    <a:pt x="330" y="1587"/>
                  </a:cubicBezTo>
                  <a:cubicBezTo>
                    <a:pt x="322" y="1614"/>
                    <a:pt x="309" y="1646"/>
                    <a:pt x="292" y="1670"/>
                  </a:cubicBezTo>
                  <a:cubicBezTo>
                    <a:pt x="275" y="1695"/>
                    <a:pt x="255" y="1709"/>
                    <a:pt x="234" y="1710"/>
                  </a:cubicBezTo>
                  <a:cubicBezTo>
                    <a:pt x="229" y="1710"/>
                    <a:pt x="227" y="1708"/>
                    <a:pt x="221" y="1701"/>
                  </a:cubicBezTo>
                  <a:cubicBezTo>
                    <a:pt x="216" y="1694"/>
                    <a:pt x="210" y="1682"/>
                    <a:pt x="203" y="1669"/>
                  </a:cubicBezTo>
                  <a:cubicBezTo>
                    <a:pt x="197" y="1656"/>
                    <a:pt x="191" y="1641"/>
                    <a:pt x="181" y="1628"/>
                  </a:cubicBezTo>
                  <a:cubicBezTo>
                    <a:pt x="172" y="1616"/>
                    <a:pt x="157" y="1603"/>
                    <a:pt x="138" y="1601"/>
                  </a:cubicBezTo>
                  <a:cubicBezTo>
                    <a:pt x="120" y="1599"/>
                    <a:pt x="105" y="1609"/>
                    <a:pt x="95" y="1619"/>
                  </a:cubicBezTo>
                  <a:cubicBezTo>
                    <a:pt x="84" y="1629"/>
                    <a:pt x="76" y="1641"/>
                    <a:pt x="69" y="1651"/>
                  </a:cubicBezTo>
                  <a:cubicBezTo>
                    <a:pt x="61" y="1662"/>
                    <a:pt x="54" y="1671"/>
                    <a:pt x="50" y="1674"/>
                  </a:cubicBezTo>
                  <a:cubicBezTo>
                    <a:pt x="49" y="1674"/>
                    <a:pt x="50" y="1674"/>
                    <a:pt x="50" y="1674"/>
                  </a:cubicBezTo>
                  <a:cubicBezTo>
                    <a:pt x="42" y="1668"/>
                    <a:pt x="40" y="1665"/>
                    <a:pt x="40" y="1658"/>
                  </a:cubicBezTo>
                  <a:cubicBezTo>
                    <a:pt x="40" y="1652"/>
                    <a:pt x="44" y="1640"/>
                    <a:pt x="51" y="1626"/>
                  </a:cubicBezTo>
                  <a:cubicBezTo>
                    <a:pt x="66" y="1597"/>
                    <a:pt x="94" y="1558"/>
                    <a:pt x="112" y="1511"/>
                  </a:cubicBezTo>
                  <a:cubicBezTo>
                    <a:pt x="153" y="1410"/>
                    <a:pt x="200" y="1314"/>
                    <a:pt x="239" y="1212"/>
                  </a:cubicBezTo>
                  <a:cubicBezTo>
                    <a:pt x="325" y="982"/>
                    <a:pt x="398" y="748"/>
                    <a:pt x="471" y="515"/>
                  </a:cubicBezTo>
                  <a:cubicBezTo>
                    <a:pt x="516" y="370"/>
                    <a:pt x="565" y="230"/>
                    <a:pt x="598" y="76"/>
                  </a:cubicBezTo>
                  <a:cubicBezTo>
                    <a:pt x="604" y="52"/>
                    <a:pt x="612" y="43"/>
                    <a:pt x="616"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6"/>
            <p:cNvSpPr>
              <a:spLocks noEditPoints="1"/>
            </p:cNvSpPr>
            <p:nvPr/>
          </p:nvSpPr>
          <p:spPr bwMode="auto">
            <a:xfrm>
              <a:off x="4794250" y="3368676"/>
              <a:ext cx="668337" cy="633413"/>
            </a:xfrm>
            <a:custGeom>
              <a:avLst/>
              <a:gdLst>
                <a:gd name="T0" fmla="*/ 1289 w 1365"/>
                <a:gd name="T1" fmla="*/ 1 h 1297"/>
                <a:gd name="T2" fmla="*/ 1111 w 1365"/>
                <a:gd name="T3" fmla="*/ 82 h 1297"/>
                <a:gd name="T4" fmla="*/ 965 w 1365"/>
                <a:gd name="T5" fmla="*/ 214 h 1297"/>
                <a:gd name="T6" fmla="*/ 425 w 1365"/>
                <a:gd name="T7" fmla="*/ 650 h 1297"/>
                <a:gd name="T8" fmla="*/ 67 w 1365"/>
                <a:gd name="T9" fmla="*/ 962 h 1297"/>
                <a:gd name="T10" fmla="*/ 6 w 1365"/>
                <a:gd name="T11" fmla="*/ 1124 h 1297"/>
                <a:gd name="T12" fmla="*/ 16 w 1365"/>
                <a:gd name="T13" fmla="*/ 1161 h 1297"/>
                <a:gd name="T14" fmla="*/ 52 w 1365"/>
                <a:gd name="T15" fmla="*/ 1190 h 1297"/>
                <a:gd name="T16" fmla="*/ 53 w 1365"/>
                <a:gd name="T17" fmla="*/ 1190 h 1297"/>
                <a:gd name="T18" fmla="*/ 54 w 1365"/>
                <a:gd name="T19" fmla="*/ 1190 h 1297"/>
                <a:gd name="T20" fmla="*/ 79 w 1365"/>
                <a:gd name="T21" fmla="*/ 1179 h 1297"/>
                <a:gd name="T22" fmla="*/ 93 w 1365"/>
                <a:gd name="T23" fmla="*/ 1162 h 1297"/>
                <a:gd name="T24" fmla="*/ 115 w 1365"/>
                <a:gd name="T25" fmla="*/ 1123 h 1297"/>
                <a:gd name="T26" fmla="*/ 137 w 1365"/>
                <a:gd name="T27" fmla="*/ 1099 h 1297"/>
                <a:gd name="T28" fmla="*/ 157 w 1365"/>
                <a:gd name="T29" fmla="*/ 1103 h 1297"/>
                <a:gd name="T30" fmla="*/ 192 w 1365"/>
                <a:gd name="T31" fmla="*/ 1194 h 1297"/>
                <a:gd name="T32" fmla="*/ 196 w 1365"/>
                <a:gd name="T33" fmla="*/ 1245 h 1297"/>
                <a:gd name="T34" fmla="*/ 234 w 1365"/>
                <a:gd name="T35" fmla="*/ 1288 h 1297"/>
                <a:gd name="T36" fmla="*/ 299 w 1365"/>
                <a:gd name="T37" fmla="*/ 1272 h 1297"/>
                <a:gd name="T38" fmla="*/ 340 w 1365"/>
                <a:gd name="T39" fmla="*/ 1233 h 1297"/>
                <a:gd name="T40" fmla="*/ 485 w 1365"/>
                <a:gd name="T41" fmla="*/ 1044 h 1297"/>
                <a:gd name="T42" fmla="*/ 776 w 1365"/>
                <a:gd name="T43" fmla="*/ 697 h 1297"/>
                <a:gd name="T44" fmla="*/ 1152 w 1365"/>
                <a:gd name="T45" fmla="*/ 349 h 1297"/>
                <a:gd name="T46" fmla="*/ 1312 w 1365"/>
                <a:gd name="T47" fmla="*/ 186 h 1297"/>
                <a:gd name="T48" fmla="*/ 1345 w 1365"/>
                <a:gd name="T49" fmla="*/ 40 h 1297"/>
                <a:gd name="T50" fmla="*/ 1289 w 1365"/>
                <a:gd name="T51" fmla="*/ 1 h 1297"/>
                <a:gd name="T52" fmla="*/ 1289 w 1365"/>
                <a:gd name="T53" fmla="*/ 41 h 1297"/>
                <a:gd name="T54" fmla="*/ 1307 w 1365"/>
                <a:gd name="T55" fmla="*/ 54 h 1297"/>
                <a:gd name="T56" fmla="*/ 1277 w 1365"/>
                <a:gd name="T57" fmla="*/ 167 h 1297"/>
                <a:gd name="T58" fmla="*/ 1124 w 1365"/>
                <a:gd name="T59" fmla="*/ 320 h 1297"/>
                <a:gd name="T60" fmla="*/ 747 w 1365"/>
                <a:gd name="T61" fmla="*/ 669 h 1297"/>
                <a:gd name="T62" fmla="*/ 454 w 1365"/>
                <a:gd name="T63" fmla="*/ 1019 h 1297"/>
                <a:gd name="T64" fmla="*/ 311 w 1365"/>
                <a:gd name="T65" fmla="*/ 1205 h 1297"/>
                <a:gd name="T66" fmla="*/ 275 w 1365"/>
                <a:gd name="T67" fmla="*/ 1240 h 1297"/>
                <a:gd name="T68" fmla="*/ 247 w 1365"/>
                <a:gd name="T69" fmla="*/ 1250 h 1297"/>
                <a:gd name="T70" fmla="*/ 234 w 1365"/>
                <a:gd name="T71" fmla="*/ 1236 h 1297"/>
                <a:gd name="T72" fmla="*/ 232 w 1365"/>
                <a:gd name="T73" fmla="*/ 1194 h 1297"/>
                <a:gd name="T74" fmla="*/ 181 w 1365"/>
                <a:gd name="T75" fmla="*/ 1071 h 1297"/>
                <a:gd name="T76" fmla="*/ 180 w 1365"/>
                <a:gd name="T77" fmla="*/ 1070 h 1297"/>
                <a:gd name="T78" fmla="*/ 180 w 1365"/>
                <a:gd name="T79" fmla="*/ 1070 h 1297"/>
                <a:gd name="T80" fmla="*/ 118 w 1365"/>
                <a:gd name="T81" fmla="*/ 1063 h 1297"/>
                <a:gd name="T82" fmla="*/ 81 w 1365"/>
                <a:gd name="T83" fmla="*/ 1101 h 1297"/>
                <a:gd name="T84" fmla="*/ 59 w 1365"/>
                <a:gd name="T85" fmla="*/ 1141 h 1297"/>
                <a:gd name="T86" fmla="*/ 54 w 1365"/>
                <a:gd name="T87" fmla="*/ 1146 h 1297"/>
                <a:gd name="T88" fmla="*/ 51 w 1365"/>
                <a:gd name="T89" fmla="*/ 1143 h 1297"/>
                <a:gd name="T90" fmla="*/ 45 w 1365"/>
                <a:gd name="T91" fmla="*/ 1121 h 1297"/>
                <a:gd name="T92" fmla="*/ 100 w 1365"/>
                <a:gd name="T93" fmla="*/ 985 h 1297"/>
                <a:gd name="T94" fmla="*/ 451 w 1365"/>
                <a:gd name="T95" fmla="*/ 681 h 1297"/>
                <a:gd name="T96" fmla="*/ 988 w 1365"/>
                <a:gd name="T97" fmla="*/ 246 h 1297"/>
                <a:gd name="T98" fmla="*/ 1137 w 1365"/>
                <a:gd name="T99" fmla="*/ 112 h 1297"/>
                <a:gd name="T100" fmla="*/ 1289 w 1365"/>
                <a:gd name="T101" fmla="*/ 41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5" h="1297">
                  <a:moveTo>
                    <a:pt x="1289" y="1"/>
                  </a:moveTo>
                  <a:cubicBezTo>
                    <a:pt x="1220" y="0"/>
                    <a:pt x="1162" y="38"/>
                    <a:pt x="1111" y="82"/>
                  </a:cubicBezTo>
                  <a:cubicBezTo>
                    <a:pt x="1059" y="126"/>
                    <a:pt x="1013" y="178"/>
                    <a:pt x="965" y="214"/>
                  </a:cubicBezTo>
                  <a:cubicBezTo>
                    <a:pt x="778" y="351"/>
                    <a:pt x="602" y="502"/>
                    <a:pt x="425" y="650"/>
                  </a:cubicBezTo>
                  <a:cubicBezTo>
                    <a:pt x="307" y="749"/>
                    <a:pt x="161" y="829"/>
                    <a:pt x="67" y="962"/>
                  </a:cubicBezTo>
                  <a:cubicBezTo>
                    <a:pt x="36" y="1006"/>
                    <a:pt x="0" y="1062"/>
                    <a:pt x="6" y="1124"/>
                  </a:cubicBezTo>
                  <a:cubicBezTo>
                    <a:pt x="7" y="1136"/>
                    <a:pt x="9" y="1149"/>
                    <a:pt x="16" y="1161"/>
                  </a:cubicBezTo>
                  <a:cubicBezTo>
                    <a:pt x="22" y="1174"/>
                    <a:pt x="34" y="1187"/>
                    <a:pt x="52" y="1190"/>
                  </a:cubicBezTo>
                  <a:lnTo>
                    <a:pt x="53" y="1190"/>
                  </a:lnTo>
                  <a:lnTo>
                    <a:pt x="54" y="1190"/>
                  </a:lnTo>
                  <a:cubicBezTo>
                    <a:pt x="65" y="1190"/>
                    <a:pt x="74" y="1185"/>
                    <a:pt x="79" y="1179"/>
                  </a:cubicBezTo>
                  <a:cubicBezTo>
                    <a:pt x="85" y="1174"/>
                    <a:pt x="89" y="1168"/>
                    <a:pt x="93" y="1162"/>
                  </a:cubicBezTo>
                  <a:cubicBezTo>
                    <a:pt x="100" y="1149"/>
                    <a:pt x="107" y="1135"/>
                    <a:pt x="115" y="1123"/>
                  </a:cubicBezTo>
                  <a:cubicBezTo>
                    <a:pt x="123" y="1111"/>
                    <a:pt x="131" y="1102"/>
                    <a:pt x="137" y="1099"/>
                  </a:cubicBezTo>
                  <a:cubicBezTo>
                    <a:pt x="142" y="1096"/>
                    <a:pt x="145" y="1095"/>
                    <a:pt x="157" y="1103"/>
                  </a:cubicBezTo>
                  <a:cubicBezTo>
                    <a:pt x="191" y="1130"/>
                    <a:pt x="192" y="1160"/>
                    <a:pt x="192" y="1194"/>
                  </a:cubicBezTo>
                  <a:cubicBezTo>
                    <a:pt x="192" y="1211"/>
                    <a:pt x="191" y="1228"/>
                    <a:pt x="196" y="1245"/>
                  </a:cubicBezTo>
                  <a:cubicBezTo>
                    <a:pt x="200" y="1263"/>
                    <a:pt x="213" y="1281"/>
                    <a:pt x="234" y="1288"/>
                  </a:cubicBezTo>
                  <a:cubicBezTo>
                    <a:pt x="259" y="1297"/>
                    <a:pt x="282" y="1285"/>
                    <a:pt x="299" y="1272"/>
                  </a:cubicBezTo>
                  <a:cubicBezTo>
                    <a:pt x="317" y="1259"/>
                    <a:pt x="330" y="1243"/>
                    <a:pt x="340" y="1233"/>
                  </a:cubicBezTo>
                  <a:cubicBezTo>
                    <a:pt x="388" y="1181"/>
                    <a:pt x="437" y="1104"/>
                    <a:pt x="485" y="1044"/>
                  </a:cubicBezTo>
                  <a:cubicBezTo>
                    <a:pt x="581" y="926"/>
                    <a:pt x="673" y="806"/>
                    <a:pt x="776" y="697"/>
                  </a:cubicBezTo>
                  <a:cubicBezTo>
                    <a:pt x="893" y="574"/>
                    <a:pt x="1028" y="469"/>
                    <a:pt x="1152" y="349"/>
                  </a:cubicBezTo>
                  <a:cubicBezTo>
                    <a:pt x="1203" y="299"/>
                    <a:pt x="1273" y="257"/>
                    <a:pt x="1312" y="186"/>
                  </a:cubicBezTo>
                  <a:cubicBezTo>
                    <a:pt x="1334" y="147"/>
                    <a:pt x="1365" y="93"/>
                    <a:pt x="1345" y="40"/>
                  </a:cubicBezTo>
                  <a:cubicBezTo>
                    <a:pt x="1336" y="17"/>
                    <a:pt x="1315" y="2"/>
                    <a:pt x="1289" y="1"/>
                  </a:cubicBezTo>
                  <a:close/>
                  <a:moveTo>
                    <a:pt x="1289" y="41"/>
                  </a:moveTo>
                  <a:cubicBezTo>
                    <a:pt x="1294" y="41"/>
                    <a:pt x="1305" y="50"/>
                    <a:pt x="1307" y="54"/>
                  </a:cubicBezTo>
                  <a:cubicBezTo>
                    <a:pt x="1318" y="84"/>
                    <a:pt x="1299" y="128"/>
                    <a:pt x="1277" y="167"/>
                  </a:cubicBezTo>
                  <a:cubicBezTo>
                    <a:pt x="1245" y="225"/>
                    <a:pt x="1180" y="266"/>
                    <a:pt x="1124" y="320"/>
                  </a:cubicBezTo>
                  <a:cubicBezTo>
                    <a:pt x="1002" y="438"/>
                    <a:pt x="867" y="544"/>
                    <a:pt x="747" y="669"/>
                  </a:cubicBezTo>
                  <a:cubicBezTo>
                    <a:pt x="642" y="780"/>
                    <a:pt x="549" y="901"/>
                    <a:pt x="454" y="1019"/>
                  </a:cubicBezTo>
                  <a:cubicBezTo>
                    <a:pt x="404" y="1082"/>
                    <a:pt x="355" y="1158"/>
                    <a:pt x="311" y="1205"/>
                  </a:cubicBezTo>
                  <a:cubicBezTo>
                    <a:pt x="300" y="1216"/>
                    <a:pt x="288" y="1230"/>
                    <a:pt x="275" y="1240"/>
                  </a:cubicBezTo>
                  <a:cubicBezTo>
                    <a:pt x="263" y="1249"/>
                    <a:pt x="253" y="1252"/>
                    <a:pt x="247" y="1250"/>
                  </a:cubicBezTo>
                  <a:cubicBezTo>
                    <a:pt x="237" y="1247"/>
                    <a:pt x="237" y="1245"/>
                    <a:pt x="234" y="1236"/>
                  </a:cubicBezTo>
                  <a:cubicBezTo>
                    <a:pt x="232" y="1227"/>
                    <a:pt x="232" y="1212"/>
                    <a:pt x="232" y="1194"/>
                  </a:cubicBezTo>
                  <a:cubicBezTo>
                    <a:pt x="232" y="1157"/>
                    <a:pt x="228" y="1107"/>
                    <a:pt x="181" y="1071"/>
                  </a:cubicBezTo>
                  <a:lnTo>
                    <a:pt x="180" y="1070"/>
                  </a:lnTo>
                  <a:lnTo>
                    <a:pt x="180" y="1070"/>
                  </a:lnTo>
                  <a:cubicBezTo>
                    <a:pt x="160" y="1056"/>
                    <a:pt x="136" y="1055"/>
                    <a:pt x="118" y="1063"/>
                  </a:cubicBezTo>
                  <a:cubicBezTo>
                    <a:pt x="101" y="1072"/>
                    <a:pt x="90" y="1087"/>
                    <a:pt x="81" y="1101"/>
                  </a:cubicBezTo>
                  <a:cubicBezTo>
                    <a:pt x="72" y="1116"/>
                    <a:pt x="65" y="1131"/>
                    <a:pt x="59" y="1141"/>
                  </a:cubicBezTo>
                  <a:cubicBezTo>
                    <a:pt x="57" y="1144"/>
                    <a:pt x="56" y="1145"/>
                    <a:pt x="54" y="1146"/>
                  </a:cubicBezTo>
                  <a:cubicBezTo>
                    <a:pt x="53" y="1145"/>
                    <a:pt x="53" y="1146"/>
                    <a:pt x="51" y="1143"/>
                  </a:cubicBezTo>
                  <a:cubicBezTo>
                    <a:pt x="48" y="1137"/>
                    <a:pt x="46" y="1128"/>
                    <a:pt x="45" y="1121"/>
                  </a:cubicBezTo>
                  <a:cubicBezTo>
                    <a:pt x="41" y="1077"/>
                    <a:pt x="70" y="1028"/>
                    <a:pt x="100" y="985"/>
                  </a:cubicBezTo>
                  <a:cubicBezTo>
                    <a:pt x="186" y="862"/>
                    <a:pt x="329" y="783"/>
                    <a:pt x="451" y="681"/>
                  </a:cubicBezTo>
                  <a:cubicBezTo>
                    <a:pt x="628" y="533"/>
                    <a:pt x="803" y="382"/>
                    <a:pt x="988" y="246"/>
                  </a:cubicBezTo>
                  <a:cubicBezTo>
                    <a:pt x="1041" y="207"/>
                    <a:pt x="1088" y="154"/>
                    <a:pt x="1137" y="112"/>
                  </a:cubicBezTo>
                  <a:cubicBezTo>
                    <a:pt x="1185" y="70"/>
                    <a:pt x="1234" y="41"/>
                    <a:pt x="1289"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7"/>
            <p:cNvSpPr>
              <a:spLocks noEditPoints="1"/>
            </p:cNvSpPr>
            <p:nvPr/>
          </p:nvSpPr>
          <p:spPr bwMode="auto">
            <a:xfrm>
              <a:off x="5356225" y="3216276"/>
              <a:ext cx="347662" cy="271463"/>
            </a:xfrm>
            <a:custGeom>
              <a:avLst/>
              <a:gdLst>
                <a:gd name="T0" fmla="*/ 610 w 711"/>
                <a:gd name="T1" fmla="*/ 1 h 557"/>
                <a:gd name="T2" fmla="*/ 525 w 711"/>
                <a:gd name="T3" fmla="*/ 22 h 557"/>
                <a:gd name="T4" fmla="*/ 296 w 711"/>
                <a:gd name="T5" fmla="*/ 112 h 557"/>
                <a:gd name="T6" fmla="*/ 296 w 711"/>
                <a:gd name="T7" fmla="*/ 112 h 557"/>
                <a:gd name="T8" fmla="*/ 295 w 711"/>
                <a:gd name="T9" fmla="*/ 112 h 557"/>
                <a:gd name="T10" fmla="*/ 81 w 711"/>
                <a:gd name="T11" fmla="*/ 208 h 557"/>
                <a:gd name="T12" fmla="*/ 11 w 711"/>
                <a:gd name="T13" fmla="*/ 263 h 557"/>
                <a:gd name="T14" fmla="*/ 4 w 711"/>
                <a:gd name="T15" fmla="*/ 303 h 557"/>
                <a:gd name="T16" fmla="*/ 30 w 711"/>
                <a:gd name="T17" fmla="*/ 337 h 557"/>
                <a:gd name="T18" fmla="*/ 31 w 711"/>
                <a:gd name="T19" fmla="*/ 338 h 557"/>
                <a:gd name="T20" fmla="*/ 32 w 711"/>
                <a:gd name="T21" fmla="*/ 339 h 557"/>
                <a:gd name="T22" fmla="*/ 71 w 711"/>
                <a:gd name="T23" fmla="*/ 345 h 557"/>
                <a:gd name="T24" fmla="*/ 110 w 711"/>
                <a:gd name="T25" fmla="*/ 341 h 557"/>
                <a:gd name="T26" fmla="*/ 165 w 711"/>
                <a:gd name="T27" fmla="*/ 349 h 557"/>
                <a:gd name="T28" fmla="*/ 169 w 711"/>
                <a:gd name="T29" fmla="*/ 378 h 557"/>
                <a:gd name="T30" fmla="*/ 156 w 711"/>
                <a:gd name="T31" fmla="*/ 428 h 557"/>
                <a:gd name="T32" fmla="*/ 145 w 711"/>
                <a:gd name="T33" fmla="*/ 486 h 557"/>
                <a:gd name="T34" fmla="*/ 171 w 711"/>
                <a:gd name="T35" fmla="*/ 545 h 557"/>
                <a:gd name="T36" fmla="*/ 216 w 711"/>
                <a:gd name="T37" fmla="*/ 554 h 557"/>
                <a:gd name="T38" fmla="*/ 263 w 711"/>
                <a:gd name="T39" fmla="*/ 536 h 557"/>
                <a:gd name="T40" fmla="*/ 371 w 711"/>
                <a:gd name="T41" fmla="*/ 462 h 557"/>
                <a:gd name="T42" fmla="*/ 474 w 711"/>
                <a:gd name="T43" fmla="*/ 376 h 557"/>
                <a:gd name="T44" fmla="*/ 531 w 711"/>
                <a:gd name="T45" fmla="*/ 326 h 557"/>
                <a:gd name="T46" fmla="*/ 616 w 711"/>
                <a:gd name="T47" fmla="*/ 266 h 557"/>
                <a:gd name="T48" fmla="*/ 662 w 711"/>
                <a:gd name="T49" fmla="*/ 232 h 557"/>
                <a:gd name="T50" fmla="*/ 693 w 711"/>
                <a:gd name="T51" fmla="*/ 208 h 557"/>
                <a:gd name="T52" fmla="*/ 708 w 711"/>
                <a:gd name="T53" fmla="*/ 174 h 557"/>
                <a:gd name="T54" fmla="*/ 711 w 711"/>
                <a:gd name="T55" fmla="*/ 130 h 557"/>
                <a:gd name="T56" fmla="*/ 689 w 711"/>
                <a:gd name="T57" fmla="*/ 39 h 557"/>
                <a:gd name="T58" fmla="*/ 654 w 711"/>
                <a:gd name="T59" fmla="*/ 7 h 557"/>
                <a:gd name="T60" fmla="*/ 610 w 711"/>
                <a:gd name="T61" fmla="*/ 1 h 557"/>
                <a:gd name="T62" fmla="*/ 612 w 711"/>
                <a:gd name="T63" fmla="*/ 41 h 557"/>
                <a:gd name="T64" fmla="*/ 639 w 711"/>
                <a:gd name="T65" fmla="*/ 44 h 557"/>
                <a:gd name="T66" fmla="*/ 654 w 711"/>
                <a:gd name="T67" fmla="*/ 57 h 557"/>
                <a:gd name="T68" fmla="*/ 671 w 711"/>
                <a:gd name="T69" fmla="*/ 132 h 557"/>
                <a:gd name="T70" fmla="*/ 669 w 711"/>
                <a:gd name="T71" fmla="*/ 166 h 557"/>
                <a:gd name="T72" fmla="*/ 664 w 711"/>
                <a:gd name="T73" fmla="*/ 180 h 557"/>
                <a:gd name="T74" fmla="*/ 639 w 711"/>
                <a:gd name="T75" fmla="*/ 200 h 557"/>
                <a:gd name="T76" fmla="*/ 593 w 711"/>
                <a:gd name="T77" fmla="*/ 233 h 557"/>
                <a:gd name="T78" fmla="*/ 508 w 711"/>
                <a:gd name="T79" fmla="*/ 293 h 557"/>
                <a:gd name="T80" fmla="*/ 447 w 711"/>
                <a:gd name="T81" fmla="*/ 346 h 557"/>
                <a:gd name="T82" fmla="*/ 346 w 711"/>
                <a:gd name="T83" fmla="*/ 430 h 557"/>
                <a:gd name="T84" fmla="*/ 244 w 711"/>
                <a:gd name="T85" fmla="*/ 500 h 557"/>
                <a:gd name="T86" fmla="*/ 208 w 711"/>
                <a:gd name="T87" fmla="*/ 515 h 557"/>
                <a:gd name="T88" fmla="*/ 198 w 711"/>
                <a:gd name="T89" fmla="*/ 515 h 557"/>
                <a:gd name="T90" fmla="*/ 185 w 711"/>
                <a:gd name="T91" fmla="*/ 486 h 557"/>
                <a:gd name="T92" fmla="*/ 194 w 711"/>
                <a:gd name="T93" fmla="*/ 440 h 557"/>
                <a:gd name="T94" fmla="*/ 209 w 711"/>
                <a:gd name="T95" fmla="*/ 384 h 557"/>
                <a:gd name="T96" fmla="*/ 196 w 711"/>
                <a:gd name="T97" fmla="*/ 323 h 557"/>
                <a:gd name="T98" fmla="*/ 195 w 711"/>
                <a:gd name="T99" fmla="*/ 321 h 557"/>
                <a:gd name="T100" fmla="*/ 194 w 711"/>
                <a:gd name="T101" fmla="*/ 320 h 557"/>
                <a:gd name="T102" fmla="*/ 106 w 711"/>
                <a:gd name="T103" fmla="*/ 301 h 557"/>
                <a:gd name="T104" fmla="*/ 69 w 711"/>
                <a:gd name="T105" fmla="*/ 305 h 557"/>
                <a:gd name="T106" fmla="*/ 52 w 711"/>
                <a:gd name="T107" fmla="*/ 304 h 557"/>
                <a:gd name="T108" fmla="*/ 43 w 711"/>
                <a:gd name="T109" fmla="*/ 293 h 557"/>
                <a:gd name="T110" fmla="*/ 45 w 711"/>
                <a:gd name="T111" fmla="*/ 285 h 557"/>
                <a:gd name="T112" fmla="*/ 100 w 711"/>
                <a:gd name="T113" fmla="*/ 243 h 557"/>
                <a:gd name="T114" fmla="*/ 312 w 711"/>
                <a:gd name="T115" fmla="*/ 149 h 557"/>
                <a:gd name="T116" fmla="*/ 538 w 711"/>
                <a:gd name="T117" fmla="*/ 59 h 557"/>
                <a:gd name="T118" fmla="*/ 612 w 711"/>
                <a:gd name="T11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1" h="557">
                  <a:moveTo>
                    <a:pt x="610" y="1"/>
                  </a:moveTo>
                  <a:cubicBezTo>
                    <a:pt x="580" y="3"/>
                    <a:pt x="550" y="13"/>
                    <a:pt x="525" y="22"/>
                  </a:cubicBezTo>
                  <a:cubicBezTo>
                    <a:pt x="474" y="39"/>
                    <a:pt x="317" y="103"/>
                    <a:pt x="296" y="112"/>
                  </a:cubicBezTo>
                  <a:lnTo>
                    <a:pt x="296" y="112"/>
                  </a:lnTo>
                  <a:lnTo>
                    <a:pt x="295" y="112"/>
                  </a:lnTo>
                  <a:cubicBezTo>
                    <a:pt x="230" y="143"/>
                    <a:pt x="143" y="175"/>
                    <a:pt x="81" y="208"/>
                  </a:cubicBezTo>
                  <a:cubicBezTo>
                    <a:pt x="51" y="225"/>
                    <a:pt x="25" y="241"/>
                    <a:pt x="11" y="263"/>
                  </a:cubicBezTo>
                  <a:cubicBezTo>
                    <a:pt x="4" y="274"/>
                    <a:pt x="0" y="289"/>
                    <a:pt x="4" y="303"/>
                  </a:cubicBezTo>
                  <a:cubicBezTo>
                    <a:pt x="7" y="316"/>
                    <a:pt x="17" y="328"/>
                    <a:pt x="30" y="337"/>
                  </a:cubicBezTo>
                  <a:lnTo>
                    <a:pt x="31" y="338"/>
                  </a:lnTo>
                  <a:lnTo>
                    <a:pt x="32" y="339"/>
                  </a:lnTo>
                  <a:cubicBezTo>
                    <a:pt x="45" y="346"/>
                    <a:pt x="58" y="346"/>
                    <a:pt x="71" y="345"/>
                  </a:cubicBezTo>
                  <a:cubicBezTo>
                    <a:pt x="84" y="344"/>
                    <a:pt x="97" y="342"/>
                    <a:pt x="110" y="341"/>
                  </a:cubicBezTo>
                  <a:cubicBezTo>
                    <a:pt x="134" y="338"/>
                    <a:pt x="154" y="340"/>
                    <a:pt x="165" y="349"/>
                  </a:cubicBezTo>
                  <a:cubicBezTo>
                    <a:pt x="169" y="356"/>
                    <a:pt x="171" y="365"/>
                    <a:pt x="169" y="378"/>
                  </a:cubicBezTo>
                  <a:cubicBezTo>
                    <a:pt x="167" y="392"/>
                    <a:pt x="161" y="410"/>
                    <a:pt x="156" y="428"/>
                  </a:cubicBezTo>
                  <a:cubicBezTo>
                    <a:pt x="150" y="446"/>
                    <a:pt x="145" y="466"/>
                    <a:pt x="145" y="486"/>
                  </a:cubicBezTo>
                  <a:cubicBezTo>
                    <a:pt x="145" y="507"/>
                    <a:pt x="153" y="529"/>
                    <a:pt x="171" y="545"/>
                  </a:cubicBezTo>
                  <a:cubicBezTo>
                    <a:pt x="184" y="556"/>
                    <a:pt x="201" y="557"/>
                    <a:pt x="216" y="554"/>
                  </a:cubicBezTo>
                  <a:cubicBezTo>
                    <a:pt x="231" y="551"/>
                    <a:pt x="247" y="545"/>
                    <a:pt x="263" y="536"/>
                  </a:cubicBezTo>
                  <a:cubicBezTo>
                    <a:pt x="296" y="518"/>
                    <a:pt x="334" y="491"/>
                    <a:pt x="371" y="462"/>
                  </a:cubicBezTo>
                  <a:cubicBezTo>
                    <a:pt x="408" y="432"/>
                    <a:pt x="444" y="401"/>
                    <a:pt x="474" y="376"/>
                  </a:cubicBezTo>
                  <a:cubicBezTo>
                    <a:pt x="503" y="350"/>
                    <a:pt x="526" y="330"/>
                    <a:pt x="531" y="326"/>
                  </a:cubicBezTo>
                  <a:cubicBezTo>
                    <a:pt x="547" y="314"/>
                    <a:pt x="583" y="289"/>
                    <a:pt x="616" y="266"/>
                  </a:cubicBezTo>
                  <a:cubicBezTo>
                    <a:pt x="633" y="254"/>
                    <a:pt x="649" y="242"/>
                    <a:pt x="662" y="232"/>
                  </a:cubicBezTo>
                  <a:cubicBezTo>
                    <a:pt x="676" y="222"/>
                    <a:pt x="686" y="215"/>
                    <a:pt x="693" y="208"/>
                  </a:cubicBezTo>
                  <a:cubicBezTo>
                    <a:pt x="703" y="198"/>
                    <a:pt x="706" y="186"/>
                    <a:pt x="708" y="174"/>
                  </a:cubicBezTo>
                  <a:cubicBezTo>
                    <a:pt x="711" y="161"/>
                    <a:pt x="711" y="146"/>
                    <a:pt x="711" y="130"/>
                  </a:cubicBezTo>
                  <a:cubicBezTo>
                    <a:pt x="710" y="100"/>
                    <a:pt x="703" y="66"/>
                    <a:pt x="689" y="39"/>
                  </a:cubicBezTo>
                  <a:cubicBezTo>
                    <a:pt x="682" y="24"/>
                    <a:pt x="669" y="13"/>
                    <a:pt x="654" y="7"/>
                  </a:cubicBezTo>
                  <a:cubicBezTo>
                    <a:pt x="640" y="1"/>
                    <a:pt x="625" y="0"/>
                    <a:pt x="610" y="1"/>
                  </a:cubicBezTo>
                  <a:close/>
                  <a:moveTo>
                    <a:pt x="612" y="41"/>
                  </a:moveTo>
                  <a:cubicBezTo>
                    <a:pt x="624" y="40"/>
                    <a:pt x="633" y="41"/>
                    <a:pt x="639" y="44"/>
                  </a:cubicBezTo>
                  <a:cubicBezTo>
                    <a:pt x="646" y="47"/>
                    <a:pt x="650" y="50"/>
                    <a:pt x="654" y="57"/>
                  </a:cubicBezTo>
                  <a:cubicBezTo>
                    <a:pt x="663" y="76"/>
                    <a:pt x="670" y="106"/>
                    <a:pt x="671" y="132"/>
                  </a:cubicBezTo>
                  <a:cubicBezTo>
                    <a:pt x="671" y="145"/>
                    <a:pt x="670" y="157"/>
                    <a:pt x="669" y="166"/>
                  </a:cubicBezTo>
                  <a:cubicBezTo>
                    <a:pt x="667" y="175"/>
                    <a:pt x="663" y="181"/>
                    <a:pt x="664" y="180"/>
                  </a:cubicBezTo>
                  <a:cubicBezTo>
                    <a:pt x="662" y="182"/>
                    <a:pt x="652" y="191"/>
                    <a:pt x="639" y="200"/>
                  </a:cubicBezTo>
                  <a:cubicBezTo>
                    <a:pt x="626" y="210"/>
                    <a:pt x="610" y="221"/>
                    <a:pt x="593" y="233"/>
                  </a:cubicBezTo>
                  <a:cubicBezTo>
                    <a:pt x="560" y="257"/>
                    <a:pt x="525" y="281"/>
                    <a:pt x="508" y="293"/>
                  </a:cubicBezTo>
                  <a:cubicBezTo>
                    <a:pt x="496" y="302"/>
                    <a:pt x="476" y="320"/>
                    <a:pt x="447" y="346"/>
                  </a:cubicBezTo>
                  <a:cubicBezTo>
                    <a:pt x="418" y="371"/>
                    <a:pt x="383" y="402"/>
                    <a:pt x="346" y="430"/>
                  </a:cubicBezTo>
                  <a:cubicBezTo>
                    <a:pt x="310" y="459"/>
                    <a:pt x="274" y="485"/>
                    <a:pt x="244" y="500"/>
                  </a:cubicBezTo>
                  <a:cubicBezTo>
                    <a:pt x="230" y="508"/>
                    <a:pt x="217" y="513"/>
                    <a:pt x="208" y="515"/>
                  </a:cubicBezTo>
                  <a:cubicBezTo>
                    <a:pt x="200" y="517"/>
                    <a:pt x="198" y="515"/>
                    <a:pt x="198" y="515"/>
                  </a:cubicBezTo>
                  <a:cubicBezTo>
                    <a:pt x="188" y="506"/>
                    <a:pt x="185" y="498"/>
                    <a:pt x="185" y="486"/>
                  </a:cubicBezTo>
                  <a:cubicBezTo>
                    <a:pt x="185" y="473"/>
                    <a:pt x="189" y="457"/>
                    <a:pt x="194" y="440"/>
                  </a:cubicBezTo>
                  <a:cubicBezTo>
                    <a:pt x="199" y="422"/>
                    <a:pt x="206" y="403"/>
                    <a:pt x="209" y="384"/>
                  </a:cubicBezTo>
                  <a:cubicBezTo>
                    <a:pt x="211" y="364"/>
                    <a:pt x="210" y="342"/>
                    <a:pt x="196" y="323"/>
                  </a:cubicBezTo>
                  <a:lnTo>
                    <a:pt x="195" y="321"/>
                  </a:lnTo>
                  <a:lnTo>
                    <a:pt x="194" y="320"/>
                  </a:lnTo>
                  <a:cubicBezTo>
                    <a:pt x="168" y="296"/>
                    <a:pt x="133" y="298"/>
                    <a:pt x="106" y="301"/>
                  </a:cubicBezTo>
                  <a:cubicBezTo>
                    <a:pt x="92" y="302"/>
                    <a:pt x="79" y="304"/>
                    <a:pt x="69" y="305"/>
                  </a:cubicBezTo>
                  <a:cubicBezTo>
                    <a:pt x="59" y="305"/>
                    <a:pt x="54" y="304"/>
                    <a:pt x="52" y="304"/>
                  </a:cubicBezTo>
                  <a:cubicBezTo>
                    <a:pt x="46" y="299"/>
                    <a:pt x="43" y="294"/>
                    <a:pt x="43" y="293"/>
                  </a:cubicBezTo>
                  <a:cubicBezTo>
                    <a:pt x="42" y="291"/>
                    <a:pt x="42" y="289"/>
                    <a:pt x="45" y="285"/>
                  </a:cubicBezTo>
                  <a:cubicBezTo>
                    <a:pt x="51" y="275"/>
                    <a:pt x="72" y="259"/>
                    <a:pt x="100" y="243"/>
                  </a:cubicBezTo>
                  <a:cubicBezTo>
                    <a:pt x="157" y="212"/>
                    <a:pt x="244" y="180"/>
                    <a:pt x="312" y="149"/>
                  </a:cubicBezTo>
                  <a:cubicBezTo>
                    <a:pt x="329" y="141"/>
                    <a:pt x="491" y="76"/>
                    <a:pt x="538" y="59"/>
                  </a:cubicBezTo>
                  <a:cubicBezTo>
                    <a:pt x="562" y="51"/>
                    <a:pt x="590" y="42"/>
                    <a:pt x="61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48"/>
            <p:cNvSpPr>
              <a:spLocks noEditPoints="1"/>
            </p:cNvSpPr>
            <p:nvPr/>
          </p:nvSpPr>
          <p:spPr bwMode="auto">
            <a:xfrm>
              <a:off x="5580063" y="3165476"/>
              <a:ext cx="377825" cy="679450"/>
            </a:xfrm>
            <a:custGeom>
              <a:avLst/>
              <a:gdLst>
                <a:gd name="T0" fmla="*/ 1 w 775"/>
                <a:gd name="T1" fmla="*/ 112 h 1388"/>
                <a:gd name="T2" fmla="*/ 0 w 775"/>
                <a:gd name="T3" fmla="*/ 115 h 1388"/>
                <a:gd name="T4" fmla="*/ 40 w 775"/>
                <a:gd name="T5" fmla="*/ 171 h 1388"/>
                <a:gd name="T6" fmla="*/ 161 w 775"/>
                <a:gd name="T7" fmla="*/ 143 h 1388"/>
                <a:gd name="T8" fmla="*/ 212 w 775"/>
                <a:gd name="T9" fmla="*/ 268 h 1388"/>
                <a:gd name="T10" fmla="*/ 54 w 775"/>
                <a:gd name="T11" fmla="*/ 392 h 1388"/>
                <a:gd name="T12" fmla="*/ 33 w 775"/>
                <a:gd name="T13" fmla="*/ 468 h 1388"/>
                <a:gd name="T14" fmla="*/ 237 w 775"/>
                <a:gd name="T15" fmla="*/ 809 h 1388"/>
                <a:gd name="T16" fmla="*/ 395 w 775"/>
                <a:gd name="T17" fmla="*/ 1096 h 1388"/>
                <a:gd name="T18" fmla="*/ 546 w 775"/>
                <a:gd name="T19" fmla="*/ 1355 h 1388"/>
                <a:gd name="T20" fmla="*/ 577 w 775"/>
                <a:gd name="T21" fmla="*/ 1384 h 1388"/>
                <a:gd name="T22" fmla="*/ 639 w 775"/>
                <a:gd name="T23" fmla="*/ 1287 h 1388"/>
                <a:gd name="T24" fmla="*/ 745 w 775"/>
                <a:gd name="T25" fmla="*/ 1074 h 1388"/>
                <a:gd name="T26" fmla="*/ 759 w 775"/>
                <a:gd name="T27" fmla="*/ 950 h 1388"/>
                <a:gd name="T28" fmla="*/ 651 w 775"/>
                <a:gd name="T29" fmla="*/ 775 h 1388"/>
                <a:gd name="T30" fmla="*/ 521 w 775"/>
                <a:gd name="T31" fmla="*/ 581 h 1388"/>
                <a:gd name="T32" fmla="*/ 521 w 775"/>
                <a:gd name="T33" fmla="*/ 579 h 1388"/>
                <a:gd name="T34" fmla="*/ 307 w 775"/>
                <a:gd name="T35" fmla="*/ 90 h 1388"/>
                <a:gd name="T36" fmla="*/ 190 w 775"/>
                <a:gd name="T37" fmla="*/ 49 h 1388"/>
                <a:gd name="T38" fmla="*/ 191 w 775"/>
                <a:gd name="T39" fmla="*/ 49 h 1388"/>
                <a:gd name="T40" fmla="*/ 353 w 775"/>
                <a:gd name="T41" fmla="*/ 272 h 1388"/>
                <a:gd name="T42" fmla="*/ 534 w 775"/>
                <a:gd name="T43" fmla="*/ 673 h 1388"/>
                <a:gd name="T44" fmla="*/ 697 w 775"/>
                <a:gd name="T45" fmla="*/ 922 h 1388"/>
                <a:gd name="T46" fmla="*/ 732 w 775"/>
                <a:gd name="T47" fmla="*/ 990 h 1388"/>
                <a:gd name="T48" fmla="*/ 656 w 775"/>
                <a:gd name="T49" fmla="*/ 1151 h 1388"/>
                <a:gd name="T50" fmla="*/ 596 w 775"/>
                <a:gd name="T51" fmla="*/ 1340 h 1388"/>
                <a:gd name="T52" fmla="*/ 552 w 775"/>
                <a:gd name="T53" fmla="*/ 1280 h 1388"/>
                <a:gd name="T54" fmla="*/ 430 w 775"/>
                <a:gd name="T55" fmla="*/ 1076 h 1388"/>
                <a:gd name="T56" fmla="*/ 272 w 775"/>
                <a:gd name="T57" fmla="*/ 789 h 1388"/>
                <a:gd name="T58" fmla="*/ 69 w 775"/>
                <a:gd name="T59" fmla="*/ 449 h 1388"/>
                <a:gd name="T60" fmla="*/ 66 w 775"/>
                <a:gd name="T61" fmla="*/ 438 h 1388"/>
                <a:gd name="T62" fmla="*/ 188 w 775"/>
                <a:gd name="T63" fmla="*/ 351 h 1388"/>
                <a:gd name="T64" fmla="*/ 230 w 775"/>
                <a:gd name="T65" fmla="*/ 139 h 1388"/>
                <a:gd name="T66" fmla="*/ 228 w 775"/>
                <a:gd name="T67" fmla="*/ 136 h 1388"/>
                <a:gd name="T68" fmla="*/ 89 w 775"/>
                <a:gd name="T69" fmla="*/ 120 h 1388"/>
                <a:gd name="T70" fmla="*/ 42 w 775"/>
                <a:gd name="T71" fmla="*/ 131 h 1388"/>
                <a:gd name="T72" fmla="*/ 190 w 775"/>
                <a:gd name="T73" fmla="*/ 49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5" h="1388">
                  <a:moveTo>
                    <a:pt x="193" y="9"/>
                  </a:moveTo>
                  <a:cubicBezTo>
                    <a:pt x="89" y="0"/>
                    <a:pt x="12" y="50"/>
                    <a:pt x="1" y="112"/>
                  </a:cubicBezTo>
                  <a:lnTo>
                    <a:pt x="0" y="114"/>
                  </a:lnTo>
                  <a:lnTo>
                    <a:pt x="0" y="115"/>
                  </a:lnTo>
                  <a:cubicBezTo>
                    <a:pt x="0" y="130"/>
                    <a:pt x="2" y="143"/>
                    <a:pt x="9" y="153"/>
                  </a:cubicBezTo>
                  <a:cubicBezTo>
                    <a:pt x="16" y="164"/>
                    <a:pt x="29" y="170"/>
                    <a:pt x="40" y="171"/>
                  </a:cubicBezTo>
                  <a:cubicBezTo>
                    <a:pt x="62" y="173"/>
                    <a:pt x="81" y="165"/>
                    <a:pt x="102" y="158"/>
                  </a:cubicBezTo>
                  <a:cubicBezTo>
                    <a:pt x="123" y="151"/>
                    <a:pt x="145" y="144"/>
                    <a:pt x="161" y="143"/>
                  </a:cubicBezTo>
                  <a:cubicBezTo>
                    <a:pt x="177" y="142"/>
                    <a:pt x="185" y="145"/>
                    <a:pt x="194" y="157"/>
                  </a:cubicBezTo>
                  <a:cubicBezTo>
                    <a:pt x="219" y="213"/>
                    <a:pt x="220" y="246"/>
                    <a:pt x="212" y="268"/>
                  </a:cubicBezTo>
                  <a:cubicBezTo>
                    <a:pt x="204" y="290"/>
                    <a:pt x="187" y="303"/>
                    <a:pt x="166" y="318"/>
                  </a:cubicBezTo>
                  <a:cubicBezTo>
                    <a:pt x="114" y="352"/>
                    <a:pt x="77" y="373"/>
                    <a:pt x="54" y="392"/>
                  </a:cubicBezTo>
                  <a:cubicBezTo>
                    <a:pt x="42" y="402"/>
                    <a:pt x="32" y="412"/>
                    <a:pt x="28" y="426"/>
                  </a:cubicBezTo>
                  <a:cubicBezTo>
                    <a:pt x="23" y="439"/>
                    <a:pt x="26" y="455"/>
                    <a:pt x="33" y="468"/>
                  </a:cubicBezTo>
                  <a:cubicBezTo>
                    <a:pt x="83" y="590"/>
                    <a:pt x="173" y="696"/>
                    <a:pt x="237" y="809"/>
                  </a:cubicBezTo>
                  <a:lnTo>
                    <a:pt x="237" y="809"/>
                  </a:lnTo>
                  <a:lnTo>
                    <a:pt x="237" y="809"/>
                  </a:lnTo>
                  <a:cubicBezTo>
                    <a:pt x="262" y="852"/>
                    <a:pt x="330" y="979"/>
                    <a:pt x="395" y="1096"/>
                  </a:cubicBezTo>
                  <a:cubicBezTo>
                    <a:pt x="428" y="1154"/>
                    <a:pt x="460" y="1210"/>
                    <a:pt x="486" y="1252"/>
                  </a:cubicBezTo>
                  <a:cubicBezTo>
                    <a:pt x="499" y="1273"/>
                    <a:pt x="537" y="1342"/>
                    <a:pt x="546" y="1355"/>
                  </a:cubicBezTo>
                  <a:cubicBezTo>
                    <a:pt x="551" y="1362"/>
                    <a:pt x="555" y="1367"/>
                    <a:pt x="559" y="1372"/>
                  </a:cubicBezTo>
                  <a:cubicBezTo>
                    <a:pt x="564" y="1376"/>
                    <a:pt x="566" y="1381"/>
                    <a:pt x="577" y="1384"/>
                  </a:cubicBezTo>
                  <a:cubicBezTo>
                    <a:pt x="593" y="1388"/>
                    <a:pt x="607" y="1381"/>
                    <a:pt x="620" y="1372"/>
                  </a:cubicBezTo>
                  <a:cubicBezTo>
                    <a:pt x="632" y="1364"/>
                    <a:pt x="628" y="1303"/>
                    <a:pt x="639" y="1287"/>
                  </a:cubicBezTo>
                  <a:cubicBezTo>
                    <a:pt x="663" y="1257"/>
                    <a:pt x="675" y="1213"/>
                    <a:pt x="693" y="1165"/>
                  </a:cubicBezTo>
                  <a:cubicBezTo>
                    <a:pt x="709" y="1122"/>
                    <a:pt x="728" y="1098"/>
                    <a:pt x="745" y="1074"/>
                  </a:cubicBezTo>
                  <a:cubicBezTo>
                    <a:pt x="761" y="1050"/>
                    <a:pt x="775" y="1024"/>
                    <a:pt x="772" y="987"/>
                  </a:cubicBezTo>
                  <a:cubicBezTo>
                    <a:pt x="771" y="974"/>
                    <a:pt x="766" y="964"/>
                    <a:pt x="759" y="950"/>
                  </a:cubicBezTo>
                  <a:cubicBezTo>
                    <a:pt x="752" y="936"/>
                    <a:pt x="743" y="920"/>
                    <a:pt x="732" y="901"/>
                  </a:cubicBezTo>
                  <a:cubicBezTo>
                    <a:pt x="709" y="864"/>
                    <a:pt x="680" y="819"/>
                    <a:pt x="651" y="775"/>
                  </a:cubicBezTo>
                  <a:cubicBezTo>
                    <a:pt x="621" y="730"/>
                    <a:pt x="591" y="686"/>
                    <a:pt x="567" y="651"/>
                  </a:cubicBezTo>
                  <a:cubicBezTo>
                    <a:pt x="543" y="615"/>
                    <a:pt x="525" y="587"/>
                    <a:pt x="521" y="581"/>
                  </a:cubicBezTo>
                  <a:lnTo>
                    <a:pt x="521" y="580"/>
                  </a:lnTo>
                  <a:lnTo>
                    <a:pt x="521" y="579"/>
                  </a:lnTo>
                  <a:cubicBezTo>
                    <a:pt x="484" y="522"/>
                    <a:pt x="440" y="382"/>
                    <a:pt x="390" y="257"/>
                  </a:cubicBezTo>
                  <a:cubicBezTo>
                    <a:pt x="365" y="195"/>
                    <a:pt x="338" y="136"/>
                    <a:pt x="307" y="90"/>
                  </a:cubicBezTo>
                  <a:cubicBezTo>
                    <a:pt x="275" y="45"/>
                    <a:pt x="239" y="11"/>
                    <a:pt x="193" y="9"/>
                  </a:cubicBezTo>
                  <a:close/>
                  <a:moveTo>
                    <a:pt x="190" y="49"/>
                  </a:moveTo>
                  <a:lnTo>
                    <a:pt x="191" y="49"/>
                  </a:lnTo>
                  <a:lnTo>
                    <a:pt x="191" y="49"/>
                  </a:lnTo>
                  <a:cubicBezTo>
                    <a:pt x="217" y="50"/>
                    <a:pt x="246" y="72"/>
                    <a:pt x="274" y="113"/>
                  </a:cubicBezTo>
                  <a:cubicBezTo>
                    <a:pt x="302" y="154"/>
                    <a:pt x="328" y="211"/>
                    <a:pt x="353" y="272"/>
                  </a:cubicBezTo>
                  <a:cubicBezTo>
                    <a:pt x="402" y="395"/>
                    <a:pt x="442" y="531"/>
                    <a:pt x="487" y="600"/>
                  </a:cubicBezTo>
                  <a:cubicBezTo>
                    <a:pt x="494" y="614"/>
                    <a:pt x="511" y="638"/>
                    <a:pt x="534" y="673"/>
                  </a:cubicBezTo>
                  <a:cubicBezTo>
                    <a:pt x="558" y="709"/>
                    <a:pt x="588" y="753"/>
                    <a:pt x="617" y="797"/>
                  </a:cubicBezTo>
                  <a:cubicBezTo>
                    <a:pt x="647" y="841"/>
                    <a:pt x="676" y="886"/>
                    <a:pt x="697" y="922"/>
                  </a:cubicBezTo>
                  <a:cubicBezTo>
                    <a:pt x="708" y="940"/>
                    <a:pt x="717" y="956"/>
                    <a:pt x="723" y="968"/>
                  </a:cubicBezTo>
                  <a:cubicBezTo>
                    <a:pt x="729" y="981"/>
                    <a:pt x="732" y="991"/>
                    <a:pt x="732" y="990"/>
                  </a:cubicBezTo>
                  <a:cubicBezTo>
                    <a:pt x="734" y="1017"/>
                    <a:pt x="727" y="1029"/>
                    <a:pt x="712" y="1051"/>
                  </a:cubicBezTo>
                  <a:cubicBezTo>
                    <a:pt x="696" y="1074"/>
                    <a:pt x="674" y="1103"/>
                    <a:pt x="656" y="1151"/>
                  </a:cubicBezTo>
                  <a:cubicBezTo>
                    <a:pt x="639" y="1195"/>
                    <a:pt x="628" y="1237"/>
                    <a:pt x="608" y="1263"/>
                  </a:cubicBezTo>
                  <a:cubicBezTo>
                    <a:pt x="598" y="1276"/>
                    <a:pt x="604" y="1334"/>
                    <a:pt x="596" y="1340"/>
                  </a:cubicBezTo>
                  <a:cubicBezTo>
                    <a:pt x="590" y="1344"/>
                    <a:pt x="589" y="1344"/>
                    <a:pt x="588" y="1344"/>
                  </a:cubicBezTo>
                  <a:cubicBezTo>
                    <a:pt x="586" y="1341"/>
                    <a:pt x="556" y="1286"/>
                    <a:pt x="552" y="1280"/>
                  </a:cubicBezTo>
                  <a:cubicBezTo>
                    <a:pt x="544" y="1269"/>
                    <a:pt x="533" y="1252"/>
                    <a:pt x="520" y="1231"/>
                  </a:cubicBezTo>
                  <a:cubicBezTo>
                    <a:pt x="495" y="1190"/>
                    <a:pt x="463" y="1134"/>
                    <a:pt x="430" y="1076"/>
                  </a:cubicBezTo>
                  <a:cubicBezTo>
                    <a:pt x="365" y="960"/>
                    <a:pt x="298" y="834"/>
                    <a:pt x="272" y="790"/>
                  </a:cubicBezTo>
                  <a:lnTo>
                    <a:pt x="272" y="789"/>
                  </a:lnTo>
                  <a:cubicBezTo>
                    <a:pt x="204" y="671"/>
                    <a:pt x="116" y="565"/>
                    <a:pt x="69" y="450"/>
                  </a:cubicBezTo>
                  <a:lnTo>
                    <a:pt x="69" y="449"/>
                  </a:lnTo>
                  <a:lnTo>
                    <a:pt x="68" y="448"/>
                  </a:lnTo>
                  <a:cubicBezTo>
                    <a:pt x="64" y="441"/>
                    <a:pt x="65" y="440"/>
                    <a:pt x="66" y="438"/>
                  </a:cubicBezTo>
                  <a:cubicBezTo>
                    <a:pt x="66" y="436"/>
                    <a:pt x="70" y="431"/>
                    <a:pt x="79" y="423"/>
                  </a:cubicBezTo>
                  <a:cubicBezTo>
                    <a:pt x="98" y="408"/>
                    <a:pt x="135" y="386"/>
                    <a:pt x="188" y="351"/>
                  </a:cubicBezTo>
                  <a:cubicBezTo>
                    <a:pt x="211" y="336"/>
                    <a:pt x="237" y="316"/>
                    <a:pt x="250" y="281"/>
                  </a:cubicBezTo>
                  <a:cubicBezTo>
                    <a:pt x="262" y="246"/>
                    <a:pt x="258" y="201"/>
                    <a:pt x="230" y="139"/>
                  </a:cubicBezTo>
                  <a:lnTo>
                    <a:pt x="229" y="137"/>
                  </a:lnTo>
                  <a:lnTo>
                    <a:pt x="228" y="136"/>
                  </a:lnTo>
                  <a:cubicBezTo>
                    <a:pt x="212" y="110"/>
                    <a:pt x="183" y="102"/>
                    <a:pt x="159" y="103"/>
                  </a:cubicBezTo>
                  <a:cubicBezTo>
                    <a:pt x="134" y="104"/>
                    <a:pt x="110" y="113"/>
                    <a:pt x="89" y="120"/>
                  </a:cubicBezTo>
                  <a:cubicBezTo>
                    <a:pt x="69" y="127"/>
                    <a:pt x="50" y="132"/>
                    <a:pt x="44" y="131"/>
                  </a:cubicBezTo>
                  <a:cubicBezTo>
                    <a:pt x="41" y="131"/>
                    <a:pt x="42" y="131"/>
                    <a:pt x="42" y="131"/>
                  </a:cubicBezTo>
                  <a:cubicBezTo>
                    <a:pt x="42" y="130"/>
                    <a:pt x="41" y="126"/>
                    <a:pt x="41" y="118"/>
                  </a:cubicBezTo>
                  <a:cubicBezTo>
                    <a:pt x="47" y="88"/>
                    <a:pt x="102" y="41"/>
                    <a:pt x="190"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49"/>
            <p:cNvSpPr>
              <a:spLocks noEditPoints="1"/>
            </p:cNvSpPr>
            <p:nvPr/>
          </p:nvSpPr>
          <p:spPr bwMode="auto">
            <a:xfrm>
              <a:off x="5948363" y="3032126"/>
              <a:ext cx="107950" cy="214313"/>
            </a:xfrm>
            <a:custGeom>
              <a:avLst/>
              <a:gdLst>
                <a:gd name="T0" fmla="*/ 155 w 221"/>
                <a:gd name="T1" fmla="*/ 2 h 441"/>
                <a:gd name="T2" fmla="*/ 131 w 221"/>
                <a:gd name="T3" fmla="*/ 4 h 441"/>
                <a:gd name="T4" fmla="*/ 115 w 221"/>
                <a:gd name="T5" fmla="*/ 18 h 441"/>
                <a:gd name="T6" fmla="*/ 100 w 221"/>
                <a:gd name="T7" fmla="*/ 37 h 441"/>
                <a:gd name="T8" fmla="*/ 65 w 221"/>
                <a:gd name="T9" fmla="*/ 90 h 441"/>
                <a:gd name="T10" fmla="*/ 7 w 221"/>
                <a:gd name="T11" fmla="*/ 194 h 441"/>
                <a:gd name="T12" fmla="*/ 11 w 221"/>
                <a:gd name="T13" fmla="*/ 243 h 441"/>
                <a:gd name="T14" fmla="*/ 40 w 221"/>
                <a:gd name="T15" fmla="*/ 283 h 441"/>
                <a:gd name="T16" fmla="*/ 101 w 221"/>
                <a:gd name="T17" fmla="*/ 347 h 441"/>
                <a:gd name="T18" fmla="*/ 100 w 221"/>
                <a:gd name="T19" fmla="*/ 346 h 441"/>
                <a:gd name="T20" fmla="*/ 143 w 221"/>
                <a:gd name="T21" fmla="*/ 403 h 441"/>
                <a:gd name="T22" fmla="*/ 176 w 221"/>
                <a:gd name="T23" fmla="*/ 435 h 441"/>
                <a:gd name="T24" fmla="*/ 188 w 221"/>
                <a:gd name="T25" fmla="*/ 440 h 441"/>
                <a:gd name="T26" fmla="*/ 205 w 221"/>
                <a:gd name="T27" fmla="*/ 438 h 441"/>
                <a:gd name="T28" fmla="*/ 218 w 221"/>
                <a:gd name="T29" fmla="*/ 423 h 441"/>
                <a:gd name="T30" fmla="*/ 220 w 221"/>
                <a:gd name="T31" fmla="*/ 410 h 441"/>
                <a:gd name="T32" fmla="*/ 213 w 221"/>
                <a:gd name="T33" fmla="*/ 172 h 441"/>
                <a:gd name="T34" fmla="*/ 194 w 221"/>
                <a:gd name="T35" fmla="*/ 53 h 441"/>
                <a:gd name="T36" fmla="*/ 174 w 221"/>
                <a:gd name="T37" fmla="*/ 14 h 441"/>
                <a:gd name="T38" fmla="*/ 155 w 221"/>
                <a:gd name="T39" fmla="*/ 2 h 441"/>
                <a:gd name="T40" fmla="*/ 145 w 221"/>
                <a:gd name="T41" fmla="*/ 43 h 441"/>
                <a:gd name="T42" fmla="*/ 155 w 221"/>
                <a:gd name="T43" fmla="*/ 65 h 441"/>
                <a:gd name="T44" fmla="*/ 173 w 221"/>
                <a:gd name="T45" fmla="*/ 176 h 441"/>
                <a:gd name="T46" fmla="*/ 180 w 221"/>
                <a:gd name="T47" fmla="*/ 384 h 441"/>
                <a:gd name="T48" fmla="*/ 173 w 221"/>
                <a:gd name="T49" fmla="*/ 377 h 441"/>
                <a:gd name="T50" fmla="*/ 134 w 221"/>
                <a:gd name="T51" fmla="*/ 324 h 441"/>
                <a:gd name="T52" fmla="*/ 133 w 221"/>
                <a:gd name="T53" fmla="*/ 323 h 441"/>
                <a:gd name="T54" fmla="*/ 133 w 221"/>
                <a:gd name="T55" fmla="*/ 322 h 441"/>
                <a:gd name="T56" fmla="*/ 70 w 221"/>
                <a:gd name="T57" fmla="*/ 256 h 441"/>
                <a:gd name="T58" fmla="*/ 47 w 221"/>
                <a:gd name="T59" fmla="*/ 225 h 441"/>
                <a:gd name="T60" fmla="*/ 44 w 221"/>
                <a:gd name="T61" fmla="*/ 210 h 441"/>
                <a:gd name="T62" fmla="*/ 99 w 221"/>
                <a:gd name="T63" fmla="*/ 111 h 441"/>
                <a:gd name="T64" fmla="*/ 133 w 221"/>
                <a:gd name="T65" fmla="*/ 60 h 441"/>
                <a:gd name="T66" fmla="*/ 145 w 221"/>
                <a:gd name="T67" fmla="*/ 44 h 441"/>
                <a:gd name="T68" fmla="*/ 145 w 221"/>
                <a:gd name="T69" fmla="*/ 4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441">
                  <a:moveTo>
                    <a:pt x="155" y="2"/>
                  </a:moveTo>
                  <a:cubicBezTo>
                    <a:pt x="147" y="0"/>
                    <a:pt x="138" y="1"/>
                    <a:pt x="131" y="4"/>
                  </a:cubicBezTo>
                  <a:cubicBezTo>
                    <a:pt x="121" y="8"/>
                    <a:pt x="119" y="12"/>
                    <a:pt x="115" y="18"/>
                  </a:cubicBezTo>
                  <a:cubicBezTo>
                    <a:pt x="110" y="23"/>
                    <a:pt x="106" y="29"/>
                    <a:pt x="100" y="37"/>
                  </a:cubicBezTo>
                  <a:cubicBezTo>
                    <a:pt x="90" y="51"/>
                    <a:pt x="77" y="70"/>
                    <a:pt x="65" y="90"/>
                  </a:cubicBezTo>
                  <a:cubicBezTo>
                    <a:pt x="41" y="130"/>
                    <a:pt x="17" y="172"/>
                    <a:pt x="7" y="194"/>
                  </a:cubicBezTo>
                  <a:cubicBezTo>
                    <a:pt x="0" y="211"/>
                    <a:pt x="4" y="228"/>
                    <a:pt x="11" y="243"/>
                  </a:cubicBezTo>
                  <a:cubicBezTo>
                    <a:pt x="18" y="257"/>
                    <a:pt x="29" y="270"/>
                    <a:pt x="40" y="283"/>
                  </a:cubicBezTo>
                  <a:cubicBezTo>
                    <a:pt x="62" y="308"/>
                    <a:pt x="90" y="332"/>
                    <a:pt x="101" y="347"/>
                  </a:cubicBezTo>
                  <a:lnTo>
                    <a:pt x="100" y="346"/>
                  </a:lnTo>
                  <a:cubicBezTo>
                    <a:pt x="100" y="346"/>
                    <a:pt x="121" y="377"/>
                    <a:pt x="143" y="403"/>
                  </a:cubicBezTo>
                  <a:cubicBezTo>
                    <a:pt x="153" y="416"/>
                    <a:pt x="163" y="427"/>
                    <a:pt x="176" y="435"/>
                  </a:cubicBezTo>
                  <a:cubicBezTo>
                    <a:pt x="179" y="437"/>
                    <a:pt x="183" y="439"/>
                    <a:pt x="188" y="440"/>
                  </a:cubicBezTo>
                  <a:cubicBezTo>
                    <a:pt x="192" y="441"/>
                    <a:pt x="199" y="441"/>
                    <a:pt x="205" y="438"/>
                  </a:cubicBezTo>
                  <a:cubicBezTo>
                    <a:pt x="212" y="434"/>
                    <a:pt x="216" y="428"/>
                    <a:pt x="218" y="423"/>
                  </a:cubicBezTo>
                  <a:cubicBezTo>
                    <a:pt x="219" y="419"/>
                    <a:pt x="220" y="414"/>
                    <a:pt x="220" y="410"/>
                  </a:cubicBezTo>
                  <a:cubicBezTo>
                    <a:pt x="221" y="367"/>
                    <a:pt x="221" y="263"/>
                    <a:pt x="213" y="172"/>
                  </a:cubicBezTo>
                  <a:cubicBezTo>
                    <a:pt x="209" y="127"/>
                    <a:pt x="203" y="85"/>
                    <a:pt x="194" y="53"/>
                  </a:cubicBezTo>
                  <a:cubicBezTo>
                    <a:pt x="189" y="38"/>
                    <a:pt x="184" y="25"/>
                    <a:pt x="174" y="14"/>
                  </a:cubicBezTo>
                  <a:cubicBezTo>
                    <a:pt x="169" y="9"/>
                    <a:pt x="163" y="4"/>
                    <a:pt x="155" y="2"/>
                  </a:cubicBezTo>
                  <a:close/>
                  <a:moveTo>
                    <a:pt x="145" y="43"/>
                  </a:moveTo>
                  <a:cubicBezTo>
                    <a:pt x="148" y="47"/>
                    <a:pt x="152" y="54"/>
                    <a:pt x="155" y="65"/>
                  </a:cubicBezTo>
                  <a:cubicBezTo>
                    <a:pt x="163" y="91"/>
                    <a:pt x="169" y="132"/>
                    <a:pt x="173" y="176"/>
                  </a:cubicBezTo>
                  <a:cubicBezTo>
                    <a:pt x="180" y="253"/>
                    <a:pt x="180" y="335"/>
                    <a:pt x="180" y="384"/>
                  </a:cubicBezTo>
                  <a:cubicBezTo>
                    <a:pt x="177" y="381"/>
                    <a:pt x="176" y="380"/>
                    <a:pt x="173" y="377"/>
                  </a:cubicBezTo>
                  <a:cubicBezTo>
                    <a:pt x="154" y="354"/>
                    <a:pt x="134" y="324"/>
                    <a:pt x="134" y="324"/>
                  </a:cubicBezTo>
                  <a:lnTo>
                    <a:pt x="133" y="323"/>
                  </a:lnTo>
                  <a:lnTo>
                    <a:pt x="133" y="322"/>
                  </a:lnTo>
                  <a:cubicBezTo>
                    <a:pt x="116" y="301"/>
                    <a:pt x="90" y="278"/>
                    <a:pt x="70" y="256"/>
                  </a:cubicBezTo>
                  <a:cubicBezTo>
                    <a:pt x="59" y="245"/>
                    <a:pt x="51" y="234"/>
                    <a:pt x="47" y="225"/>
                  </a:cubicBezTo>
                  <a:cubicBezTo>
                    <a:pt x="43" y="217"/>
                    <a:pt x="43" y="212"/>
                    <a:pt x="44" y="210"/>
                  </a:cubicBezTo>
                  <a:cubicBezTo>
                    <a:pt x="51" y="194"/>
                    <a:pt x="75" y="150"/>
                    <a:pt x="99" y="111"/>
                  </a:cubicBezTo>
                  <a:cubicBezTo>
                    <a:pt x="111" y="92"/>
                    <a:pt x="123" y="73"/>
                    <a:pt x="133" y="60"/>
                  </a:cubicBezTo>
                  <a:cubicBezTo>
                    <a:pt x="138" y="53"/>
                    <a:pt x="142" y="47"/>
                    <a:pt x="145" y="44"/>
                  </a:cubicBezTo>
                  <a:cubicBezTo>
                    <a:pt x="146" y="43"/>
                    <a:pt x="145" y="44"/>
                    <a:pt x="14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50"/>
            <p:cNvSpPr>
              <a:spLocks noEditPoints="1"/>
            </p:cNvSpPr>
            <p:nvPr/>
          </p:nvSpPr>
          <p:spPr bwMode="auto">
            <a:xfrm>
              <a:off x="6021388" y="2970213"/>
              <a:ext cx="265112" cy="796925"/>
            </a:xfrm>
            <a:custGeom>
              <a:avLst/>
              <a:gdLst>
                <a:gd name="T0" fmla="*/ 159 w 540"/>
                <a:gd name="T1" fmla="*/ 2 h 1631"/>
                <a:gd name="T2" fmla="*/ 158 w 540"/>
                <a:gd name="T3" fmla="*/ 2 h 1631"/>
                <a:gd name="T4" fmla="*/ 156 w 540"/>
                <a:gd name="T5" fmla="*/ 2 h 1631"/>
                <a:gd name="T6" fmla="*/ 51 w 540"/>
                <a:gd name="T7" fmla="*/ 66 h 1631"/>
                <a:gd name="T8" fmla="*/ 10 w 540"/>
                <a:gd name="T9" fmla="*/ 192 h 1631"/>
                <a:gd name="T10" fmla="*/ 9 w 540"/>
                <a:gd name="T11" fmla="*/ 188 h 1631"/>
                <a:gd name="T12" fmla="*/ 10 w 540"/>
                <a:gd name="T13" fmla="*/ 194 h 1631"/>
                <a:gd name="T14" fmla="*/ 11 w 540"/>
                <a:gd name="T15" fmla="*/ 204 h 1631"/>
                <a:gd name="T16" fmla="*/ 15 w 540"/>
                <a:gd name="T17" fmla="*/ 239 h 1631"/>
                <a:gd name="T18" fmla="*/ 29 w 540"/>
                <a:gd name="T19" fmla="*/ 357 h 1631"/>
                <a:gd name="T20" fmla="*/ 70 w 540"/>
                <a:gd name="T21" fmla="*/ 708 h 1631"/>
                <a:gd name="T22" fmla="*/ 131 w 540"/>
                <a:gd name="T23" fmla="*/ 1213 h 1631"/>
                <a:gd name="T24" fmla="*/ 132 w 540"/>
                <a:gd name="T25" fmla="*/ 1217 h 1631"/>
                <a:gd name="T26" fmla="*/ 133 w 540"/>
                <a:gd name="T27" fmla="*/ 1220 h 1631"/>
                <a:gd name="T28" fmla="*/ 290 w 540"/>
                <a:gd name="T29" fmla="*/ 1374 h 1631"/>
                <a:gd name="T30" fmla="*/ 411 w 540"/>
                <a:gd name="T31" fmla="*/ 1577 h 1631"/>
                <a:gd name="T32" fmla="*/ 420 w 540"/>
                <a:gd name="T33" fmla="*/ 1631 h 1631"/>
                <a:gd name="T34" fmla="*/ 540 w 540"/>
                <a:gd name="T35" fmla="*/ 1421 h 1631"/>
                <a:gd name="T36" fmla="*/ 538 w 540"/>
                <a:gd name="T37" fmla="*/ 1413 h 1631"/>
                <a:gd name="T38" fmla="*/ 423 w 540"/>
                <a:gd name="T39" fmla="*/ 705 h 1631"/>
                <a:gd name="T40" fmla="*/ 374 w 540"/>
                <a:gd name="T41" fmla="*/ 95 h 1631"/>
                <a:gd name="T42" fmla="*/ 283 w 540"/>
                <a:gd name="T43" fmla="*/ 11 h 1631"/>
                <a:gd name="T44" fmla="*/ 159 w 540"/>
                <a:gd name="T45" fmla="*/ 2 h 1631"/>
                <a:gd name="T46" fmla="*/ 162 w 540"/>
                <a:gd name="T47" fmla="*/ 42 h 1631"/>
                <a:gd name="T48" fmla="*/ 272 w 540"/>
                <a:gd name="T49" fmla="*/ 50 h 1631"/>
                <a:gd name="T50" fmla="*/ 338 w 540"/>
                <a:gd name="T51" fmla="*/ 112 h 1631"/>
                <a:gd name="T52" fmla="*/ 383 w 540"/>
                <a:gd name="T53" fmla="*/ 705 h 1631"/>
                <a:gd name="T54" fmla="*/ 497 w 540"/>
                <a:gd name="T55" fmla="*/ 1415 h 1631"/>
                <a:gd name="T56" fmla="*/ 437 w 540"/>
                <a:gd name="T57" fmla="*/ 1522 h 1631"/>
                <a:gd name="T58" fmla="*/ 315 w 540"/>
                <a:gd name="T59" fmla="*/ 1343 h 1631"/>
                <a:gd name="T60" fmla="*/ 170 w 540"/>
                <a:gd name="T61" fmla="*/ 1204 h 1631"/>
                <a:gd name="T62" fmla="*/ 110 w 540"/>
                <a:gd name="T63" fmla="*/ 703 h 1631"/>
                <a:gd name="T64" fmla="*/ 68 w 540"/>
                <a:gd name="T65" fmla="*/ 352 h 1631"/>
                <a:gd name="T66" fmla="*/ 55 w 540"/>
                <a:gd name="T67" fmla="*/ 234 h 1631"/>
                <a:gd name="T68" fmla="*/ 51 w 540"/>
                <a:gd name="T69" fmla="*/ 200 h 1631"/>
                <a:gd name="T70" fmla="*/ 50 w 540"/>
                <a:gd name="T71" fmla="*/ 190 h 1631"/>
                <a:gd name="T72" fmla="*/ 49 w 540"/>
                <a:gd name="T73" fmla="*/ 188 h 1631"/>
                <a:gd name="T74" fmla="*/ 49 w 540"/>
                <a:gd name="T75" fmla="*/ 186 h 1631"/>
                <a:gd name="T76" fmla="*/ 49 w 540"/>
                <a:gd name="T77" fmla="*/ 184 h 1631"/>
                <a:gd name="T78" fmla="*/ 80 w 540"/>
                <a:gd name="T79" fmla="*/ 92 h 1631"/>
                <a:gd name="T80" fmla="*/ 162 w 540"/>
                <a:gd name="T81" fmla="*/ 42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0" h="1631">
                  <a:moveTo>
                    <a:pt x="159" y="2"/>
                  </a:moveTo>
                  <a:lnTo>
                    <a:pt x="158" y="2"/>
                  </a:lnTo>
                  <a:lnTo>
                    <a:pt x="156" y="2"/>
                  </a:lnTo>
                  <a:cubicBezTo>
                    <a:pt x="120" y="9"/>
                    <a:pt x="81" y="32"/>
                    <a:pt x="51" y="66"/>
                  </a:cubicBezTo>
                  <a:cubicBezTo>
                    <a:pt x="21" y="99"/>
                    <a:pt x="0" y="144"/>
                    <a:pt x="10" y="192"/>
                  </a:cubicBezTo>
                  <a:lnTo>
                    <a:pt x="9" y="188"/>
                  </a:lnTo>
                  <a:cubicBezTo>
                    <a:pt x="9" y="192"/>
                    <a:pt x="10" y="192"/>
                    <a:pt x="10" y="194"/>
                  </a:cubicBezTo>
                  <a:cubicBezTo>
                    <a:pt x="10" y="197"/>
                    <a:pt x="11" y="200"/>
                    <a:pt x="11" y="204"/>
                  </a:cubicBezTo>
                  <a:cubicBezTo>
                    <a:pt x="12" y="213"/>
                    <a:pt x="13" y="224"/>
                    <a:pt x="15" y="239"/>
                  </a:cubicBezTo>
                  <a:cubicBezTo>
                    <a:pt x="18" y="268"/>
                    <a:pt x="23" y="309"/>
                    <a:pt x="29" y="357"/>
                  </a:cubicBezTo>
                  <a:cubicBezTo>
                    <a:pt x="40" y="454"/>
                    <a:pt x="55" y="581"/>
                    <a:pt x="70" y="708"/>
                  </a:cubicBezTo>
                  <a:cubicBezTo>
                    <a:pt x="101" y="962"/>
                    <a:pt x="131" y="1213"/>
                    <a:pt x="131" y="1213"/>
                  </a:cubicBezTo>
                  <a:lnTo>
                    <a:pt x="132" y="1217"/>
                  </a:lnTo>
                  <a:lnTo>
                    <a:pt x="133" y="1220"/>
                  </a:lnTo>
                  <a:cubicBezTo>
                    <a:pt x="172" y="1295"/>
                    <a:pt x="236" y="1331"/>
                    <a:pt x="290" y="1374"/>
                  </a:cubicBezTo>
                  <a:cubicBezTo>
                    <a:pt x="344" y="1418"/>
                    <a:pt x="392" y="1467"/>
                    <a:pt x="411" y="1577"/>
                  </a:cubicBezTo>
                  <a:lnTo>
                    <a:pt x="420" y="1631"/>
                  </a:lnTo>
                  <a:lnTo>
                    <a:pt x="540" y="1421"/>
                  </a:lnTo>
                  <a:lnTo>
                    <a:pt x="538" y="1413"/>
                  </a:lnTo>
                  <a:cubicBezTo>
                    <a:pt x="538" y="1413"/>
                    <a:pt x="417" y="976"/>
                    <a:pt x="423" y="705"/>
                  </a:cubicBezTo>
                  <a:cubicBezTo>
                    <a:pt x="430" y="360"/>
                    <a:pt x="417" y="188"/>
                    <a:pt x="374" y="95"/>
                  </a:cubicBezTo>
                  <a:cubicBezTo>
                    <a:pt x="352" y="49"/>
                    <a:pt x="321" y="23"/>
                    <a:pt x="283" y="11"/>
                  </a:cubicBezTo>
                  <a:cubicBezTo>
                    <a:pt x="246" y="0"/>
                    <a:pt x="205" y="1"/>
                    <a:pt x="159" y="2"/>
                  </a:cubicBezTo>
                  <a:close/>
                  <a:moveTo>
                    <a:pt x="162" y="42"/>
                  </a:moveTo>
                  <a:cubicBezTo>
                    <a:pt x="207" y="41"/>
                    <a:pt x="244" y="41"/>
                    <a:pt x="272" y="50"/>
                  </a:cubicBezTo>
                  <a:cubicBezTo>
                    <a:pt x="300" y="58"/>
                    <a:pt x="320" y="74"/>
                    <a:pt x="338" y="112"/>
                  </a:cubicBezTo>
                  <a:cubicBezTo>
                    <a:pt x="373" y="189"/>
                    <a:pt x="390" y="360"/>
                    <a:pt x="383" y="705"/>
                  </a:cubicBezTo>
                  <a:cubicBezTo>
                    <a:pt x="377" y="979"/>
                    <a:pt x="491" y="1392"/>
                    <a:pt x="497" y="1415"/>
                  </a:cubicBezTo>
                  <a:lnTo>
                    <a:pt x="437" y="1522"/>
                  </a:lnTo>
                  <a:cubicBezTo>
                    <a:pt x="411" y="1435"/>
                    <a:pt x="364" y="1382"/>
                    <a:pt x="315" y="1343"/>
                  </a:cubicBezTo>
                  <a:cubicBezTo>
                    <a:pt x="259" y="1297"/>
                    <a:pt x="204" y="1266"/>
                    <a:pt x="170" y="1204"/>
                  </a:cubicBezTo>
                  <a:cubicBezTo>
                    <a:pt x="170" y="1200"/>
                    <a:pt x="140" y="955"/>
                    <a:pt x="110" y="703"/>
                  </a:cubicBezTo>
                  <a:cubicBezTo>
                    <a:pt x="95" y="576"/>
                    <a:pt x="80" y="449"/>
                    <a:pt x="68" y="352"/>
                  </a:cubicBezTo>
                  <a:cubicBezTo>
                    <a:pt x="63" y="304"/>
                    <a:pt x="58" y="263"/>
                    <a:pt x="55" y="234"/>
                  </a:cubicBezTo>
                  <a:cubicBezTo>
                    <a:pt x="53" y="220"/>
                    <a:pt x="52" y="208"/>
                    <a:pt x="51" y="200"/>
                  </a:cubicBezTo>
                  <a:cubicBezTo>
                    <a:pt x="50" y="196"/>
                    <a:pt x="50" y="193"/>
                    <a:pt x="50" y="190"/>
                  </a:cubicBezTo>
                  <a:cubicBezTo>
                    <a:pt x="50" y="188"/>
                    <a:pt x="49" y="185"/>
                    <a:pt x="49" y="188"/>
                  </a:cubicBezTo>
                  <a:lnTo>
                    <a:pt x="49" y="186"/>
                  </a:lnTo>
                  <a:lnTo>
                    <a:pt x="49" y="184"/>
                  </a:lnTo>
                  <a:cubicBezTo>
                    <a:pt x="42" y="152"/>
                    <a:pt x="56" y="119"/>
                    <a:pt x="80" y="92"/>
                  </a:cubicBezTo>
                  <a:cubicBezTo>
                    <a:pt x="104" y="66"/>
                    <a:pt x="138" y="47"/>
                    <a:pt x="16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51"/>
            <p:cNvSpPr>
              <a:spLocks noEditPoints="1"/>
            </p:cNvSpPr>
            <p:nvPr/>
          </p:nvSpPr>
          <p:spPr bwMode="auto">
            <a:xfrm>
              <a:off x="6413500" y="2903538"/>
              <a:ext cx="309562" cy="468313"/>
            </a:xfrm>
            <a:custGeom>
              <a:avLst/>
              <a:gdLst>
                <a:gd name="T0" fmla="*/ 349 w 634"/>
                <a:gd name="T1" fmla="*/ 1 h 957"/>
                <a:gd name="T2" fmla="*/ 267 w 634"/>
                <a:gd name="T3" fmla="*/ 18 h 957"/>
                <a:gd name="T4" fmla="*/ 179 w 634"/>
                <a:gd name="T5" fmla="*/ 151 h 957"/>
                <a:gd name="T6" fmla="*/ 129 w 634"/>
                <a:gd name="T7" fmla="*/ 508 h 957"/>
                <a:gd name="T8" fmla="*/ 0 w 634"/>
                <a:gd name="T9" fmla="*/ 935 h 957"/>
                <a:gd name="T10" fmla="*/ 33 w 634"/>
                <a:gd name="T11" fmla="*/ 957 h 957"/>
                <a:gd name="T12" fmla="*/ 415 w 634"/>
                <a:gd name="T13" fmla="*/ 673 h 957"/>
                <a:gd name="T14" fmla="*/ 421 w 634"/>
                <a:gd name="T15" fmla="*/ 670 h 957"/>
                <a:gd name="T16" fmla="*/ 423 w 634"/>
                <a:gd name="T17" fmla="*/ 663 h 957"/>
                <a:gd name="T18" fmla="*/ 497 w 634"/>
                <a:gd name="T19" fmla="*/ 491 h 957"/>
                <a:gd name="T20" fmla="*/ 557 w 634"/>
                <a:gd name="T21" fmla="*/ 399 h 957"/>
                <a:gd name="T22" fmla="*/ 619 w 634"/>
                <a:gd name="T23" fmla="*/ 283 h 957"/>
                <a:gd name="T24" fmla="*/ 609 w 634"/>
                <a:gd name="T25" fmla="*/ 150 h 957"/>
                <a:gd name="T26" fmla="*/ 457 w 634"/>
                <a:gd name="T27" fmla="*/ 31 h 957"/>
                <a:gd name="T28" fmla="*/ 349 w 634"/>
                <a:gd name="T29" fmla="*/ 1 h 957"/>
                <a:gd name="T30" fmla="*/ 347 w 634"/>
                <a:gd name="T31" fmla="*/ 41 h 957"/>
                <a:gd name="T32" fmla="*/ 440 w 634"/>
                <a:gd name="T33" fmla="*/ 67 h 957"/>
                <a:gd name="T34" fmla="*/ 574 w 634"/>
                <a:gd name="T35" fmla="*/ 170 h 957"/>
                <a:gd name="T36" fmla="*/ 581 w 634"/>
                <a:gd name="T37" fmla="*/ 271 h 957"/>
                <a:gd name="T38" fmla="*/ 524 w 634"/>
                <a:gd name="T39" fmla="*/ 377 h 957"/>
                <a:gd name="T40" fmla="*/ 461 w 634"/>
                <a:gd name="T41" fmla="*/ 473 h 957"/>
                <a:gd name="T42" fmla="*/ 388 w 634"/>
                <a:gd name="T43" fmla="*/ 644 h 957"/>
                <a:gd name="T44" fmla="*/ 62 w 634"/>
                <a:gd name="T45" fmla="*/ 880 h 957"/>
                <a:gd name="T46" fmla="*/ 169 w 634"/>
                <a:gd name="T47" fmla="*/ 517 h 957"/>
                <a:gd name="T48" fmla="*/ 217 w 634"/>
                <a:gd name="T49" fmla="*/ 161 h 957"/>
                <a:gd name="T50" fmla="*/ 286 w 634"/>
                <a:gd name="T51" fmla="*/ 53 h 957"/>
                <a:gd name="T52" fmla="*/ 347 w 634"/>
                <a:gd name="T53" fmla="*/ 41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4" h="957">
                  <a:moveTo>
                    <a:pt x="349" y="1"/>
                  </a:moveTo>
                  <a:cubicBezTo>
                    <a:pt x="317" y="0"/>
                    <a:pt x="290" y="5"/>
                    <a:pt x="267" y="18"/>
                  </a:cubicBezTo>
                  <a:cubicBezTo>
                    <a:pt x="220" y="44"/>
                    <a:pt x="195" y="94"/>
                    <a:pt x="179" y="151"/>
                  </a:cubicBezTo>
                  <a:cubicBezTo>
                    <a:pt x="146" y="264"/>
                    <a:pt x="149" y="416"/>
                    <a:pt x="129" y="508"/>
                  </a:cubicBezTo>
                  <a:cubicBezTo>
                    <a:pt x="88" y="700"/>
                    <a:pt x="0" y="935"/>
                    <a:pt x="0" y="935"/>
                  </a:cubicBezTo>
                  <a:lnTo>
                    <a:pt x="33" y="957"/>
                  </a:lnTo>
                  <a:cubicBezTo>
                    <a:pt x="137" y="855"/>
                    <a:pt x="415" y="673"/>
                    <a:pt x="415" y="673"/>
                  </a:cubicBezTo>
                  <a:lnTo>
                    <a:pt x="421" y="670"/>
                  </a:lnTo>
                  <a:lnTo>
                    <a:pt x="423" y="663"/>
                  </a:lnTo>
                  <a:cubicBezTo>
                    <a:pt x="423" y="663"/>
                    <a:pt x="445" y="598"/>
                    <a:pt x="497" y="491"/>
                  </a:cubicBezTo>
                  <a:cubicBezTo>
                    <a:pt x="509" y="467"/>
                    <a:pt x="532" y="435"/>
                    <a:pt x="557" y="399"/>
                  </a:cubicBezTo>
                  <a:cubicBezTo>
                    <a:pt x="581" y="364"/>
                    <a:pt x="606" y="325"/>
                    <a:pt x="619" y="283"/>
                  </a:cubicBezTo>
                  <a:cubicBezTo>
                    <a:pt x="632" y="241"/>
                    <a:pt x="634" y="194"/>
                    <a:pt x="609" y="150"/>
                  </a:cubicBezTo>
                  <a:cubicBezTo>
                    <a:pt x="585" y="106"/>
                    <a:pt x="537" y="67"/>
                    <a:pt x="457" y="31"/>
                  </a:cubicBezTo>
                  <a:cubicBezTo>
                    <a:pt x="416" y="13"/>
                    <a:pt x="380" y="3"/>
                    <a:pt x="349" y="1"/>
                  </a:cubicBezTo>
                  <a:close/>
                  <a:moveTo>
                    <a:pt x="347" y="41"/>
                  </a:moveTo>
                  <a:cubicBezTo>
                    <a:pt x="373" y="43"/>
                    <a:pt x="403" y="51"/>
                    <a:pt x="440" y="67"/>
                  </a:cubicBezTo>
                  <a:cubicBezTo>
                    <a:pt x="516" y="101"/>
                    <a:pt x="556" y="137"/>
                    <a:pt x="574" y="170"/>
                  </a:cubicBezTo>
                  <a:cubicBezTo>
                    <a:pt x="593" y="203"/>
                    <a:pt x="592" y="236"/>
                    <a:pt x="581" y="271"/>
                  </a:cubicBezTo>
                  <a:cubicBezTo>
                    <a:pt x="570" y="306"/>
                    <a:pt x="547" y="343"/>
                    <a:pt x="524" y="377"/>
                  </a:cubicBezTo>
                  <a:cubicBezTo>
                    <a:pt x="500" y="411"/>
                    <a:pt x="476" y="443"/>
                    <a:pt x="461" y="473"/>
                  </a:cubicBezTo>
                  <a:cubicBezTo>
                    <a:pt x="412" y="575"/>
                    <a:pt x="391" y="635"/>
                    <a:pt x="388" y="644"/>
                  </a:cubicBezTo>
                  <a:cubicBezTo>
                    <a:pt x="379" y="649"/>
                    <a:pt x="187" y="775"/>
                    <a:pt x="62" y="880"/>
                  </a:cubicBezTo>
                  <a:cubicBezTo>
                    <a:pt x="88" y="805"/>
                    <a:pt x="137" y="665"/>
                    <a:pt x="169" y="517"/>
                  </a:cubicBezTo>
                  <a:cubicBezTo>
                    <a:pt x="190" y="415"/>
                    <a:pt x="188" y="265"/>
                    <a:pt x="217" y="161"/>
                  </a:cubicBezTo>
                  <a:cubicBezTo>
                    <a:pt x="232" y="109"/>
                    <a:pt x="254" y="71"/>
                    <a:pt x="286" y="53"/>
                  </a:cubicBezTo>
                  <a:cubicBezTo>
                    <a:pt x="302" y="44"/>
                    <a:pt x="322" y="40"/>
                    <a:pt x="34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52"/>
            <p:cNvSpPr>
              <a:spLocks noEditPoints="1"/>
            </p:cNvSpPr>
            <p:nvPr/>
          </p:nvSpPr>
          <p:spPr bwMode="auto">
            <a:xfrm>
              <a:off x="6605588" y="3065463"/>
              <a:ext cx="133350" cy="153988"/>
            </a:xfrm>
            <a:custGeom>
              <a:avLst/>
              <a:gdLst>
                <a:gd name="T0" fmla="*/ 166 w 274"/>
                <a:gd name="T1" fmla="*/ 0 h 317"/>
                <a:gd name="T2" fmla="*/ 158 w 274"/>
                <a:gd name="T3" fmla="*/ 14 h 317"/>
                <a:gd name="T4" fmla="*/ 31 w 274"/>
                <a:gd name="T5" fmla="*/ 229 h 317"/>
                <a:gd name="T6" fmla="*/ 31 w 274"/>
                <a:gd name="T7" fmla="*/ 228 h 317"/>
                <a:gd name="T8" fmla="*/ 0 w 274"/>
                <a:gd name="T9" fmla="*/ 317 h 317"/>
                <a:gd name="T10" fmla="*/ 46 w 274"/>
                <a:gd name="T11" fmla="*/ 292 h 317"/>
                <a:gd name="T12" fmla="*/ 174 w 274"/>
                <a:gd name="T13" fmla="*/ 220 h 317"/>
                <a:gd name="T14" fmla="*/ 226 w 274"/>
                <a:gd name="T15" fmla="*/ 193 h 317"/>
                <a:gd name="T16" fmla="*/ 250 w 274"/>
                <a:gd name="T17" fmla="*/ 186 h 317"/>
                <a:gd name="T18" fmla="*/ 272 w 274"/>
                <a:gd name="T19" fmla="*/ 188 h 317"/>
                <a:gd name="T20" fmla="*/ 272 w 274"/>
                <a:gd name="T21" fmla="*/ 166 h 317"/>
                <a:gd name="T22" fmla="*/ 254 w 274"/>
                <a:gd name="T23" fmla="*/ 66 h 317"/>
                <a:gd name="T24" fmla="*/ 181 w 274"/>
                <a:gd name="T25" fmla="*/ 5 h 317"/>
                <a:gd name="T26" fmla="*/ 166 w 274"/>
                <a:gd name="T27" fmla="*/ 0 h 317"/>
                <a:gd name="T28" fmla="*/ 181 w 274"/>
                <a:gd name="T29" fmla="*/ 50 h 317"/>
                <a:gd name="T30" fmla="*/ 218 w 274"/>
                <a:gd name="T31" fmla="*/ 85 h 317"/>
                <a:gd name="T32" fmla="*/ 231 w 274"/>
                <a:gd name="T33" fmla="*/ 149 h 317"/>
                <a:gd name="T34" fmla="*/ 211 w 274"/>
                <a:gd name="T35" fmla="*/ 157 h 317"/>
                <a:gd name="T36" fmla="*/ 155 w 274"/>
                <a:gd name="T37" fmla="*/ 184 h 317"/>
                <a:gd name="T38" fmla="*/ 73 w 274"/>
                <a:gd name="T39" fmla="*/ 230 h 317"/>
                <a:gd name="T40" fmla="*/ 181 w 274"/>
                <a:gd name="T41" fmla="*/ 5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4" h="317">
                  <a:moveTo>
                    <a:pt x="166" y="0"/>
                  </a:moveTo>
                  <a:lnTo>
                    <a:pt x="158" y="14"/>
                  </a:lnTo>
                  <a:cubicBezTo>
                    <a:pt x="118" y="78"/>
                    <a:pt x="68" y="112"/>
                    <a:pt x="31" y="229"/>
                  </a:cubicBezTo>
                  <a:lnTo>
                    <a:pt x="31" y="228"/>
                  </a:lnTo>
                  <a:lnTo>
                    <a:pt x="0" y="317"/>
                  </a:lnTo>
                  <a:lnTo>
                    <a:pt x="46" y="292"/>
                  </a:lnTo>
                  <a:cubicBezTo>
                    <a:pt x="87" y="269"/>
                    <a:pt x="134" y="241"/>
                    <a:pt x="174" y="220"/>
                  </a:cubicBezTo>
                  <a:cubicBezTo>
                    <a:pt x="194" y="209"/>
                    <a:pt x="212" y="200"/>
                    <a:pt x="226" y="193"/>
                  </a:cubicBezTo>
                  <a:cubicBezTo>
                    <a:pt x="241" y="187"/>
                    <a:pt x="253" y="186"/>
                    <a:pt x="250" y="186"/>
                  </a:cubicBezTo>
                  <a:lnTo>
                    <a:pt x="272" y="188"/>
                  </a:lnTo>
                  <a:lnTo>
                    <a:pt x="272" y="166"/>
                  </a:lnTo>
                  <a:cubicBezTo>
                    <a:pt x="274" y="128"/>
                    <a:pt x="268" y="94"/>
                    <a:pt x="254" y="66"/>
                  </a:cubicBezTo>
                  <a:cubicBezTo>
                    <a:pt x="239" y="38"/>
                    <a:pt x="214" y="17"/>
                    <a:pt x="181" y="5"/>
                  </a:cubicBezTo>
                  <a:lnTo>
                    <a:pt x="166" y="0"/>
                  </a:lnTo>
                  <a:close/>
                  <a:moveTo>
                    <a:pt x="181" y="50"/>
                  </a:moveTo>
                  <a:cubicBezTo>
                    <a:pt x="197" y="58"/>
                    <a:pt x="210" y="69"/>
                    <a:pt x="218" y="85"/>
                  </a:cubicBezTo>
                  <a:cubicBezTo>
                    <a:pt x="227" y="101"/>
                    <a:pt x="230" y="123"/>
                    <a:pt x="231" y="149"/>
                  </a:cubicBezTo>
                  <a:cubicBezTo>
                    <a:pt x="225" y="151"/>
                    <a:pt x="218" y="153"/>
                    <a:pt x="211" y="157"/>
                  </a:cubicBezTo>
                  <a:cubicBezTo>
                    <a:pt x="194" y="164"/>
                    <a:pt x="176" y="173"/>
                    <a:pt x="155" y="184"/>
                  </a:cubicBezTo>
                  <a:cubicBezTo>
                    <a:pt x="129" y="198"/>
                    <a:pt x="101" y="214"/>
                    <a:pt x="73" y="230"/>
                  </a:cubicBezTo>
                  <a:cubicBezTo>
                    <a:pt x="104" y="140"/>
                    <a:pt x="142" y="106"/>
                    <a:pt x="18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53"/>
            <p:cNvSpPr>
              <a:spLocks noEditPoints="1"/>
            </p:cNvSpPr>
            <p:nvPr/>
          </p:nvSpPr>
          <p:spPr bwMode="auto">
            <a:xfrm>
              <a:off x="5357813" y="4560888"/>
              <a:ext cx="207962" cy="215900"/>
            </a:xfrm>
            <a:custGeom>
              <a:avLst/>
              <a:gdLst>
                <a:gd name="T0" fmla="*/ 293 w 427"/>
                <a:gd name="T1" fmla="*/ 0 h 444"/>
                <a:gd name="T2" fmla="*/ 239 w 427"/>
                <a:gd name="T3" fmla="*/ 33 h 444"/>
                <a:gd name="T4" fmla="*/ 201 w 427"/>
                <a:gd name="T5" fmla="*/ 95 h 444"/>
                <a:gd name="T6" fmla="*/ 143 w 427"/>
                <a:gd name="T7" fmla="*/ 213 h 444"/>
                <a:gd name="T8" fmla="*/ 66 w 427"/>
                <a:gd name="T9" fmla="*/ 301 h 444"/>
                <a:gd name="T10" fmla="*/ 27 w 427"/>
                <a:gd name="T11" fmla="*/ 344 h 444"/>
                <a:gd name="T12" fmla="*/ 4 w 427"/>
                <a:gd name="T13" fmla="*/ 380 h 444"/>
                <a:gd name="T14" fmla="*/ 11 w 427"/>
                <a:gd name="T15" fmla="*/ 408 h 444"/>
                <a:gd name="T16" fmla="*/ 29 w 427"/>
                <a:gd name="T17" fmla="*/ 421 h 444"/>
                <a:gd name="T18" fmla="*/ 78 w 427"/>
                <a:gd name="T19" fmla="*/ 435 h 444"/>
                <a:gd name="T20" fmla="*/ 184 w 427"/>
                <a:gd name="T21" fmla="*/ 436 h 444"/>
                <a:gd name="T22" fmla="*/ 214 w 427"/>
                <a:gd name="T23" fmla="*/ 418 h 444"/>
                <a:gd name="T24" fmla="*/ 249 w 427"/>
                <a:gd name="T25" fmla="*/ 387 h 444"/>
                <a:gd name="T26" fmla="*/ 331 w 427"/>
                <a:gd name="T27" fmla="*/ 298 h 444"/>
                <a:gd name="T28" fmla="*/ 401 w 427"/>
                <a:gd name="T29" fmla="*/ 209 h 444"/>
                <a:gd name="T30" fmla="*/ 421 w 427"/>
                <a:gd name="T31" fmla="*/ 175 h 444"/>
                <a:gd name="T32" fmla="*/ 426 w 427"/>
                <a:gd name="T33" fmla="*/ 160 h 444"/>
                <a:gd name="T34" fmla="*/ 426 w 427"/>
                <a:gd name="T35" fmla="*/ 150 h 444"/>
                <a:gd name="T36" fmla="*/ 417 w 427"/>
                <a:gd name="T37" fmla="*/ 136 h 444"/>
                <a:gd name="T38" fmla="*/ 357 w 427"/>
                <a:gd name="T39" fmla="*/ 80 h 444"/>
                <a:gd name="T40" fmla="*/ 325 w 427"/>
                <a:gd name="T41" fmla="*/ 42 h 444"/>
                <a:gd name="T42" fmla="*/ 313 w 427"/>
                <a:gd name="T43" fmla="*/ 19 h 444"/>
                <a:gd name="T44" fmla="*/ 312 w 427"/>
                <a:gd name="T45" fmla="*/ 0 h 444"/>
                <a:gd name="T46" fmla="*/ 293 w 427"/>
                <a:gd name="T47" fmla="*/ 0 h 444"/>
                <a:gd name="T48" fmla="*/ 282 w 427"/>
                <a:gd name="T49" fmla="*/ 49 h 444"/>
                <a:gd name="T50" fmla="*/ 293 w 427"/>
                <a:gd name="T51" fmla="*/ 65 h 444"/>
                <a:gd name="T52" fmla="*/ 328 w 427"/>
                <a:gd name="T53" fmla="*/ 107 h 444"/>
                <a:gd name="T54" fmla="*/ 384 w 427"/>
                <a:gd name="T55" fmla="*/ 159 h 444"/>
                <a:gd name="T56" fmla="*/ 368 w 427"/>
                <a:gd name="T57" fmla="*/ 186 h 444"/>
                <a:gd name="T58" fmla="*/ 300 w 427"/>
                <a:gd name="T59" fmla="*/ 272 h 444"/>
                <a:gd name="T60" fmla="*/ 221 w 427"/>
                <a:gd name="T61" fmla="*/ 358 h 444"/>
                <a:gd name="T62" fmla="*/ 189 w 427"/>
                <a:gd name="T63" fmla="*/ 387 h 444"/>
                <a:gd name="T64" fmla="*/ 173 w 427"/>
                <a:gd name="T65" fmla="*/ 398 h 444"/>
                <a:gd name="T66" fmla="*/ 85 w 427"/>
                <a:gd name="T67" fmla="*/ 395 h 444"/>
                <a:gd name="T68" fmla="*/ 47 w 427"/>
                <a:gd name="T69" fmla="*/ 384 h 444"/>
                <a:gd name="T70" fmla="*/ 58 w 427"/>
                <a:gd name="T71" fmla="*/ 370 h 444"/>
                <a:gd name="T72" fmla="*/ 96 w 427"/>
                <a:gd name="T73" fmla="*/ 328 h 444"/>
                <a:gd name="T74" fmla="*/ 176 w 427"/>
                <a:gd name="T75" fmla="*/ 236 h 444"/>
                <a:gd name="T76" fmla="*/ 237 w 427"/>
                <a:gd name="T77" fmla="*/ 113 h 444"/>
                <a:gd name="T78" fmla="*/ 270 w 427"/>
                <a:gd name="T79" fmla="*/ 58 h 444"/>
                <a:gd name="T80" fmla="*/ 282 w 427"/>
                <a:gd name="T81" fmla="*/ 4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7" h="444">
                  <a:moveTo>
                    <a:pt x="293" y="0"/>
                  </a:moveTo>
                  <a:cubicBezTo>
                    <a:pt x="270" y="0"/>
                    <a:pt x="253" y="15"/>
                    <a:pt x="239" y="33"/>
                  </a:cubicBezTo>
                  <a:cubicBezTo>
                    <a:pt x="225" y="50"/>
                    <a:pt x="212" y="72"/>
                    <a:pt x="201" y="95"/>
                  </a:cubicBezTo>
                  <a:cubicBezTo>
                    <a:pt x="178" y="142"/>
                    <a:pt x="156" y="194"/>
                    <a:pt x="143" y="213"/>
                  </a:cubicBezTo>
                  <a:cubicBezTo>
                    <a:pt x="127" y="235"/>
                    <a:pt x="95" y="270"/>
                    <a:pt x="66" y="301"/>
                  </a:cubicBezTo>
                  <a:cubicBezTo>
                    <a:pt x="52" y="316"/>
                    <a:pt x="38" y="331"/>
                    <a:pt x="27" y="344"/>
                  </a:cubicBezTo>
                  <a:cubicBezTo>
                    <a:pt x="16" y="357"/>
                    <a:pt x="8" y="365"/>
                    <a:pt x="4" y="380"/>
                  </a:cubicBezTo>
                  <a:cubicBezTo>
                    <a:pt x="0" y="390"/>
                    <a:pt x="5" y="402"/>
                    <a:pt x="11" y="408"/>
                  </a:cubicBezTo>
                  <a:cubicBezTo>
                    <a:pt x="17" y="414"/>
                    <a:pt x="23" y="417"/>
                    <a:pt x="29" y="421"/>
                  </a:cubicBezTo>
                  <a:cubicBezTo>
                    <a:pt x="43" y="427"/>
                    <a:pt x="60" y="431"/>
                    <a:pt x="78" y="435"/>
                  </a:cubicBezTo>
                  <a:cubicBezTo>
                    <a:pt x="114" y="441"/>
                    <a:pt x="155" y="444"/>
                    <a:pt x="184" y="436"/>
                  </a:cubicBezTo>
                  <a:cubicBezTo>
                    <a:pt x="196" y="433"/>
                    <a:pt x="204" y="427"/>
                    <a:pt x="214" y="418"/>
                  </a:cubicBezTo>
                  <a:cubicBezTo>
                    <a:pt x="225" y="410"/>
                    <a:pt x="236" y="399"/>
                    <a:pt x="249" y="387"/>
                  </a:cubicBezTo>
                  <a:cubicBezTo>
                    <a:pt x="275" y="362"/>
                    <a:pt x="304" y="330"/>
                    <a:pt x="331" y="298"/>
                  </a:cubicBezTo>
                  <a:cubicBezTo>
                    <a:pt x="358" y="266"/>
                    <a:pt x="383" y="235"/>
                    <a:pt x="401" y="209"/>
                  </a:cubicBezTo>
                  <a:cubicBezTo>
                    <a:pt x="409" y="196"/>
                    <a:pt x="416" y="185"/>
                    <a:pt x="421" y="175"/>
                  </a:cubicBezTo>
                  <a:cubicBezTo>
                    <a:pt x="423" y="170"/>
                    <a:pt x="425" y="166"/>
                    <a:pt x="426" y="160"/>
                  </a:cubicBezTo>
                  <a:cubicBezTo>
                    <a:pt x="426" y="157"/>
                    <a:pt x="427" y="154"/>
                    <a:pt x="426" y="150"/>
                  </a:cubicBezTo>
                  <a:cubicBezTo>
                    <a:pt x="425" y="145"/>
                    <a:pt x="422" y="139"/>
                    <a:pt x="417" y="136"/>
                  </a:cubicBezTo>
                  <a:cubicBezTo>
                    <a:pt x="410" y="130"/>
                    <a:pt x="382" y="106"/>
                    <a:pt x="357" y="80"/>
                  </a:cubicBezTo>
                  <a:cubicBezTo>
                    <a:pt x="345" y="67"/>
                    <a:pt x="333" y="53"/>
                    <a:pt x="325" y="42"/>
                  </a:cubicBezTo>
                  <a:cubicBezTo>
                    <a:pt x="317" y="30"/>
                    <a:pt x="313" y="19"/>
                    <a:pt x="313" y="19"/>
                  </a:cubicBezTo>
                  <a:lnTo>
                    <a:pt x="312" y="0"/>
                  </a:lnTo>
                  <a:lnTo>
                    <a:pt x="293" y="0"/>
                  </a:lnTo>
                  <a:close/>
                  <a:moveTo>
                    <a:pt x="282" y="49"/>
                  </a:moveTo>
                  <a:cubicBezTo>
                    <a:pt x="285" y="54"/>
                    <a:pt x="289" y="59"/>
                    <a:pt x="293" y="65"/>
                  </a:cubicBezTo>
                  <a:cubicBezTo>
                    <a:pt x="302" y="79"/>
                    <a:pt x="315" y="93"/>
                    <a:pt x="328" y="107"/>
                  </a:cubicBezTo>
                  <a:cubicBezTo>
                    <a:pt x="351" y="131"/>
                    <a:pt x="370" y="148"/>
                    <a:pt x="384" y="159"/>
                  </a:cubicBezTo>
                  <a:cubicBezTo>
                    <a:pt x="381" y="166"/>
                    <a:pt x="375" y="175"/>
                    <a:pt x="368" y="186"/>
                  </a:cubicBezTo>
                  <a:cubicBezTo>
                    <a:pt x="351" y="210"/>
                    <a:pt x="327" y="241"/>
                    <a:pt x="300" y="272"/>
                  </a:cubicBezTo>
                  <a:cubicBezTo>
                    <a:pt x="274" y="304"/>
                    <a:pt x="245" y="335"/>
                    <a:pt x="221" y="358"/>
                  </a:cubicBezTo>
                  <a:cubicBezTo>
                    <a:pt x="209" y="370"/>
                    <a:pt x="198" y="380"/>
                    <a:pt x="189" y="387"/>
                  </a:cubicBezTo>
                  <a:cubicBezTo>
                    <a:pt x="180" y="394"/>
                    <a:pt x="173" y="398"/>
                    <a:pt x="173" y="398"/>
                  </a:cubicBezTo>
                  <a:cubicBezTo>
                    <a:pt x="159" y="402"/>
                    <a:pt x="117" y="401"/>
                    <a:pt x="85" y="395"/>
                  </a:cubicBezTo>
                  <a:cubicBezTo>
                    <a:pt x="69" y="392"/>
                    <a:pt x="55" y="388"/>
                    <a:pt x="47" y="384"/>
                  </a:cubicBezTo>
                  <a:cubicBezTo>
                    <a:pt x="49" y="381"/>
                    <a:pt x="51" y="378"/>
                    <a:pt x="58" y="370"/>
                  </a:cubicBezTo>
                  <a:cubicBezTo>
                    <a:pt x="68" y="358"/>
                    <a:pt x="81" y="343"/>
                    <a:pt x="96" y="328"/>
                  </a:cubicBezTo>
                  <a:cubicBezTo>
                    <a:pt x="124" y="297"/>
                    <a:pt x="157" y="263"/>
                    <a:pt x="176" y="236"/>
                  </a:cubicBezTo>
                  <a:cubicBezTo>
                    <a:pt x="196" y="207"/>
                    <a:pt x="215" y="157"/>
                    <a:pt x="237" y="113"/>
                  </a:cubicBezTo>
                  <a:cubicBezTo>
                    <a:pt x="248" y="91"/>
                    <a:pt x="259" y="71"/>
                    <a:pt x="270" y="58"/>
                  </a:cubicBezTo>
                  <a:cubicBezTo>
                    <a:pt x="276" y="51"/>
                    <a:pt x="278" y="51"/>
                    <a:pt x="28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454"/>
            <p:cNvSpPr>
              <a:spLocks/>
            </p:cNvSpPr>
            <p:nvPr/>
          </p:nvSpPr>
          <p:spPr bwMode="auto">
            <a:xfrm>
              <a:off x="6170613" y="2495551"/>
              <a:ext cx="1951037" cy="2540000"/>
            </a:xfrm>
            <a:custGeom>
              <a:avLst/>
              <a:gdLst>
                <a:gd name="T0" fmla="*/ 63 w 3992"/>
                <a:gd name="T1" fmla="*/ 3076 h 5196"/>
                <a:gd name="T2" fmla="*/ 3992 w 3992"/>
                <a:gd name="T3" fmla="*/ 3117 h 5196"/>
                <a:gd name="T4" fmla="*/ 2167 w 3992"/>
                <a:gd name="T5" fmla="*/ 4721 h 5196"/>
                <a:gd name="T6" fmla="*/ 63 w 3992"/>
                <a:gd name="T7" fmla="*/ 3076 h 5196"/>
              </a:gdLst>
              <a:ahLst/>
              <a:cxnLst>
                <a:cxn ang="0">
                  <a:pos x="T0" y="T1"/>
                </a:cxn>
                <a:cxn ang="0">
                  <a:pos x="T2" y="T3"/>
                </a:cxn>
                <a:cxn ang="0">
                  <a:pos x="T4" y="T5"/>
                </a:cxn>
                <a:cxn ang="0">
                  <a:pos x="T6" y="T7"/>
                </a:cxn>
              </a:cxnLst>
              <a:rect l="0" t="0" r="r" b="b"/>
              <a:pathLst>
                <a:path w="3992" h="5196">
                  <a:moveTo>
                    <a:pt x="63" y="3076"/>
                  </a:moveTo>
                  <a:cubicBezTo>
                    <a:pt x="0" y="1008"/>
                    <a:pt x="3551" y="0"/>
                    <a:pt x="3992" y="3117"/>
                  </a:cubicBezTo>
                  <a:cubicBezTo>
                    <a:pt x="3060" y="3734"/>
                    <a:pt x="3158" y="4399"/>
                    <a:pt x="2167" y="4721"/>
                  </a:cubicBezTo>
                  <a:cubicBezTo>
                    <a:pt x="706" y="5196"/>
                    <a:pt x="104" y="4189"/>
                    <a:pt x="63" y="307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455"/>
            <p:cNvSpPr>
              <a:spLocks noEditPoints="1"/>
            </p:cNvSpPr>
            <p:nvPr/>
          </p:nvSpPr>
          <p:spPr bwMode="auto">
            <a:xfrm>
              <a:off x="6175375" y="3033713"/>
              <a:ext cx="1955800" cy="1895475"/>
            </a:xfrm>
            <a:custGeom>
              <a:avLst/>
              <a:gdLst>
                <a:gd name="T0" fmla="*/ 2003 w 4002"/>
                <a:gd name="T1" fmla="*/ 17 h 3879"/>
                <a:gd name="T2" fmla="*/ 1825 w 4002"/>
                <a:gd name="T3" fmla="*/ 32 h 3879"/>
                <a:gd name="T4" fmla="*/ 32 w 4002"/>
                <a:gd name="T5" fmla="*/ 1977 h 3879"/>
                <a:gd name="T6" fmla="*/ 32 w 4002"/>
                <a:gd name="T7" fmla="*/ 1977 h 3879"/>
                <a:gd name="T8" fmla="*/ 558 w 4002"/>
                <a:gd name="T9" fmla="*/ 3408 h 3879"/>
                <a:gd name="T10" fmla="*/ 2162 w 4002"/>
                <a:gd name="T11" fmla="*/ 3640 h 3879"/>
                <a:gd name="T12" fmla="*/ 3107 w 4002"/>
                <a:gd name="T13" fmla="*/ 2942 h 3879"/>
                <a:gd name="T14" fmla="*/ 3992 w 4002"/>
                <a:gd name="T15" fmla="*/ 2034 h 3879"/>
                <a:gd name="T16" fmla="*/ 4000 w 4002"/>
                <a:gd name="T17" fmla="*/ 2015 h 3879"/>
                <a:gd name="T18" fmla="*/ 3184 w 4002"/>
                <a:gd name="T19" fmla="*/ 389 h 3879"/>
                <a:gd name="T20" fmla="*/ 2003 w 4002"/>
                <a:gd name="T21" fmla="*/ 17 h 3879"/>
                <a:gd name="T22" fmla="*/ 2004 w 4002"/>
                <a:gd name="T23" fmla="*/ 57 h 3879"/>
                <a:gd name="T24" fmla="*/ 3160 w 4002"/>
                <a:gd name="T25" fmla="*/ 421 h 3879"/>
                <a:gd name="T26" fmla="*/ 3959 w 4002"/>
                <a:gd name="T27" fmla="*/ 2008 h 3879"/>
                <a:gd name="T28" fmla="*/ 3075 w 4002"/>
                <a:gd name="T29" fmla="*/ 2918 h 3879"/>
                <a:gd name="T30" fmla="*/ 2149 w 4002"/>
                <a:gd name="T31" fmla="*/ 3602 h 3879"/>
                <a:gd name="T32" fmla="*/ 586 w 4002"/>
                <a:gd name="T33" fmla="*/ 3380 h 3879"/>
                <a:gd name="T34" fmla="*/ 72 w 4002"/>
                <a:gd name="T35" fmla="*/ 1976 h 3879"/>
                <a:gd name="T36" fmla="*/ 72 w 4002"/>
                <a:gd name="T37" fmla="*/ 1976 h 3879"/>
                <a:gd name="T38" fmla="*/ 72 w 4002"/>
                <a:gd name="T39" fmla="*/ 1976 h 3879"/>
                <a:gd name="T40" fmla="*/ 1830 w 4002"/>
                <a:gd name="T41" fmla="*/ 72 h 3879"/>
                <a:gd name="T42" fmla="*/ 2004 w 4002"/>
                <a:gd name="T43" fmla="*/ 57 h 3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2" h="3879">
                  <a:moveTo>
                    <a:pt x="2003" y="17"/>
                  </a:moveTo>
                  <a:cubicBezTo>
                    <a:pt x="1943" y="20"/>
                    <a:pt x="1884" y="25"/>
                    <a:pt x="1825" y="32"/>
                  </a:cubicBezTo>
                  <a:cubicBezTo>
                    <a:pt x="881" y="154"/>
                    <a:pt x="0" y="931"/>
                    <a:pt x="32" y="1977"/>
                  </a:cubicBezTo>
                  <a:lnTo>
                    <a:pt x="32" y="1977"/>
                  </a:lnTo>
                  <a:cubicBezTo>
                    <a:pt x="53" y="2537"/>
                    <a:pt x="214" y="3072"/>
                    <a:pt x="558" y="3408"/>
                  </a:cubicBezTo>
                  <a:cubicBezTo>
                    <a:pt x="901" y="3745"/>
                    <a:pt x="1427" y="3879"/>
                    <a:pt x="2162" y="3640"/>
                  </a:cubicBezTo>
                  <a:cubicBezTo>
                    <a:pt x="2662" y="3478"/>
                    <a:pt x="2890" y="3226"/>
                    <a:pt x="3107" y="2942"/>
                  </a:cubicBezTo>
                  <a:cubicBezTo>
                    <a:pt x="3323" y="2657"/>
                    <a:pt x="3529" y="2340"/>
                    <a:pt x="3992" y="2034"/>
                  </a:cubicBezTo>
                  <a:cubicBezTo>
                    <a:pt x="3998" y="2030"/>
                    <a:pt x="4002" y="2022"/>
                    <a:pt x="4000" y="2015"/>
                  </a:cubicBezTo>
                  <a:cubicBezTo>
                    <a:pt x="3890" y="1231"/>
                    <a:pt x="3583" y="704"/>
                    <a:pt x="3184" y="389"/>
                  </a:cubicBezTo>
                  <a:cubicBezTo>
                    <a:pt x="2836" y="113"/>
                    <a:pt x="2418" y="0"/>
                    <a:pt x="2003" y="17"/>
                  </a:cubicBezTo>
                  <a:close/>
                  <a:moveTo>
                    <a:pt x="2004" y="57"/>
                  </a:moveTo>
                  <a:cubicBezTo>
                    <a:pt x="2411" y="41"/>
                    <a:pt x="2819" y="151"/>
                    <a:pt x="3160" y="421"/>
                  </a:cubicBezTo>
                  <a:cubicBezTo>
                    <a:pt x="3547" y="727"/>
                    <a:pt x="3848" y="1240"/>
                    <a:pt x="3959" y="2008"/>
                  </a:cubicBezTo>
                  <a:cubicBezTo>
                    <a:pt x="3498" y="2316"/>
                    <a:pt x="3288" y="2637"/>
                    <a:pt x="3075" y="2918"/>
                  </a:cubicBezTo>
                  <a:cubicBezTo>
                    <a:pt x="2859" y="3201"/>
                    <a:pt x="2641" y="3443"/>
                    <a:pt x="2149" y="3602"/>
                  </a:cubicBezTo>
                  <a:cubicBezTo>
                    <a:pt x="1424" y="3838"/>
                    <a:pt x="918" y="3706"/>
                    <a:pt x="586" y="3380"/>
                  </a:cubicBezTo>
                  <a:cubicBezTo>
                    <a:pt x="253" y="3054"/>
                    <a:pt x="93" y="2529"/>
                    <a:pt x="72" y="1976"/>
                  </a:cubicBezTo>
                  <a:cubicBezTo>
                    <a:pt x="72" y="1976"/>
                    <a:pt x="72" y="1976"/>
                    <a:pt x="72" y="1976"/>
                  </a:cubicBezTo>
                  <a:cubicBezTo>
                    <a:pt x="72" y="1976"/>
                    <a:pt x="72" y="1976"/>
                    <a:pt x="72" y="1976"/>
                  </a:cubicBezTo>
                  <a:cubicBezTo>
                    <a:pt x="41" y="953"/>
                    <a:pt x="904" y="192"/>
                    <a:pt x="1830" y="72"/>
                  </a:cubicBezTo>
                  <a:cubicBezTo>
                    <a:pt x="1888" y="65"/>
                    <a:pt x="1946" y="60"/>
                    <a:pt x="2004" y="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456"/>
            <p:cNvSpPr>
              <a:spLocks noEditPoints="1"/>
            </p:cNvSpPr>
            <p:nvPr/>
          </p:nvSpPr>
          <p:spPr bwMode="auto">
            <a:xfrm>
              <a:off x="6329363" y="3051176"/>
              <a:ext cx="1681162" cy="1817688"/>
            </a:xfrm>
            <a:custGeom>
              <a:avLst/>
              <a:gdLst>
                <a:gd name="T0" fmla="*/ 1469 w 3441"/>
                <a:gd name="T1" fmla="*/ 21 h 3719"/>
                <a:gd name="T2" fmla="*/ 1705 w 3441"/>
                <a:gd name="T3" fmla="*/ 40 h 3719"/>
                <a:gd name="T4" fmla="*/ 1069 w 3441"/>
                <a:gd name="T5" fmla="*/ 123 h 3719"/>
                <a:gd name="T6" fmla="*/ 1069 w 3441"/>
                <a:gd name="T7" fmla="*/ 260 h 3719"/>
                <a:gd name="T8" fmla="*/ 2182 w 3441"/>
                <a:gd name="T9" fmla="*/ 239 h 3719"/>
                <a:gd name="T10" fmla="*/ 2087 w 3441"/>
                <a:gd name="T11" fmla="*/ 712 h 3719"/>
                <a:gd name="T12" fmla="*/ 1636 w 3441"/>
                <a:gd name="T13" fmla="*/ 989 h 3719"/>
                <a:gd name="T14" fmla="*/ 1914 w 3441"/>
                <a:gd name="T15" fmla="*/ 1389 h 3719"/>
                <a:gd name="T16" fmla="*/ 2695 w 3441"/>
                <a:gd name="T17" fmla="*/ 336 h 3719"/>
                <a:gd name="T18" fmla="*/ 616 w 3441"/>
                <a:gd name="T19" fmla="*/ 348 h 3719"/>
                <a:gd name="T20" fmla="*/ 611 w 3441"/>
                <a:gd name="T21" fmla="*/ 474 h 3719"/>
                <a:gd name="T22" fmla="*/ 616 w 3441"/>
                <a:gd name="T23" fmla="*/ 348 h 3719"/>
                <a:gd name="T24" fmla="*/ 73 w 3441"/>
                <a:gd name="T25" fmla="*/ 860 h 3719"/>
                <a:gd name="T26" fmla="*/ 388 w 3441"/>
                <a:gd name="T27" fmla="*/ 518 h 3719"/>
                <a:gd name="T28" fmla="*/ 924 w 3441"/>
                <a:gd name="T29" fmla="*/ 1111 h 3719"/>
                <a:gd name="T30" fmla="*/ 652 w 3441"/>
                <a:gd name="T31" fmla="*/ 1146 h 3719"/>
                <a:gd name="T32" fmla="*/ 756 w 3441"/>
                <a:gd name="T33" fmla="*/ 1829 h 3719"/>
                <a:gd name="T34" fmla="*/ 1074 w 3441"/>
                <a:gd name="T35" fmla="*/ 1209 h 3719"/>
                <a:gd name="T36" fmla="*/ 3140 w 3441"/>
                <a:gd name="T37" fmla="*/ 706 h 3719"/>
                <a:gd name="T38" fmla="*/ 3441 w 3441"/>
                <a:gd name="T39" fmla="*/ 1198 h 3719"/>
                <a:gd name="T40" fmla="*/ 3218 w 3441"/>
                <a:gd name="T41" fmla="*/ 751 h 3719"/>
                <a:gd name="T42" fmla="*/ 420 w 3441"/>
                <a:gd name="T43" fmla="*/ 1304 h 3719"/>
                <a:gd name="T44" fmla="*/ 455 w 3441"/>
                <a:gd name="T45" fmla="*/ 1557 h 3719"/>
                <a:gd name="T46" fmla="*/ 420 w 3441"/>
                <a:gd name="T47" fmla="*/ 1304 h 3719"/>
                <a:gd name="T48" fmla="*/ 230 w 3441"/>
                <a:gd name="T49" fmla="*/ 2199 h 3719"/>
                <a:gd name="T50" fmla="*/ 444 w 3441"/>
                <a:gd name="T51" fmla="*/ 1927 h 3719"/>
                <a:gd name="T52" fmla="*/ 2547 w 3441"/>
                <a:gd name="T53" fmla="*/ 2147 h 3719"/>
                <a:gd name="T54" fmla="*/ 2819 w 3441"/>
                <a:gd name="T55" fmla="*/ 2837 h 3719"/>
                <a:gd name="T56" fmla="*/ 1748 w 3441"/>
                <a:gd name="T57" fmla="*/ 2435 h 3719"/>
                <a:gd name="T58" fmla="*/ 1427 w 3441"/>
                <a:gd name="T59" fmla="*/ 3047 h 3719"/>
                <a:gd name="T60" fmla="*/ 630 w 3441"/>
                <a:gd name="T61" fmla="*/ 3606 h 3719"/>
                <a:gd name="T62" fmla="*/ 1415 w 3441"/>
                <a:gd name="T63" fmla="*/ 3633 h 3719"/>
                <a:gd name="T64" fmla="*/ 1748 w 3441"/>
                <a:gd name="T65" fmla="*/ 2435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1" h="3719">
                  <a:moveTo>
                    <a:pt x="1690" y="0"/>
                  </a:moveTo>
                  <a:cubicBezTo>
                    <a:pt x="1616" y="3"/>
                    <a:pt x="1543" y="10"/>
                    <a:pt x="1469" y="21"/>
                  </a:cubicBezTo>
                  <a:cubicBezTo>
                    <a:pt x="1435" y="45"/>
                    <a:pt x="1394" y="60"/>
                    <a:pt x="1358" y="81"/>
                  </a:cubicBezTo>
                  <a:cubicBezTo>
                    <a:pt x="1460" y="77"/>
                    <a:pt x="1559" y="76"/>
                    <a:pt x="1705" y="40"/>
                  </a:cubicBezTo>
                  <a:cubicBezTo>
                    <a:pt x="1712" y="24"/>
                    <a:pt x="1705" y="11"/>
                    <a:pt x="1690" y="0"/>
                  </a:cubicBezTo>
                  <a:close/>
                  <a:moveTo>
                    <a:pt x="1069" y="123"/>
                  </a:moveTo>
                  <a:cubicBezTo>
                    <a:pt x="993" y="150"/>
                    <a:pt x="919" y="182"/>
                    <a:pt x="846" y="217"/>
                  </a:cubicBezTo>
                  <a:cubicBezTo>
                    <a:pt x="872" y="235"/>
                    <a:pt x="915" y="252"/>
                    <a:pt x="1069" y="260"/>
                  </a:cubicBezTo>
                  <a:cubicBezTo>
                    <a:pt x="1037" y="214"/>
                    <a:pt x="1050" y="169"/>
                    <a:pt x="1069" y="123"/>
                  </a:cubicBezTo>
                  <a:close/>
                  <a:moveTo>
                    <a:pt x="2182" y="239"/>
                  </a:moveTo>
                  <a:cubicBezTo>
                    <a:pt x="2003" y="238"/>
                    <a:pt x="1819" y="260"/>
                    <a:pt x="1636" y="278"/>
                  </a:cubicBezTo>
                  <a:cubicBezTo>
                    <a:pt x="1814" y="412"/>
                    <a:pt x="2540" y="331"/>
                    <a:pt x="2087" y="712"/>
                  </a:cubicBezTo>
                  <a:cubicBezTo>
                    <a:pt x="1775" y="859"/>
                    <a:pt x="1537" y="615"/>
                    <a:pt x="1283" y="457"/>
                  </a:cubicBezTo>
                  <a:cubicBezTo>
                    <a:pt x="1229" y="635"/>
                    <a:pt x="1475" y="812"/>
                    <a:pt x="1636" y="989"/>
                  </a:cubicBezTo>
                  <a:lnTo>
                    <a:pt x="1526" y="1499"/>
                  </a:lnTo>
                  <a:lnTo>
                    <a:pt x="1914" y="1389"/>
                  </a:lnTo>
                  <a:lnTo>
                    <a:pt x="2475" y="897"/>
                  </a:lnTo>
                  <a:cubicBezTo>
                    <a:pt x="2602" y="721"/>
                    <a:pt x="2905" y="582"/>
                    <a:pt x="2695" y="336"/>
                  </a:cubicBezTo>
                  <a:cubicBezTo>
                    <a:pt x="2534" y="264"/>
                    <a:pt x="2361" y="240"/>
                    <a:pt x="2182" y="239"/>
                  </a:cubicBezTo>
                  <a:close/>
                  <a:moveTo>
                    <a:pt x="616" y="348"/>
                  </a:moveTo>
                  <a:cubicBezTo>
                    <a:pt x="567" y="379"/>
                    <a:pt x="520" y="413"/>
                    <a:pt x="474" y="448"/>
                  </a:cubicBezTo>
                  <a:cubicBezTo>
                    <a:pt x="529" y="478"/>
                    <a:pt x="582" y="506"/>
                    <a:pt x="611" y="474"/>
                  </a:cubicBezTo>
                  <a:lnTo>
                    <a:pt x="664" y="428"/>
                  </a:lnTo>
                  <a:lnTo>
                    <a:pt x="616" y="348"/>
                  </a:lnTo>
                  <a:close/>
                  <a:moveTo>
                    <a:pt x="388" y="518"/>
                  </a:moveTo>
                  <a:cubicBezTo>
                    <a:pt x="270" y="620"/>
                    <a:pt x="164" y="734"/>
                    <a:pt x="73" y="860"/>
                  </a:cubicBezTo>
                  <a:cubicBezTo>
                    <a:pt x="160" y="821"/>
                    <a:pt x="393" y="712"/>
                    <a:pt x="449" y="677"/>
                  </a:cubicBezTo>
                  <a:cubicBezTo>
                    <a:pt x="541" y="620"/>
                    <a:pt x="456" y="542"/>
                    <a:pt x="388" y="518"/>
                  </a:cubicBezTo>
                  <a:close/>
                  <a:moveTo>
                    <a:pt x="964" y="700"/>
                  </a:moveTo>
                  <a:cubicBezTo>
                    <a:pt x="958" y="848"/>
                    <a:pt x="1125" y="1030"/>
                    <a:pt x="924" y="1111"/>
                  </a:cubicBezTo>
                  <a:cubicBezTo>
                    <a:pt x="747" y="980"/>
                    <a:pt x="776" y="849"/>
                    <a:pt x="779" y="717"/>
                  </a:cubicBezTo>
                  <a:cubicBezTo>
                    <a:pt x="680" y="802"/>
                    <a:pt x="521" y="899"/>
                    <a:pt x="652" y="1146"/>
                  </a:cubicBezTo>
                  <a:lnTo>
                    <a:pt x="895" y="1516"/>
                  </a:lnTo>
                  <a:lnTo>
                    <a:pt x="756" y="1829"/>
                  </a:lnTo>
                  <a:lnTo>
                    <a:pt x="843" y="2199"/>
                  </a:lnTo>
                  <a:cubicBezTo>
                    <a:pt x="1058" y="1795"/>
                    <a:pt x="1262" y="1494"/>
                    <a:pt x="1074" y="1209"/>
                  </a:cubicBezTo>
                  <a:cubicBezTo>
                    <a:pt x="1289" y="961"/>
                    <a:pt x="1131" y="726"/>
                    <a:pt x="964" y="700"/>
                  </a:cubicBezTo>
                  <a:close/>
                  <a:moveTo>
                    <a:pt x="3140" y="706"/>
                  </a:moveTo>
                  <a:cubicBezTo>
                    <a:pt x="3128" y="1053"/>
                    <a:pt x="2922" y="1014"/>
                    <a:pt x="2810" y="1163"/>
                  </a:cubicBezTo>
                  <a:cubicBezTo>
                    <a:pt x="2900" y="1326"/>
                    <a:pt x="3171" y="1261"/>
                    <a:pt x="3441" y="1198"/>
                  </a:cubicBezTo>
                  <a:cubicBezTo>
                    <a:pt x="3428" y="1157"/>
                    <a:pt x="3417" y="1114"/>
                    <a:pt x="3405" y="1073"/>
                  </a:cubicBezTo>
                  <a:cubicBezTo>
                    <a:pt x="3349" y="955"/>
                    <a:pt x="3286" y="848"/>
                    <a:pt x="3218" y="751"/>
                  </a:cubicBezTo>
                  <a:cubicBezTo>
                    <a:pt x="3195" y="734"/>
                    <a:pt x="3169" y="719"/>
                    <a:pt x="3140" y="706"/>
                  </a:cubicBezTo>
                  <a:close/>
                  <a:moveTo>
                    <a:pt x="420" y="1304"/>
                  </a:moveTo>
                  <a:cubicBezTo>
                    <a:pt x="401" y="1304"/>
                    <a:pt x="378" y="1313"/>
                    <a:pt x="345" y="1337"/>
                  </a:cubicBezTo>
                  <a:cubicBezTo>
                    <a:pt x="339" y="1402"/>
                    <a:pt x="385" y="1491"/>
                    <a:pt x="455" y="1557"/>
                  </a:cubicBezTo>
                  <a:lnTo>
                    <a:pt x="513" y="1360"/>
                  </a:lnTo>
                  <a:cubicBezTo>
                    <a:pt x="481" y="1344"/>
                    <a:pt x="462" y="1303"/>
                    <a:pt x="420" y="1304"/>
                  </a:cubicBezTo>
                  <a:close/>
                  <a:moveTo>
                    <a:pt x="212" y="1568"/>
                  </a:moveTo>
                  <a:cubicBezTo>
                    <a:pt x="0" y="1702"/>
                    <a:pt x="145" y="2030"/>
                    <a:pt x="230" y="2199"/>
                  </a:cubicBezTo>
                  <a:lnTo>
                    <a:pt x="334" y="2228"/>
                  </a:lnTo>
                  <a:lnTo>
                    <a:pt x="444" y="1927"/>
                  </a:lnTo>
                  <a:cubicBezTo>
                    <a:pt x="336" y="1838"/>
                    <a:pt x="243" y="1734"/>
                    <a:pt x="212" y="1568"/>
                  </a:cubicBezTo>
                  <a:close/>
                  <a:moveTo>
                    <a:pt x="2547" y="2147"/>
                  </a:moveTo>
                  <a:cubicBezTo>
                    <a:pt x="2745" y="2426"/>
                    <a:pt x="2306" y="3290"/>
                    <a:pt x="2150" y="3457"/>
                  </a:cubicBezTo>
                  <a:cubicBezTo>
                    <a:pt x="2467" y="3292"/>
                    <a:pt x="2640" y="3076"/>
                    <a:pt x="2819" y="2837"/>
                  </a:cubicBezTo>
                  <a:cubicBezTo>
                    <a:pt x="2785" y="2552"/>
                    <a:pt x="2772" y="2230"/>
                    <a:pt x="2547" y="2147"/>
                  </a:cubicBezTo>
                  <a:close/>
                  <a:moveTo>
                    <a:pt x="1748" y="2435"/>
                  </a:moveTo>
                  <a:cubicBezTo>
                    <a:pt x="1741" y="2434"/>
                    <a:pt x="1733" y="2437"/>
                    <a:pt x="1725" y="2444"/>
                  </a:cubicBezTo>
                  <a:cubicBezTo>
                    <a:pt x="1681" y="2480"/>
                    <a:pt x="1739" y="2774"/>
                    <a:pt x="1427" y="3047"/>
                  </a:cubicBezTo>
                  <a:cubicBezTo>
                    <a:pt x="1209" y="3237"/>
                    <a:pt x="647" y="3571"/>
                    <a:pt x="614" y="3596"/>
                  </a:cubicBezTo>
                  <a:cubicBezTo>
                    <a:pt x="619" y="3599"/>
                    <a:pt x="624" y="3602"/>
                    <a:pt x="630" y="3606"/>
                  </a:cubicBezTo>
                  <a:cubicBezTo>
                    <a:pt x="818" y="3684"/>
                    <a:pt x="1039" y="3719"/>
                    <a:pt x="1295" y="3699"/>
                  </a:cubicBezTo>
                  <a:cubicBezTo>
                    <a:pt x="1346" y="3686"/>
                    <a:pt x="1388" y="3665"/>
                    <a:pt x="1415" y="3633"/>
                  </a:cubicBezTo>
                  <a:cubicBezTo>
                    <a:pt x="1456" y="3582"/>
                    <a:pt x="1714" y="3205"/>
                    <a:pt x="1751" y="3092"/>
                  </a:cubicBezTo>
                  <a:cubicBezTo>
                    <a:pt x="1853" y="2785"/>
                    <a:pt x="1821" y="2443"/>
                    <a:pt x="1748" y="2435"/>
                  </a:cubicBezTo>
                  <a:close/>
                </a:path>
              </a:pathLst>
            </a:custGeom>
            <a:solidFill>
              <a:srgbClr val="292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7"/>
            <p:cNvSpPr>
              <a:spLocks/>
            </p:cNvSpPr>
            <p:nvPr/>
          </p:nvSpPr>
          <p:spPr bwMode="auto">
            <a:xfrm>
              <a:off x="6657975" y="3436938"/>
              <a:ext cx="942975" cy="1270000"/>
            </a:xfrm>
            <a:custGeom>
              <a:avLst/>
              <a:gdLst>
                <a:gd name="T0" fmla="*/ 1633 w 1928"/>
                <a:gd name="T1" fmla="*/ 275 h 2599"/>
                <a:gd name="T2" fmla="*/ 1215 w 1928"/>
                <a:gd name="T3" fmla="*/ 981 h 2599"/>
                <a:gd name="T4" fmla="*/ 215 w 1928"/>
                <a:gd name="T5" fmla="*/ 2571 h 2599"/>
                <a:gd name="T6" fmla="*/ 81 w 1928"/>
                <a:gd name="T7" fmla="*/ 2275 h 2599"/>
                <a:gd name="T8" fmla="*/ 946 w 1928"/>
                <a:gd name="T9" fmla="*/ 877 h 2599"/>
                <a:gd name="T10" fmla="*/ 1633 w 1928"/>
                <a:gd name="T11" fmla="*/ 275 h 2599"/>
              </a:gdLst>
              <a:ahLst/>
              <a:cxnLst>
                <a:cxn ang="0">
                  <a:pos x="T0" y="T1"/>
                </a:cxn>
                <a:cxn ang="0">
                  <a:pos x="T2" y="T3"/>
                </a:cxn>
                <a:cxn ang="0">
                  <a:pos x="T4" y="T5"/>
                </a:cxn>
                <a:cxn ang="0">
                  <a:pos x="T6" y="T7"/>
                </a:cxn>
                <a:cxn ang="0">
                  <a:pos x="T8" y="T9"/>
                </a:cxn>
                <a:cxn ang="0">
                  <a:pos x="T10" y="T11"/>
                </a:cxn>
              </a:cxnLst>
              <a:rect l="0" t="0" r="r" b="b"/>
              <a:pathLst>
                <a:path w="1928" h="2599">
                  <a:moveTo>
                    <a:pt x="1633" y="275"/>
                  </a:moveTo>
                  <a:cubicBezTo>
                    <a:pt x="1928" y="483"/>
                    <a:pt x="1375" y="797"/>
                    <a:pt x="1215" y="981"/>
                  </a:cubicBezTo>
                  <a:cubicBezTo>
                    <a:pt x="849" y="1403"/>
                    <a:pt x="279" y="2599"/>
                    <a:pt x="215" y="2571"/>
                  </a:cubicBezTo>
                  <a:cubicBezTo>
                    <a:pt x="152" y="2542"/>
                    <a:pt x="0" y="2304"/>
                    <a:pt x="81" y="2275"/>
                  </a:cubicBezTo>
                  <a:cubicBezTo>
                    <a:pt x="162" y="2246"/>
                    <a:pt x="626" y="1339"/>
                    <a:pt x="946" y="877"/>
                  </a:cubicBezTo>
                  <a:cubicBezTo>
                    <a:pt x="1101" y="654"/>
                    <a:pt x="1288" y="0"/>
                    <a:pt x="1633" y="27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58"/>
            <p:cNvSpPr>
              <a:spLocks noEditPoints="1"/>
            </p:cNvSpPr>
            <p:nvPr/>
          </p:nvSpPr>
          <p:spPr bwMode="auto">
            <a:xfrm>
              <a:off x="6677025" y="3527426"/>
              <a:ext cx="836612" cy="1176338"/>
            </a:xfrm>
            <a:custGeom>
              <a:avLst/>
              <a:gdLst>
                <a:gd name="T0" fmla="*/ 1416 w 1712"/>
                <a:gd name="T1" fmla="*/ 5 h 2408"/>
                <a:gd name="T2" fmla="*/ 1358 w 1712"/>
                <a:gd name="T3" fmla="*/ 18 h 2408"/>
                <a:gd name="T4" fmla="*/ 1165 w 1712"/>
                <a:gd name="T5" fmla="*/ 193 h 2408"/>
                <a:gd name="T6" fmla="*/ 893 w 1712"/>
                <a:gd name="T7" fmla="*/ 681 h 2408"/>
                <a:gd name="T8" fmla="*/ 370 w 1712"/>
                <a:gd name="T9" fmla="*/ 1543 h 2408"/>
                <a:gd name="T10" fmla="*/ 151 w 1712"/>
                <a:gd name="T11" fmla="*/ 1914 h 2408"/>
                <a:gd name="T12" fmla="*/ 75 w 1712"/>
                <a:gd name="T13" fmla="*/ 2029 h 2408"/>
                <a:gd name="T14" fmla="*/ 49 w 1712"/>
                <a:gd name="T15" fmla="*/ 2061 h 2408"/>
                <a:gd name="T16" fmla="*/ 37 w 1712"/>
                <a:gd name="T17" fmla="*/ 2071 h 2408"/>
                <a:gd name="T18" fmla="*/ 5 w 1712"/>
                <a:gd name="T19" fmla="*/ 2103 h 2408"/>
                <a:gd name="T20" fmla="*/ 2 w 1712"/>
                <a:gd name="T21" fmla="*/ 2147 h 2408"/>
                <a:gd name="T22" fmla="*/ 39 w 1712"/>
                <a:gd name="T23" fmla="*/ 2247 h 2408"/>
                <a:gd name="T24" fmla="*/ 104 w 1712"/>
                <a:gd name="T25" fmla="*/ 2344 h 2408"/>
                <a:gd name="T26" fmla="*/ 170 w 1712"/>
                <a:gd name="T27" fmla="*/ 2404 h 2408"/>
                <a:gd name="T28" fmla="*/ 195 w 1712"/>
                <a:gd name="T29" fmla="*/ 2403 h 2408"/>
                <a:gd name="T30" fmla="*/ 210 w 1712"/>
                <a:gd name="T31" fmla="*/ 2392 h 2408"/>
                <a:gd name="T32" fmla="*/ 241 w 1712"/>
                <a:gd name="T33" fmla="*/ 2355 h 2408"/>
                <a:gd name="T34" fmla="*/ 327 w 1712"/>
                <a:gd name="T35" fmla="*/ 2219 h 2408"/>
                <a:gd name="T36" fmla="*/ 582 w 1712"/>
                <a:gd name="T37" fmla="*/ 1770 h 2408"/>
                <a:gd name="T38" fmla="*/ 1193 w 1712"/>
                <a:gd name="T39" fmla="*/ 809 h 2408"/>
                <a:gd name="T40" fmla="*/ 1572 w 1712"/>
                <a:gd name="T41" fmla="*/ 466 h 2408"/>
                <a:gd name="T42" fmla="*/ 1697 w 1712"/>
                <a:gd name="T43" fmla="*/ 266 h 2408"/>
                <a:gd name="T44" fmla="*/ 1608 w 1712"/>
                <a:gd name="T45" fmla="*/ 74 h 2408"/>
                <a:gd name="T46" fmla="*/ 1416 w 1712"/>
                <a:gd name="T47" fmla="*/ 5 h 2408"/>
                <a:gd name="T48" fmla="*/ 1420 w 1712"/>
                <a:gd name="T49" fmla="*/ 44 h 2408"/>
                <a:gd name="T50" fmla="*/ 1584 w 1712"/>
                <a:gd name="T51" fmla="*/ 106 h 2408"/>
                <a:gd name="T52" fmla="*/ 1584 w 1712"/>
                <a:gd name="T53" fmla="*/ 106 h 2408"/>
                <a:gd name="T54" fmla="*/ 1585 w 1712"/>
                <a:gd name="T55" fmla="*/ 106 h 2408"/>
                <a:gd name="T56" fmla="*/ 1658 w 1712"/>
                <a:gd name="T57" fmla="*/ 258 h 2408"/>
                <a:gd name="T58" fmla="*/ 1543 w 1712"/>
                <a:gd name="T59" fmla="*/ 438 h 2408"/>
                <a:gd name="T60" fmla="*/ 1163 w 1712"/>
                <a:gd name="T61" fmla="*/ 783 h 2408"/>
                <a:gd name="T62" fmla="*/ 548 w 1712"/>
                <a:gd name="T63" fmla="*/ 1750 h 2408"/>
                <a:gd name="T64" fmla="*/ 293 w 1712"/>
                <a:gd name="T65" fmla="*/ 2198 h 2408"/>
                <a:gd name="T66" fmla="*/ 209 w 1712"/>
                <a:gd name="T67" fmla="*/ 2331 h 2408"/>
                <a:gd name="T68" fmla="*/ 183 w 1712"/>
                <a:gd name="T69" fmla="*/ 2363 h 2408"/>
                <a:gd name="T70" fmla="*/ 182 w 1712"/>
                <a:gd name="T71" fmla="*/ 2363 h 2408"/>
                <a:gd name="T72" fmla="*/ 135 w 1712"/>
                <a:gd name="T73" fmla="*/ 2319 h 2408"/>
                <a:gd name="T74" fmla="*/ 75 w 1712"/>
                <a:gd name="T75" fmla="*/ 2228 h 2408"/>
                <a:gd name="T76" fmla="*/ 42 w 1712"/>
                <a:gd name="T77" fmla="*/ 2141 h 2408"/>
                <a:gd name="T78" fmla="*/ 43 w 1712"/>
                <a:gd name="T79" fmla="*/ 2117 h 2408"/>
                <a:gd name="T80" fmla="*/ 51 w 1712"/>
                <a:gd name="T81" fmla="*/ 2109 h 2408"/>
                <a:gd name="T82" fmla="*/ 78 w 1712"/>
                <a:gd name="T83" fmla="*/ 2088 h 2408"/>
                <a:gd name="T84" fmla="*/ 108 w 1712"/>
                <a:gd name="T85" fmla="*/ 2052 h 2408"/>
                <a:gd name="T86" fmla="*/ 185 w 1712"/>
                <a:gd name="T87" fmla="*/ 1935 h 2408"/>
                <a:gd name="T88" fmla="*/ 404 w 1712"/>
                <a:gd name="T89" fmla="*/ 1563 h 2408"/>
                <a:gd name="T90" fmla="*/ 926 w 1712"/>
                <a:gd name="T91" fmla="*/ 704 h 2408"/>
                <a:gd name="T92" fmla="*/ 1198 w 1712"/>
                <a:gd name="T93" fmla="*/ 216 h 2408"/>
                <a:gd name="T94" fmla="*/ 1372 w 1712"/>
                <a:gd name="T95" fmla="*/ 55 h 2408"/>
                <a:gd name="T96" fmla="*/ 1420 w 1712"/>
                <a:gd name="T97" fmla="*/ 44 h 2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2" h="2408">
                  <a:moveTo>
                    <a:pt x="1416" y="5"/>
                  </a:moveTo>
                  <a:cubicBezTo>
                    <a:pt x="1396" y="6"/>
                    <a:pt x="1376" y="11"/>
                    <a:pt x="1358" y="18"/>
                  </a:cubicBezTo>
                  <a:cubicBezTo>
                    <a:pt x="1283" y="46"/>
                    <a:pt x="1220" y="113"/>
                    <a:pt x="1165" y="193"/>
                  </a:cubicBezTo>
                  <a:cubicBezTo>
                    <a:pt x="1053" y="353"/>
                    <a:pt x="967" y="574"/>
                    <a:pt x="893" y="681"/>
                  </a:cubicBezTo>
                  <a:cubicBezTo>
                    <a:pt x="732" y="913"/>
                    <a:pt x="536" y="1255"/>
                    <a:pt x="370" y="1543"/>
                  </a:cubicBezTo>
                  <a:cubicBezTo>
                    <a:pt x="287" y="1687"/>
                    <a:pt x="211" y="1818"/>
                    <a:pt x="151" y="1914"/>
                  </a:cubicBezTo>
                  <a:cubicBezTo>
                    <a:pt x="122" y="1962"/>
                    <a:pt x="96" y="2001"/>
                    <a:pt x="75" y="2029"/>
                  </a:cubicBezTo>
                  <a:cubicBezTo>
                    <a:pt x="65" y="2042"/>
                    <a:pt x="56" y="2053"/>
                    <a:pt x="49" y="2061"/>
                  </a:cubicBezTo>
                  <a:cubicBezTo>
                    <a:pt x="42" y="2068"/>
                    <a:pt x="36" y="2071"/>
                    <a:pt x="37" y="2071"/>
                  </a:cubicBezTo>
                  <a:cubicBezTo>
                    <a:pt x="22" y="2076"/>
                    <a:pt x="11" y="2089"/>
                    <a:pt x="5" y="2103"/>
                  </a:cubicBezTo>
                  <a:cubicBezTo>
                    <a:pt x="0" y="2117"/>
                    <a:pt x="0" y="2132"/>
                    <a:pt x="2" y="2147"/>
                  </a:cubicBezTo>
                  <a:cubicBezTo>
                    <a:pt x="7" y="2178"/>
                    <a:pt x="21" y="2213"/>
                    <a:pt x="39" y="2247"/>
                  </a:cubicBezTo>
                  <a:cubicBezTo>
                    <a:pt x="58" y="2282"/>
                    <a:pt x="81" y="2316"/>
                    <a:pt x="104" y="2344"/>
                  </a:cubicBezTo>
                  <a:cubicBezTo>
                    <a:pt x="127" y="2372"/>
                    <a:pt x="148" y="2393"/>
                    <a:pt x="170" y="2404"/>
                  </a:cubicBezTo>
                  <a:cubicBezTo>
                    <a:pt x="179" y="2408"/>
                    <a:pt x="189" y="2406"/>
                    <a:pt x="195" y="2403"/>
                  </a:cubicBezTo>
                  <a:cubicBezTo>
                    <a:pt x="201" y="2400"/>
                    <a:pt x="205" y="2396"/>
                    <a:pt x="210" y="2392"/>
                  </a:cubicBezTo>
                  <a:cubicBezTo>
                    <a:pt x="219" y="2383"/>
                    <a:pt x="229" y="2371"/>
                    <a:pt x="241" y="2355"/>
                  </a:cubicBezTo>
                  <a:cubicBezTo>
                    <a:pt x="264" y="2323"/>
                    <a:pt x="293" y="2276"/>
                    <a:pt x="327" y="2219"/>
                  </a:cubicBezTo>
                  <a:cubicBezTo>
                    <a:pt x="396" y="2104"/>
                    <a:pt x="484" y="1944"/>
                    <a:pt x="582" y="1770"/>
                  </a:cubicBezTo>
                  <a:cubicBezTo>
                    <a:pt x="778" y="1421"/>
                    <a:pt x="1013" y="1017"/>
                    <a:pt x="1193" y="809"/>
                  </a:cubicBezTo>
                  <a:cubicBezTo>
                    <a:pt x="1269" y="721"/>
                    <a:pt x="1449" y="596"/>
                    <a:pt x="1572" y="466"/>
                  </a:cubicBezTo>
                  <a:cubicBezTo>
                    <a:pt x="1634" y="401"/>
                    <a:pt x="1683" y="335"/>
                    <a:pt x="1697" y="266"/>
                  </a:cubicBezTo>
                  <a:cubicBezTo>
                    <a:pt x="1712" y="198"/>
                    <a:pt x="1686" y="129"/>
                    <a:pt x="1608" y="74"/>
                  </a:cubicBezTo>
                  <a:cubicBezTo>
                    <a:pt x="1541" y="21"/>
                    <a:pt x="1476" y="0"/>
                    <a:pt x="1416" y="5"/>
                  </a:cubicBezTo>
                  <a:close/>
                  <a:moveTo>
                    <a:pt x="1420" y="44"/>
                  </a:moveTo>
                  <a:cubicBezTo>
                    <a:pt x="1469" y="39"/>
                    <a:pt x="1522" y="56"/>
                    <a:pt x="1584" y="106"/>
                  </a:cubicBezTo>
                  <a:lnTo>
                    <a:pt x="1584" y="106"/>
                  </a:lnTo>
                  <a:lnTo>
                    <a:pt x="1585" y="106"/>
                  </a:lnTo>
                  <a:cubicBezTo>
                    <a:pt x="1654" y="155"/>
                    <a:pt x="1670" y="203"/>
                    <a:pt x="1658" y="258"/>
                  </a:cubicBezTo>
                  <a:cubicBezTo>
                    <a:pt x="1647" y="313"/>
                    <a:pt x="1603" y="376"/>
                    <a:pt x="1543" y="438"/>
                  </a:cubicBezTo>
                  <a:cubicBezTo>
                    <a:pt x="1424" y="563"/>
                    <a:pt x="1247" y="686"/>
                    <a:pt x="1163" y="783"/>
                  </a:cubicBezTo>
                  <a:cubicBezTo>
                    <a:pt x="977" y="997"/>
                    <a:pt x="744" y="1401"/>
                    <a:pt x="548" y="1750"/>
                  </a:cubicBezTo>
                  <a:cubicBezTo>
                    <a:pt x="449" y="1924"/>
                    <a:pt x="361" y="2084"/>
                    <a:pt x="293" y="2198"/>
                  </a:cubicBezTo>
                  <a:cubicBezTo>
                    <a:pt x="259" y="2256"/>
                    <a:pt x="230" y="2301"/>
                    <a:pt x="209" y="2331"/>
                  </a:cubicBezTo>
                  <a:cubicBezTo>
                    <a:pt x="198" y="2346"/>
                    <a:pt x="189" y="2357"/>
                    <a:pt x="183" y="2363"/>
                  </a:cubicBezTo>
                  <a:cubicBezTo>
                    <a:pt x="182" y="2363"/>
                    <a:pt x="182" y="2363"/>
                    <a:pt x="182" y="2363"/>
                  </a:cubicBezTo>
                  <a:cubicBezTo>
                    <a:pt x="172" y="2357"/>
                    <a:pt x="154" y="2342"/>
                    <a:pt x="135" y="2319"/>
                  </a:cubicBezTo>
                  <a:cubicBezTo>
                    <a:pt x="114" y="2293"/>
                    <a:pt x="92" y="2260"/>
                    <a:pt x="75" y="2228"/>
                  </a:cubicBezTo>
                  <a:cubicBezTo>
                    <a:pt x="57" y="2196"/>
                    <a:pt x="45" y="2164"/>
                    <a:pt x="42" y="2141"/>
                  </a:cubicBezTo>
                  <a:cubicBezTo>
                    <a:pt x="40" y="2130"/>
                    <a:pt x="41" y="2121"/>
                    <a:pt x="43" y="2117"/>
                  </a:cubicBezTo>
                  <a:cubicBezTo>
                    <a:pt x="45" y="2112"/>
                    <a:pt x="46" y="2110"/>
                    <a:pt x="51" y="2109"/>
                  </a:cubicBezTo>
                  <a:cubicBezTo>
                    <a:pt x="62" y="2105"/>
                    <a:pt x="69" y="2098"/>
                    <a:pt x="78" y="2088"/>
                  </a:cubicBezTo>
                  <a:cubicBezTo>
                    <a:pt x="87" y="2079"/>
                    <a:pt x="97" y="2067"/>
                    <a:pt x="108" y="2052"/>
                  </a:cubicBezTo>
                  <a:cubicBezTo>
                    <a:pt x="129" y="2023"/>
                    <a:pt x="155" y="1983"/>
                    <a:pt x="185" y="1935"/>
                  </a:cubicBezTo>
                  <a:cubicBezTo>
                    <a:pt x="246" y="1838"/>
                    <a:pt x="321" y="1707"/>
                    <a:pt x="404" y="1563"/>
                  </a:cubicBezTo>
                  <a:cubicBezTo>
                    <a:pt x="570" y="1275"/>
                    <a:pt x="766" y="933"/>
                    <a:pt x="926" y="704"/>
                  </a:cubicBezTo>
                  <a:cubicBezTo>
                    <a:pt x="1006" y="588"/>
                    <a:pt x="1091" y="370"/>
                    <a:pt x="1198" y="216"/>
                  </a:cubicBezTo>
                  <a:cubicBezTo>
                    <a:pt x="1251" y="139"/>
                    <a:pt x="1310" y="79"/>
                    <a:pt x="1372" y="55"/>
                  </a:cubicBezTo>
                  <a:cubicBezTo>
                    <a:pt x="1388" y="49"/>
                    <a:pt x="1403" y="45"/>
                    <a:pt x="1420"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59"/>
            <p:cNvSpPr>
              <a:spLocks/>
            </p:cNvSpPr>
            <p:nvPr/>
          </p:nvSpPr>
          <p:spPr bwMode="auto">
            <a:xfrm>
              <a:off x="6630988" y="3524251"/>
              <a:ext cx="782637" cy="1012825"/>
            </a:xfrm>
            <a:custGeom>
              <a:avLst/>
              <a:gdLst>
                <a:gd name="T0" fmla="*/ 1308 w 1603"/>
                <a:gd name="T1" fmla="*/ 243 h 2072"/>
                <a:gd name="T2" fmla="*/ 955 w 1603"/>
                <a:gd name="T3" fmla="*/ 949 h 2072"/>
                <a:gd name="T4" fmla="*/ 191 w 1603"/>
                <a:gd name="T5" fmla="*/ 2043 h 2072"/>
                <a:gd name="T6" fmla="*/ 81 w 1603"/>
                <a:gd name="T7" fmla="*/ 1569 h 2072"/>
                <a:gd name="T8" fmla="*/ 816 w 1603"/>
                <a:gd name="T9" fmla="*/ 683 h 2072"/>
                <a:gd name="T10" fmla="*/ 1308 w 1603"/>
                <a:gd name="T11" fmla="*/ 243 h 2072"/>
              </a:gdLst>
              <a:ahLst/>
              <a:cxnLst>
                <a:cxn ang="0">
                  <a:pos x="T0" y="T1"/>
                </a:cxn>
                <a:cxn ang="0">
                  <a:pos x="T2" y="T3"/>
                </a:cxn>
                <a:cxn ang="0">
                  <a:pos x="T4" y="T5"/>
                </a:cxn>
                <a:cxn ang="0">
                  <a:pos x="T6" y="T7"/>
                </a:cxn>
                <a:cxn ang="0">
                  <a:pos x="T8" y="T9"/>
                </a:cxn>
                <a:cxn ang="0">
                  <a:pos x="T10" y="T11"/>
                </a:cxn>
              </a:cxnLst>
              <a:rect l="0" t="0" r="r" b="b"/>
              <a:pathLst>
                <a:path w="1603" h="2072">
                  <a:moveTo>
                    <a:pt x="1308" y="243"/>
                  </a:moveTo>
                  <a:cubicBezTo>
                    <a:pt x="1603" y="452"/>
                    <a:pt x="1115" y="765"/>
                    <a:pt x="955" y="949"/>
                  </a:cubicBezTo>
                  <a:cubicBezTo>
                    <a:pt x="589" y="1371"/>
                    <a:pt x="255" y="2072"/>
                    <a:pt x="191" y="2043"/>
                  </a:cubicBezTo>
                  <a:cubicBezTo>
                    <a:pt x="128" y="2014"/>
                    <a:pt x="0" y="1598"/>
                    <a:pt x="81" y="1569"/>
                  </a:cubicBezTo>
                  <a:cubicBezTo>
                    <a:pt x="162" y="1540"/>
                    <a:pt x="496" y="1145"/>
                    <a:pt x="816" y="683"/>
                  </a:cubicBezTo>
                  <a:cubicBezTo>
                    <a:pt x="971" y="460"/>
                    <a:pt x="1077" y="0"/>
                    <a:pt x="1308" y="24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60"/>
            <p:cNvSpPr>
              <a:spLocks noEditPoints="1"/>
            </p:cNvSpPr>
            <p:nvPr/>
          </p:nvSpPr>
          <p:spPr bwMode="auto">
            <a:xfrm>
              <a:off x="6648450" y="3598863"/>
              <a:ext cx="679450" cy="935038"/>
            </a:xfrm>
            <a:custGeom>
              <a:avLst/>
              <a:gdLst>
                <a:gd name="T0" fmla="*/ 1156 w 1392"/>
                <a:gd name="T1" fmla="*/ 1 h 1913"/>
                <a:gd name="T2" fmla="*/ 1115 w 1392"/>
                <a:gd name="T3" fmla="*/ 5 h 1913"/>
                <a:gd name="T4" fmla="*/ 982 w 1392"/>
                <a:gd name="T5" fmla="*/ 123 h 1913"/>
                <a:gd name="T6" fmla="*/ 765 w 1392"/>
                <a:gd name="T7" fmla="*/ 518 h 1913"/>
                <a:gd name="T8" fmla="*/ 309 w 1392"/>
                <a:gd name="T9" fmla="*/ 1121 h 1913"/>
                <a:gd name="T10" fmla="*/ 136 w 1392"/>
                <a:gd name="T11" fmla="*/ 1315 h 1913"/>
                <a:gd name="T12" fmla="*/ 75 w 1392"/>
                <a:gd name="T13" fmla="*/ 1372 h 1913"/>
                <a:gd name="T14" fmla="*/ 40 w 1392"/>
                <a:gd name="T15" fmla="*/ 1396 h 1913"/>
                <a:gd name="T16" fmla="*/ 6 w 1392"/>
                <a:gd name="T17" fmla="*/ 1436 h 1913"/>
                <a:gd name="T18" fmla="*/ 0 w 1392"/>
                <a:gd name="T19" fmla="*/ 1498 h 1913"/>
                <a:gd name="T20" fmla="*/ 28 w 1392"/>
                <a:gd name="T21" fmla="*/ 1657 h 1913"/>
                <a:gd name="T22" fmla="*/ 83 w 1392"/>
                <a:gd name="T23" fmla="*/ 1815 h 1913"/>
                <a:gd name="T24" fmla="*/ 113 w 1392"/>
                <a:gd name="T25" fmla="*/ 1873 h 1913"/>
                <a:gd name="T26" fmla="*/ 148 w 1392"/>
                <a:gd name="T27" fmla="*/ 1907 h 1913"/>
                <a:gd name="T28" fmla="*/ 182 w 1392"/>
                <a:gd name="T29" fmla="*/ 1903 h 1913"/>
                <a:gd name="T30" fmla="*/ 207 w 1392"/>
                <a:gd name="T31" fmla="*/ 1881 h 1913"/>
                <a:gd name="T32" fmla="*/ 268 w 1392"/>
                <a:gd name="T33" fmla="*/ 1801 h 1913"/>
                <a:gd name="T34" fmla="*/ 442 w 1392"/>
                <a:gd name="T35" fmla="*/ 1522 h 1913"/>
                <a:gd name="T36" fmla="*/ 935 w 1392"/>
                <a:gd name="T37" fmla="*/ 808 h 1913"/>
                <a:gd name="T38" fmla="*/ 1283 w 1392"/>
                <a:gd name="T39" fmla="*/ 464 h 1913"/>
                <a:gd name="T40" fmla="*/ 1385 w 1392"/>
                <a:gd name="T41" fmla="*/ 264 h 1913"/>
                <a:gd name="T42" fmla="*/ 1285 w 1392"/>
                <a:gd name="T43" fmla="*/ 73 h 1913"/>
                <a:gd name="T44" fmla="*/ 1288 w 1392"/>
                <a:gd name="T45" fmla="*/ 76 h 1913"/>
                <a:gd name="T46" fmla="*/ 1156 w 1392"/>
                <a:gd name="T47" fmla="*/ 1 h 1913"/>
                <a:gd name="T48" fmla="*/ 1154 w 1392"/>
                <a:gd name="T49" fmla="*/ 40 h 1913"/>
                <a:gd name="T50" fmla="*/ 1259 w 1392"/>
                <a:gd name="T51" fmla="*/ 103 h 1913"/>
                <a:gd name="T52" fmla="*/ 1260 w 1392"/>
                <a:gd name="T53" fmla="*/ 105 h 1913"/>
                <a:gd name="T54" fmla="*/ 1262 w 1392"/>
                <a:gd name="T55" fmla="*/ 106 h 1913"/>
                <a:gd name="T56" fmla="*/ 1345 w 1392"/>
                <a:gd name="T57" fmla="*/ 259 h 1913"/>
                <a:gd name="T58" fmla="*/ 1252 w 1392"/>
                <a:gd name="T59" fmla="*/ 439 h 1913"/>
                <a:gd name="T60" fmla="*/ 905 w 1392"/>
                <a:gd name="T61" fmla="*/ 782 h 1913"/>
                <a:gd name="T62" fmla="*/ 408 w 1392"/>
                <a:gd name="T63" fmla="*/ 1501 h 1913"/>
                <a:gd name="T64" fmla="*/ 234 w 1392"/>
                <a:gd name="T65" fmla="*/ 1779 h 1913"/>
                <a:gd name="T66" fmla="*/ 178 w 1392"/>
                <a:gd name="T67" fmla="*/ 1854 h 1913"/>
                <a:gd name="T68" fmla="*/ 162 w 1392"/>
                <a:gd name="T69" fmla="*/ 1868 h 1913"/>
                <a:gd name="T70" fmla="*/ 147 w 1392"/>
                <a:gd name="T71" fmla="*/ 1851 h 1913"/>
                <a:gd name="T72" fmla="*/ 119 w 1392"/>
                <a:gd name="T73" fmla="*/ 1799 h 1913"/>
                <a:gd name="T74" fmla="*/ 66 w 1392"/>
                <a:gd name="T75" fmla="*/ 1647 h 1913"/>
                <a:gd name="T76" fmla="*/ 40 w 1392"/>
                <a:gd name="T77" fmla="*/ 1496 h 1913"/>
                <a:gd name="T78" fmla="*/ 44 w 1392"/>
                <a:gd name="T79" fmla="*/ 1448 h 1913"/>
                <a:gd name="T80" fmla="*/ 53 w 1392"/>
                <a:gd name="T81" fmla="*/ 1433 h 1913"/>
                <a:gd name="T82" fmla="*/ 101 w 1392"/>
                <a:gd name="T83" fmla="*/ 1403 h 1913"/>
                <a:gd name="T84" fmla="*/ 164 w 1392"/>
                <a:gd name="T85" fmla="*/ 1343 h 1913"/>
                <a:gd name="T86" fmla="*/ 339 w 1392"/>
                <a:gd name="T87" fmla="*/ 1147 h 1913"/>
                <a:gd name="T88" fmla="*/ 798 w 1392"/>
                <a:gd name="T89" fmla="*/ 541 h 1913"/>
                <a:gd name="T90" fmla="*/ 1015 w 1392"/>
                <a:gd name="T91" fmla="*/ 146 h 1913"/>
                <a:gd name="T92" fmla="*/ 1126 w 1392"/>
                <a:gd name="T93" fmla="*/ 43 h 1913"/>
                <a:gd name="T94" fmla="*/ 1154 w 1392"/>
                <a:gd name="T95" fmla="*/ 40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2" h="1913">
                  <a:moveTo>
                    <a:pt x="1156" y="1"/>
                  </a:moveTo>
                  <a:cubicBezTo>
                    <a:pt x="1142" y="0"/>
                    <a:pt x="1128" y="1"/>
                    <a:pt x="1115" y="5"/>
                  </a:cubicBezTo>
                  <a:cubicBezTo>
                    <a:pt x="1062" y="20"/>
                    <a:pt x="1020" y="66"/>
                    <a:pt x="982" y="123"/>
                  </a:cubicBezTo>
                  <a:cubicBezTo>
                    <a:pt x="905" y="239"/>
                    <a:pt x="840" y="410"/>
                    <a:pt x="765" y="518"/>
                  </a:cubicBezTo>
                  <a:cubicBezTo>
                    <a:pt x="605" y="748"/>
                    <a:pt x="442" y="962"/>
                    <a:pt x="309" y="1121"/>
                  </a:cubicBezTo>
                  <a:cubicBezTo>
                    <a:pt x="242" y="1201"/>
                    <a:pt x="183" y="1267"/>
                    <a:pt x="136" y="1315"/>
                  </a:cubicBezTo>
                  <a:cubicBezTo>
                    <a:pt x="112" y="1339"/>
                    <a:pt x="92" y="1358"/>
                    <a:pt x="75" y="1372"/>
                  </a:cubicBezTo>
                  <a:cubicBezTo>
                    <a:pt x="59" y="1386"/>
                    <a:pt x="45" y="1394"/>
                    <a:pt x="40" y="1396"/>
                  </a:cubicBezTo>
                  <a:cubicBezTo>
                    <a:pt x="21" y="1402"/>
                    <a:pt x="11" y="1419"/>
                    <a:pt x="6" y="1436"/>
                  </a:cubicBezTo>
                  <a:cubicBezTo>
                    <a:pt x="1" y="1454"/>
                    <a:pt x="0" y="1474"/>
                    <a:pt x="0" y="1498"/>
                  </a:cubicBezTo>
                  <a:cubicBezTo>
                    <a:pt x="2" y="1544"/>
                    <a:pt x="13" y="1600"/>
                    <a:pt x="28" y="1657"/>
                  </a:cubicBezTo>
                  <a:cubicBezTo>
                    <a:pt x="43" y="1714"/>
                    <a:pt x="62" y="1770"/>
                    <a:pt x="83" y="1815"/>
                  </a:cubicBezTo>
                  <a:cubicBezTo>
                    <a:pt x="93" y="1837"/>
                    <a:pt x="103" y="1857"/>
                    <a:pt x="113" y="1873"/>
                  </a:cubicBezTo>
                  <a:cubicBezTo>
                    <a:pt x="124" y="1888"/>
                    <a:pt x="133" y="1900"/>
                    <a:pt x="148" y="1907"/>
                  </a:cubicBezTo>
                  <a:cubicBezTo>
                    <a:pt x="160" y="1913"/>
                    <a:pt x="173" y="1909"/>
                    <a:pt x="182" y="1903"/>
                  </a:cubicBezTo>
                  <a:cubicBezTo>
                    <a:pt x="190" y="1898"/>
                    <a:pt x="198" y="1891"/>
                    <a:pt x="207" y="1881"/>
                  </a:cubicBezTo>
                  <a:cubicBezTo>
                    <a:pt x="224" y="1863"/>
                    <a:pt x="244" y="1835"/>
                    <a:pt x="268" y="1801"/>
                  </a:cubicBezTo>
                  <a:cubicBezTo>
                    <a:pt x="314" y="1732"/>
                    <a:pt x="373" y="1634"/>
                    <a:pt x="442" y="1522"/>
                  </a:cubicBezTo>
                  <a:cubicBezTo>
                    <a:pt x="579" y="1297"/>
                    <a:pt x="754" y="1017"/>
                    <a:pt x="935" y="808"/>
                  </a:cubicBezTo>
                  <a:cubicBezTo>
                    <a:pt x="1012" y="720"/>
                    <a:pt x="1175" y="594"/>
                    <a:pt x="1283" y="464"/>
                  </a:cubicBezTo>
                  <a:cubicBezTo>
                    <a:pt x="1336" y="399"/>
                    <a:pt x="1377" y="332"/>
                    <a:pt x="1385" y="264"/>
                  </a:cubicBezTo>
                  <a:cubicBezTo>
                    <a:pt x="1392" y="196"/>
                    <a:pt x="1362" y="128"/>
                    <a:pt x="1285" y="73"/>
                  </a:cubicBezTo>
                  <a:lnTo>
                    <a:pt x="1288" y="76"/>
                  </a:lnTo>
                  <a:cubicBezTo>
                    <a:pt x="1242" y="28"/>
                    <a:pt x="1198" y="4"/>
                    <a:pt x="1156" y="1"/>
                  </a:cubicBezTo>
                  <a:close/>
                  <a:moveTo>
                    <a:pt x="1154" y="40"/>
                  </a:moveTo>
                  <a:cubicBezTo>
                    <a:pt x="1184" y="42"/>
                    <a:pt x="1217" y="60"/>
                    <a:pt x="1259" y="103"/>
                  </a:cubicBezTo>
                  <a:lnTo>
                    <a:pt x="1260" y="105"/>
                  </a:lnTo>
                  <a:lnTo>
                    <a:pt x="1262" y="106"/>
                  </a:lnTo>
                  <a:cubicBezTo>
                    <a:pt x="1331" y="155"/>
                    <a:pt x="1351" y="205"/>
                    <a:pt x="1345" y="259"/>
                  </a:cubicBezTo>
                  <a:cubicBezTo>
                    <a:pt x="1339" y="314"/>
                    <a:pt x="1303" y="376"/>
                    <a:pt x="1252" y="439"/>
                  </a:cubicBezTo>
                  <a:cubicBezTo>
                    <a:pt x="1149" y="563"/>
                    <a:pt x="988" y="687"/>
                    <a:pt x="905" y="782"/>
                  </a:cubicBezTo>
                  <a:cubicBezTo>
                    <a:pt x="720" y="995"/>
                    <a:pt x="545" y="1276"/>
                    <a:pt x="408" y="1501"/>
                  </a:cubicBezTo>
                  <a:cubicBezTo>
                    <a:pt x="339" y="1613"/>
                    <a:pt x="280" y="1711"/>
                    <a:pt x="234" y="1779"/>
                  </a:cubicBezTo>
                  <a:cubicBezTo>
                    <a:pt x="212" y="1812"/>
                    <a:pt x="192" y="1838"/>
                    <a:pt x="178" y="1854"/>
                  </a:cubicBezTo>
                  <a:cubicBezTo>
                    <a:pt x="171" y="1861"/>
                    <a:pt x="165" y="1866"/>
                    <a:pt x="162" y="1868"/>
                  </a:cubicBezTo>
                  <a:cubicBezTo>
                    <a:pt x="160" y="1866"/>
                    <a:pt x="154" y="1862"/>
                    <a:pt x="147" y="1851"/>
                  </a:cubicBezTo>
                  <a:cubicBezTo>
                    <a:pt x="138" y="1838"/>
                    <a:pt x="129" y="1820"/>
                    <a:pt x="119" y="1799"/>
                  </a:cubicBezTo>
                  <a:cubicBezTo>
                    <a:pt x="100" y="1756"/>
                    <a:pt x="81" y="1701"/>
                    <a:pt x="66" y="1647"/>
                  </a:cubicBezTo>
                  <a:cubicBezTo>
                    <a:pt x="52" y="1592"/>
                    <a:pt x="42" y="1537"/>
                    <a:pt x="40" y="1496"/>
                  </a:cubicBezTo>
                  <a:cubicBezTo>
                    <a:pt x="40" y="1476"/>
                    <a:pt x="41" y="1459"/>
                    <a:pt x="44" y="1448"/>
                  </a:cubicBezTo>
                  <a:cubicBezTo>
                    <a:pt x="47" y="1437"/>
                    <a:pt x="51" y="1434"/>
                    <a:pt x="53" y="1433"/>
                  </a:cubicBezTo>
                  <a:cubicBezTo>
                    <a:pt x="68" y="1428"/>
                    <a:pt x="82" y="1418"/>
                    <a:pt x="101" y="1403"/>
                  </a:cubicBezTo>
                  <a:cubicBezTo>
                    <a:pt x="119" y="1387"/>
                    <a:pt x="140" y="1367"/>
                    <a:pt x="164" y="1343"/>
                  </a:cubicBezTo>
                  <a:cubicBezTo>
                    <a:pt x="213" y="1294"/>
                    <a:pt x="272" y="1227"/>
                    <a:pt x="339" y="1147"/>
                  </a:cubicBezTo>
                  <a:cubicBezTo>
                    <a:pt x="473" y="986"/>
                    <a:pt x="637" y="772"/>
                    <a:pt x="798" y="541"/>
                  </a:cubicBezTo>
                  <a:cubicBezTo>
                    <a:pt x="878" y="426"/>
                    <a:pt x="943" y="255"/>
                    <a:pt x="1015" y="146"/>
                  </a:cubicBezTo>
                  <a:cubicBezTo>
                    <a:pt x="1051" y="91"/>
                    <a:pt x="1089" y="54"/>
                    <a:pt x="1126" y="43"/>
                  </a:cubicBezTo>
                  <a:cubicBezTo>
                    <a:pt x="1135" y="41"/>
                    <a:pt x="1144" y="40"/>
                    <a:pt x="1154"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61"/>
            <p:cNvSpPr>
              <a:spLocks/>
            </p:cNvSpPr>
            <p:nvPr/>
          </p:nvSpPr>
          <p:spPr bwMode="auto">
            <a:xfrm>
              <a:off x="6397625" y="3671888"/>
              <a:ext cx="392112" cy="1039813"/>
            </a:xfrm>
            <a:custGeom>
              <a:avLst/>
              <a:gdLst>
                <a:gd name="T0" fmla="*/ 605 w 802"/>
                <a:gd name="T1" fmla="*/ 6 h 2125"/>
                <a:gd name="T2" fmla="*/ 785 w 802"/>
                <a:gd name="T3" fmla="*/ 243 h 2125"/>
                <a:gd name="T4" fmla="*/ 426 w 802"/>
                <a:gd name="T5" fmla="*/ 1375 h 2125"/>
                <a:gd name="T6" fmla="*/ 203 w 802"/>
                <a:gd name="T7" fmla="*/ 2069 h 2125"/>
                <a:gd name="T8" fmla="*/ 15 w 802"/>
                <a:gd name="T9" fmla="*/ 1918 h 2125"/>
                <a:gd name="T10" fmla="*/ 221 w 802"/>
                <a:gd name="T11" fmla="*/ 871 h 2125"/>
                <a:gd name="T12" fmla="*/ 325 w 802"/>
                <a:gd name="T13" fmla="*/ 171 h 2125"/>
                <a:gd name="T14" fmla="*/ 605 w 802"/>
                <a:gd name="T15" fmla="*/ 6 h 2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2" h="2125">
                  <a:moveTo>
                    <a:pt x="605" y="6"/>
                  </a:moveTo>
                  <a:cubicBezTo>
                    <a:pt x="759" y="15"/>
                    <a:pt x="802" y="214"/>
                    <a:pt x="785" y="243"/>
                  </a:cubicBezTo>
                  <a:cubicBezTo>
                    <a:pt x="767" y="272"/>
                    <a:pt x="478" y="1114"/>
                    <a:pt x="426" y="1375"/>
                  </a:cubicBezTo>
                  <a:cubicBezTo>
                    <a:pt x="374" y="1635"/>
                    <a:pt x="317" y="2012"/>
                    <a:pt x="203" y="2069"/>
                  </a:cubicBezTo>
                  <a:cubicBezTo>
                    <a:pt x="92" y="2125"/>
                    <a:pt x="36" y="2001"/>
                    <a:pt x="15" y="1918"/>
                  </a:cubicBezTo>
                  <a:cubicBezTo>
                    <a:pt x="0" y="1858"/>
                    <a:pt x="192" y="958"/>
                    <a:pt x="221" y="871"/>
                  </a:cubicBezTo>
                  <a:cubicBezTo>
                    <a:pt x="250" y="784"/>
                    <a:pt x="335" y="228"/>
                    <a:pt x="325" y="171"/>
                  </a:cubicBezTo>
                  <a:cubicBezTo>
                    <a:pt x="313" y="104"/>
                    <a:pt x="571" y="0"/>
                    <a:pt x="605"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62"/>
            <p:cNvSpPr>
              <a:spLocks noEditPoints="1"/>
            </p:cNvSpPr>
            <p:nvPr/>
          </p:nvSpPr>
          <p:spPr bwMode="auto">
            <a:xfrm>
              <a:off x="6396038" y="3665538"/>
              <a:ext cx="398462" cy="1036638"/>
            </a:xfrm>
            <a:custGeom>
              <a:avLst/>
              <a:gdLst>
                <a:gd name="T0" fmla="*/ 584 w 815"/>
                <a:gd name="T1" fmla="*/ 4 h 2121"/>
                <a:gd name="T2" fmla="*/ 445 w 815"/>
                <a:gd name="T3" fmla="*/ 58 h 2121"/>
                <a:gd name="T4" fmla="*/ 321 w 815"/>
                <a:gd name="T5" fmla="*/ 148 h 2121"/>
                <a:gd name="T6" fmla="*/ 310 w 815"/>
                <a:gd name="T7" fmla="*/ 227 h 2121"/>
                <a:gd name="T8" fmla="*/ 274 w 815"/>
                <a:gd name="T9" fmla="*/ 522 h 2121"/>
                <a:gd name="T10" fmla="*/ 208 w 815"/>
                <a:gd name="T11" fmla="*/ 880 h 2121"/>
                <a:gd name="T12" fmla="*/ 88 w 815"/>
                <a:gd name="T13" fmla="*/ 1416 h 2121"/>
                <a:gd name="T14" fmla="*/ 5 w 815"/>
                <a:gd name="T15" fmla="*/ 1872 h 2121"/>
                <a:gd name="T16" fmla="*/ 2 w 815"/>
                <a:gd name="T17" fmla="*/ 1938 h 2121"/>
                <a:gd name="T18" fmla="*/ 131 w 815"/>
                <a:gd name="T19" fmla="*/ 2115 h 2121"/>
                <a:gd name="T20" fmla="*/ 303 w 815"/>
                <a:gd name="T21" fmla="*/ 1997 h 2121"/>
                <a:gd name="T22" fmla="*/ 452 w 815"/>
                <a:gd name="T23" fmla="*/ 1393 h 2121"/>
                <a:gd name="T24" fmla="*/ 754 w 815"/>
                <a:gd name="T25" fmla="*/ 417 h 2121"/>
                <a:gd name="T26" fmla="*/ 803 w 815"/>
                <a:gd name="T27" fmla="*/ 280 h 2121"/>
                <a:gd name="T28" fmla="*/ 814 w 815"/>
                <a:gd name="T29" fmla="*/ 240 h 2121"/>
                <a:gd name="T30" fmla="*/ 783 w 815"/>
                <a:gd name="T31" fmla="*/ 123 h 2121"/>
                <a:gd name="T32" fmla="*/ 608 w 815"/>
                <a:gd name="T33" fmla="*/ 41 h 2121"/>
                <a:gd name="T34" fmla="*/ 610 w 815"/>
                <a:gd name="T35" fmla="*/ 41 h 2121"/>
                <a:gd name="T36" fmla="*/ 772 w 815"/>
                <a:gd name="T37" fmla="*/ 214 h 2121"/>
                <a:gd name="T38" fmla="*/ 774 w 815"/>
                <a:gd name="T39" fmla="*/ 248 h 2121"/>
                <a:gd name="T40" fmla="*/ 754 w 815"/>
                <a:gd name="T41" fmla="*/ 298 h 2121"/>
                <a:gd name="T42" fmla="*/ 605 w 815"/>
                <a:gd name="T43" fmla="*/ 731 h 2121"/>
                <a:gd name="T44" fmla="*/ 324 w 815"/>
                <a:gd name="T45" fmla="*/ 1808 h 2121"/>
                <a:gd name="T46" fmla="*/ 200 w 815"/>
                <a:gd name="T47" fmla="*/ 2066 h 2121"/>
                <a:gd name="T48" fmla="*/ 96 w 815"/>
                <a:gd name="T49" fmla="*/ 2047 h 2121"/>
                <a:gd name="T50" fmla="*/ 41 w 815"/>
                <a:gd name="T51" fmla="*/ 1914 h 2121"/>
                <a:gd name="T52" fmla="*/ 63 w 815"/>
                <a:gd name="T53" fmla="*/ 1760 h 2121"/>
                <a:gd name="T54" fmla="*/ 200 w 815"/>
                <a:gd name="T55" fmla="*/ 1082 h 2121"/>
                <a:gd name="T56" fmla="*/ 276 w 815"/>
                <a:gd name="T57" fmla="*/ 752 h 2121"/>
                <a:gd name="T58" fmla="*/ 343 w 815"/>
                <a:gd name="T59" fmla="*/ 309 h 2121"/>
                <a:gd name="T60" fmla="*/ 351 w 815"/>
                <a:gd name="T61" fmla="*/ 182 h 2121"/>
                <a:gd name="T62" fmla="*/ 378 w 815"/>
                <a:gd name="T63" fmla="*/ 147 h 2121"/>
                <a:gd name="T64" fmla="*/ 558 w 815"/>
                <a:gd name="T65" fmla="*/ 54 h 2121"/>
                <a:gd name="T66" fmla="*/ 608 w 815"/>
                <a:gd name="T67" fmla="*/ 41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5" h="2121">
                  <a:moveTo>
                    <a:pt x="614" y="1"/>
                  </a:moveTo>
                  <a:cubicBezTo>
                    <a:pt x="603" y="0"/>
                    <a:pt x="595" y="2"/>
                    <a:pt x="584" y="4"/>
                  </a:cubicBezTo>
                  <a:cubicBezTo>
                    <a:pt x="573" y="7"/>
                    <a:pt x="560" y="11"/>
                    <a:pt x="545" y="16"/>
                  </a:cubicBezTo>
                  <a:cubicBezTo>
                    <a:pt x="515" y="26"/>
                    <a:pt x="479" y="41"/>
                    <a:pt x="445" y="58"/>
                  </a:cubicBezTo>
                  <a:cubicBezTo>
                    <a:pt x="410" y="76"/>
                    <a:pt x="377" y="95"/>
                    <a:pt x="352" y="116"/>
                  </a:cubicBezTo>
                  <a:cubicBezTo>
                    <a:pt x="340" y="126"/>
                    <a:pt x="329" y="137"/>
                    <a:pt x="321" y="148"/>
                  </a:cubicBezTo>
                  <a:cubicBezTo>
                    <a:pt x="314" y="160"/>
                    <a:pt x="308" y="174"/>
                    <a:pt x="311" y="189"/>
                  </a:cubicBezTo>
                  <a:cubicBezTo>
                    <a:pt x="311" y="191"/>
                    <a:pt x="312" y="207"/>
                    <a:pt x="310" y="227"/>
                  </a:cubicBezTo>
                  <a:cubicBezTo>
                    <a:pt x="309" y="248"/>
                    <a:pt x="306" y="274"/>
                    <a:pt x="303" y="305"/>
                  </a:cubicBezTo>
                  <a:cubicBezTo>
                    <a:pt x="296" y="366"/>
                    <a:pt x="285" y="444"/>
                    <a:pt x="274" y="522"/>
                  </a:cubicBezTo>
                  <a:cubicBezTo>
                    <a:pt x="262" y="600"/>
                    <a:pt x="249" y="680"/>
                    <a:pt x="237" y="744"/>
                  </a:cubicBezTo>
                  <a:cubicBezTo>
                    <a:pt x="225" y="809"/>
                    <a:pt x="214" y="861"/>
                    <a:pt x="208" y="880"/>
                  </a:cubicBezTo>
                  <a:cubicBezTo>
                    <a:pt x="199" y="905"/>
                    <a:pt x="183" y="976"/>
                    <a:pt x="161" y="1074"/>
                  </a:cubicBezTo>
                  <a:cubicBezTo>
                    <a:pt x="139" y="1171"/>
                    <a:pt x="113" y="1294"/>
                    <a:pt x="88" y="1416"/>
                  </a:cubicBezTo>
                  <a:cubicBezTo>
                    <a:pt x="63" y="1538"/>
                    <a:pt x="40" y="1659"/>
                    <a:pt x="23" y="1753"/>
                  </a:cubicBezTo>
                  <a:cubicBezTo>
                    <a:pt x="15" y="1801"/>
                    <a:pt x="9" y="1841"/>
                    <a:pt x="5" y="1872"/>
                  </a:cubicBezTo>
                  <a:cubicBezTo>
                    <a:pt x="3" y="1888"/>
                    <a:pt x="1" y="1901"/>
                    <a:pt x="1" y="1912"/>
                  </a:cubicBezTo>
                  <a:cubicBezTo>
                    <a:pt x="0" y="1922"/>
                    <a:pt x="0" y="1929"/>
                    <a:pt x="2" y="1938"/>
                  </a:cubicBezTo>
                  <a:cubicBezTo>
                    <a:pt x="13" y="1981"/>
                    <a:pt x="32" y="2035"/>
                    <a:pt x="66" y="2074"/>
                  </a:cubicBezTo>
                  <a:cubicBezTo>
                    <a:pt x="83" y="2093"/>
                    <a:pt x="105" y="2109"/>
                    <a:pt x="131" y="2115"/>
                  </a:cubicBezTo>
                  <a:cubicBezTo>
                    <a:pt x="157" y="2121"/>
                    <a:pt x="187" y="2117"/>
                    <a:pt x="218" y="2102"/>
                  </a:cubicBezTo>
                  <a:cubicBezTo>
                    <a:pt x="254" y="2084"/>
                    <a:pt x="280" y="2046"/>
                    <a:pt x="303" y="1997"/>
                  </a:cubicBezTo>
                  <a:cubicBezTo>
                    <a:pt x="326" y="1947"/>
                    <a:pt x="345" y="1886"/>
                    <a:pt x="363" y="1818"/>
                  </a:cubicBezTo>
                  <a:cubicBezTo>
                    <a:pt x="398" y="1683"/>
                    <a:pt x="426" y="1523"/>
                    <a:pt x="452" y="1393"/>
                  </a:cubicBezTo>
                  <a:cubicBezTo>
                    <a:pt x="477" y="1266"/>
                    <a:pt x="563" y="990"/>
                    <a:pt x="643" y="743"/>
                  </a:cubicBezTo>
                  <a:cubicBezTo>
                    <a:pt x="684" y="620"/>
                    <a:pt x="723" y="504"/>
                    <a:pt x="754" y="417"/>
                  </a:cubicBezTo>
                  <a:cubicBezTo>
                    <a:pt x="769" y="374"/>
                    <a:pt x="782" y="337"/>
                    <a:pt x="791" y="311"/>
                  </a:cubicBezTo>
                  <a:cubicBezTo>
                    <a:pt x="796" y="298"/>
                    <a:pt x="800" y="288"/>
                    <a:pt x="803" y="280"/>
                  </a:cubicBezTo>
                  <a:cubicBezTo>
                    <a:pt x="806" y="273"/>
                    <a:pt x="809" y="266"/>
                    <a:pt x="808" y="268"/>
                  </a:cubicBezTo>
                  <a:cubicBezTo>
                    <a:pt x="814" y="259"/>
                    <a:pt x="814" y="250"/>
                    <a:pt x="814" y="240"/>
                  </a:cubicBezTo>
                  <a:cubicBezTo>
                    <a:pt x="815" y="230"/>
                    <a:pt x="814" y="219"/>
                    <a:pt x="811" y="207"/>
                  </a:cubicBezTo>
                  <a:cubicBezTo>
                    <a:pt x="807" y="182"/>
                    <a:pt x="798" y="152"/>
                    <a:pt x="783" y="123"/>
                  </a:cubicBezTo>
                  <a:cubicBezTo>
                    <a:pt x="753" y="65"/>
                    <a:pt x="698" y="7"/>
                    <a:pt x="614" y="1"/>
                  </a:cubicBezTo>
                  <a:close/>
                  <a:moveTo>
                    <a:pt x="608" y="41"/>
                  </a:moveTo>
                  <a:lnTo>
                    <a:pt x="609" y="41"/>
                  </a:lnTo>
                  <a:lnTo>
                    <a:pt x="610" y="41"/>
                  </a:lnTo>
                  <a:cubicBezTo>
                    <a:pt x="678" y="45"/>
                    <a:pt x="721" y="90"/>
                    <a:pt x="747" y="141"/>
                  </a:cubicBezTo>
                  <a:cubicBezTo>
                    <a:pt x="760" y="166"/>
                    <a:pt x="768" y="193"/>
                    <a:pt x="772" y="214"/>
                  </a:cubicBezTo>
                  <a:cubicBezTo>
                    <a:pt x="774" y="224"/>
                    <a:pt x="775" y="233"/>
                    <a:pt x="774" y="240"/>
                  </a:cubicBezTo>
                  <a:cubicBezTo>
                    <a:pt x="774" y="246"/>
                    <a:pt x="772" y="250"/>
                    <a:pt x="774" y="248"/>
                  </a:cubicBezTo>
                  <a:cubicBezTo>
                    <a:pt x="770" y="254"/>
                    <a:pt x="769" y="257"/>
                    <a:pt x="766" y="265"/>
                  </a:cubicBezTo>
                  <a:cubicBezTo>
                    <a:pt x="763" y="274"/>
                    <a:pt x="759" y="284"/>
                    <a:pt x="754" y="298"/>
                  </a:cubicBezTo>
                  <a:cubicBezTo>
                    <a:pt x="744" y="324"/>
                    <a:pt x="731" y="360"/>
                    <a:pt x="716" y="404"/>
                  </a:cubicBezTo>
                  <a:cubicBezTo>
                    <a:pt x="685" y="491"/>
                    <a:pt x="646" y="607"/>
                    <a:pt x="605" y="731"/>
                  </a:cubicBezTo>
                  <a:cubicBezTo>
                    <a:pt x="524" y="978"/>
                    <a:pt x="439" y="1252"/>
                    <a:pt x="412" y="1386"/>
                  </a:cubicBezTo>
                  <a:cubicBezTo>
                    <a:pt x="386" y="1516"/>
                    <a:pt x="359" y="1675"/>
                    <a:pt x="324" y="1808"/>
                  </a:cubicBezTo>
                  <a:cubicBezTo>
                    <a:pt x="307" y="1874"/>
                    <a:pt x="288" y="1934"/>
                    <a:pt x="266" y="1980"/>
                  </a:cubicBezTo>
                  <a:cubicBezTo>
                    <a:pt x="245" y="2025"/>
                    <a:pt x="221" y="2056"/>
                    <a:pt x="200" y="2066"/>
                  </a:cubicBezTo>
                  <a:cubicBezTo>
                    <a:pt x="176" y="2078"/>
                    <a:pt x="157" y="2080"/>
                    <a:pt x="140" y="2076"/>
                  </a:cubicBezTo>
                  <a:cubicBezTo>
                    <a:pt x="124" y="2072"/>
                    <a:pt x="109" y="2062"/>
                    <a:pt x="96" y="2047"/>
                  </a:cubicBezTo>
                  <a:cubicBezTo>
                    <a:pt x="69" y="2017"/>
                    <a:pt x="50" y="1968"/>
                    <a:pt x="41" y="1929"/>
                  </a:cubicBezTo>
                  <a:cubicBezTo>
                    <a:pt x="41" y="1930"/>
                    <a:pt x="40" y="1923"/>
                    <a:pt x="41" y="1914"/>
                  </a:cubicBezTo>
                  <a:cubicBezTo>
                    <a:pt x="41" y="1905"/>
                    <a:pt x="42" y="1892"/>
                    <a:pt x="44" y="1877"/>
                  </a:cubicBezTo>
                  <a:cubicBezTo>
                    <a:pt x="48" y="1847"/>
                    <a:pt x="54" y="1807"/>
                    <a:pt x="63" y="1760"/>
                  </a:cubicBezTo>
                  <a:cubicBezTo>
                    <a:pt x="79" y="1666"/>
                    <a:pt x="102" y="1545"/>
                    <a:pt x="127" y="1424"/>
                  </a:cubicBezTo>
                  <a:cubicBezTo>
                    <a:pt x="152" y="1302"/>
                    <a:pt x="178" y="1180"/>
                    <a:pt x="200" y="1082"/>
                  </a:cubicBezTo>
                  <a:cubicBezTo>
                    <a:pt x="221" y="985"/>
                    <a:pt x="240" y="911"/>
                    <a:pt x="246" y="892"/>
                  </a:cubicBezTo>
                  <a:cubicBezTo>
                    <a:pt x="254" y="867"/>
                    <a:pt x="264" y="817"/>
                    <a:pt x="276" y="752"/>
                  </a:cubicBezTo>
                  <a:cubicBezTo>
                    <a:pt x="288" y="686"/>
                    <a:pt x="301" y="607"/>
                    <a:pt x="313" y="528"/>
                  </a:cubicBezTo>
                  <a:cubicBezTo>
                    <a:pt x="325" y="449"/>
                    <a:pt x="336" y="371"/>
                    <a:pt x="343" y="309"/>
                  </a:cubicBezTo>
                  <a:cubicBezTo>
                    <a:pt x="346" y="279"/>
                    <a:pt x="349" y="252"/>
                    <a:pt x="350" y="230"/>
                  </a:cubicBezTo>
                  <a:cubicBezTo>
                    <a:pt x="352" y="209"/>
                    <a:pt x="353" y="195"/>
                    <a:pt x="351" y="182"/>
                  </a:cubicBezTo>
                  <a:cubicBezTo>
                    <a:pt x="350" y="181"/>
                    <a:pt x="351" y="177"/>
                    <a:pt x="355" y="170"/>
                  </a:cubicBezTo>
                  <a:cubicBezTo>
                    <a:pt x="359" y="164"/>
                    <a:pt x="367" y="155"/>
                    <a:pt x="378" y="147"/>
                  </a:cubicBezTo>
                  <a:cubicBezTo>
                    <a:pt x="399" y="129"/>
                    <a:pt x="430" y="111"/>
                    <a:pt x="463" y="94"/>
                  </a:cubicBezTo>
                  <a:cubicBezTo>
                    <a:pt x="495" y="78"/>
                    <a:pt x="530" y="63"/>
                    <a:pt x="558" y="54"/>
                  </a:cubicBezTo>
                  <a:cubicBezTo>
                    <a:pt x="572" y="49"/>
                    <a:pt x="584" y="45"/>
                    <a:pt x="594" y="43"/>
                  </a:cubicBezTo>
                  <a:cubicBezTo>
                    <a:pt x="603" y="41"/>
                    <a:pt x="611" y="41"/>
                    <a:pt x="60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63"/>
            <p:cNvSpPr>
              <a:spLocks/>
            </p:cNvSpPr>
            <p:nvPr/>
          </p:nvSpPr>
          <p:spPr bwMode="auto">
            <a:xfrm>
              <a:off x="7485063" y="4883151"/>
              <a:ext cx="368300" cy="758825"/>
            </a:xfrm>
            <a:custGeom>
              <a:avLst/>
              <a:gdLst>
                <a:gd name="T0" fmla="*/ 90 w 753"/>
                <a:gd name="T1" fmla="*/ 13 h 1552"/>
                <a:gd name="T2" fmla="*/ 315 w 753"/>
                <a:gd name="T3" fmla="*/ 603 h 1552"/>
                <a:gd name="T4" fmla="*/ 688 w 753"/>
                <a:gd name="T5" fmla="*/ 1401 h 1552"/>
                <a:gd name="T6" fmla="*/ 475 w 753"/>
                <a:gd name="T7" fmla="*/ 1372 h 1552"/>
                <a:gd name="T8" fmla="*/ 401 w 753"/>
                <a:gd name="T9" fmla="*/ 1548 h 1552"/>
                <a:gd name="T10" fmla="*/ 119 w 753"/>
                <a:gd name="T11" fmla="*/ 717 h 1552"/>
                <a:gd name="T12" fmla="*/ 90 w 753"/>
                <a:gd name="T13" fmla="*/ 13 h 1552"/>
              </a:gdLst>
              <a:ahLst/>
              <a:cxnLst>
                <a:cxn ang="0">
                  <a:pos x="T0" y="T1"/>
                </a:cxn>
                <a:cxn ang="0">
                  <a:pos x="T2" y="T3"/>
                </a:cxn>
                <a:cxn ang="0">
                  <a:pos x="T4" y="T5"/>
                </a:cxn>
                <a:cxn ang="0">
                  <a:pos x="T6" y="T7"/>
                </a:cxn>
                <a:cxn ang="0">
                  <a:pos x="T8" y="T9"/>
                </a:cxn>
                <a:cxn ang="0">
                  <a:pos x="T10" y="T11"/>
                </a:cxn>
                <a:cxn ang="0">
                  <a:pos x="T12" y="T13"/>
                </a:cxn>
              </a:cxnLst>
              <a:rect l="0" t="0" r="r" b="b"/>
              <a:pathLst>
                <a:path w="753" h="1552">
                  <a:moveTo>
                    <a:pt x="90" y="13"/>
                  </a:moveTo>
                  <a:cubicBezTo>
                    <a:pt x="238" y="0"/>
                    <a:pt x="220" y="322"/>
                    <a:pt x="315" y="603"/>
                  </a:cubicBezTo>
                  <a:cubicBezTo>
                    <a:pt x="515" y="1188"/>
                    <a:pt x="753" y="1376"/>
                    <a:pt x="688" y="1401"/>
                  </a:cubicBezTo>
                  <a:cubicBezTo>
                    <a:pt x="622" y="1425"/>
                    <a:pt x="565" y="1319"/>
                    <a:pt x="475" y="1372"/>
                  </a:cubicBezTo>
                  <a:cubicBezTo>
                    <a:pt x="443" y="1391"/>
                    <a:pt x="426" y="1544"/>
                    <a:pt x="401" y="1548"/>
                  </a:cubicBezTo>
                  <a:cubicBezTo>
                    <a:pt x="377" y="1552"/>
                    <a:pt x="142" y="813"/>
                    <a:pt x="119" y="717"/>
                  </a:cubicBezTo>
                  <a:cubicBezTo>
                    <a:pt x="90" y="598"/>
                    <a:pt x="0" y="42"/>
                    <a:pt x="90" y="1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4"/>
            <p:cNvSpPr>
              <a:spLocks/>
            </p:cNvSpPr>
            <p:nvPr/>
          </p:nvSpPr>
          <p:spPr bwMode="auto">
            <a:xfrm>
              <a:off x="7299325" y="3952876"/>
              <a:ext cx="323850" cy="992188"/>
            </a:xfrm>
            <a:custGeom>
              <a:avLst/>
              <a:gdLst>
                <a:gd name="T0" fmla="*/ 483 w 663"/>
                <a:gd name="T1" fmla="*/ 1908 h 2031"/>
                <a:gd name="T2" fmla="*/ 614 w 663"/>
                <a:gd name="T3" fmla="*/ 1994 h 2031"/>
                <a:gd name="T4" fmla="*/ 434 w 663"/>
                <a:gd name="T5" fmla="*/ 1090 h 2031"/>
                <a:gd name="T6" fmla="*/ 204 w 663"/>
                <a:gd name="T7" fmla="*/ 9 h 2031"/>
                <a:gd name="T8" fmla="*/ 86 w 663"/>
                <a:gd name="T9" fmla="*/ 1020 h 2031"/>
                <a:gd name="T10" fmla="*/ 360 w 663"/>
                <a:gd name="T11" fmla="*/ 2031 h 2031"/>
                <a:gd name="T12" fmla="*/ 483 w 663"/>
                <a:gd name="T13" fmla="*/ 1908 h 2031"/>
              </a:gdLst>
              <a:ahLst/>
              <a:cxnLst>
                <a:cxn ang="0">
                  <a:pos x="T0" y="T1"/>
                </a:cxn>
                <a:cxn ang="0">
                  <a:pos x="T2" y="T3"/>
                </a:cxn>
                <a:cxn ang="0">
                  <a:pos x="T4" y="T5"/>
                </a:cxn>
                <a:cxn ang="0">
                  <a:pos x="T6" y="T7"/>
                </a:cxn>
                <a:cxn ang="0">
                  <a:pos x="T8" y="T9"/>
                </a:cxn>
                <a:cxn ang="0">
                  <a:pos x="T10" y="T11"/>
                </a:cxn>
                <a:cxn ang="0">
                  <a:pos x="T12" y="T13"/>
                </a:cxn>
              </a:cxnLst>
              <a:rect l="0" t="0" r="r" b="b"/>
              <a:pathLst>
                <a:path w="663" h="2031">
                  <a:moveTo>
                    <a:pt x="483" y="1908"/>
                  </a:moveTo>
                  <a:cubicBezTo>
                    <a:pt x="532" y="1900"/>
                    <a:pt x="565" y="2023"/>
                    <a:pt x="614" y="1994"/>
                  </a:cubicBezTo>
                  <a:cubicBezTo>
                    <a:pt x="663" y="1965"/>
                    <a:pt x="475" y="1211"/>
                    <a:pt x="434" y="1090"/>
                  </a:cubicBezTo>
                  <a:cubicBezTo>
                    <a:pt x="290" y="668"/>
                    <a:pt x="339" y="16"/>
                    <a:pt x="204" y="9"/>
                  </a:cubicBezTo>
                  <a:cubicBezTo>
                    <a:pt x="0" y="0"/>
                    <a:pt x="37" y="488"/>
                    <a:pt x="86" y="1020"/>
                  </a:cubicBezTo>
                  <a:cubicBezTo>
                    <a:pt x="135" y="1552"/>
                    <a:pt x="305" y="2031"/>
                    <a:pt x="360" y="2031"/>
                  </a:cubicBezTo>
                  <a:cubicBezTo>
                    <a:pt x="466" y="2031"/>
                    <a:pt x="421" y="1920"/>
                    <a:pt x="483" y="190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465"/>
            <p:cNvSpPr>
              <a:spLocks/>
            </p:cNvSpPr>
            <p:nvPr/>
          </p:nvSpPr>
          <p:spPr bwMode="auto">
            <a:xfrm>
              <a:off x="7143750" y="3659188"/>
              <a:ext cx="361950" cy="466725"/>
            </a:xfrm>
            <a:custGeom>
              <a:avLst/>
              <a:gdLst>
                <a:gd name="T0" fmla="*/ 487 w 741"/>
                <a:gd name="T1" fmla="*/ 618 h 953"/>
                <a:gd name="T2" fmla="*/ 360 w 741"/>
                <a:gd name="T3" fmla="*/ 908 h 953"/>
                <a:gd name="T4" fmla="*/ 86 w 741"/>
                <a:gd name="T5" fmla="*/ 98 h 953"/>
                <a:gd name="T6" fmla="*/ 699 w 741"/>
                <a:gd name="T7" fmla="*/ 671 h 953"/>
                <a:gd name="T8" fmla="*/ 487 w 741"/>
                <a:gd name="T9" fmla="*/ 618 h 953"/>
              </a:gdLst>
              <a:ahLst/>
              <a:cxnLst>
                <a:cxn ang="0">
                  <a:pos x="T0" y="T1"/>
                </a:cxn>
                <a:cxn ang="0">
                  <a:pos x="T2" y="T3"/>
                </a:cxn>
                <a:cxn ang="0">
                  <a:pos x="T4" y="T5"/>
                </a:cxn>
                <a:cxn ang="0">
                  <a:pos x="T6" y="T7"/>
                </a:cxn>
                <a:cxn ang="0">
                  <a:pos x="T8" y="T9"/>
                </a:cxn>
              </a:cxnLst>
              <a:rect l="0" t="0" r="r" b="b"/>
              <a:pathLst>
                <a:path w="741" h="953">
                  <a:moveTo>
                    <a:pt x="487" y="618"/>
                  </a:moveTo>
                  <a:cubicBezTo>
                    <a:pt x="302" y="732"/>
                    <a:pt x="405" y="953"/>
                    <a:pt x="360" y="908"/>
                  </a:cubicBezTo>
                  <a:cubicBezTo>
                    <a:pt x="315" y="863"/>
                    <a:pt x="0" y="179"/>
                    <a:pt x="86" y="98"/>
                  </a:cubicBezTo>
                  <a:cubicBezTo>
                    <a:pt x="190" y="0"/>
                    <a:pt x="741" y="555"/>
                    <a:pt x="699" y="671"/>
                  </a:cubicBezTo>
                  <a:cubicBezTo>
                    <a:pt x="653" y="800"/>
                    <a:pt x="581" y="577"/>
                    <a:pt x="487" y="6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466"/>
            <p:cNvSpPr>
              <a:spLocks/>
            </p:cNvSpPr>
            <p:nvPr/>
          </p:nvSpPr>
          <p:spPr bwMode="auto">
            <a:xfrm>
              <a:off x="8264525" y="5167313"/>
              <a:ext cx="363537" cy="298450"/>
            </a:xfrm>
            <a:custGeom>
              <a:avLst/>
              <a:gdLst>
                <a:gd name="T0" fmla="*/ 38 w 745"/>
                <a:gd name="T1" fmla="*/ 37 h 611"/>
                <a:gd name="T2" fmla="*/ 376 w 745"/>
                <a:gd name="T3" fmla="*/ 269 h 611"/>
                <a:gd name="T4" fmla="*/ 729 w 745"/>
                <a:gd name="T5" fmla="*/ 465 h 611"/>
                <a:gd name="T6" fmla="*/ 275 w 745"/>
                <a:gd name="T7" fmla="*/ 431 h 611"/>
                <a:gd name="T8" fmla="*/ 38 w 745"/>
                <a:gd name="T9" fmla="*/ 37 h 611"/>
              </a:gdLst>
              <a:ahLst/>
              <a:cxnLst>
                <a:cxn ang="0">
                  <a:pos x="T0" y="T1"/>
                </a:cxn>
                <a:cxn ang="0">
                  <a:pos x="T2" y="T3"/>
                </a:cxn>
                <a:cxn ang="0">
                  <a:pos x="T4" y="T5"/>
                </a:cxn>
                <a:cxn ang="0">
                  <a:pos x="T6" y="T7"/>
                </a:cxn>
                <a:cxn ang="0">
                  <a:pos x="T8" y="T9"/>
                </a:cxn>
              </a:cxnLst>
              <a:rect l="0" t="0" r="r" b="b"/>
              <a:pathLst>
                <a:path w="745" h="611">
                  <a:moveTo>
                    <a:pt x="38" y="37"/>
                  </a:moveTo>
                  <a:cubicBezTo>
                    <a:pt x="104" y="0"/>
                    <a:pt x="261" y="202"/>
                    <a:pt x="376" y="269"/>
                  </a:cubicBezTo>
                  <a:cubicBezTo>
                    <a:pt x="492" y="335"/>
                    <a:pt x="729" y="465"/>
                    <a:pt x="729" y="465"/>
                  </a:cubicBezTo>
                  <a:cubicBezTo>
                    <a:pt x="745" y="528"/>
                    <a:pt x="470" y="611"/>
                    <a:pt x="275" y="431"/>
                  </a:cubicBezTo>
                  <a:cubicBezTo>
                    <a:pt x="83" y="253"/>
                    <a:pt x="0" y="107"/>
                    <a:pt x="38" y="3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7"/>
            <p:cNvSpPr>
              <a:spLocks/>
            </p:cNvSpPr>
            <p:nvPr/>
          </p:nvSpPr>
          <p:spPr bwMode="auto">
            <a:xfrm>
              <a:off x="7678738" y="5538788"/>
              <a:ext cx="393700" cy="306388"/>
            </a:xfrm>
            <a:custGeom>
              <a:avLst/>
              <a:gdLst>
                <a:gd name="T0" fmla="*/ 99 w 806"/>
                <a:gd name="T1" fmla="*/ 50 h 624"/>
                <a:gd name="T2" fmla="*/ 438 w 806"/>
                <a:gd name="T3" fmla="*/ 281 h 624"/>
                <a:gd name="T4" fmla="*/ 791 w 806"/>
                <a:gd name="T5" fmla="*/ 478 h 624"/>
                <a:gd name="T6" fmla="*/ 337 w 806"/>
                <a:gd name="T7" fmla="*/ 443 h 624"/>
                <a:gd name="T8" fmla="*/ 99 w 806"/>
                <a:gd name="T9" fmla="*/ 50 h 624"/>
              </a:gdLst>
              <a:ahLst/>
              <a:cxnLst>
                <a:cxn ang="0">
                  <a:pos x="T0" y="T1"/>
                </a:cxn>
                <a:cxn ang="0">
                  <a:pos x="T2" y="T3"/>
                </a:cxn>
                <a:cxn ang="0">
                  <a:pos x="T4" y="T5"/>
                </a:cxn>
                <a:cxn ang="0">
                  <a:pos x="T6" y="T7"/>
                </a:cxn>
                <a:cxn ang="0">
                  <a:pos x="T8" y="T9"/>
                </a:cxn>
              </a:cxnLst>
              <a:rect l="0" t="0" r="r" b="b"/>
              <a:pathLst>
                <a:path w="806" h="624">
                  <a:moveTo>
                    <a:pt x="99" y="50"/>
                  </a:moveTo>
                  <a:cubicBezTo>
                    <a:pt x="211" y="0"/>
                    <a:pt x="322" y="214"/>
                    <a:pt x="438" y="281"/>
                  </a:cubicBezTo>
                  <a:cubicBezTo>
                    <a:pt x="554" y="348"/>
                    <a:pt x="791" y="478"/>
                    <a:pt x="791" y="478"/>
                  </a:cubicBezTo>
                  <a:cubicBezTo>
                    <a:pt x="806" y="541"/>
                    <a:pt x="532" y="624"/>
                    <a:pt x="337" y="443"/>
                  </a:cubicBezTo>
                  <a:cubicBezTo>
                    <a:pt x="144" y="265"/>
                    <a:pt x="0" y="168"/>
                    <a:pt x="99" y="5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68"/>
            <p:cNvSpPr>
              <a:spLocks/>
            </p:cNvSpPr>
            <p:nvPr/>
          </p:nvSpPr>
          <p:spPr bwMode="auto">
            <a:xfrm>
              <a:off x="7945438" y="4554538"/>
              <a:ext cx="436562" cy="749300"/>
            </a:xfrm>
            <a:custGeom>
              <a:avLst/>
              <a:gdLst>
                <a:gd name="T0" fmla="*/ 691 w 893"/>
                <a:gd name="T1" fmla="*/ 1290 h 1531"/>
                <a:gd name="T2" fmla="*/ 859 w 893"/>
                <a:gd name="T3" fmla="*/ 1330 h 1531"/>
                <a:gd name="T4" fmla="*/ 429 w 893"/>
                <a:gd name="T5" fmla="*/ 643 h 1531"/>
                <a:gd name="T6" fmla="*/ 55 w 893"/>
                <a:gd name="T7" fmla="*/ 10 h 1531"/>
                <a:gd name="T8" fmla="*/ 204 w 893"/>
                <a:gd name="T9" fmla="*/ 778 h 1531"/>
                <a:gd name="T10" fmla="*/ 668 w 893"/>
                <a:gd name="T11" fmla="*/ 1486 h 1531"/>
                <a:gd name="T12" fmla="*/ 691 w 893"/>
                <a:gd name="T13" fmla="*/ 1290 h 1531"/>
              </a:gdLst>
              <a:ahLst/>
              <a:cxnLst>
                <a:cxn ang="0">
                  <a:pos x="T0" y="T1"/>
                </a:cxn>
                <a:cxn ang="0">
                  <a:pos x="T2" y="T3"/>
                </a:cxn>
                <a:cxn ang="0">
                  <a:pos x="T4" y="T5"/>
                </a:cxn>
                <a:cxn ang="0">
                  <a:pos x="T6" y="T7"/>
                </a:cxn>
                <a:cxn ang="0">
                  <a:pos x="T8" y="T9"/>
                </a:cxn>
                <a:cxn ang="0">
                  <a:pos x="T10" y="T11"/>
                </a:cxn>
                <a:cxn ang="0">
                  <a:pos x="T12" y="T13"/>
                </a:cxn>
              </a:cxnLst>
              <a:rect l="0" t="0" r="r" b="b"/>
              <a:pathLst>
                <a:path w="893" h="1531">
                  <a:moveTo>
                    <a:pt x="691" y="1290"/>
                  </a:moveTo>
                  <a:cubicBezTo>
                    <a:pt x="740" y="1257"/>
                    <a:pt x="841" y="1339"/>
                    <a:pt x="859" y="1330"/>
                  </a:cubicBezTo>
                  <a:cubicBezTo>
                    <a:pt x="893" y="1312"/>
                    <a:pt x="499" y="762"/>
                    <a:pt x="429" y="643"/>
                  </a:cubicBezTo>
                  <a:cubicBezTo>
                    <a:pt x="360" y="525"/>
                    <a:pt x="97" y="0"/>
                    <a:pt x="55" y="10"/>
                  </a:cubicBezTo>
                  <a:cubicBezTo>
                    <a:pt x="12" y="19"/>
                    <a:pt x="0" y="369"/>
                    <a:pt x="204" y="778"/>
                  </a:cubicBezTo>
                  <a:cubicBezTo>
                    <a:pt x="264" y="898"/>
                    <a:pt x="570" y="1531"/>
                    <a:pt x="668" y="1486"/>
                  </a:cubicBezTo>
                  <a:cubicBezTo>
                    <a:pt x="698" y="1472"/>
                    <a:pt x="650" y="1310"/>
                    <a:pt x="691" y="129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469"/>
            <p:cNvSpPr>
              <a:spLocks/>
            </p:cNvSpPr>
            <p:nvPr/>
          </p:nvSpPr>
          <p:spPr bwMode="auto">
            <a:xfrm>
              <a:off x="7588250" y="3705226"/>
              <a:ext cx="474662" cy="990600"/>
            </a:xfrm>
            <a:custGeom>
              <a:avLst/>
              <a:gdLst>
                <a:gd name="T0" fmla="*/ 785 w 973"/>
                <a:gd name="T1" fmla="*/ 1751 h 2025"/>
                <a:gd name="T2" fmla="*/ 928 w 973"/>
                <a:gd name="T3" fmla="*/ 1845 h 2025"/>
                <a:gd name="T4" fmla="*/ 605 w 973"/>
                <a:gd name="T5" fmla="*/ 953 h 2025"/>
                <a:gd name="T6" fmla="*/ 76 w 973"/>
                <a:gd name="T7" fmla="*/ 49 h 2025"/>
                <a:gd name="T8" fmla="*/ 261 w 973"/>
                <a:gd name="T9" fmla="*/ 945 h 2025"/>
                <a:gd name="T10" fmla="*/ 703 w 973"/>
                <a:gd name="T11" fmla="*/ 1956 h 2025"/>
                <a:gd name="T12" fmla="*/ 785 w 973"/>
                <a:gd name="T13" fmla="*/ 1751 h 2025"/>
              </a:gdLst>
              <a:ahLst/>
              <a:cxnLst>
                <a:cxn ang="0">
                  <a:pos x="T0" y="T1"/>
                </a:cxn>
                <a:cxn ang="0">
                  <a:pos x="T2" y="T3"/>
                </a:cxn>
                <a:cxn ang="0">
                  <a:pos x="T4" y="T5"/>
                </a:cxn>
                <a:cxn ang="0">
                  <a:pos x="T6" y="T7"/>
                </a:cxn>
                <a:cxn ang="0">
                  <a:pos x="T8" y="T9"/>
                </a:cxn>
                <a:cxn ang="0">
                  <a:pos x="T10" y="T11"/>
                </a:cxn>
                <a:cxn ang="0">
                  <a:pos x="T12" y="T13"/>
                </a:cxn>
              </a:cxnLst>
              <a:rect l="0" t="0" r="r" b="b"/>
              <a:pathLst>
                <a:path w="973" h="2025">
                  <a:moveTo>
                    <a:pt x="785" y="1751"/>
                  </a:moveTo>
                  <a:cubicBezTo>
                    <a:pt x="850" y="1723"/>
                    <a:pt x="883" y="1858"/>
                    <a:pt x="928" y="1845"/>
                  </a:cubicBezTo>
                  <a:cubicBezTo>
                    <a:pt x="973" y="1833"/>
                    <a:pt x="670" y="1092"/>
                    <a:pt x="605" y="953"/>
                  </a:cubicBezTo>
                  <a:cubicBezTo>
                    <a:pt x="539" y="814"/>
                    <a:pt x="211" y="0"/>
                    <a:pt x="76" y="49"/>
                  </a:cubicBezTo>
                  <a:cubicBezTo>
                    <a:pt x="0" y="77"/>
                    <a:pt x="204" y="831"/>
                    <a:pt x="261" y="945"/>
                  </a:cubicBezTo>
                  <a:cubicBezTo>
                    <a:pt x="318" y="1060"/>
                    <a:pt x="650" y="2025"/>
                    <a:pt x="703" y="1956"/>
                  </a:cubicBezTo>
                  <a:cubicBezTo>
                    <a:pt x="756" y="1886"/>
                    <a:pt x="732" y="1780"/>
                    <a:pt x="785" y="175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470"/>
            <p:cNvSpPr>
              <a:spLocks/>
            </p:cNvSpPr>
            <p:nvPr/>
          </p:nvSpPr>
          <p:spPr bwMode="auto">
            <a:xfrm>
              <a:off x="7318375" y="3563938"/>
              <a:ext cx="417512" cy="333375"/>
            </a:xfrm>
            <a:custGeom>
              <a:avLst/>
              <a:gdLst>
                <a:gd name="T0" fmla="*/ 617 w 855"/>
                <a:gd name="T1" fmla="*/ 349 h 684"/>
                <a:gd name="T2" fmla="*/ 825 w 855"/>
                <a:gd name="T3" fmla="*/ 464 h 684"/>
                <a:gd name="T4" fmla="*/ 743 w 855"/>
                <a:gd name="T5" fmla="*/ 229 h 684"/>
                <a:gd name="T6" fmla="*/ 95 w 855"/>
                <a:gd name="T7" fmla="*/ 73 h 684"/>
                <a:gd name="T8" fmla="*/ 605 w 855"/>
                <a:gd name="T9" fmla="*/ 677 h 684"/>
                <a:gd name="T10" fmla="*/ 617 w 855"/>
                <a:gd name="T11" fmla="*/ 349 h 684"/>
              </a:gdLst>
              <a:ahLst/>
              <a:cxnLst>
                <a:cxn ang="0">
                  <a:pos x="T0" y="T1"/>
                </a:cxn>
                <a:cxn ang="0">
                  <a:pos x="T2" y="T3"/>
                </a:cxn>
                <a:cxn ang="0">
                  <a:pos x="T4" y="T5"/>
                </a:cxn>
                <a:cxn ang="0">
                  <a:pos x="T6" y="T7"/>
                </a:cxn>
                <a:cxn ang="0">
                  <a:pos x="T8" y="T9"/>
                </a:cxn>
                <a:cxn ang="0">
                  <a:pos x="T10" y="T11"/>
                </a:cxn>
              </a:cxnLst>
              <a:rect l="0" t="0" r="r" b="b"/>
              <a:pathLst>
                <a:path w="855" h="684">
                  <a:moveTo>
                    <a:pt x="617" y="349"/>
                  </a:moveTo>
                  <a:cubicBezTo>
                    <a:pt x="664" y="298"/>
                    <a:pt x="795" y="502"/>
                    <a:pt x="825" y="464"/>
                  </a:cubicBezTo>
                  <a:cubicBezTo>
                    <a:pt x="855" y="427"/>
                    <a:pt x="827" y="241"/>
                    <a:pt x="743" y="229"/>
                  </a:cubicBezTo>
                  <a:cubicBezTo>
                    <a:pt x="433" y="183"/>
                    <a:pt x="162" y="0"/>
                    <a:pt x="95" y="73"/>
                  </a:cubicBezTo>
                  <a:cubicBezTo>
                    <a:pt x="0" y="178"/>
                    <a:pt x="505" y="684"/>
                    <a:pt x="605" y="677"/>
                  </a:cubicBezTo>
                  <a:cubicBezTo>
                    <a:pt x="674" y="672"/>
                    <a:pt x="591" y="420"/>
                    <a:pt x="617" y="34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471"/>
            <p:cNvSpPr>
              <a:spLocks/>
            </p:cNvSpPr>
            <p:nvPr/>
          </p:nvSpPr>
          <p:spPr bwMode="auto">
            <a:xfrm>
              <a:off x="5946775" y="4994276"/>
              <a:ext cx="349250" cy="596900"/>
            </a:xfrm>
            <a:custGeom>
              <a:avLst/>
              <a:gdLst>
                <a:gd name="T0" fmla="*/ 41 w 714"/>
                <a:gd name="T1" fmla="*/ 1059 h 1223"/>
                <a:gd name="T2" fmla="*/ 437 w 714"/>
                <a:gd name="T3" fmla="*/ 1163 h 1223"/>
                <a:gd name="T4" fmla="*/ 597 w 714"/>
                <a:gd name="T5" fmla="*/ 504 h 1223"/>
                <a:gd name="T6" fmla="*/ 697 w 714"/>
                <a:gd name="T7" fmla="*/ 44 h 1223"/>
                <a:gd name="T8" fmla="*/ 525 w 714"/>
                <a:gd name="T9" fmla="*/ 48 h 1223"/>
                <a:gd name="T10" fmla="*/ 41 w 714"/>
                <a:gd name="T11" fmla="*/ 1059 h 1223"/>
              </a:gdLst>
              <a:ahLst/>
              <a:cxnLst>
                <a:cxn ang="0">
                  <a:pos x="T0" y="T1"/>
                </a:cxn>
                <a:cxn ang="0">
                  <a:pos x="T2" y="T3"/>
                </a:cxn>
                <a:cxn ang="0">
                  <a:pos x="T4" y="T5"/>
                </a:cxn>
                <a:cxn ang="0">
                  <a:pos x="T6" y="T7"/>
                </a:cxn>
                <a:cxn ang="0">
                  <a:pos x="T8" y="T9"/>
                </a:cxn>
                <a:cxn ang="0">
                  <a:pos x="T10" y="T11"/>
                </a:cxn>
              </a:cxnLst>
              <a:rect l="0" t="0" r="r" b="b"/>
              <a:pathLst>
                <a:path w="714" h="1223">
                  <a:moveTo>
                    <a:pt x="41" y="1059"/>
                  </a:moveTo>
                  <a:cubicBezTo>
                    <a:pt x="0" y="1142"/>
                    <a:pt x="426" y="1223"/>
                    <a:pt x="437" y="1163"/>
                  </a:cubicBezTo>
                  <a:cubicBezTo>
                    <a:pt x="464" y="1098"/>
                    <a:pt x="585" y="644"/>
                    <a:pt x="597" y="504"/>
                  </a:cubicBezTo>
                  <a:cubicBezTo>
                    <a:pt x="609" y="365"/>
                    <a:pt x="714" y="56"/>
                    <a:pt x="697" y="44"/>
                  </a:cubicBezTo>
                  <a:cubicBezTo>
                    <a:pt x="698" y="2"/>
                    <a:pt x="538" y="0"/>
                    <a:pt x="525" y="48"/>
                  </a:cubicBezTo>
                  <a:cubicBezTo>
                    <a:pt x="386" y="503"/>
                    <a:pt x="252" y="745"/>
                    <a:pt x="41" y="105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472"/>
            <p:cNvSpPr>
              <a:spLocks/>
            </p:cNvSpPr>
            <p:nvPr/>
          </p:nvSpPr>
          <p:spPr bwMode="auto">
            <a:xfrm>
              <a:off x="6122988" y="4271963"/>
              <a:ext cx="347662" cy="793750"/>
            </a:xfrm>
            <a:custGeom>
              <a:avLst/>
              <a:gdLst>
                <a:gd name="T0" fmla="*/ 551 w 710"/>
                <a:gd name="T1" fmla="*/ 6 h 1625"/>
                <a:gd name="T2" fmla="*/ 627 w 710"/>
                <a:gd name="T3" fmla="*/ 781 h 1625"/>
                <a:gd name="T4" fmla="*/ 412 w 710"/>
                <a:gd name="T5" fmla="*/ 1606 h 1625"/>
                <a:gd name="T6" fmla="*/ 299 w 710"/>
                <a:gd name="T7" fmla="*/ 1476 h 1625"/>
                <a:gd name="T8" fmla="*/ 129 w 710"/>
                <a:gd name="T9" fmla="*/ 1496 h 1625"/>
                <a:gd name="T10" fmla="*/ 330 w 710"/>
                <a:gd name="T11" fmla="*/ 770 h 1625"/>
                <a:gd name="T12" fmla="*/ 551 w 710"/>
                <a:gd name="T13" fmla="*/ 6 h 1625"/>
              </a:gdLst>
              <a:ahLst/>
              <a:cxnLst>
                <a:cxn ang="0">
                  <a:pos x="T0" y="T1"/>
                </a:cxn>
                <a:cxn ang="0">
                  <a:pos x="T2" y="T3"/>
                </a:cxn>
                <a:cxn ang="0">
                  <a:pos x="T4" y="T5"/>
                </a:cxn>
                <a:cxn ang="0">
                  <a:pos x="T6" y="T7"/>
                </a:cxn>
                <a:cxn ang="0">
                  <a:pos x="T8" y="T9"/>
                </a:cxn>
                <a:cxn ang="0">
                  <a:pos x="T10" y="T11"/>
                </a:cxn>
                <a:cxn ang="0">
                  <a:pos x="T12" y="T13"/>
                </a:cxn>
              </a:cxnLst>
              <a:rect l="0" t="0" r="r" b="b"/>
              <a:pathLst>
                <a:path w="710" h="1625">
                  <a:moveTo>
                    <a:pt x="551" y="6"/>
                  </a:moveTo>
                  <a:cubicBezTo>
                    <a:pt x="710" y="0"/>
                    <a:pt x="671" y="374"/>
                    <a:pt x="627" y="781"/>
                  </a:cubicBezTo>
                  <a:cubicBezTo>
                    <a:pt x="585" y="1175"/>
                    <a:pt x="516" y="1573"/>
                    <a:pt x="412" y="1606"/>
                  </a:cubicBezTo>
                  <a:cubicBezTo>
                    <a:pt x="352" y="1625"/>
                    <a:pt x="340" y="1476"/>
                    <a:pt x="299" y="1476"/>
                  </a:cubicBezTo>
                  <a:cubicBezTo>
                    <a:pt x="259" y="1476"/>
                    <a:pt x="172" y="1487"/>
                    <a:pt x="129" y="1496"/>
                  </a:cubicBezTo>
                  <a:cubicBezTo>
                    <a:pt x="0" y="1523"/>
                    <a:pt x="308" y="1150"/>
                    <a:pt x="330" y="770"/>
                  </a:cubicBezTo>
                  <a:cubicBezTo>
                    <a:pt x="351" y="406"/>
                    <a:pt x="306" y="23"/>
                    <a:pt x="551"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473"/>
            <p:cNvSpPr>
              <a:spLocks/>
            </p:cNvSpPr>
            <p:nvPr/>
          </p:nvSpPr>
          <p:spPr bwMode="auto">
            <a:xfrm>
              <a:off x="6240463" y="4113213"/>
              <a:ext cx="420687" cy="555625"/>
            </a:xfrm>
            <a:custGeom>
              <a:avLst/>
              <a:gdLst>
                <a:gd name="T0" fmla="*/ 343 w 859"/>
                <a:gd name="T1" fmla="*/ 0 h 1137"/>
                <a:gd name="T2" fmla="*/ 438 w 859"/>
                <a:gd name="T3" fmla="*/ 1108 h 1137"/>
                <a:gd name="T4" fmla="*/ 297 w 859"/>
                <a:gd name="T5" fmla="*/ 327 h 1137"/>
                <a:gd name="T6" fmla="*/ 91 w 859"/>
                <a:gd name="T7" fmla="*/ 703 h 1137"/>
                <a:gd name="T8" fmla="*/ 30 w 859"/>
                <a:gd name="T9" fmla="*/ 336 h 1137"/>
                <a:gd name="T10" fmla="*/ 343 w 859"/>
                <a:gd name="T11" fmla="*/ 0 h 1137"/>
              </a:gdLst>
              <a:ahLst/>
              <a:cxnLst>
                <a:cxn ang="0">
                  <a:pos x="T0" y="T1"/>
                </a:cxn>
                <a:cxn ang="0">
                  <a:pos x="T2" y="T3"/>
                </a:cxn>
                <a:cxn ang="0">
                  <a:pos x="T4" y="T5"/>
                </a:cxn>
                <a:cxn ang="0">
                  <a:pos x="T6" y="T7"/>
                </a:cxn>
                <a:cxn ang="0">
                  <a:pos x="T8" y="T9"/>
                </a:cxn>
                <a:cxn ang="0">
                  <a:pos x="T10" y="T11"/>
                </a:cxn>
              </a:cxnLst>
              <a:rect l="0" t="0" r="r" b="b"/>
              <a:pathLst>
                <a:path w="859" h="1137">
                  <a:moveTo>
                    <a:pt x="343" y="0"/>
                  </a:moveTo>
                  <a:cubicBezTo>
                    <a:pt x="859" y="28"/>
                    <a:pt x="502" y="831"/>
                    <a:pt x="438" y="1108"/>
                  </a:cubicBezTo>
                  <a:cubicBezTo>
                    <a:pt x="362" y="1137"/>
                    <a:pt x="545" y="294"/>
                    <a:pt x="297" y="327"/>
                  </a:cubicBezTo>
                  <a:cubicBezTo>
                    <a:pt x="46" y="422"/>
                    <a:pt x="151" y="712"/>
                    <a:pt x="91" y="703"/>
                  </a:cubicBezTo>
                  <a:cubicBezTo>
                    <a:pt x="57" y="608"/>
                    <a:pt x="0" y="516"/>
                    <a:pt x="30" y="336"/>
                  </a:cubicBezTo>
                  <a:cubicBezTo>
                    <a:pt x="85" y="206"/>
                    <a:pt x="170" y="33"/>
                    <a:pt x="343"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474"/>
            <p:cNvSpPr>
              <a:spLocks/>
            </p:cNvSpPr>
            <p:nvPr/>
          </p:nvSpPr>
          <p:spPr bwMode="auto">
            <a:xfrm>
              <a:off x="6524625" y="5584826"/>
              <a:ext cx="179387" cy="273050"/>
            </a:xfrm>
            <a:custGeom>
              <a:avLst/>
              <a:gdLst>
                <a:gd name="T0" fmla="*/ 0 w 366"/>
                <a:gd name="T1" fmla="*/ 476 h 557"/>
                <a:gd name="T2" fmla="*/ 264 w 366"/>
                <a:gd name="T3" fmla="*/ 481 h 557"/>
                <a:gd name="T4" fmla="*/ 269 w 366"/>
                <a:gd name="T5" fmla="*/ 7 h 557"/>
                <a:gd name="T6" fmla="*/ 0 w 366"/>
                <a:gd name="T7" fmla="*/ 476 h 557"/>
              </a:gdLst>
              <a:ahLst/>
              <a:cxnLst>
                <a:cxn ang="0">
                  <a:pos x="T0" y="T1"/>
                </a:cxn>
                <a:cxn ang="0">
                  <a:pos x="T2" y="T3"/>
                </a:cxn>
                <a:cxn ang="0">
                  <a:pos x="T4" y="T5"/>
                </a:cxn>
                <a:cxn ang="0">
                  <a:pos x="T6" y="T7"/>
                </a:cxn>
              </a:cxnLst>
              <a:rect l="0" t="0" r="r" b="b"/>
              <a:pathLst>
                <a:path w="366" h="557">
                  <a:moveTo>
                    <a:pt x="0" y="476"/>
                  </a:moveTo>
                  <a:cubicBezTo>
                    <a:pt x="6" y="557"/>
                    <a:pt x="271" y="518"/>
                    <a:pt x="264" y="481"/>
                  </a:cubicBezTo>
                  <a:cubicBezTo>
                    <a:pt x="227" y="294"/>
                    <a:pt x="366" y="13"/>
                    <a:pt x="269" y="7"/>
                  </a:cubicBezTo>
                  <a:cubicBezTo>
                    <a:pt x="171" y="0"/>
                    <a:pt x="11" y="265"/>
                    <a:pt x="0" y="476"/>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75"/>
            <p:cNvSpPr>
              <a:spLocks/>
            </p:cNvSpPr>
            <p:nvPr/>
          </p:nvSpPr>
          <p:spPr bwMode="auto">
            <a:xfrm>
              <a:off x="6569075" y="4781551"/>
              <a:ext cx="201612" cy="833438"/>
            </a:xfrm>
            <a:custGeom>
              <a:avLst/>
              <a:gdLst>
                <a:gd name="T0" fmla="*/ 312 w 414"/>
                <a:gd name="T1" fmla="*/ 18 h 1705"/>
                <a:gd name="T2" fmla="*/ 385 w 414"/>
                <a:gd name="T3" fmla="*/ 1106 h 1705"/>
                <a:gd name="T4" fmla="*/ 266 w 414"/>
                <a:gd name="T5" fmla="*/ 1673 h 1705"/>
                <a:gd name="T6" fmla="*/ 162 w 414"/>
                <a:gd name="T7" fmla="*/ 1633 h 1705"/>
                <a:gd name="T8" fmla="*/ 32 w 414"/>
                <a:gd name="T9" fmla="*/ 1702 h 1705"/>
                <a:gd name="T10" fmla="*/ 191 w 414"/>
                <a:gd name="T11" fmla="*/ 811 h 1705"/>
                <a:gd name="T12" fmla="*/ 312 w 414"/>
                <a:gd name="T13" fmla="*/ 18 h 1705"/>
              </a:gdLst>
              <a:ahLst/>
              <a:cxnLst>
                <a:cxn ang="0">
                  <a:pos x="T0" y="T1"/>
                </a:cxn>
                <a:cxn ang="0">
                  <a:pos x="T2" y="T3"/>
                </a:cxn>
                <a:cxn ang="0">
                  <a:pos x="T4" y="T5"/>
                </a:cxn>
                <a:cxn ang="0">
                  <a:pos x="T6" y="T7"/>
                </a:cxn>
                <a:cxn ang="0">
                  <a:pos x="T8" y="T9"/>
                </a:cxn>
                <a:cxn ang="0">
                  <a:pos x="T10" y="T11"/>
                </a:cxn>
                <a:cxn ang="0">
                  <a:pos x="T12" y="T13"/>
                </a:cxn>
              </a:cxnLst>
              <a:rect l="0" t="0" r="r" b="b"/>
              <a:pathLst>
                <a:path w="414" h="1705">
                  <a:moveTo>
                    <a:pt x="312" y="18"/>
                  </a:moveTo>
                  <a:cubicBezTo>
                    <a:pt x="414" y="0"/>
                    <a:pt x="397" y="709"/>
                    <a:pt x="385" y="1106"/>
                  </a:cubicBezTo>
                  <a:cubicBezTo>
                    <a:pt x="376" y="1258"/>
                    <a:pt x="319" y="1673"/>
                    <a:pt x="266" y="1673"/>
                  </a:cubicBezTo>
                  <a:cubicBezTo>
                    <a:pt x="233" y="1673"/>
                    <a:pt x="185" y="1635"/>
                    <a:pt x="162" y="1633"/>
                  </a:cubicBezTo>
                  <a:cubicBezTo>
                    <a:pt x="139" y="1630"/>
                    <a:pt x="64" y="1705"/>
                    <a:pt x="32" y="1702"/>
                  </a:cubicBezTo>
                  <a:cubicBezTo>
                    <a:pt x="0" y="1699"/>
                    <a:pt x="191" y="969"/>
                    <a:pt x="191" y="811"/>
                  </a:cubicBezTo>
                  <a:cubicBezTo>
                    <a:pt x="191" y="527"/>
                    <a:pt x="272" y="15"/>
                    <a:pt x="312" y="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476"/>
            <p:cNvSpPr>
              <a:spLocks/>
            </p:cNvSpPr>
            <p:nvPr/>
          </p:nvSpPr>
          <p:spPr bwMode="auto">
            <a:xfrm>
              <a:off x="6616700" y="3968751"/>
              <a:ext cx="207962" cy="885825"/>
            </a:xfrm>
            <a:custGeom>
              <a:avLst/>
              <a:gdLst>
                <a:gd name="T0" fmla="*/ 223 w 426"/>
                <a:gd name="T1" fmla="*/ 1664 h 1814"/>
                <a:gd name="T2" fmla="*/ 345 w 426"/>
                <a:gd name="T3" fmla="*/ 1794 h 1814"/>
                <a:gd name="T4" fmla="*/ 272 w 426"/>
                <a:gd name="T5" fmla="*/ 645 h 1814"/>
                <a:gd name="T6" fmla="*/ 148 w 426"/>
                <a:gd name="T7" fmla="*/ 26 h 1814"/>
                <a:gd name="T8" fmla="*/ 58 w 426"/>
                <a:gd name="T9" fmla="*/ 1088 h 1814"/>
                <a:gd name="T10" fmla="*/ 96 w 426"/>
                <a:gd name="T11" fmla="*/ 1805 h 1814"/>
                <a:gd name="T12" fmla="*/ 223 w 426"/>
                <a:gd name="T13" fmla="*/ 1664 h 1814"/>
              </a:gdLst>
              <a:ahLst/>
              <a:cxnLst>
                <a:cxn ang="0">
                  <a:pos x="T0" y="T1"/>
                </a:cxn>
                <a:cxn ang="0">
                  <a:pos x="T2" y="T3"/>
                </a:cxn>
                <a:cxn ang="0">
                  <a:pos x="T4" y="T5"/>
                </a:cxn>
                <a:cxn ang="0">
                  <a:pos x="T6" y="T7"/>
                </a:cxn>
                <a:cxn ang="0">
                  <a:pos x="T8" y="T9"/>
                </a:cxn>
                <a:cxn ang="0">
                  <a:pos x="T10" y="T11"/>
                </a:cxn>
                <a:cxn ang="0">
                  <a:pos x="T12" y="T13"/>
                </a:cxn>
              </a:cxnLst>
              <a:rect l="0" t="0" r="r" b="b"/>
              <a:pathLst>
                <a:path w="426" h="1814">
                  <a:moveTo>
                    <a:pt x="223" y="1664"/>
                  </a:moveTo>
                  <a:cubicBezTo>
                    <a:pt x="287" y="1666"/>
                    <a:pt x="315" y="1793"/>
                    <a:pt x="345" y="1794"/>
                  </a:cubicBezTo>
                  <a:cubicBezTo>
                    <a:pt x="426" y="1797"/>
                    <a:pt x="272" y="715"/>
                    <a:pt x="272" y="645"/>
                  </a:cubicBezTo>
                  <a:cubicBezTo>
                    <a:pt x="272" y="469"/>
                    <a:pt x="185" y="32"/>
                    <a:pt x="148" y="26"/>
                  </a:cubicBezTo>
                  <a:cubicBezTo>
                    <a:pt x="0" y="0"/>
                    <a:pt x="61" y="851"/>
                    <a:pt x="58" y="1088"/>
                  </a:cubicBezTo>
                  <a:cubicBezTo>
                    <a:pt x="56" y="1244"/>
                    <a:pt x="12" y="1814"/>
                    <a:pt x="96" y="1805"/>
                  </a:cubicBezTo>
                  <a:cubicBezTo>
                    <a:pt x="122" y="1803"/>
                    <a:pt x="151" y="1675"/>
                    <a:pt x="223" y="1664"/>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7"/>
            <p:cNvSpPr>
              <a:spLocks/>
            </p:cNvSpPr>
            <p:nvPr/>
          </p:nvSpPr>
          <p:spPr bwMode="auto">
            <a:xfrm>
              <a:off x="6565900" y="3773488"/>
              <a:ext cx="212725" cy="319088"/>
            </a:xfrm>
            <a:custGeom>
              <a:avLst/>
              <a:gdLst>
                <a:gd name="T0" fmla="*/ 237 w 437"/>
                <a:gd name="T1" fmla="*/ 423 h 651"/>
                <a:gd name="T2" fmla="*/ 136 w 437"/>
                <a:gd name="T3" fmla="*/ 643 h 651"/>
                <a:gd name="T4" fmla="*/ 18 w 437"/>
                <a:gd name="T5" fmla="*/ 411 h 651"/>
                <a:gd name="T6" fmla="*/ 177 w 437"/>
                <a:gd name="T7" fmla="*/ 15 h 651"/>
                <a:gd name="T8" fmla="*/ 373 w 437"/>
                <a:gd name="T9" fmla="*/ 212 h 651"/>
                <a:gd name="T10" fmla="*/ 423 w 437"/>
                <a:gd name="T11" fmla="*/ 507 h 651"/>
                <a:gd name="T12" fmla="*/ 342 w 437"/>
                <a:gd name="T13" fmla="*/ 559 h 651"/>
                <a:gd name="T14" fmla="*/ 237 w 437"/>
                <a:gd name="T15" fmla="*/ 423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651">
                  <a:moveTo>
                    <a:pt x="237" y="423"/>
                  </a:moveTo>
                  <a:cubicBezTo>
                    <a:pt x="191" y="437"/>
                    <a:pt x="182" y="651"/>
                    <a:pt x="136" y="643"/>
                  </a:cubicBezTo>
                  <a:cubicBezTo>
                    <a:pt x="90" y="634"/>
                    <a:pt x="0" y="475"/>
                    <a:pt x="18" y="411"/>
                  </a:cubicBezTo>
                  <a:cubicBezTo>
                    <a:pt x="35" y="348"/>
                    <a:pt x="122" y="22"/>
                    <a:pt x="177" y="15"/>
                  </a:cubicBezTo>
                  <a:cubicBezTo>
                    <a:pt x="284" y="0"/>
                    <a:pt x="385" y="139"/>
                    <a:pt x="373" y="212"/>
                  </a:cubicBezTo>
                  <a:cubicBezTo>
                    <a:pt x="362" y="284"/>
                    <a:pt x="437" y="466"/>
                    <a:pt x="423" y="507"/>
                  </a:cubicBezTo>
                  <a:cubicBezTo>
                    <a:pt x="408" y="547"/>
                    <a:pt x="362" y="582"/>
                    <a:pt x="342" y="559"/>
                  </a:cubicBezTo>
                  <a:cubicBezTo>
                    <a:pt x="321" y="536"/>
                    <a:pt x="278" y="429"/>
                    <a:pt x="237" y="42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478"/>
            <p:cNvSpPr>
              <a:spLocks noEditPoints="1"/>
            </p:cNvSpPr>
            <p:nvPr/>
          </p:nvSpPr>
          <p:spPr bwMode="auto">
            <a:xfrm>
              <a:off x="7499350" y="4878388"/>
              <a:ext cx="336550" cy="771525"/>
            </a:xfrm>
            <a:custGeom>
              <a:avLst/>
              <a:gdLst>
                <a:gd name="T0" fmla="*/ 60 w 690"/>
                <a:gd name="T1" fmla="*/ 3 h 1579"/>
                <a:gd name="T2" fmla="*/ 57 w 690"/>
                <a:gd name="T3" fmla="*/ 4 h 1579"/>
                <a:gd name="T4" fmla="*/ 55 w 690"/>
                <a:gd name="T5" fmla="*/ 4 h 1579"/>
                <a:gd name="T6" fmla="*/ 17 w 690"/>
                <a:gd name="T7" fmla="*/ 51 h 1579"/>
                <a:gd name="T8" fmla="*/ 4 w 690"/>
                <a:gd name="T9" fmla="*/ 127 h 1579"/>
                <a:gd name="T10" fmla="*/ 11 w 690"/>
                <a:gd name="T11" fmla="*/ 343 h 1579"/>
                <a:gd name="T12" fmla="*/ 71 w 690"/>
                <a:gd name="T13" fmla="*/ 732 h 1579"/>
                <a:gd name="T14" fmla="*/ 212 w 690"/>
                <a:gd name="T15" fmla="*/ 1186 h 1579"/>
                <a:gd name="T16" fmla="*/ 302 w 690"/>
                <a:gd name="T17" fmla="*/ 1450 h 1579"/>
                <a:gd name="T18" fmla="*/ 336 w 690"/>
                <a:gd name="T19" fmla="*/ 1535 h 1579"/>
                <a:gd name="T20" fmla="*/ 348 w 690"/>
                <a:gd name="T21" fmla="*/ 1560 h 1579"/>
                <a:gd name="T22" fmla="*/ 355 w 690"/>
                <a:gd name="T23" fmla="*/ 1570 h 1579"/>
                <a:gd name="T24" fmla="*/ 361 w 690"/>
                <a:gd name="T25" fmla="*/ 1575 h 1579"/>
                <a:gd name="T26" fmla="*/ 376 w 690"/>
                <a:gd name="T27" fmla="*/ 1578 h 1579"/>
                <a:gd name="T28" fmla="*/ 398 w 690"/>
                <a:gd name="T29" fmla="*/ 1560 h 1579"/>
                <a:gd name="T30" fmla="*/ 408 w 690"/>
                <a:gd name="T31" fmla="*/ 1538 h 1579"/>
                <a:gd name="T32" fmla="*/ 426 w 690"/>
                <a:gd name="T33" fmla="*/ 1481 h 1579"/>
                <a:gd name="T34" fmla="*/ 443 w 690"/>
                <a:gd name="T35" fmla="*/ 1424 h 1579"/>
                <a:gd name="T36" fmla="*/ 456 w 690"/>
                <a:gd name="T37" fmla="*/ 1399 h 1579"/>
                <a:gd name="T38" fmla="*/ 506 w 690"/>
                <a:gd name="T39" fmla="*/ 1387 h 1579"/>
                <a:gd name="T40" fmla="*/ 553 w 690"/>
                <a:gd name="T41" fmla="*/ 1403 h 1579"/>
                <a:gd name="T42" fmla="*/ 604 w 690"/>
                <a:gd name="T43" fmla="*/ 1428 h 1579"/>
                <a:gd name="T44" fmla="*/ 666 w 690"/>
                <a:gd name="T45" fmla="*/ 1429 h 1579"/>
                <a:gd name="T46" fmla="*/ 685 w 690"/>
                <a:gd name="T47" fmla="*/ 1415 h 1579"/>
                <a:gd name="T48" fmla="*/ 690 w 690"/>
                <a:gd name="T49" fmla="*/ 1392 h 1579"/>
                <a:gd name="T50" fmla="*/ 674 w 690"/>
                <a:gd name="T51" fmla="*/ 1348 h 1579"/>
                <a:gd name="T52" fmla="*/ 589 w 690"/>
                <a:gd name="T53" fmla="*/ 1211 h 1579"/>
                <a:gd name="T54" fmla="*/ 305 w 690"/>
                <a:gd name="T55" fmla="*/ 606 h 1579"/>
                <a:gd name="T56" fmla="*/ 213 w 690"/>
                <a:gd name="T57" fmla="*/ 203 h 1579"/>
                <a:gd name="T58" fmla="*/ 162 w 690"/>
                <a:gd name="T59" fmla="*/ 60 h 1579"/>
                <a:gd name="T60" fmla="*/ 60 w 690"/>
                <a:gd name="T61" fmla="*/ 3 h 1579"/>
                <a:gd name="T62" fmla="*/ 67 w 690"/>
                <a:gd name="T63" fmla="*/ 44 h 1579"/>
                <a:gd name="T64" fmla="*/ 128 w 690"/>
                <a:gd name="T65" fmla="*/ 81 h 1579"/>
                <a:gd name="T66" fmla="*/ 174 w 690"/>
                <a:gd name="T67" fmla="*/ 212 h 1579"/>
                <a:gd name="T68" fmla="*/ 268 w 690"/>
                <a:gd name="T69" fmla="*/ 619 h 1579"/>
                <a:gd name="T70" fmla="*/ 555 w 690"/>
                <a:gd name="T71" fmla="*/ 1232 h 1579"/>
                <a:gd name="T72" fmla="*/ 639 w 690"/>
                <a:gd name="T73" fmla="*/ 1367 h 1579"/>
                <a:gd name="T74" fmla="*/ 649 w 690"/>
                <a:gd name="T75" fmla="*/ 1392 h 1579"/>
                <a:gd name="T76" fmla="*/ 617 w 690"/>
                <a:gd name="T77" fmla="*/ 1390 h 1579"/>
                <a:gd name="T78" fmla="*/ 571 w 690"/>
                <a:gd name="T79" fmla="*/ 1368 h 1579"/>
                <a:gd name="T80" fmla="*/ 510 w 690"/>
                <a:gd name="T81" fmla="*/ 1347 h 1579"/>
                <a:gd name="T82" fmla="*/ 436 w 690"/>
                <a:gd name="T83" fmla="*/ 1365 h 1579"/>
                <a:gd name="T84" fmla="*/ 406 w 690"/>
                <a:gd name="T85" fmla="*/ 1410 h 1579"/>
                <a:gd name="T86" fmla="*/ 387 w 690"/>
                <a:gd name="T87" fmla="*/ 1470 h 1579"/>
                <a:gd name="T88" fmla="*/ 372 w 690"/>
                <a:gd name="T89" fmla="*/ 1519 h 1579"/>
                <a:gd name="T90" fmla="*/ 340 w 690"/>
                <a:gd name="T91" fmla="*/ 1436 h 1579"/>
                <a:gd name="T92" fmla="*/ 250 w 690"/>
                <a:gd name="T93" fmla="*/ 1174 h 1579"/>
                <a:gd name="T94" fmla="*/ 109 w 690"/>
                <a:gd name="T95" fmla="*/ 722 h 1579"/>
                <a:gd name="T96" fmla="*/ 51 w 690"/>
                <a:gd name="T97" fmla="*/ 340 h 1579"/>
                <a:gd name="T98" fmla="*/ 44 w 690"/>
                <a:gd name="T99" fmla="*/ 130 h 1579"/>
                <a:gd name="T100" fmla="*/ 55 w 690"/>
                <a:gd name="T101" fmla="*/ 63 h 1579"/>
                <a:gd name="T102" fmla="*/ 67 w 690"/>
                <a:gd name="T103" fmla="*/ 44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1579">
                  <a:moveTo>
                    <a:pt x="60" y="3"/>
                  </a:moveTo>
                  <a:lnTo>
                    <a:pt x="57" y="4"/>
                  </a:lnTo>
                  <a:lnTo>
                    <a:pt x="55" y="4"/>
                  </a:lnTo>
                  <a:cubicBezTo>
                    <a:pt x="35" y="11"/>
                    <a:pt x="24" y="30"/>
                    <a:pt x="17" y="51"/>
                  </a:cubicBezTo>
                  <a:cubicBezTo>
                    <a:pt x="10" y="72"/>
                    <a:pt x="6" y="97"/>
                    <a:pt x="4" y="127"/>
                  </a:cubicBezTo>
                  <a:cubicBezTo>
                    <a:pt x="0" y="187"/>
                    <a:pt x="4" y="264"/>
                    <a:pt x="11" y="343"/>
                  </a:cubicBezTo>
                  <a:cubicBezTo>
                    <a:pt x="26" y="502"/>
                    <a:pt x="56" y="670"/>
                    <a:pt x="71" y="732"/>
                  </a:cubicBezTo>
                  <a:cubicBezTo>
                    <a:pt x="83" y="784"/>
                    <a:pt x="147" y="990"/>
                    <a:pt x="212" y="1186"/>
                  </a:cubicBezTo>
                  <a:cubicBezTo>
                    <a:pt x="244" y="1285"/>
                    <a:pt x="276" y="1380"/>
                    <a:pt x="302" y="1450"/>
                  </a:cubicBezTo>
                  <a:cubicBezTo>
                    <a:pt x="315" y="1485"/>
                    <a:pt x="327" y="1515"/>
                    <a:pt x="336" y="1535"/>
                  </a:cubicBezTo>
                  <a:cubicBezTo>
                    <a:pt x="340" y="1546"/>
                    <a:pt x="344" y="1554"/>
                    <a:pt x="348" y="1560"/>
                  </a:cubicBezTo>
                  <a:cubicBezTo>
                    <a:pt x="350" y="1564"/>
                    <a:pt x="352" y="1566"/>
                    <a:pt x="355" y="1570"/>
                  </a:cubicBezTo>
                  <a:cubicBezTo>
                    <a:pt x="356" y="1571"/>
                    <a:pt x="358" y="1573"/>
                    <a:pt x="361" y="1575"/>
                  </a:cubicBezTo>
                  <a:cubicBezTo>
                    <a:pt x="364" y="1576"/>
                    <a:pt x="369" y="1579"/>
                    <a:pt x="376" y="1578"/>
                  </a:cubicBezTo>
                  <a:cubicBezTo>
                    <a:pt x="389" y="1575"/>
                    <a:pt x="394" y="1567"/>
                    <a:pt x="398" y="1560"/>
                  </a:cubicBezTo>
                  <a:cubicBezTo>
                    <a:pt x="402" y="1554"/>
                    <a:pt x="405" y="1546"/>
                    <a:pt x="408" y="1538"/>
                  </a:cubicBezTo>
                  <a:cubicBezTo>
                    <a:pt x="415" y="1522"/>
                    <a:pt x="420" y="1501"/>
                    <a:pt x="426" y="1481"/>
                  </a:cubicBezTo>
                  <a:cubicBezTo>
                    <a:pt x="431" y="1460"/>
                    <a:pt x="437" y="1440"/>
                    <a:pt x="443" y="1424"/>
                  </a:cubicBezTo>
                  <a:cubicBezTo>
                    <a:pt x="449" y="1408"/>
                    <a:pt x="457" y="1398"/>
                    <a:pt x="456" y="1399"/>
                  </a:cubicBezTo>
                  <a:cubicBezTo>
                    <a:pt x="475" y="1388"/>
                    <a:pt x="491" y="1386"/>
                    <a:pt x="506" y="1387"/>
                  </a:cubicBezTo>
                  <a:cubicBezTo>
                    <a:pt x="521" y="1389"/>
                    <a:pt x="537" y="1395"/>
                    <a:pt x="553" y="1403"/>
                  </a:cubicBezTo>
                  <a:cubicBezTo>
                    <a:pt x="569" y="1411"/>
                    <a:pt x="585" y="1421"/>
                    <a:pt x="604" y="1428"/>
                  </a:cubicBezTo>
                  <a:cubicBezTo>
                    <a:pt x="622" y="1434"/>
                    <a:pt x="644" y="1437"/>
                    <a:pt x="666" y="1429"/>
                  </a:cubicBezTo>
                  <a:cubicBezTo>
                    <a:pt x="673" y="1427"/>
                    <a:pt x="680" y="1422"/>
                    <a:pt x="685" y="1415"/>
                  </a:cubicBezTo>
                  <a:cubicBezTo>
                    <a:pt x="689" y="1407"/>
                    <a:pt x="690" y="1399"/>
                    <a:pt x="690" y="1392"/>
                  </a:cubicBezTo>
                  <a:cubicBezTo>
                    <a:pt x="689" y="1377"/>
                    <a:pt x="683" y="1364"/>
                    <a:pt x="674" y="1348"/>
                  </a:cubicBezTo>
                  <a:cubicBezTo>
                    <a:pt x="657" y="1316"/>
                    <a:pt x="627" y="1273"/>
                    <a:pt x="589" y="1211"/>
                  </a:cubicBezTo>
                  <a:cubicBezTo>
                    <a:pt x="513" y="1089"/>
                    <a:pt x="405" y="897"/>
                    <a:pt x="305" y="606"/>
                  </a:cubicBezTo>
                  <a:cubicBezTo>
                    <a:pt x="258" y="468"/>
                    <a:pt x="239" y="319"/>
                    <a:pt x="213" y="203"/>
                  </a:cubicBezTo>
                  <a:cubicBezTo>
                    <a:pt x="200" y="146"/>
                    <a:pt x="185" y="96"/>
                    <a:pt x="162" y="60"/>
                  </a:cubicBezTo>
                  <a:cubicBezTo>
                    <a:pt x="139" y="23"/>
                    <a:pt x="104" y="0"/>
                    <a:pt x="60" y="3"/>
                  </a:cubicBezTo>
                  <a:close/>
                  <a:moveTo>
                    <a:pt x="67" y="44"/>
                  </a:moveTo>
                  <a:cubicBezTo>
                    <a:pt x="94" y="43"/>
                    <a:pt x="111" y="54"/>
                    <a:pt x="128" y="81"/>
                  </a:cubicBezTo>
                  <a:cubicBezTo>
                    <a:pt x="146" y="110"/>
                    <a:pt x="161" y="156"/>
                    <a:pt x="174" y="212"/>
                  </a:cubicBezTo>
                  <a:cubicBezTo>
                    <a:pt x="199" y="325"/>
                    <a:pt x="219" y="476"/>
                    <a:pt x="268" y="619"/>
                  </a:cubicBezTo>
                  <a:cubicBezTo>
                    <a:pt x="368" y="913"/>
                    <a:pt x="478" y="1108"/>
                    <a:pt x="555" y="1232"/>
                  </a:cubicBezTo>
                  <a:cubicBezTo>
                    <a:pt x="593" y="1294"/>
                    <a:pt x="624" y="1339"/>
                    <a:pt x="639" y="1367"/>
                  </a:cubicBezTo>
                  <a:cubicBezTo>
                    <a:pt x="646" y="1380"/>
                    <a:pt x="648" y="1389"/>
                    <a:pt x="649" y="1392"/>
                  </a:cubicBezTo>
                  <a:cubicBezTo>
                    <a:pt x="639" y="1395"/>
                    <a:pt x="630" y="1394"/>
                    <a:pt x="617" y="1390"/>
                  </a:cubicBezTo>
                  <a:cubicBezTo>
                    <a:pt x="604" y="1385"/>
                    <a:pt x="588" y="1376"/>
                    <a:pt x="571" y="1368"/>
                  </a:cubicBezTo>
                  <a:cubicBezTo>
                    <a:pt x="553" y="1359"/>
                    <a:pt x="533" y="1350"/>
                    <a:pt x="510" y="1347"/>
                  </a:cubicBezTo>
                  <a:cubicBezTo>
                    <a:pt x="487" y="1345"/>
                    <a:pt x="462" y="1349"/>
                    <a:pt x="436" y="1365"/>
                  </a:cubicBezTo>
                  <a:cubicBezTo>
                    <a:pt x="418" y="1375"/>
                    <a:pt x="413" y="1391"/>
                    <a:pt x="406" y="1410"/>
                  </a:cubicBezTo>
                  <a:cubicBezTo>
                    <a:pt x="399" y="1428"/>
                    <a:pt x="393" y="1450"/>
                    <a:pt x="387" y="1470"/>
                  </a:cubicBezTo>
                  <a:cubicBezTo>
                    <a:pt x="382" y="1489"/>
                    <a:pt x="377" y="1506"/>
                    <a:pt x="372" y="1519"/>
                  </a:cubicBezTo>
                  <a:cubicBezTo>
                    <a:pt x="364" y="1500"/>
                    <a:pt x="353" y="1471"/>
                    <a:pt x="340" y="1436"/>
                  </a:cubicBezTo>
                  <a:cubicBezTo>
                    <a:pt x="314" y="1367"/>
                    <a:pt x="282" y="1272"/>
                    <a:pt x="250" y="1174"/>
                  </a:cubicBezTo>
                  <a:cubicBezTo>
                    <a:pt x="185" y="978"/>
                    <a:pt x="120" y="767"/>
                    <a:pt x="109" y="722"/>
                  </a:cubicBezTo>
                  <a:cubicBezTo>
                    <a:pt x="96" y="665"/>
                    <a:pt x="66" y="496"/>
                    <a:pt x="51" y="340"/>
                  </a:cubicBezTo>
                  <a:cubicBezTo>
                    <a:pt x="44" y="261"/>
                    <a:pt x="40" y="186"/>
                    <a:pt x="44" y="130"/>
                  </a:cubicBezTo>
                  <a:cubicBezTo>
                    <a:pt x="46" y="102"/>
                    <a:pt x="49" y="79"/>
                    <a:pt x="55" y="63"/>
                  </a:cubicBezTo>
                  <a:cubicBezTo>
                    <a:pt x="59" y="49"/>
                    <a:pt x="64" y="45"/>
                    <a:pt x="67"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479"/>
            <p:cNvSpPr>
              <a:spLocks noEditPoints="1"/>
            </p:cNvSpPr>
            <p:nvPr/>
          </p:nvSpPr>
          <p:spPr bwMode="auto">
            <a:xfrm>
              <a:off x="7308850" y="3946526"/>
              <a:ext cx="304800" cy="1009650"/>
            </a:xfrm>
            <a:custGeom>
              <a:avLst/>
              <a:gdLst>
                <a:gd name="T0" fmla="*/ 185 w 622"/>
                <a:gd name="T1" fmla="*/ 3 h 2064"/>
                <a:gd name="T2" fmla="*/ 55 w 622"/>
                <a:gd name="T3" fmla="*/ 93 h 2064"/>
                <a:gd name="T4" fmla="*/ 10 w 622"/>
                <a:gd name="T5" fmla="*/ 324 h 2064"/>
                <a:gd name="T6" fmla="*/ 46 w 622"/>
                <a:gd name="T7" fmla="*/ 1035 h 2064"/>
                <a:gd name="T8" fmla="*/ 182 w 622"/>
                <a:gd name="T9" fmla="*/ 1744 h 2064"/>
                <a:gd name="T10" fmla="*/ 263 w 622"/>
                <a:gd name="T11" fmla="*/ 1969 h 2064"/>
                <a:gd name="T12" fmla="*/ 298 w 622"/>
                <a:gd name="T13" fmla="*/ 2034 h 2064"/>
                <a:gd name="T14" fmla="*/ 315 w 622"/>
                <a:gd name="T15" fmla="*/ 2054 h 2064"/>
                <a:gd name="T16" fmla="*/ 340 w 622"/>
                <a:gd name="T17" fmla="*/ 2064 h 2064"/>
                <a:gd name="T18" fmla="*/ 409 w 622"/>
                <a:gd name="T19" fmla="*/ 2041 h 2064"/>
                <a:gd name="T20" fmla="*/ 437 w 622"/>
                <a:gd name="T21" fmla="*/ 1993 h 2064"/>
                <a:gd name="T22" fmla="*/ 450 w 622"/>
                <a:gd name="T23" fmla="*/ 1955 h 2064"/>
                <a:gd name="T24" fmla="*/ 466 w 622"/>
                <a:gd name="T25" fmla="*/ 1941 h 2064"/>
                <a:gd name="T26" fmla="*/ 483 w 622"/>
                <a:gd name="T27" fmla="*/ 1950 h 2064"/>
                <a:gd name="T28" fmla="*/ 512 w 622"/>
                <a:gd name="T29" fmla="*/ 1984 h 2064"/>
                <a:gd name="T30" fmla="*/ 548 w 622"/>
                <a:gd name="T31" fmla="*/ 2021 h 2064"/>
                <a:gd name="T32" fmla="*/ 604 w 622"/>
                <a:gd name="T33" fmla="*/ 2024 h 2064"/>
                <a:gd name="T34" fmla="*/ 620 w 622"/>
                <a:gd name="T35" fmla="*/ 1997 h 2064"/>
                <a:gd name="T36" fmla="*/ 622 w 622"/>
                <a:gd name="T37" fmla="*/ 1965 h 2064"/>
                <a:gd name="T38" fmla="*/ 612 w 622"/>
                <a:gd name="T39" fmla="*/ 1868 h 2064"/>
                <a:gd name="T40" fmla="*/ 557 w 622"/>
                <a:gd name="T41" fmla="*/ 1585 h 2064"/>
                <a:gd name="T42" fmla="*/ 433 w 622"/>
                <a:gd name="T43" fmla="*/ 1096 h 2064"/>
                <a:gd name="T44" fmla="*/ 316 w 622"/>
                <a:gd name="T45" fmla="*/ 405 h 2064"/>
                <a:gd name="T46" fmla="*/ 276 w 622"/>
                <a:gd name="T47" fmla="*/ 130 h 2064"/>
                <a:gd name="T48" fmla="*/ 244 w 622"/>
                <a:gd name="T49" fmla="*/ 43 h 2064"/>
                <a:gd name="T50" fmla="*/ 185 w 622"/>
                <a:gd name="T51" fmla="*/ 3 h 2064"/>
                <a:gd name="T52" fmla="*/ 184 w 622"/>
                <a:gd name="T53" fmla="*/ 42 h 2064"/>
                <a:gd name="T54" fmla="*/ 210 w 622"/>
                <a:gd name="T55" fmla="*/ 64 h 2064"/>
                <a:gd name="T56" fmla="*/ 238 w 622"/>
                <a:gd name="T57" fmla="*/ 139 h 2064"/>
                <a:gd name="T58" fmla="*/ 276 w 622"/>
                <a:gd name="T59" fmla="*/ 409 h 2064"/>
                <a:gd name="T60" fmla="*/ 395 w 622"/>
                <a:gd name="T61" fmla="*/ 1109 h 2064"/>
                <a:gd name="T62" fmla="*/ 518 w 622"/>
                <a:gd name="T63" fmla="*/ 1594 h 2064"/>
                <a:gd name="T64" fmla="*/ 572 w 622"/>
                <a:gd name="T65" fmla="*/ 1874 h 2064"/>
                <a:gd name="T66" fmla="*/ 582 w 622"/>
                <a:gd name="T67" fmla="*/ 1965 h 2064"/>
                <a:gd name="T68" fmla="*/ 580 w 622"/>
                <a:gd name="T69" fmla="*/ 1989 h 2064"/>
                <a:gd name="T70" fmla="*/ 571 w 622"/>
                <a:gd name="T71" fmla="*/ 1988 h 2064"/>
                <a:gd name="T72" fmla="*/ 544 w 622"/>
                <a:gd name="T73" fmla="*/ 1959 h 2064"/>
                <a:gd name="T74" fmla="*/ 511 w 622"/>
                <a:gd name="T75" fmla="*/ 1920 h 2064"/>
                <a:gd name="T76" fmla="*/ 459 w 622"/>
                <a:gd name="T77" fmla="*/ 1901 h 2064"/>
                <a:gd name="T78" fmla="*/ 459 w 622"/>
                <a:gd name="T79" fmla="*/ 1901 h 2064"/>
                <a:gd name="T80" fmla="*/ 459 w 622"/>
                <a:gd name="T81" fmla="*/ 1902 h 2064"/>
                <a:gd name="T82" fmla="*/ 415 w 622"/>
                <a:gd name="T83" fmla="*/ 1937 h 2064"/>
                <a:gd name="T84" fmla="*/ 399 w 622"/>
                <a:gd name="T85" fmla="*/ 1981 h 2064"/>
                <a:gd name="T86" fmla="*/ 382 w 622"/>
                <a:gd name="T87" fmla="*/ 2012 h 2064"/>
                <a:gd name="T88" fmla="*/ 340 w 622"/>
                <a:gd name="T89" fmla="*/ 2024 h 2064"/>
                <a:gd name="T90" fmla="*/ 341 w 622"/>
                <a:gd name="T91" fmla="*/ 2023 h 2064"/>
                <a:gd name="T92" fmla="*/ 331 w 622"/>
                <a:gd name="T93" fmla="*/ 2011 h 2064"/>
                <a:gd name="T94" fmla="*/ 299 w 622"/>
                <a:gd name="T95" fmla="*/ 1952 h 2064"/>
                <a:gd name="T96" fmla="*/ 220 w 622"/>
                <a:gd name="T97" fmla="*/ 1732 h 2064"/>
                <a:gd name="T98" fmla="*/ 86 w 622"/>
                <a:gd name="T99" fmla="*/ 1031 h 2064"/>
                <a:gd name="T100" fmla="*/ 50 w 622"/>
                <a:gd name="T101" fmla="*/ 326 h 2064"/>
                <a:gd name="T102" fmla="*/ 91 w 622"/>
                <a:gd name="T103" fmla="*/ 110 h 2064"/>
                <a:gd name="T104" fmla="*/ 184 w 622"/>
                <a:gd name="T105" fmla="*/ 42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2064">
                  <a:moveTo>
                    <a:pt x="185" y="3"/>
                  </a:moveTo>
                  <a:cubicBezTo>
                    <a:pt x="126" y="0"/>
                    <a:pt x="81" y="36"/>
                    <a:pt x="55" y="93"/>
                  </a:cubicBezTo>
                  <a:cubicBezTo>
                    <a:pt x="28" y="150"/>
                    <a:pt x="15" y="229"/>
                    <a:pt x="10" y="324"/>
                  </a:cubicBezTo>
                  <a:cubicBezTo>
                    <a:pt x="0" y="514"/>
                    <a:pt x="21" y="769"/>
                    <a:pt x="46" y="1035"/>
                  </a:cubicBezTo>
                  <a:cubicBezTo>
                    <a:pt x="71" y="1303"/>
                    <a:pt x="126" y="1556"/>
                    <a:pt x="182" y="1744"/>
                  </a:cubicBezTo>
                  <a:cubicBezTo>
                    <a:pt x="209" y="1837"/>
                    <a:pt x="238" y="1915"/>
                    <a:pt x="263" y="1969"/>
                  </a:cubicBezTo>
                  <a:cubicBezTo>
                    <a:pt x="275" y="1996"/>
                    <a:pt x="287" y="2018"/>
                    <a:pt x="298" y="2034"/>
                  </a:cubicBezTo>
                  <a:cubicBezTo>
                    <a:pt x="304" y="2042"/>
                    <a:pt x="309" y="2048"/>
                    <a:pt x="315" y="2054"/>
                  </a:cubicBezTo>
                  <a:cubicBezTo>
                    <a:pt x="322" y="2059"/>
                    <a:pt x="329" y="2064"/>
                    <a:pt x="340" y="2064"/>
                  </a:cubicBezTo>
                  <a:cubicBezTo>
                    <a:pt x="370" y="2064"/>
                    <a:pt x="393" y="2055"/>
                    <a:pt x="409" y="2041"/>
                  </a:cubicBezTo>
                  <a:cubicBezTo>
                    <a:pt x="424" y="2027"/>
                    <a:pt x="432" y="2009"/>
                    <a:pt x="437" y="1993"/>
                  </a:cubicBezTo>
                  <a:cubicBezTo>
                    <a:pt x="442" y="1978"/>
                    <a:pt x="446" y="1963"/>
                    <a:pt x="450" y="1955"/>
                  </a:cubicBezTo>
                  <a:cubicBezTo>
                    <a:pt x="455" y="1946"/>
                    <a:pt x="457" y="1943"/>
                    <a:pt x="466" y="1941"/>
                  </a:cubicBezTo>
                  <a:cubicBezTo>
                    <a:pt x="470" y="1940"/>
                    <a:pt x="475" y="1942"/>
                    <a:pt x="483" y="1950"/>
                  </a:cubicBezTo>
                  <a:cubicBezTo>
                    <a:pt x="492" y="1958"/>
                    <a:pt x="502" y="1971"/>
                    <a:pt x="512" y="1984"/>
                  </a:cubicBezTo>
                  <a:cubicBezTo>
                    <a:pt x="523" y="1997"/>
                    <a:pt x="534" y="2011"/>
                    <a:pt x="548" y="2021"/>
                  </a:cubicBezTo>
                  <a:cubicBezTo>
                    <a:pt x="563" y="2031"/>
                    <a:pt x="585" y="2035"/>
                    <a:pt x="604" y="2024"/>
                  </a:cubicBezTo>
                  <a:cubicBezTo>
                    <a:pt x="616" y="2017"/>
                    <a:pt x="618" y="2007"/>
                    <a:pt x="620" y="1997"/>
                  </a:cubicBezTo>
                  <a:cubicBezTo>
                    <a:pt x="622" y="1988"/>
                    <a:pt x="622" y="1977"/>
                    <a:pt x="622" y="1965"/>
                  </a:cubicBezTo>
                  <a:cubicBezTo>
                    <a:pt x="621" y="1939"/>
                    <a:pt x="618" y="1907"/>
                    <a:pt x="612" y="1868"/>
                  </a:cubicBezTo>
                  <a:cubicBezTo>
                    <a:pt x="600" y="1790"/>
                    <a:pt x="580" y="1689"/>
                    <a:pt x="557" y="1585"/>
                  </a:cubicBezTo>
                  <a:cubicBezTo>
                    <a:pt x="511" y="1378"/>
                    <a:pt x="454" y="1160"/>
                    <a:pt x="433" y="1096"/>
                  </a:cubicBezTo>
                  <a:cubicBezTo>
                    <a:pt x="362" y="889"/>
                    <a:pt x="338" y="622"/>
                    <a:pt x="316" y="405"/>
                  </a:cubicBezTo>
                  <a:cubicBezTo>
                    <a:pt x="305" y="296"/>
                    <a:pt x="294" y="201"/>
                    <a:pt x="276" y="130"/>
                  </a:cubicBezTo>
                  <a:cubicBezTo>
                    <a:pt x="268" y="94"/>
                    <a:pt x="258" y="65"/>
                    <a:pt x="244" y="43"/>
                  </a:cubicBezTo>
                  <a:cubicBezTo>
                    <a:pt x="230" y="20"/>
                    <a:pt x="210" y="4"/>
                    <a:pt x="185" y="3"/>
                  </a:cubicBezTo>
                  <a:close/>
                  <a:moveTo>
                    <a:pt x="184" y="42"/>
                  </a:moveTo>
                  <a:cubicBezTo>
                    <a:pt x="192" y="43"/>
                    <a:pt x="200" y="48"/>
                    <a:pt x="210" y="64"/>
                  </a:cubicBezTo>
                  <a:cubicBezTo>
                    <a:pt x="220" y="80"/>
                    <a:pt x="230" y="106"/>
                    <a:pt x="238" y="139"/>
                  </a:cubicBezTo>
                  <a:cubicBezTo>
                    <a:pt x="254" y="206"/>
                    <a:pt x="265" y="301"/>
                    <a:pt x="276" y="409"/>
                  </a:cubicBezTo>
                  <a:cubicBezTo>
                    <a:pt x="299" y="625"/>
                    <a:pt x="322" y="895"/>
                    <a:pt x="395" y="1109"/>
                  </a:cubicBezTo>
                  <a:cubicBezTo>
                    <a:pt x="414" y="1167"/>
                    <a:pt x="472" y="1387"/>
                    <a:pt x="518" y="1594"/>
                  </a:cubicBezTo>
                  <a:cubicBezTo>
                    <a:pt x="541" y="1698"/>
                    <a:pt x="561" y="1798"/>
                    <a:pt x="572" y="1874"/>
                  </a:cubicBezTo>
                  <a:cubicBezTo>
                    <a:pt x="578" y="1912"/>
                    <a:pt x="581" y="1943"/>
                    <a:pt x="582" y="1965"/>
                  </a:cubicBezTo>
                  <a:cubicBezTo>
                    <a:pt x="582" y="1976"/>
                    <a:pt x="581" y="1985"/>
                    <a:pt x="580" y="1989"/>
                  </a:cubicBezTo>
                  <a:cubicBezTo>
                    <a:pt x="578" y="1991"/>
                    <a:pt x="576" y="1992"/>
                    <a:pt x="571" y="1988"/>
                  </a:cubicBezTo>
                  <a:cubicBezTo>
                    <a:pt x="564" y="1983"/>
                    <a:pt x="554" y="1972"/>
                    <a:pt x="544" y="1959"/>
                  </a:cubicBezTo>
                  <a:cubicBezTo>
                    <a:pt x="534" y="1947"/>
                    <a:pt x="523" y="1932"/>
                    <a:pt x="511" y="1920"/>
                  </a:cubicBezTo>
                  <a:cubicBezTo>
                    <a:pt x="498" y="1909"/>
                    <a:pt x="480" y="1898"/>
                    <a:pt x="459" y="1901"/>
                  </a:cubicBezTo>
                  <a:lnTo>
                    <a:pt x="459" y="1901"/>
                  </a:lnTo>
                  <a:lnTo>
                    <a:pt x="459" y="1902"/>
                  </a:lnTo>
                  <a:cubicBezTo>
                    <a:pt x="437" y="1906"/>
                    <a:pt x="422" y="1921"/>
                    <a:pt x="415" y="1937"/>
                  </a:cubicBezTo>
                  <a:cubicBezTo>
                    <a:pt x="407" y="1952"/>
                    <a:pt x="404" y="1967"/>
                    <a:pt x="399" y="1981"/>
                  </a:cubicBezTo>
                  <a:cubicBezTo>
                    <a:pt x="395" y="1994"/>
                    <a:pt x="390" y="2005"/>
                    <a:pt x="382" y="2012"/>
                  </a:cubicBezTo>
                  <a:cubicBezTo>
                    <a:pt x="374" y="2019"/>
                    <a:pt x="363" y="2024"/>
                    <a:pt x="340" y="2024"/>
                  </a:cubicBezTo>
                  <a:cubicBezTo>
                    <a:pt x="344" y="2024"/>
                    <a:pt x="344" y="2025"/>
                    <a:pt x="341" y="2023"/>
                  </a:cubicBezTo>
                  <a:cubicBezTo>
                    <a:pt x="339" y="2021"/>
                    <a:pt x="335" y="2017"/>
                    <a:pt x="331" y="2011"/>
                  </a:cubicBezTo>
                  <a:cubicBezTo>
                    <a:pt x="322" y="1998"/>
                    <a:pt x="311" y="1978"/>
                    <a:pt x="299" y="1952"/>
                  </a:cubicBezTo>
                  <a:cubicBezTo>
                    <a:pt x="275" y="1901"/>
                    <a:pt x="247" y="1825"/>
                    <a:pt x="220" y="1732"/>
                  </a:cubicBezTo>
                  <a:cubicBezTo>
                    <a:pt x="165" y="1547"/>
                    <a:pt x="110" y="1296"/>
                    <a:pt x="86" y="1031"/>
                  </a:cubicBezTo>
                  <a:cubicBezTo>
                    <a:pt x="61" y="766"/>
                    <a:pt x="40" y="511"/>
                    <a:pt x="50" y="326"/>
                  </a:cubicBezTo>
                  <a:cubicBezTo>
                    <a:pt x="55" y="234"/>
                    <a:pt x="68" y="159"/>
                    <a:pt x="91" y="110"/>
                  </a:cubicBezTo>
                  <a:cubicBezTo>
                    <a:pt x="113" y="62"/>
                    <a:pt x="140" y="40"/>
                    <a:pt x="184"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80"/>
            <p:cNvSpPr>
              <a:spLocks noEditPoints="1"/>
            </p:cNvSpPr>
            <p:nvPr/>
          </p:nvSpPr>
          <p:spPr bwMode="auto">
            <a:xfrm>
              <a:off x="7167563" y="3692526"/>
              <a:ext cx="331787" cy="423863"/>
            </a:xfrm>
            <a:custGeom>
              <a:avLst/>
              <a:gdLst>
                <a:gd name="T0" fmla="*/ 57 w 677"/>
                <a:gd name="T1" fmla="*/ 1 h 868"/>
                <a:gd name="T2" fmla="*/ 22 w 677"/>
                <a:gd name="T3" fmla="*/ 17 h 868"/>
                <a:gd name="T4" fmla="*/ 1 w 677"/>
                <a:gd name="T5" fmla="*/ 89 h 868"/>
                <a:gd name="T6" fmla="*/ 16 w 677"/>
                <a:gd name="T7" fmla="*/ 191 h 868"/>
                <a:gd name="T8" fmla="*/ 105 w 677"/>
                <a:gd name="T9" fmla="*/ 458 h 868"/>
                <a:gd name="T10" fmla="*/ 218 w 677"/>
                <a:gd name="T11" fmla="*/ 717 h 868"/>
                <a:gd name="T12" fmla="*/ 264 w 677"/>
                <a:gd name="T13" fmla="*/ 807 h 868"/>
                <a:gd name="T14" fmla="*/ 296 w 677"/>
                <a:gd name="T15" fmla="*/ 856 h 868"/>
                <a:gd name="T16" fmla="*/ 308 w 677"/>
                <a:gd name="T17" fmla="*/ 866 h 868"/>
                <a:gd name="T18" fmla="*/ 320 w 677"/>
                <a:gd name="T19" fmla="*/ 868 h 868"/>
                <a:gd name="T20" fmla="*/ 335 w 677"/>
                <a:gd name="T21" fmla="*/ 861 h 868"/>
                <a:gd name="T22" fmla="*/ 342 w 677"/>
                <a:gd name="T23" fmla="*/ 844 h 868"/>
                <a:gd name="T24" fmla="*/ 343 w 677"/>
                <a:gd name="T25" fmla="*/ 831 h 868"/>
                <a:gd name="T26" fmla="*/ 341 w 677"/>
                <a:gd name="T27" fmla="*/ 758 h 868"/>
                <a:gd name="T28" fmla="*/ 446 w 677"/>
                <a:gd name="T29" fmla="*/ 570 h 868"/>
                <a:gd name="T30" fmla="*/ 492 w 677"/>
                <a:gd name="T31" fmla="*/ 578 h 868"/>
                <a:gd name="T32" fmla="*/ 547 w 677"/>
                <a:gd name="T33" fmla="*/ 626 h 868"/>
                <a:gd name="T34" fmla="*/ 607 w 677"/>
                <a:gd name="T35" fmla="*/ 665 h 868"/>
                <a:gd name="T36" fmla="*/ 645 w 677"/>
                <a:gd name="T37" fmla="*/ 652 h 868"/>
                <a:gd name="T38" fmla="*/ 668 w 677"/>
                <a:gd name="T39" fmla="*/ 612 h 868"/>
                <a:gd name="T40" fmla="*/ 658 w 677"/>
                <a:gd name="T41" fmla="*/ 535 h 868"/>
                <a:gd name="T42" fmla="*/ 602 w 677"/>
                <a:gd name="T43" fmla="*/ 441 h 868"/>
                <a:gd name="T44" fmla="*/ 411 w 677"/>
                <a:gd name="T45" fmla="*/ 224 h 868"/>
                <a:gd name="T46" fmla="*/ 192 w 677"/>
                <a:gd name="T47" fmla="*/ 47 h 868"/>
                <a:gd name="T48" fmla="*/ 98 w 677"/>
                <a:gd name="T49" fmla="*/ 4 h 868"/>
                <a:gd name="T50" fmla="*/ 57 w 677"/>
                <a:gd name="T51" fmla="*/ 1 h 868"/>
                <a:gd name="T52" fmla="*/ 63 w 677"/>
                <a:gd name="T53" fmla="*/ 41 h 868"/>
                <a:gd name="T54" fmla="*/ 89 w 677"/>
                <a:gd name="T55" fmla="*/ 43 h 868"/>
                <a:gd name="T56" fmla="*/ 171 w 677"/>
                <a:gd name="T57" fmla="*/ 81 h 868"/>
                <a:gd name="T58" fmla="*/ 383 w 677"/>
                <a:gd name="T59" fmla="*/ 253 h 868"/>
                <a:gd name="T60" fmla="*/ 569 w 677"/>
                <a:gd name="T61" fmla="*/ 464 h 868"/>
                <a:gd name="T62" fmla="*/ 621 w 677"/>
                <a:gd name="T63" fmla="*/ 551 h 868"/>
                <a:gd name="T64" fmla="*/ 631 w 677"/>
                <a:gd name="T65" fmla="*/ 598 h 868"/>
                <a:gd name="T66" fmla="*/ 617 w 677"/>
                <a:gd name="T67" fmla="*/ 623 h 868"/>
                <a:gd name="T68" fmla="*/ 613 w 677"/>
                <a:gd name="T69" fmla="*/ 625 h 868"/>
                <a:gd name="T70" fmla="*/ 575 w 677"/>
                <a:gd name="T71" fmla="*/ 597 h 868"/>
                <a:gd name="T72" fmla="*/ 514 w 677"/>
                <a:gd name="T73" fmla="*/ 544 h 868"/>
                <a:gd name="T74" fmla="*/ 429 w 677"/>
                <a:gd name="T75" fmla="*/ 533 h 868"/>
                <a:gd name="T76" fmla="*/ 427 w 677"/>
                <a:gd name="T77" fmla="*/ 534 h 868"/>
                <a:gd name="T78" fmla="*/ 426 w 677"/>
                <a:gd name="T79" fmla="*/ 535 h 868"/>
                <a:gd name="T80" fmla="*/ 301 w 677"/>
                <a:gd name="T81" fmla="*/ 756 h 868"/>
                <a:gd name="T82" fmla="*/ 302 w 677"/>
                <a:gd name="T83" fmla="*/ 793 h 868"/>
                <a:gd name="T84" fmla="*/ 299 w 677"/>
                <a:gd name="T85" fmla="*/ 788 h 868"/>
                <a:gd name="T86" fmla="*/ 254 w 677"/>
                <a:gd name="T87" fmla="*/ 699 h 868"/>
                <a:gd name="T88" fmla="*/ 142 w 677"/>
                <a:gd name="T89" fmla="*/ 443 h 868"/>
                <a:gd name="T90" fmla="*/ 55 w 677"/>
                <a:gd name="T91" fmla="*/ 182 h 868"/>
                <a:gd name="T92" fmla="*/ 41 w 677"/>
                <a:gd name="T93" fmla="*/ 88 h 868"/>
                <a:gd name="T94" fmla="*/ 49 w 677"/>
                <a:gd name="T95" fmla="*/ 47 h 868"/>
                <a:gd name="T96" fmla="*/ 63 w 677"/>
                <a:gd name="T97" fmla="*/ 41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7" h="868">
                  <a:moveTo>
                    <a:pt x="57" y="1"/>
                  </a:moveTo>
                  <a:cubicBezTo>
                    <a:pt x="44" y="3"/>
                    <a:pt x="32" y="8"/>
                    <a:pt x="22" y="17"/>
                  </a:cubicBezTo>
                  <a:cubicBezTo>
                    <a:pt x="4" y="34"/>
                    <a:pt x="0" y="60"/>
                    <a:pt x="1" y="89"/>
                  </a:cubicBezTo>
                  <a:cubicBezTo>
                    <a:pt x="1" y="118"/>
                    <a:pt x="7" y="152"/>
                    <a:pt x="16" y="191"/>
                  </a:cubicBezTo>
                  <a:cubicBezTo>
                    <a:pt x="35" y="269"/>
                    <a:pt x="68" y="364"/>
                    <a:pt x="105" y="458"/>
                  </a:cubicBezTo>
                  <a:cubicBezTo>
                    <a:pt x="142" y="552"/>
                    <a:pt x="183" y="644"/>
                    <a:pt x="218" y="717"/>
                  </a:cubicBezTo>
                  <a:cubicBezTo>
                    <a:pt x="235" y="753"/>
                    <a:pt x="251" y="784"/>
                    <a:pt x="264" y="807"/>
                  </a:cubicBezTo>
                  <a:cubicBezTo>
                    <a:pt x="277" y="831"/>
                    <a:pt x="285" y="846"/>
                    <a:pt x="296" y="856"/>
                  </a:cubicBezTo>
                  <a:cubicBezTo>
                    <a:pt x="299" y="860"/>
                    <a:pt x="302" y="863"/>
                    <a:pt x="308" y="866"/>
                  </a:cubicBezTo>
                  <a:cubicBezTo>
                    <a:pt x="311" y="867"/>
                    <a:pt x="315" y="868"/>
                    <a:pt x="320" y="868"/>
                  </a:cubicBezTo>
                  <a:cubicBezTo>
                    <a:pt x="326" y="868"/>
                    <a:pt x="332" y="865"/>
                    <a:pt x="335" y="861"/>
                  </a:cubicBezTo>
                  <a:cubicBezTo>
                    <a:pt x="342" y="854"/>
                    <a:pt x="342" y="849"/>
                    <a:pt x="342" y="844"/>
                  </a:cubicBezTo>
                  <a:cubicBezTo>
                    <a:pt x="343" y="840"/>
                    <a:pt x="343" y="836"/>
                    <a:pt x="343" y="831"/>
                  </a:cubicBezTo>
                  <a:cubicBezTo>
                    <a:pt x="342" y="813"/>
                    <a:pt x="340" y="788"/>
                    <a:pt x="341" y="758"/>
                  </a:cubicBezTo>
                  <a:cubicBezTo>
                    <a:pt x="344" y="698"/>
                    <a:pt x="361" y="623"/>
                    <a:pt x="446" y="570"/>
                  </a:cubicBezTo>
                  <a:cubicBezTo>
                    <a:pt x="462" y="563"/>
                    <a:pt x="475" y="567"/>
                    <a:pt x="492" y="578"/>
                  </a:cubicBezTo>
                  <a:cubicBezTo>
                    <a:pt x="510" y="589"/>
                    <a:pt x="529" y="608"/>
                    <a:pt x="547" y="626"/>
                  </a:cubicBezTo>
                  <a:cubicBezTo>
                    <a:pt x="565" y="643"/>
                    <a:pt x="581" y="661"/>
                    <a:pt x="607" y="665"/>
                  </a:cubicBezTo>
                  <a:cubicBezTo>
                    <a:pt x="620" y="667"/>
                    <a:pt x="634" y="662"/>
                    <a:pt x="645" y="652"/>
                  </a:cubicBezTo>
                  <a:cubicBezTo>
                    <a:pt x="655" y="643"/>
                    <a:pt x="662" y="629"/>
                    <a:pt x="668" y="612"/>
                  </a:cubicBezTo>
                  <a:cubicBezTo>
                    <a:pt x="677" y="588"/>
                    <a:pt x="670" y="563"/>
                    <a:pt x="658" y="535"/>
                  </a:cubicBezTo>
                  <a:cubicBezTo>
                    <a:pt x="645" y="507"/>
                    <a:pt x="626" y="475"/>
                    <a:pt x="602" y="441"/>
                  </a:cubicBezTo>
                  <a:cubicBezTo>
                    <a:pt x="554" y="373"/>
                    <a:pt x="485" y="295"/>
                    <a:pt x="411" y="224"/>
                  </a:cubicBezTo>
                  <a:cubicBezTo>
                    <a:pt x="337" y="153"/>
                    <a:pt x="259" y="88"/>
                    <a:pt x="192" y="47"/>
                  </a:cubicBezTo>
                  <a:cubicBezTo>
                    <a:pt x="158" y="26"/>
                    <a:pt x="127" y="11"/>
                    <a:pt x="98" y="4"/>
                  </a:cubicBezTo>
                  <a:cubicBezTo>
                    <a:pt x="84" y="1"/>
                    <a:pt x="70" y="0"/>
                    <a:pt x="57" y="1"/>
                  </a:cubicBezTo>
                  <a:close/>
                  <a:moveTo>
                    <a:pt x="63" y="41"/>
                  </a:moveTo>
                  <a:cubicBezTo>
                    <a:pt x="70" y="40"/>
                    <a:pt x="78" y="41"/>
                    <a:pt x="89" y="43"/>
                  </a:cubicBezTo>
                  <a:cubicBezTo>
                    <a:pt x="110" y="48"/>
                    <a:pt x="139" y="62"/>
                    <a:pt x="171" y="81"/>
                  </a:cubicBezTo>
                  <a:cubicBezTo>
                    <a:pt x="234" y="120"/>
                    <a:pt x="311" y="183"/>
                    <a:pt x="383" y="253"/>
                  </a:cubicBezTo>
                  <a:cubicBezTo>
                    <a:pt x="455" y="322"/>
                    <a:pt x="523" y="399"/>
                    <a:pt x="569" y="464"/>
                  </a:cubicBezTo>
                  <a:cubicBezTo>
                    <a:pt x="593" y="497"/>
                    <a:pt x="611" y="527"/>
                    <a:pt x="621" y="551"/>
                  </a:cubicBezTo>
                  <a:cubicBezTo>
                    <a:pt x="631" y="575"/>
                    <a:pt x="633" y="593"/>
                    <a:pt x="631" y="598"/>
                  </a:cubicBezTo>
                  <a:cubicBezTo>
                    <a:pt x="625" y="613"/>
                    <a:pt x="620" y="621"/>
                    <a:pt x="617" y="623"/>
                  </a:cubicBezTo>
                  <a:cubicBezTo>
                    <a:pt x="614" y="626"/>
                    <a:pt x="615" y="626"/>
                    <a:pt x="613" y="625"/>
                  </a:cubicBezTo>
                  <a:cubicBezTo>
                    <a:pt x="608" y="625"/>
                    <a:pt x="592" y="614"/>
                    <a:pt x="575" y="597"/>
                  </a:cubicBezTo>
                  <a:cubicBezTo>
                    <a:pt x="557" y="580"/>
                    <a:pt x="537" y="559"/>
                    <a:pt x="514" y="544"/>
                  </a:cubicBezTo>
                  <a:cubicBezTo>
                    <a:pt x="490" y="529"/>
                    <a:pt x="459" y="520"/>
                    <a:pt x="429" y="533"/>
                  </a:cubicBezTo>
                  <a:lnTo>
                    <a:pt x="427" y="534"/>
                  </a:lnTo>
                  <a:lnTo>
                    <a:pt x="426" y="535"/>
                  </a:lnTo>
                  <a:cubicBezTo>
                    <a:pt x="328" y="596"/>
                    <a:pt x="304" y="688"/>
                    <a:pt x="301" y="756"/>
                  </a:cubicBezTo>
                  <a:cubicBezTo>
                    <a:pt x="300" y="772"/>
                    <a:pt x="301" y="780"/>
                    <a:pt x="302" y="793"/>
                  </a:cubicBezTo>
                  <a:cubicBezTo>
                    <a:pt x="300" y="790"/>
                    <a:pt x="300" y="791"/>
                    <a:pt x="299" y="788"/>
                  </a:cubicBezTo>
                  <a:cubicBezTo>
                    <a:pt x="287" y="765"/>
                    <a:pt x="271" y="735"/>
                    <a:pt x="254" y="699"/>
                  </a:cubicBezTo>
                  <a:cubicBezTo>
                    <a:pt x="220" y="628"/>
                    <a:pt x="179" y="536"/>
                    <a:pt x="142" y="443"/>
                  </a:cubicBezTo>
                  <a:cubicBezTo>
                    <a:pt x="106" y="350"/>
                    <a:pt x="73" y="256"/>
                    <a:pt x="55" y="182"/>
                  </a:cubicBezTo>
                  <a:cubicBezTo>
                    <a:pt x="46" y="144"/>
                    <a:pt x="41" y="112"/>
                    <a:pt x="41" y="88"/>
                  </a:cubicBezTo>
                  <a:cubicBezTo>
                    <a:pt x="40" y="64"/>
                    <a:pt x="46" y="50"/>
                    <a:pt x="49" y="47"/>
                  </a:cubicBezTo>
                  <a:cubicBezTo>
                    <a:pt x="52" y="44"/>
                    <a:pt x="57" y="41"/>
                    <a:pt x="63"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81"/>
            <p:cNvSpPr>
              <a:spLocks noEditPoints="1"/>
            </p:cNvSpPr>
            <p:nvPr/>
          </p:nvSpPr>
          <p:spPr bwMode="auto">
            <a:xfrm>
              <a:off x="8262938" y="5173663"/>
              <a:ext cx="368300" cy="269875"/>
            </a:xfrm>
            <a:custGeom>
              <a:avLst/>
              <a:gdLst>
                <a:gd name="T0" fmla="*/ 53 w 756"/>
                <a:gd name="T1" fmla="*/ 1 h 554"/>
                <a:gd name="T2" fmla="*/ 32 w 756"/>
                <a:gd name="T3" fmla="*/ 8 h 554"/>
                <a:gd name="T4" fmla="*/ 27 w 756"/>
                <a:gd name="T5" fmla="*/ 11 h 554"/>
                <a:gd name="T6" fmla="*/ 24 w 756"/>
                <a:gd name="T7" fmla="*/ 16 h 554"/>
                <a:gd name="T8" fmla="*/ 57 w 756"/>
                <a:gd name="T9" fmla="*/ 191 h 554"/>
                <a:gd name="T10" fmla="*/ 266 w 756"/>
                <a:gd name="T11" fmla="*/ 433 h 554"/>
                <a:gd name="T12" fmla="*/ 586 w 756"/>
                <a:gd name="T13" fmla="*/ 547 h 554"/>
                <a:gd name="T14" fmla="*/ 706 w 756"/>
                <a:gd name="T15" fmla="*/ 518 h 554"/>
                <a:gd name="T16" fmla="*/ 742 w 756"/>
                <a:gd name="T17" fmla="*/ 490 h 554"/>
                <a:gd name="T18" fmla="*/ 753 w 756"/>
                <a:gd name="T19" fmla="*/ 449 h 554"/>
                <a:gd name="T20" fmla="*/ 751 w 756"/>
                <a:gd name="T21" fmla="*/ 440 h 554"/>
                <a:gd name="T22" fmla="*/ 743 w 756"/>
                <a:gd name="T23" fmla="*/ 436 h 554"/>
                <a:gd name="T24" fmla="*/ 390 w 756"/>
                <a:gd name="T25" fmla="*/ 239 h 554"/>
                <a:gd name="T26" fmla="*/ 206 w 756"/>
                <a:gd name="T27" fmla="*/ 87 h 554"/>
                <a:gd name="T28" fmla="*/ 116 w 756"/>
                <a:gd name="T29" fmla="*/ 19 h 554"/>
                <a:gd name="T30" fmla="*/ 74 w 756"/>
                <a:gd name="T31" fmla="*/ 2 h 554"/>
                <a:gd name="T32" fmla="*/ 53 w 756"/>
                <a:gd name="T33" fmla="*/ 1 h 554"/>
                <a:gd name="T34" fmla="*/ 67 w 756"/>
                <a:gd name="T35" fmla="*/ 41 h 554"/>
                <a:gd name="T36" fmla="*/ 97 w 756"/>
                <a:gd name="T37" fmla="*/ 53 h 554"/>
                <a:gd name="T38" fmla="*/ 179 w 756"/>
                <a:gd name="T39" fmla="*/ 117 h 554"/>
                <a:gd name="T40" fmla="*/ 370 w 756"/>
                <a:gd name="T41" fmla="*/ 274 h 554"/>
                <a:gd name="T42" fmla="*/ 711 w 756"/>
                <a:gd name="T43" fmla="*/ 464 h 554"/>
                <a:gd name="T44" fmla="*/ 711 w 756"/>
                <a:gd name="T45" fmla="*/ 465 h 554"/>
                <a:gd name="T46" fmla="*/ 687 w 756"/>
                <a:gd name="T47" fmla="*/ 482 h 554"/>
                <a:gd name="T48" fmla="*/ 584 w 756"/>
                <a:gd name="T49" fmla="*/ 507 h 554"/>
                <a:gd name="T50" fmla="*/ 293 w 756"/>
                <a:gd name="T51" fmla="*/ 404 h 554"/>
                <a:gd name="T52" fmla="*/ 91 w 756"/>
                <a:gd name="T53" fmla="*/ 171 h 554"/>
                <a:gd name="T54" fmla="*/ 57 w 756"/>
                <a:gd name="T55" fmla="*/ 42 h 554"/>
                <a:gd name="T56" fmla="*/ 67 w 756"/>
                <a:gd name="T57" fmla="*/ 4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6" h="554">
                  <a:moveTo>
                    <a:pt x="53" y="1"/>
                  </a:moveTo>
                  <a:cubicBezTo>
                    <a:pt x="46" y="2"/>
                    <a:pt x="39" y="4"/>
                    <a:pt x="32" y="8"/>
                  </a:cubicBezTo>
                  <a:lnTo>
                    <a:pt x="27" y="11"/>
                  </a:lnTo>
                  <a:lnTo>
                    <a:pt x="24" y="16"/>
                  </a:lnTo>
                  <a:cubicBezTo>
                    <a:pt x="0" y="61"/>
                    <a:pt x="15" y="121"/>
                    <a:pt x="57" y="191"/>
                  </a:cubicBezTo>
                  <a:cubicBezTo>
                    <a:pt x="98" y="261"/>
                    <a:pt x="168" y="343"/>
                    <a:pt x="266" y="433"/>
                  </a:cubicBezTo>
                  <a:cubicBezTo>
                    <a:pt x="368" y="528"/>
                    <a:pt x="491" y="554"/>
                    <a:pt x="586" y="547"/>
                  </a:cubicBezTo>
                  <a:cubicBezTo>
                    <a:pt x="634" y="544"/>
                    <a:pt x="676" y="533"/>
                    <a:pt x="706" y="518"/>
                  </a:cubicBezTo>
                  <a:cubicBezTo>
                    <a:pt x="721" y="510"/>
                    <a:pt x="733" y="501"/>
                    <a:pt x="742" y="490"/>
                  </a:cubicBezTo>
                  <a:cubicBezTo>
                    <a:pt x="751" y="479"/>
                    <a:pt x="756" y="464"/>
                    <a:pt x="753" y="449"/>
                  </a:cubicBezTo>
                  <a:lnTo>
                    <a:pt x="751" y="440"/>
                  </a:lnTo>
                  <a:lnTo>
                    <a:pt x="743" y="436"/>
                  </a:lnTo>
                  <a:cubicBezTo>
                    <a:pt x="743" y="436"/>
                    <a:pt x="506" y="306"/>
                    <a:pt x="390" y="239"/>
                  </a:cubicBezTo>
                  <a:cubicBezTo>
                    <a:pt x="337" y="208"/>
                    <a:pt x="268" y="142"/>
                    <a:pt x="206" y="87"/>
                  </a:cubicBezTo>
                  <a:cubicBezTo>
                    <a:pt x="175" y="59"/>
                    <a:pt x="145" y="35"/>
                    <a:pt x="116" y="19"/>
                  </a:cubicBezTo>
                  <a:cubicBezTo>
                    <a:pt x="102" y="11"/>
                    <a:pt x="89" y="5"/>
                    <a:pt x="74" y="2"/>
                  </a:cubicBezTo>
                  <a:cubicBezTo>
                    <a:pt x="67" y="1"/>
                    <a:pt x="60" y="0"/>
                    <a:pt x="53" y="1"/>
                  </a:cubicBezTo>
                  <a:close/>
                  <a:moveTo>
                    <a:pt x="67" y="41"/>
                  </a:moveTo>
                  <a:cubicBezTo>
                    <a:pt x="75" y="43"/>
                    <a:pt x="85" y="47"/>
                    <a:pt x="97" y="53"/>
                  </a:cubicBezTo>
                  <a:cubicBezTo>
                    <a:pt x="120" y="67"/>
                    <a:pt x="149" y="90"/>
                    <a:pt x="179" y="117"/>
                  </a:cubicBezTo>
                  <a:cubicBezTo>
                    <a:pt x="241" y="170"/>
                    <a:pt x="308" y="238"/>
                    <a:pt x="370" y="274"/>
                  </a:cubicBezTo>
                  <a:cubicBezTo>
                    <a:pt x="482" y="338"/>
                    <a:pt x="695" y="455"/>
                    <a:pt x="711" y="464"/>
                  </a:cubicBezTo>
                  <a:cubicBezTo>
                    <a:pt x="711" y="464"/>
                    <a:pt x="711" y="464"/>
                    <a:pt x="711" y="465"/>
                  </a:cubicBezTo>
                  <a:cubicBezTo>
                    <a:pt x="707" y="470"/>
                    <a:pt x="699" y="476"/>
                    <a:pt x="687" y="482"/>
                  </a:cubicBezTo>
                  <a:cubicBezTo>
                    <a:pt x="664" y="494"/>
                    <a:pt x="627" y="505"/>
                    <a:pt x="584" y="507"/>
                  </a:cubicBezTo>
                  <a:cubicBezTo>
                    <a:pt x="497" y="513"/>
                    <a:pt x="386" y="490"/>
                    <a:pt x="293" y="404"/>
                  </a:cubicBezTo>
                  <a:cubicBezTo>
                    <a:pt x="197" y="316"/>
                    <a:pt x="130" y="236"/>
                    <a:pt x="91" y="171"/>
                  </a:cubicBezTo>
                  <a:cubicBezTo>
                    <a:pt x="56" y="111"/>
                    <a:pt x="48" y="68"/>
                    <a:pt x="57" y="42"/>
                  </a:cubicBezTo>
                  <a:cubicBezTo>
                    <a:pt x="60" y="41"/>
                    <a:pt x="62" y="40"/>
                    <a:pt x="6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82"/>
            <p:cNvSpPr>
              <a:spLocks noEditPoints="1"/>
            </p:cNvSpPr>
            <p:nvPr/>
          </p:nvSpPr>
          <p:spPr bwMode="auto">
            <a:xfrm>
              <a:off x="7699375" y="5549901"/>
              <a:ext cx="376237" cy="271463"/>
            </a:xfrm>
            <a:custGeom>
              <a:avLst/>
              <a:gdLst>
                <a:gd name="T0" fmla="*/ 97 w 769"/>
                <a:gd name="T1" fmla="*/ 2 h 557"/>
                <a:gd name="T2" fmla="*/ 46 w 769"/>
                <a:gd name="T3" fmla="*/ 10 h 557"/>
                <a:gd name="T4" fmla="*/ 42 w 769"/>
                <a:gd name="T5" fmla="*/ 12 h 557"/>
                <a:gd name="T6" fmla="*/ 39 w 769"/>
                <a:gd name="T7" fmla="*/ 16 h 557"/>
                <a:gd name="T8" fmla="*/ 3 w 769"/>
                <a:gd name="T9" fmla="*/ 117 h 557"/>
                <a:gd name="T10" fmla="*/ 48 w 769"/>
                <a:gd name="T11" fmla="*/ 215 h 557"/>
                <a:gd name="T12" fmla="*/ 278 w 769"/>
                <a:gd name="T13" fmla="*/ 437 h 557"/>
                <a:gd name="T14" fmla="*/ 599 w 769"/>
                <a:gd name="T15" fmla="*/ 551 h 557"/>
                <a:gd name="T16" fmla="*/ 718 w 769"/>
                <a:gd name="T17" fmla="*/ 521 h 557"/>
                <a:gd name="T18" fmla="*/ 754 w 769"/>
                <a:gd name="T19" fmla="*/ 493 h 557"/>
                <a:gd name="T20" fmla="*/ 765 w 769"/>
                <a:gd name="T21" fmla="*/ 452 h 557"/>
                <a:gd name="T22" fmla="*/ 763 w 769"/>
                <a:gd name="T23" fmla="*/ 443 h 557"/>
                <a:gd name="T24" fmla="*/ 755 w 769"/>
                <a:gd name="T25" fmla="*/ 439 h 557"/>
                <a:gd name="T26" fmla="*/ 403 w 769"/>
                <a:gd name="T27" fmla="*/ 243 h 557"/>
                <a:gd name="T28" fmla="*/ 236 w 769"/>
                <a:gd name="T29" fmla="*/ 86 h 557"/>
                <a:gd name="T30" fmla="*/ 147 w 769"/>
                <a:gd name="T31" fmla="*/ 16 h 557"/>
                <a:gd name="T32" fmla="*/ 97 w 769"/>
                <a:gd name="T33" fmla="*/ 2 h 557"/>
                <a:gd name="T34" fmla="*/ 95 w 769"/>
                <a:gd name="T35" fmla="*/ 41 h 557"/>
                <a:gd name="T36" fmla="*/ 129 w 769"/>
                <a:gd name="T37" fmla="*/ 52 h 557"/>
                <a:gd name="T38" fmla="*/ 208 w 769"/>
                <a:gd name="T39" fmla="*/ 115 h 557"/>
                <a:gd name="T40" fmla="*/ 383 w 769"/>
                <a:gd name="T41" fmla="*/ 277 h 557"/>
                <a:gd name="T42" fmla="*/ 724 w 769"/>
                <a:gd name="T43" fmla="*/ 467 h 557"/>
                <a:gd name="T44" fmla="*/ 723 w 769"/>
                <a:gd name="T45" fmla="*/ 468 h 557"/>
                <a:gd name="T46" fmla="*/ 700 w 769"/>
                <a:gd name="T47" fmla="*/ 486 h 557"/>
                <a:gd name="T48" fmla="*/ 596 w 769"/>
                <a:gd name="T49" fmla="*/ 511 h 557"/>
                <a:gd name="T50" fmla="*/ 305 w 769"/>
                <a:gd name="T51" fmla="*/ 407 h 557"/>
                <a:gd name="T52" fmla="*/ 79 w 769"/>
                <a:gd name="T53" fmla="*/ 191 h 557"/>
                <a:gd name="T54" fmla="*/ 42 w 769"/>
                <a:gd name="T55" fmla="*/ 113 h 557"/>
                <a:gd name="T56" fmla="*/ 67 w 769"/>
                <a:gd name="T57" fmla="*/ 46 h 557"/>
                <a:gd name="T58" fmla="*/ 95 w 769"/>
                <a:gd name="T5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9" h="557">
                  <a:moveTo>
                    <a:pt x="97" y="2"/>
                  </a:moveTo>
                  <a:cubicBezTo>
                    <a:pt x="80" y="0"/>
                    <a:pt x="63" y="3"/>
                    <a:pt x="46" y="10"/>
                  </a:cubicBezTo>
                  <a:lnTo>
                    <a:pt x="42" y="12"/>
                  </a:lnTo>
                  <a:lnTo>
                    <a:pt x="39" y="16"/>
                  </a:lnTo>
                  <a:cubicBezTo>
                    <a:pt x="12" y="48"/>
                    <a:pt x="0" y="83"/>
                    <a:pt x="3" y="117"/>
                  </a:cubicBezTo>
                  <a:cubicBezTo>
                    <a:pt x="6" y="151"/>
                    <a:pt x="23" y="183"/>
                    <a:pt x="48" y="215"/>
                  </a:cubicBezTo>
                  <a:cubicBezTo>
                    <a:pt x="98" y="280"/>
                    <a:pt x="182" y="348"/>
                    <a:pt x="278" y="437"/>
                  </a:cubicBezTo>
                  <a:cubicBezTo>
                    <a:pt x="380" y="531"/>
                    <a:pt x="503" y="557"/>
                    <a:pt x="599" y="551"/>
                  </a:cubicBezTo>
                  <a:cubicBezTo>
                    <a:pt x="647" y="548"/>
                    <a:pt x="688" y="537"/>
                    <a:pt x="718" y="521"/>
                  </a:cubicBezTo>
                  <a:cubicBezTo>
                    <a:pt x="733" y="513"/>
                    <a:pt x="745" y="504"/>
                    <a:pt x="754" y="493"/>
                  </a:cubicBezTo>
                  <a:cubicBezTo>
                    <a:pt x="763" y="482"/>
                    <a:pt x="769" y="467"/>
                    <a:pt x="765" y="452"/>
                  </a:cubicBezTo>
                  <a:lnTo>
                    <a:pt x="763" y="443"/>
                  </a:lnTo>
                  <a:lnTo>
                    <a:pt x="755" y="439"/>
                  </a:lnTo>
                  <a:cubicBezTo>
                    <a:pt x="755" y="439"/>
                    <a:pt x="518" y="309"/>
                    <a:pt x="403" y="243"/>
                  </a:cubicBezTo>
                  <a:cubicBezTo>
                    <a:pt x="351" y="213"/>
                    <a:pt x="293" y="143"/>
                    <a:pt x="236" y="86"/>
                  </a:cubicBezTo>
                  <a:cubicBezTo>
                    <a:pt x="207" y="58"/>
                    <a:pt x="178" y="32"/>
                    <a:pt x="147" y="16"/>
                  </a:cubicBezTo>
                  <a:cubicBezTo>
                    <a:pt x="131" y="8"/>
                    <a:pt x="115" y="3"/>
                    <a:pt x="97" y="2"/>
                  </a:cubicBezTo>
                  <a:close/>
                  <a:moveTo>
                    <a:pt x="95" y="41"/>
                  </a:moveTo>
                  <a:cubicBezTo>
                    <a:pt x="105" y="42"/>
                    <a:pt x="117" y="46"/>
                    <a:pt x="129" y="52"/>
                  </a:cubicBezTo>
                  <a:cubicBezTo>
                    <a:pt x="153" y="65"/>
                    <a:pt x="180" y="87"/>
                    <a:pt x="208" y="115"/>
                  </a:cubicBezTo>
                  <a:cubicBezTo>
                    <a:pt x="263" y="169"/>
                    <a:pt x="319" y="241"/>
                    <a:pt x="383" y="277"/>
                  </a:cubicBezTo>
                  <a:cubicBezTo>
                    <a:pt x="495" y="342"/>
                    <a:pt x="708" y="459"/>
                    <a:pt x="724" y="467"/>
                  </a:cubicBezTo>
                  <a:cubicBezTo>
                    <a:pt x="723" y="468"/>
                    <a:pt x="724" y="468"/>
                    <a:pt x="723" y="468"/>
                  </a:cubicBezTo>
                  <a:cubicBezTo>
                    <a:pt x="719" y="473"/>
                    <a:pt x="711" y="480"/>
                    <a:pt x="700" y="486"/>
                  </a:cubicBezTo>
                  <a:cubicBezTo>
                    <a:pt x="676" y="498"/>
                    <a:pt x="639" y="508"/>
                    <a:pt x="596" y="511"/>
                  </a:cubicBezTo>
                  <a:cubicBezTo>
                    <a:pt x="510" y="516"/>
                    <a:pt x="398" y="493"/>
                    <a:pt x="305" y="407"/>
                  </a:cubicBezTo>
                  <a:cubicBezTo>
                    <a:pt x="208" y="318"/>
                    <a:pt x="124" y="249"/>
                    <a:pt x="79" y="191"/>
                  </a:cubicBezTo>
                  <a:cubicBezTo>
                    <a:pt x="57" y="162"/>
                    <a:pt x="44" y="136"/>
                    <a:pt x="42" y="113"/>
                  </a:cubicBezTo>
                  <a:cubicBezTo>
                    <a:pt x="40" y="92"/>
                    <a:pt x="48" y="71"/>
                    <a:pt x="67" y="46"/>
                  </a:cubicBezTo>
                  <a:cubicBezTo>
                    <a:pt x="76" y="43"/>
                    <a:pt x="85" y="40"/>
                    <a:pt x="9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83"/>
            <p:cNvSpPr>
              <a:spLocks noEditPoints="1"/>
            </p:cNvSpPr>
            <p:nvPr/>
          </p:nvSpPr>
          <p:spPr bwMode="auto">
            <a:xfrm>
              <a:off x="7948613" y="4548188"/>
              <a:ext cx="428625" cy="744538"/>
            </a:xfrm>
            <a:custGeom>
              <a:avLst/>
              <a:gdLst>
                <a:gd name="T0" fmla="*/ 43 w 875"/>
                <a:gd name="T1" fmla="*/ 3 h 1522"/>
                <a:gd name="T2" fmla="*/ 24 w 875"/>
                <a:gd name="T3" fmla="*/ 16 h 1522"/>
                <a:gd name="T4" fmla="*/ 15 w 875"/>
                <a:gd name="T5" fmla="*/ 35 h 1522"/>
                <a:gd name="T6" fmla="*/ 4 w 875"/>
                <a:gd name="T7" fmla="*/ 87 h 1522"/>
                <a:gd name="T8" fmla="*/ 10 w 875"/>
                <a:gd name="T9" fmla="*/ 260 h 1522"/>
                <a:gd name="T10" fmla="*/ 179 w 875"/>
                <a:gd name="T11" fmla="*/ 800 h 1522"/>
                <a:gd name="T12" fmla="*/ 398 w 875"/>
                <a:gd name="T13" fmla="*/ 1217 h 1522"/>
                <a:gd name="T14" fmla="*/ 540 w 875"/>
                <a:gd name="T15" fmla="*/ 1436 h 1522"/>
                <a:gd name="T16" fmla="*/ 604 w 875"/>
                <a:gd name="T17" fmla="*/ 1502 h 1522"/>
                <a:gd name="T18" fmla="*/ 635 w 875"/>
                <a:gd name="T19" fmla="*/ 1519 h 1522"/>
                <a:gd name="T20" fmla="*/ 670 w 875"/>
                <a:gd name="T21" fmla="*/ 1517 h 1522"/>
                <a:gd name="T22" fmla="*/ 688 w 875"/>
                <a:gd name="T23" fmla="*/ 1493 h 1522"/>
                <a:gd name="T24" fmla="*/ 692 w 875"/>
                <a:gd name="T25" fmla="*/ 1465 h 1522"/>
                <a:gd name="T26" fmla="*/ 688 w 875"/>
                <a:gd name="T27" fmla="*/ 1402 h 1522"/>
                <a:gd name="T28" fmla="*/ 687 w 875"/>
                <a:gd name="T29" fmla="*/ 1342 h 1522"/>
                <a:gd name="T30" fmla="*/ 691 w 875"/>
                <a:gd name="T31" fmla="*/ 1324 h 1522"/>
                <a:gd name="T32" fmla="*/ 693 w 875"/>
                <a:gd name="T33" fmla="*/ 1321 h 1522"/>
                <a:gd name="T34" fmla="*/ 694 w 875"/>
                <a:gd name="T35" fmla="*/ 1320 h 1522"/>
                <a:gd name="T36" fmla="*/ 695 w 875"/>
                <a:gd name="T37" fmla="*/ 1320 h 1522"/>
                <a:gd name="T38" fmla="*/ 725 w 875"/>
                <a:gd name="T39" fmla="*/ 1316 h 1522"/>
                <a:gd name="T40" fmla="*/ 771 w 875"/>
                <a:gd name="T41" fmla="*/ 1332 h 1522"/>
                <a:gd name="T42" fmla="*/ 817 w 875"/>
                <a:gd name="T43" fmla="*/ 1354 h 1522"/>
                <a:gd name="T44" fmla="*/ 836 w 875"/>
                <a:gd name="T45" fmla="*/ 1362 h 1522"/>
                <a:gd name="T46" fmla="*/ 861 w 875"/>
                <a:gd name="T47" fmla="*/ 1361 h 1522"/>
                <a:gd name="T48" fmla="*/ 874 w 875"/>
                <a:gd name="T49" fmla="*/ 1343 h 1522"/>
                <a:gd name="T50" fmla="*/ 873 w 875"/>
                <a:gd name="T51" fmla="*/ 1330 h 1522"/>
                <a:gd name="T52" fmla="*/ 865 w 875"/>
                <a:gd name="T53" fmla="*/ 1305 h 1522"/>
                <a:gd name="T54" fmla="*/ 826 w 875"/>
                <a:gd name="T55" fmla="*/ 1235 h 1522"/>
                <a:gd name="T56" fmla="*/ 693 w 875"/>
                <a:gd name="T57" fmla="*/ 1026 h 1522"/>
                <a:gd name="T58" fmla="*/ 439 w 875"/>
                <a:gd name="T59" fmla="*/ 646 h 1522"/>
                <a:gd name="T60" fmla="*/ 242 w 875"/>
                <a:gd name="T61" fmla="*/ 282 h 1522"/>
                <a:gd name="T62" fmla="*/ 131 w 875"/>
                <a:gd name="T63" fmla="*/ 90 h 1522"/>
                <a:gd name="T64" fmla="*/ 88 w 875"/>
                <a:gd name="T65" fmla="*/ 29 h 1522"/>
                <a:gd name="T66" fmla="*/ 70 w 875"/>
                <a:gd name="T67" fmla="*/ 11 h 1522"/>
                <a:gd name="T68" fmla="*/ 43 w 875"/>
                <a:gd name="T69" fmla="*/ 3 h 1522"/>
                <a:gd name="T70" fmla="*/ 52 w 875"/>
                <a:gd name="T71" fmla="*/ 49 h 1522"/>
                <a:gd name="T72" fmla="*/ 58 w 875"/>
                <a:gd name="T73" fmla="*/ 55 h 1522"/>
                <a:gd name="T74" fmla="*/ 97 w 875"/>
                <a:gd name="T75" fmla="*/ 112 h 1522"/>
                <a:gd name="T76" fmla="*/ 207 w 875"/>
                <a:gd name="T77" fmla="*/ 301 h 1522"/>
                <a:gd name="T78" fmla="*/ 405 w 875"/>
                <a:gd name="T79" fmla="*/ 667 h 1522"/>
                <a:gd name="T80" fmla="*/ 659 w 875"/>
                <a:gd name="T81" fmla="*/ 1049 h 1522"/>
                <a:gd name="T82" fmla="*/ 792 w 875"/>
                <a:gd name="T83" fmla="*/ 1255 h 1522"/>
                <a:gd name="T84" fmla="*/ 824 w 875"/>
                <a:gd name="T85" fmla="*/ 1313 h 1522"/>
                <a:gd name="T86" fmla="*/ 788 w 875"/>
                <a:gd name="T87" fmla="*/ 1296 h 1522"/>
                <a:gd name="T88" fmla="*/ 732 w 875"/>
                <a:gd name="T89" fmla="*/ 1277 h 1522"/>
                <a:gd name="T90" fmla="*/ 675 w 875"/>
                <a:gd name="T91" fmla="*/ 1286 h 1522"/>
                <a:gd name="T92" fmla="*/ 654 w 875"/>
                <a:gd name="T93" fmla="*/ 1309 h 1522"/>
                <a:gd name="T94" fmla="*/ 648 w 875"/>
                <a:gd name="T95" fmla="*/ 1338 h 1522"/>
                <a:gd name="T96" fmla="*/ 649 w 875"/>
                <a:gd name="T97" fmla="*/ 1405 h 1522"/>
                <a:gd name="T98" fmla="*/ 652 w 875"/>
                <a:gd name="T99" fmla="*/ 1465 h 1522"/>
                <a:gd name="T100" fmla="*/ 650 w 875"/>
                <a:gd name="T101" fmla="*/ 1480 h 1522"/>
                <a:gd name="T102" fmla="*/ 646 w 875"/>
                <a:gd name="T103" fmla="*/ 1480 h 1522"/>
                <a:gd name="T104" fmla="*/ 627 w 875"/>
                <a:gd name="T105" fmla="*/ 1470 h 1522"/>
                <a:gd name="T106" fmla="*/ 571 w 875"/>
                <a:gd name="T107" fmla="*/ 1412 h 1522"/>
                <a:gd name="T108" fmla="*/ 432 w 875"/>
                <a:gd name="T109" fmla="*/ 1197 h 1522"/>
                <a:gd name="T110" fmla="*/ 215 w 875"/>
                <a:gd name="T111" fmla="*/ 783 h 1522"/>
                <a:gd name="T112" fmla="*/ 49 w 875"/>
                <a:gd name="T113" fmla="*/ 255 h 1522"/>
                <a:gd name="T114" fmla="*/ 44 w 875"/>
                <a:gd name="T115" fmla="*/ 91 h 1522"/>
                <a:gd name="T116" fmla="*/ 52 w 875"/>
                <a:gd name="T117" fmla="*/ 49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5" h="1522">
                  <a:moveTo>
                    <a:pt x="43" y="3"/>
                  </a:moveTo>
                  <a:cubicBezTo>
                    <a:pt x="34" y="5"/>
                    <a:pt x="28" y="11"/>
                    <a:pt x="24" y="16"/>
                  </a:cubicBezTo>
                  <a:cubicBezTo>
                    <a:pt x="20" y="22"/>
                    <a:pt x="17" y="28"/>
                    <a:pt x="15" y="35"/>
                  </a:cubicBezTo>
                  <a:cubicBezTo>
                    <a:pt x="10" y="49"/>
                    <a:pt x="6" y="66"/>
                    <a:pt x="4" y="87"/>
                  </a:cubicBezTo>
                  <a:cubicBezTo>
                    <a:pt x="0" y="130"/>
                    <a:pt x="1" y="189"/>
                    <a:pt x="10" y="260"/>
                  </a:cubicBezTo>
                  <a:cubicBezTo>
                    <a:pt x="27" y="402"/>
                    <a:pt x="76" y="594"/>
                    <a:pt x="179" y="800"/>
                  </a:cubicBezTo>
                  <a:cubicBezTo>
                    <a:pt x="209" y="860"/>
                    <a:pt x="301" y="1048"/>
                    <a:pt x="398" y="1217"/>
                  </a:cubicBezTo>
                  <a:cubicBezTo>
                    <a:pt x="446" y="1301"/>
                    <a:pt x="495" y="1380"/>
                    <a:pt x="540" y="1436"/>
                  </a:cubicBezTo>
                  <a:cubicBezTo>
                    <a:pt x="562" y="1465"/>
                    <a:pt x="583" y="1487"/>
                    <a:pt x="604" y="1502"/>
                  </a:cubicBezTo>
                  <a:cubicBezTo>
                    <a:pt x="614" y="1510"/>
                    <a:pt x="624" y="1516"/>
                    <a:pt x="635" y="1519"/>
                  </a:cubicBezTo>
                  <a:cubicBezTo>
                    <a:pt x="646" y="1522"/>
                    <a:pt x="659" y="1522"/>
                    <a:pt x="670" y="1517"/>
                  </a:cubicBezTo>
                  <a:cubicBezTo>
                    <a:pt x="681" y="1512"/>
                    <a:pt x="686" y="1501"/>
                    <a:pt x="688" y="1493"/>
                  </a:cubicBezTo>
                  <a:cubicBezTo>
                    <a:pt x="691" y="1484"/>
                    <a:pt x="692" y="1475"/>
                    <a:pt x="692" y="1465"/>
                  </a:cubicBezTo>
                  <a:cubicBezTo>
                    <a:pt x="692" y="1446"/>
                    <a:pt x="690" y="1424"/>
                    <a:pt x="688" y="1402"/>
                  </a:cubicBezTo>
                  <a:cubicBezTo>
                    <a:pt x="687" y="1380"/>
                    <a:pt x="686" y="1358"/>
                    <a:pt x="687" y="1342"/>
                  </a:cubicBezTo>
                  <a:cubicBezTo>
                    <a:pt x="688" y="1334"/>
                    <a:pt x="690" y="1328"/>
                    <a:pt x="691" y="1324"/>
                  </a:cubicBezTo>
                  <a:cubicBezTo>
                    <a:pt x="693" y="1321"/>
                    <a:pt x="693" y="1321"/>
                    <a:pt x="693" y="1321"/>
                  </a:cubicBezTo>
                  <a:lnTo>
                    <a:pt x="694" y="1320"/>
                  </a:lnTo>
                  <a:lnTo>
                    <a:pt x="695" y="1320"/>
                  </a:lnTo>
                  <a:cubicBezTo>
                    <a:pt x="702" y="1315"/>
                    <a:pt x="711" y="1314"/>
                    <a:pt x="725" y="1316"/>
                  </a:cubicBezTo>
                  <a:cubicBezTo>
                    <a:pt x="739" y="1319"/>
                    <a:pt x="755" y="1325"/>
                    <a:pt x="771" y="1332"/>
                  </a:cubicBezTo>
                  <a:cubicBezTo>
                    <a:pt x="788" y="1340"/>
                    <a:pt x="803" y="1348"/>
                    <a:pt x="817" y="1354"/>
                  </a:cubicBezTo>
                  <a:cubicBezTo>
                    <a:pt x="824" y="1357"/>
                    <a:pt x="830" y="1360"/>
                    <a:pt x="836" y="1362"/>
                  </a:cubicBezTo>
                  <a:cubicBezTo>
                    <a:pt x="843" y="1364"/>
                    <a:pt x="851" y="1366"/>
                    <a:pt x="861" y="1361"/>
                  </a:cubicBezTo>
                  <a:cubicBezTo>
                    <a:pt x="869" y="1357"/>
                    <a:pt x="873" y="1348"/>
                    <a:pt x="874" y="1343"/>
                  </a:cubicBezTo>
                  <a:cubicBezTo>
                    <a:pt x="875" y="1337"/>
                    <a:pt x="874" y="1333"/>
                    <a:pt x="873" y="1330"/>
                  </a:cubicBezTo>
                  <a:cubicBezTo>
                    <a:pt x="872" y="1322"/>
                    <a:pt x="869" y="1314"/>
                    <a:pt x="865" y="1305"/>
                  </a:cubicBezTo>
                  <a:cubicBezTo>
                    <a:pt x="856" y="1287"/>
                    <a:pt x="843" y="1263"/>
                    <a:pt x="826" y="1235"/>
                  </a:cubicBezTo>
                  <a:cubicBezTo>
                    <a:pt x="793" y="1178"/>
                    <a:pt x="744" y="1104"/>
                    <a:pt x="693" y="1026"/>
                  </a:cubicBezTo>
                  <a:cubicBezTo>
                    <a:pt x="589" y="872"/>
                    <a:pt x="473" y="703"/>
                    <a:pt x="439" y="646"/>
                  </a:cubicBezTo>
                  <a:cubicBezTo>
                    <a:pt x="406" y="589"/>
                    <a:pt x="322" y="427"/>
                    <a:pt x="242" y="282"/>
                  </a:cubicBezTo>
                  <a:cubicBezTo>
                    <a:pt x="202" y="209"/>
                    <a:pt x="163" y="141"/>
                    <a:pt x="131" y="90"/>
                  </a:cubicBezTo>
                  <a:cubicBezTo>
                    <a:pt x="115" y="65"/>
                    <a:pt x="101" y="44"/>
                    <a:pt x="88" y="29"/>
                  </a:cubicBezTo>
                  <a:cubicBezTo>
                    <a:pt x="82" y="22"/>
                    <a:pt x="77" y="16"/>
                    <a:pt x="70" y="11"/>
                  </a:cubicBezTo>
                  <a:cubicBezTo>
                    <a:pt x="64" y="6"/>
                    <a:pt x="56" y="0"/>
                    <a:pt x="43" y="3"/>
                  </a:cubicBezTo>
                  <a:close/>
                  <a:moveTo>
                    <a:pt x="52" y="49"/>
                  </a:moveTo>
                  <a:cubicBezTo>
                    <a:pt x="54" y="51"/>
                    <a:pt x="55" y="52"/>
                    <a:pt x="58" y="55"/>
                  </a:cubicBezTo>
                  <a:cubicBezTo>
                    <a:pt x="68" y="67"/>
                    <a:pt x="82" y="87"/>
                    <a:pt x="97" y="112"/>
                  </a:cubicBezTo>
                  <a:cubicBezTo>
                    <a:pt x="129" y="161"/>
                    <a:pt x="167" y="229"/>
                    <a:pt x="207" y="301"/>
                  </a:cubicBezTo>
                  <a:cubicBezTo>
                    <a:pt x="287" y="446"/>
                    <a:pt x="369" y="606"/>
                    <a:pt x="405" y="667"/>
                  </a:cubicBezTo>
                  <a:cubicBezTo>
                    <a:pt x="441" y="728"/>
                    <a:pt x="556" y="894"/>
                    <a:pt x="659" y="1049"/>
                  </a:cubicBezTo>
                  <a:cubicBezTo>
                    <a:pt x="711" y="1126"/>
                    <a:pt x="759" y="1200"/>
                    <a:pt x="792" y="1255"/>
                  </a:cubicBezTo>
                  <a:cubicBezTo>
                    <a:pt x="806" y="1279"/>
                    <a:pt x="816" y="1298"/>
                    <a:pt x="824" y="1313"/>
                  </a:cubicBezTo>
                  <a:cubicBezTo>
                    <a:pt x="813" y="1308"/>
                    <a:pt x="802" y="1302"/>
                    <a:pt x="788" y="1296"/>
                  </a:cubicBezTo>
                  <a:cubicBezTo>
                    <a:pt x="770" y="1288"/>
                    <a:pt x="752" y="1281"/>
                    <a:pt x="732" y="1277"/>
                  </a:cubicBezTo>
                  <a:cubicBezTo>
                    <a:pt x="713" y="1274"/>
                    <a:pt x="692" y="1275"/>
                    <a:pt x="675" y="1286"/>
                  </a:cubicBezTo>
                  <a:cubicBezTo>
                    <a:pt x="665" y="1291"/>
                    <a:pt x="658" y="1300"/>
                    <a:pt x="654" y="1309"/>
                  </a:cubicBezTo>
                  <a:cubicBezTo>
                    <a:pt x="650" y="1318"/>
                    <a:pt x="649" y="1328"/>
                    <a:pt x="648" y="1338"/>
                  </a:cubicBezTo>
                  <a:cubicBezTo>
                    <a:pt x="646" y="1359"/>
                    <a:pt x="647" y="1382"/>
                    <a:pt x="649" y="1405"/>
                  </a:cubicBezTo>
                  <a:cubicBezTo>
                    <a:pt x="650" y="1427"/>
                    <a:pt x="652" y="1449"/>
                    <a:pt x="652" y="1465"/>
                  </a:cubicBezTo>
                  <a:cubicBezTo>
                    <a:pt x="652" y="1472"/>
                    <a:pt x="651" y="1477"/>
                    <a:pt x="650" y="1480"/>
                  </a:cubicBezTo>
                  <a:cubicBezTo>
                    <a:pt x="649" y="1480"/>
                    <a:pt x="649" y="1481"/>
                    <a:pt x="646" y="1480"/>
                  </a:cubicBezTo>
                  <a:cubicBezTo>
                    <a:pt x="642" y="1479"/>
                    <a:pt x="635" y="1476"/>
                    <a:pt x="627" y="1470"/>
                  </a:cubicBezTo>
                  <a:cubicBezTo>
                    <a:pt x="612" y="1459"/>
                    <a:pt x="593" y="1438"/>
                    <a:pt x="571" y="1412"/>
                  </a:cubicBezTo>
                  <a:cubicBezTo>
                    <a:pt x="529" y="1358"/>
                    <a:pt x="480" y="1280"/>
                    <a:pt x="432" y="1197"/>
                  </a:cubicBezTo>
                  <a:cubicBezTo>
                    <a:pt x="336" y="1030"/>
                    <a:pt x="245" y="843"/>
                    <a:pt x="215" y="783"/>
                  </a:cubicBezTo>
                  <a:cubicBezTo>
                    <a:pt x="114" y="580"/>
                    <a:pt x="66" y="392"/>
                    <a:pt x="49" y="255"/>
                  </a:cubicBezTo>
                  <a:cubicBezTo>
                    <a:pt x="41" y="186"/>
                    <a:pt x="40" y="130"/>
                    <a:pt x="44" y="91"/>
                  </a:cubicBezTo>
                  <a:cubicBezTo>
                    <a:pt x="46" y="72"/>
                    <a:pt x="49" y="58"/>
                    <a:pt x="5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4"/>
            <p:cNvSpPr>
              <a:spLocks noEditPoints="1"/>
            </p:cNvSpPr>
            <p:nvPr/>
          </p:nvSpPr>
          <p:spPr bwMode="auto">
            <a:xfrm>
              <a:off x="7605713" y="3719513"/>
              <a:ext cx="447675" cy="954088"/>
            </a:xfrm>
            <a:custGeom>
              <a:avLst/>
              <a:gdLst>
                <a:gd name="T0" fmla="*/ 51 w 915"/>
                <a:gd name="T1" fmla="*/ 0 h 1953"/>
                <a:gd name="T2" fmla="*/ 31 w 915"/>
                <a:gd name="T3" fmla="*/ 4 h 1953"/>
                <a:gd name="T4" fmla="*/ 8 w 915"/>
                <a:gd name="T5" fmla="*/ 29 h 1953"/>
                <a:gd name="T6" fmla="*/ 2 w 915"/>
                <a:gd name="T7" fmla="*/ 63 h 1953"/>
                <a:gd name="T8" fmla="*/ 7 w 915"/>
                <a:gd name="T9" fmla="*/ 160 h 1953"/>
                <a:gd name="T10" fmla="*/ 61 w 915"/>
                <a:gd name="T11" fmla="*/ 442 h 1953"/>
                <a:gd name="T12" fmla="*/ 140 w 915"/>
                <a:gd name="T13" fmla="*/ 739 h 1953"/>
                <a:gd name="T14" fmla="*/ 205 w 915"/>
                <a:gd name="T15" fmla="*/ 927 h 1953"/>
                <a:gd name="T16" fmla="*/ 290 w 915"/>
                <a:gd name="T17" fmla="*/ 1141 h 1953"/>
                <a:gd name="T18" fmla="*/ 427 w 915"/>
                <a:gd name="T19" fmla="*/ 1500 h 1953"/>
                <a:gd name="T20" fmla="*/ 563 w 915"/>
                <a:gd name="T21" fmla="*/ 1825 h 1953"/>
                <a:gd name="T22" fmla="*/ 617 w 915"/>
                <a:gd name="T23" fmla="*/ 1922 h 1953"/>
                <a:gd name="T24" fmla="*/ 641 w 915"/>
                <a:gd name="T25" fmla="*/ 1947 h 1953"/>
                <a:gd name="T26" fmla="*/ 661 w 915"/>
                <a:gd name="T27" fmla="*/ 1952 h 1953"/>
                <a:gd name="T28" fmla="*/ 681 w 915"/>
                <a:gd name="T29" fmla="*/ 1941 h 1953"/>
                <a:gd name="T30" fmla="*/ 725 w 915"/>
                <a:gd name="T31" fmla="*/ 1815 h 1953"/>
                <a:gd name="T32" fmla="*/ 738 w 915"/>
                <a:gd name="T33" fmla="*/ 1766 h 1953"/>
                <a:gd name="T34" fmla="*/ 756 w 915"/>
                <a:gd name="T35" fmla="*/ 1742 h 1953"/>
                <a:gd name="T36" fmla="*/ 779 w 915"/>
                <a:gd name="T37" fmla="*/ 1745 h 1953"/>
                <a:gd name="T38" fmla="*/ 810 w 915"/>
                <a:gd name="T39" fmla="*/ 1777 h 1953"/>
                <a:gd name="T40" fmla="*/ 844 w 915"/>
                <a:gd name="T41" fmla="*/ 1819 h 1953"/>
                <a:gd name="T42" fmla="*/ 865 w 915"/>
                <a:gd name="T43" fmla="*/ 1835 h 1953"/>
                <a:gd name="T44" fmla="*/ 895 w 915"/>
                <a:gd name="T45" fmla="*/ 1838 h 1953"/>
                <a:gd name="T46" fmla="*/ 912 w 915"/>
                <a:gd name="T47" fmla="*/ 1823 h 1953"/>
                <a:gd name="T48" fmla="*/ 914 w 915"/>
                <a:gd name="T49" fmla="*/ 1809 h 1953"/>
                <a:gd name="T50" fmla="*/ 911 w 915"/>
                <a:gd name="T51" fmla="*/ 1779 h 1953"/>
                <a:gd name="T52" fmla="*/ 887 w 915"/>
                <a:gd name="T53" fmla="*/ 1687 h 1953"/>
                <a:gd name="T54" fmla="*/ 788 w 915"/>
                <a:gd name="T55" fmla="*/ 1413 h 1953"/>
                <a:gd name="T56" fmla="*/ 585 w 915"/>
                <a:gd name="T57" fmla="*/ 918 h 1953"/>
                <a:gd name="T58" fmla="*/ 346 w 915"/>
                <a:gd name="T59" fmla="*/ 395 h 1953"/>
                <a:gd name="T60" fmla="*/ 185 w 915"/>
                <a:gd name="T61" fmla="*/ 112 h 1953"/>
                <a:gd name="T62" fmla="*/ 109 w 915"/>
                <a:gd name="T63" fmla="*/ 26 h 1953"/>
                <a:gd name="T64" fmla="*/ 51 w 915"/>
                <a:gd name="T65" fmla="*/ 0 h 1953"/>
                <a:gd name="T66" fmla="*/ 45 w 915"/>
                <a:gd name="T67" fmla="*/ 41 h 1953"/>
                <a:gd name="T68" fmla="*/ 84 w 915"/>
                <a:gd name="T69" fmla="*/ 57 h 1953"/>
                <a:gd name="T70" fmla="*/ 152 w 915"/>
                <a:gd name="T71" fmla="*/ 135 h 1953"/>
                <a:gd name="T72" fmla="*/ 311 w 915"/>
                <a:gd name="T73" fmla="*/ 413 h 1953"/>
                <a:gd name="T74" fmla="*/ 549 w 915"/>
                <a:gd name="T75" fmla="*/ 935 h 1953"/>
                <a:gd name="T76" fmla="*/ 751 w 915"/>
                <a:gd name="T77" fmla="*/ 1427 h 1953"/>
                <a:gd name="T78" fmla="*/ 849 w 915"/>
                <a:gd name="T79" fmla="*/ 1699 h 1953"/>
                <a:gd name="T80" fmla="*/ 872 w 915"/>
                <a:gd name="T81" fmla="*/ 1786 h 1953"/>
                <a:gd name="T82" fmla="*/ 873 w 915"/>
                <a:gd name="T83" fmla="*/ 1791 h 1953"/>
                <a:gd name="T84" fmla="*/ 872 w 915"/>
                <a:gd name="T85" fmla="*/ 1791 h 1953"/>
                <a:gd name="T86" fmla="*/ 842 w 915"/>
                <a:gd name="T87" fmla="*/ 1753 h 1953"/>
                <a:gd name="T88" fmla="*/ 801 w 915"/>
                <a:gd name="T89" fmla="*/ 1712 h 1953"/>
                <a:gd name="T90" fmla="*/ 739 w 915"/>
                <a:gd name="T91" fmla="*/ 1706 h 1953"/>
                <a:gd name="T92" fmla="*/ 738 w 915"/>
                <a:gd name="T93" fmla="*/ 1706 h 1953"/>
                <a:gd name="T94" fmla="*/ 737 w 915"/>
                <a:gd name="T95" fmla="*/ 1707 h 1953"/>
                <a:gd name="T96" fmla="*/ 700 w 915"/>
                <a:gd name="T97" fmla="*/ 1751 h 1953"/>
                <a:gd name="T98" fmla="*/ 686 w 915"/>
                <a:gd name="T99" fmla="*/ 1808 h 1953"/>
                <a:gd name="T100" fmla="*/ 655 w 915"/>
                <a:gd name="T101" fmla="*/ 1905 h 1953"/>
                <a:gd name="T102" fmla="*/ 649 w 915"/>
                <a:gd name="T103" fmla="*/ 1898 h 1953"/>
                <a:gd name="T104" fmla="*/ 599 w 915"/>
                <a:gd name="T105" fmla="*/ 1808 h 1953"/>
                <a:gd name="T106" fmla="*/ 464 w 915"/>
                <a:gd name="T107" fmla="*/ 1485 h 1953"/>
                <a:gd name="T108" fmla="*/ 327 w 915"/>
                <a:gd name="T109" fmla="*/ 1127 h 1953"/>
                <a:gd name="T110" fmla="*/ 241 w 915"/>
                <a:gd name="T111" fmla="*/ 909 h 1953"/>
                <a:gd name="T112" fmla="*/ 178 w 915"/>
                <a:gd name="T113" fmla="*/ 728 h 1953"/>
                <a:gd name="T114" fmla="*/ 100 w 915"/>
                <a:gd name="T115" fmla="*/ 433 h 1953"/>
                <a:gd name="T116" fmla="*/ 47 w 915"/>
                <a:gd name="T117" fmla="*/ 155 h 1953"/>
                <a:gd name="T118" fmla="*/ 42 w 915"/>
                <a:gd name="T119" fmla="*/ 65 h 1953"/>
                <a:gd name="T120" fmla="*/ 46 w 915"/>
                <a:gd name="T121" fmla="*/ 43 h 1953"/>
                <a:gd name="T122" fmla="*/ 45 w 915"/>
                <a:gd name="T123" fmla="*/ 41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1953">
                  <a:moveTo>
                    <a:pt x="51" y="0"/>
                  </a:moveTo>
                  <a:cubicBezTo>
                    <a:pt x="44" y="0"/>
                    <a:pt x="38" y="1"/>
                    <a:pt x="31" y="4"/>
                  </a:cubicBezTo>
                  <a:cubicBezTo>
                    <a:pt x="19" y="8"/>
                    <a:pt x="12" y="19"/>
                    <a:pt x="8" y="29"/>
                  </a:cubicBezTo>
                  <a:cubicBezTo>
                    <a:pt x="4" y="39"/>
                    <a:pt x="3" y="50"/>
                    <a:pt x="2" y="63"/>
                  </a:cubicBezTo>
                  <a:cubicBezTo>
                    <a:pt x="0" y="88"/>
                    <a:pt x="2" y="121"/>
                    <a:pt x="7" y="160"/>
                  </a:cubicBezTo>
                  <a:cubicBezTo>
                    <a:pt x="16" y="238"/>
                    <a:pt x="37" y="339"/>
                    <a:pt x="61" y="442"/>
                  </a:cubicBezTo>
                  <a:cubicBezTo>
                    <a:pt x="85" y="546"/>
                    <a:pt x="114" y="652"/>
                    <a:pt x="140" y="739"/>
                  </a:cubicBezTo>
                  <a:cubicBezTo>
                    <a:pt x="166" y="827"/>
                    <a:pt x="189" y="895"/>
                    <a:pt x="205" y="927"/>
                  </a:cubicBezTo>
                  <a:cubicBezTo>
                    <a:pt x="218" y="953"/>
                    <a:pt x="250" y="1036"/>
                    <a:pt x="290" y="1141"/>
                  </a:cubicBezTo>
                  <a:cubicBezTo>
                    <a:pt x="330" y="1247"/>
                    <a:pt x="378" y="1376"/>
                    <a:pt x="427" y="1500"/>
                  </a:cubicBezTo>
                  <a:cubicBezTo>
                    <a:pt x="475" y="1624"/>
                    <a:pt x="523" y="1742"/>
                    <a:pt x="563" y="1825"/>
                  </a:cubicBezTo>
                  <a:cubicBezTo>
                    <a:pt x="583" y="1867"/>
                    <a:pt x="601" y="1900"/>
                    <a:pt x="617" y="1922"/>
                  </a:cubicBezTo>
                  <a:cubicBezTo>
                    <a:pt x="625" y="1933"/>
                    <a:pt x="631" y="1941"/>
                    <a:pt x="641" y="1947"/>
                  </a:cubicBezTo>
                  <a:cubicBezTo>
                    <a:pt x="646" y="1950"/>
                    <a:pt x="653" y="1953"/>
                    <a:pt x="661" y="1952"/>
                  </a:cubicBezTo>
                  <a:cubicBezTo>
                    <a:pt x="669" y="1952"/>
                    <a:pt x="677" y="1946"/>
                    <a:pt x="681" y="1941"/>
                  </a:cubicBezTo>
                  <a:cubicBezTo>
                    <a:pt x="711" y="1901"/>
                    <a:pt x="718" y="1853"/>
                    <a:pt x="725" y="1815"/>
                  </a:cubicBezTo>
                  <a:cubicBezTo>
                    <a:pt x="729" y="1796"/>
                    <a:pt x="733" y="1778"/>
                    <a:pt x="738" y="1766"/>
                  </a:cubicBezTo>
                  <a:cubicBezTo>
                    <a:pt x="742" y="1754"/>
                    <a:pt x="748" y="1747"/>
                    <a:pt x="756" y="1742"/>
                  </a:cubicBezTo>
                  <a:cubicBezTo>
                    <a:pt x="765" y="1738"/>
                    <a:pt x="771" y="1740"/>
                    <a:pt x="779" y="1745"/>
                  </a:cubicBezTo>
                  <a:cubicBezTo>
                    <a:pt x="789" y="1751"/>
                    <a:pt x="800" y="1764"/>
                    <a:pt x="810" y="1777"/>
                  </a:cubicBezTo>
                  <a:cubicBezTo>
                    <a:pt x="821" y="1791"/>
                    <a:pt x="831" y="1806"/>
                    <a:pt x="844" y="1819"/>
                  </a:cubicBezTo>
                  <a:cubicBezTo>
                    <a:pt x="850" y="1825"/>
                    <a:pt x="857" y="1831"/>
                    <a:pt x="865" y="1835"/>
                  </a:cubicBezTo>
                  <a:cubicBezTo>
                    <a:pt x="874" y="1839"/>
                    <a:pt x="885" y="1841"/>
                    <a:pt x="895" y="1838"/>
                  </a:cubicBezTo>
                  <a:cubicBezTo>
                    <a:pt x="903" y="1835"/>
                    <a:pt x="909" y="1828"/>
                    <a:pt x="912" y="1823"/>
                  </a:cubicBezTo>
                  <a:cubicBezTo>
                    <a:pt x="914" y="1818"/>
                    <a:pt x="914" y="1813"/>
                    <a:pt x="914" y="1809"/>
                  </a:cubicBezTo>
                  <a:cubicBezTo>
                    <a:pt x="915" y="1800"/>
                    <a:pt x="914" y="1790"/>
                    <a:pt x="911" y="1779"/>
                  </a:cubicBezTo>
                  <a:cubicBezTo>
                    <a:pt x="907" y="1755"/>
                    <a:pt x="898" y="1724"/>
                    <a:pt x="887" y="1687"/>
                  </a:cubicBezTo>
                  <a:cubicBezTo>
                    <a:pt x="863" y="1613"/>
                    <a:pt x="828" y="1515"/>
                    <a:pt x="788" y="1413"/>
                  </a:cubicBezTo>
                  <a:cubicBezTo>
                    <a:pt x="710" y="1208"/>
                    <a:pt x="618" y="989"/>
                    <a:pt x="585" y="918"/>
                  </a:cubicBezTo>
                  <a:cubicBezTo>
                    <a:pt x="553" y="850"/>
                    <a:pt x="454" y="610"/>
                    <a:pt x="346" y="395"/>
                  </a:cubicBezTo>
                  <a:cubicBezTo>
                    <a:pt x="293" y="287"/>
                    <a:pt x="237" y="185"/>
                    <a:pt x="185" y="112"/>
                  </a:cubicBezTo>
                  <a:cubicBezTo>
                    <a:pt x="159" y="75"/>
                    <a:pt x="134" y="46"/>
                    <a:pt x="109" y="26"/>
                  </a:cubicBezTo>
                  <a:cubicBezTo>
                    <a:pt x="91" y="11"/>
                    <a:pt x="71" y="0"/>
                    <a:pt x="51" y="0"/>
                  </a:cubicBezTo>
                  <a:close/>
                  <a:moveTo>
                    <a:pt x="45" y="41"/>
                  </a:moveTo>
                  <a:cubicBezTo>
                    <a:pt x="52" y="38"/>
                    <a:pt x="65" y="41"/>
                    <a:pt x="84" y="57"/>
                  </a:cubicBezTo>
                  <a:cubicBezTo>
                    <a:pt x="104" y="73"/>
                    <a:pt x="127" y="100"/>
                    <a:pt x="152" y="135"/>
                  </a:cubicBezTo>
                  <a:cubicBezTo>
                    <a:pt x="202" y="205"/>
                    <a:pt x="257" y="306"/>
                    <a:pt x="311" y="413"/>
                  </a:cubicBezTo>
                  <a:cubicBezTo>
                    <a:pt x="417" y="626"/>
                    <a:pt x="515" y="863"/>
                    <a:pt x="549" y="935"/>
                  </a:cubicBezTo>
                  <a:cubicBezTo>
                    <a:pt x="581" y="1003"/>
                    <a:pt x="673" y="1223"/>
                    <a:pt x="751" y="1427"/>
                  </a:cubicBezTo>
                  <a:cubicBezTo>
                    <a:pt x="790" y="1529"/>
                    <a:pt x="826" y="1627"/>
                    <a:pt x="849" y="1699"/>
                  </a:cubicBezTo>
                  <a:cubicBezTo>
                    <a:pt x="860" y="1736"/>
                    <a:pt x="868" y="1766"/>
                    <a:pt x="872" y="1786"/>
                  </a:cubicBezTo>
                  <a:cubicBezTo>
                    <a:pt x="872" y="1788"/>
                    <a:pt x="872" y="1789"/>
                    <a:pt x="873" y="1791"/>
                  </a:cubicBezTo>
                  <a:cubicBezTo>
                    <a:pt x="872" y="1791"/>
                    <a:pt x="872" y="1791"/>
                    <a:pt x="872" y="1791"/>
                  </a:cubicBezTo>
                  <a:cubicBezTo>
                    <a:pt x="864" y="1782"/>
                    <a:pt x="853" y="1768"/>
                    <a:pt x="842" y="1753"/>
                  </a:cubicBezTo>
                  <a:cubicBezTo>
                    <a:pt x="830" y="1738"/>
                    <a:pt x="818" y="1723"/>
                    <a:pt x="801" y="1712"/>
                  </a:cubicBezTo>
                  <a:cubicBezTo>
                    <a:pt x="785" y="1701"/>
                    <a:pt x="761" y="1696"/>
                    <a:pt x="739" y="1706"/>
                  </a:cubicBezTo>
                  <a:lnTo>
                    <a:pt x="738" y="1706"/>
                  </a:lnTo>
                  <a:lnTo>
                    <a:pt x="737" y="1707"/>
                  </a:lnTo>
                  <a:cubicBezTo>
                    <a:pt x="719" y="1717"/>
                    <a:pt x="707" y="1733"/>
                    <a:pt x="700" y="1751"/>
                  </a:cubicBezTo>
                  <a:cubicBezTo>
                    <a:pt x="693" y="1769"/>
                    <a:pt x="690" y="1788"/>
                    <a:pt x="686" y="1808"/>
                  </a:cubicBezTo>
                  <a:cubicBezTo>
                    <a:pt x="680" y="1842"/>
                    <a:pt x="672" y="1876"/>
                    <a:pt x="655" y="1905"/>
                  </a:cubicBezTo>
                  <a:cubicBezTo>
                    <a:pt x="653" y="1902"/>
                    <a:pt x="652" y="1902"/>
                    <a:pt x="649" y="1898"/>
                  </a:cubicBezTo>
                  <a:cubicBezTo>
                    <a:pt x="636" y="1881"/>
                    <a:pt x="619" y="1849"/>
                    <a:pt x="599" y="1808"/>
                  </a:cubicBezTo>
                  <a:cubicBezTo>
                    <a:pt x="560" y="1726"/>
                    <a:pt x="512" y="1609"/>
                    <a:pt x="464" y="1485"/>
                  </a:cubicBezTo>
                  <a:cubicBezTo>
                    <a:pt x="416" y="1362"/>
                    <a:pt x="367" y="1233"/>
                    <a:pt x="327" y="1127"/>
                  </a:cubicBezTo>
                  <a:cubicBezTo>
                    <a:pt x="287" y="1021"/>
                    <a:pt x="257" y="941"/>
                    <a:pt x="241" y="909"/>
                  </a:cubicBezTo>
                  <a:cubicBezTo>
                    <a:pt x="228" y="884"/>
                    <a:pt x="204" y="815"/>
                    <a:pt x="178" y="728"/>
                  </a:cubicBezTo>
                  <a:cubicBezTo>
                    <a:pt x="153" y="641"/>
                    <a:pt x="124" y="536"/>
                    <a:pt x="100" y="433"/>
                  </a:cubicBezTo>
                  <a:cubicBezTo>
                    <a:pt x="76" y="330"/>
                    <a:pt x="56" y="230"/>
                    <a:pt x="47" y="155"/>
                  </a:cubicBezTo>
                  <a:cubicBezTo>
                    <a:pt x="42" y="118"/>
                    <a:pt x="40" y="87"/>
                    <a:pt x="42" y="65"/>
                  </a:cubicBezTo>
                  <a:cubicBezTo>
                    <a:pt x="43" y="55"/>
                    <a:pt x="44" y="47"/>
                    <a:pt x="46" y="43"/>
                  </a:cubicBezTo>
                  <a:cubicBezTo>
                    <a:pt x="47" y="39"/>
                    <a:pt x="48" y="40"/>
                    <a:pt x="4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5"/>
            <p:cNvSpPr>
              <a:spLocks noEditPoints="1"/>
            </p:cNvSpPr>
            <p:nvPr/>
          </p:nvSpPr>
          <p:spPr bwMode="auto">
            <a:xfrm>
              <a:off x="7346950" y="3579813"/>
              <a:ext cx="390525" cy="325438"/>
            </a:xfrm>
            <a:custGeom>
              <a:avLst/>
              <a:gdLst>
                <a:gd name="T0" fmla="*/ 66 w 796"/>
                <a:gd name="T1" fmla="*/ 2 h 663"/>
                <a:gd name="T2" fmla="*/ 19 w 796"/>
                <a:gd name="T3" fmla="*/ 25 h 663"/>
                <a:gd name="T4" fmla="*/ 5 w 796"/>
                <a:gd name="T5" fmla="*/ 99 h 663"/>
                <a:gd name="T6" fmla="*/ 43 w 796"/>
                <a:gd name="T7" fmla="*/ 188 h 663"/>
                <a:gd name="T8" fmla="*/ 201 w 796"/>
                <a:gd name="T9" fmla="*/ 396 h 663"/>
                <a:gd name="T10" fmla="*/ 396 w 796"/>
                <a:gd name="T11" fmla="*/ 581 h 663"/>
                <a:gd name="T12" fmla="*/ 480 w 796"/>
                <a:gd name="T13" fmla="*/ 640 h 663"/>
                <a:gd name="T14" fmla="*/ 546 w 796"/>
                <a:gd name="T15" fmla="*/ 662 h 663"/>
                <a:gd name="T16" fmla="*/ 581 w 796"/>
                <a:gd name="T17" fmla="*/ 639 h 663"/>
                <a:gd name="T18" fmla="*/ 591 w 796"/>
                <a:gd name="T19" fmla="*/ 600 h 663"/>
                <a:gd name="T20" fmla="*/ 586 w 796"/>
                <a:gd name="T21" fmla="*/ 500 h 663"/>
                <a:gd name="T22" fmla="*/ 573 w 796"/>
                <a:gd name="T23" fmla="*/ 393 h 663"/>
                <a:gd name="T24" fmla="*/ 574 w 796"/>
                <a:gd name="T25" fmla="*/ 326 h 663"/>
                <a:gd name="T26" fmla="*/ 576 w 796"/>
                <a:gd name="T27" fmla="*/ 326 h 663"/>
                <a:gd name="T28" fmla="*/ 594 w 796"/>
                <a:gd name="T29" fmla="*/ 333 h 663"/>
                <a:gd name="T30" fmla="*/ 653 w 796"/>
                <a:gd name="T31" fmla="*/ 381 h 663"/>
                <a:gd name="T32" fmla="*/ 713 w 796"/>
                <a:gd name="T33" fmla="*/ 436 h 663"/>
                <a:gd name="T34" fmla="*/ 743 w 796"/>
                <a:gd name="T35" fmla="*/ 452 h 663"/>
                <a:gd name="T36" fmla="*/ 780 w 796"/>
                <a:gd name="T37" fmla="*/ 442 h 663"/>
                <a:gd name="T38" fmla="*/ 796 w 796"/>
                <a:gd name="T39" fmla="*/ 379 h 663"/>
                <a:gd name="T40" fmla="*/ 785 w 796"/>
                <a:gd name="T41" fmla="*/ 297 h 663"/>
                <a:gd name="T42" fmla="*/ 751 w 796"/>
                <a:gd name="T43" fmla="*/ 219 h 663"/>
                <a:gd name="T44" fmla="*/ 685 w 796"/>
                <a:gd name="T45" fmla="*/ 174 h 663"/>
                <a:gd name="T46" fmla="*/ 274 w 796"/>
                <a:gd name="T47" fmla="*/ 53 h 663"/>
                <a:gd name="T48" fmla="*/ 124 w 796"/>
                <a:gd name="T49" fmla="*/ 6 h 663"/>
                <a:gd name="T50" fmla="*/ 66 w 796"/>
                <a:gd name="T51" fmla="*/ 2 h 663"/>
                <a:gd name="T52" fmla="*/ 71 w 796"/>
                <a:gd name="T53" fmla="*/ 42 h 663"/>
                <a:gd name="T54" fmla="*/ 116 w 796"/>
                <a:gd name="T55" fmla="*/ 45 h 663"/>
                <a:gd name="T56" fmla="*/ 260 w 796"/>
                <a:gd name="T57" fmla="*/ 90 h 663"/>
                <a:gd name="T58" fmla="*/ 679 w 796"/>
                <a:gd name="T59" fmla="*/ 213 h 663"/>
                <a:gd name="T60" fmla="*/ 718 w 796"/>
                <a:gd name="T61" fmla="*/ 242 h 663"/>
                <a:gd name="T62" fmla="*/ 746 w 796"/>
                <a:gd name="T63" fmla="*/ 307 h 663"/>
                <a:gd name="T64" fmla="*/ 756 w 796"/>
                <a:gd name="T65" fmla="*/ 378 h 663"/>
                <a:gd name="T66" fmla="*/ 750 w 796"/>
                <a:gd name="T67" fmla="*/ 411 h 663"/>
                <a:gd name="T68" fmla="*/ 738 w 796"/>
                <a:gd name="T69" fmla="*/ 404 h 663"/>
                <a:gd name="T70" fmla="*/ 680 w 796"/>
                <a:gd name="T71" fmla="*/ 352 h 663"/>
                <a:gd name="T72" fmla="*/ 614 w 796"/>
                <a:gd name="T73" fmla="*/ 298 h 663"/>
                <a:gd name="T74" fmla="*/ 579 w 796"/>
                <a:gd name="T75" fmla="*/ 286 h 663"/>
                <a:gd name="T76" fmla="*/ 541 w 796"/>
                <a:gd name="T77" fmla="*/ 301 h 663"/>
                <a:gd name="T78" fmla="*/ 538 w 796"/>
                <a:gd name="T79" fmla="*/ 304 h 663"/>
                <a:gd name="T80" fmla="*/ 537 w 796"/>
                <a:gd name="T81" fmla="*/ 307 h 663"/>
                <a:gd name="T82" fmla="*/ 533 w 796"/>
                <a:gd name="T83" fmla="*/ 396 h 663"/>
                <a:gd name="T84" fmla="*/ 546 w 796"/>
                <a:gd name="T85" fmla="*/ 505 h 663"/>
                <a:gd name="T86" fmla="*/ 552 w 796"/>
                <a:gd name="T87" fmla="*/ 597 h 663"/>
                <a:gd name="T88" fmla="*/ 546 w 796"/>
                <a:gd name="T89" fmla="*/ 619 h 663"/>
                <a:gd name="T90" fmla="*/ 543 w 796"/>
                <a:gd name="T91" fmla="*/ 622 h 663"/>
                <a:gd name="T92" fmla="*/ 500 w 796"/>
                <a:gd name="T93" fmla="*/ 605 h 663"/>
                <a:gd name="T94" fmla="*/ 421 w 796"/>
                <a:gd name="T95" fmla="*/ 550 h 663"/>
                <a:gd name="T96" fmla="*/ 231 w 796"/>
                <a:gd name="T97" fmla="*/ 369 h 663"/>
                <a:gd name="T98" fmla="*/ 77 w 796"/>
                <a:gd name="T99" fmla="*/ 168 h 663"/>
                <a:gd name="T100" fmla="*/ 44 w 796"/>
                <a:gd name="T101" fmla="*/ 91 h 663"/>
                <a:gd name="T102" fmla="*/ 49 w 796"/>
                <a:gd name="T103" fmla="*/ 52 h 663"/>
                <a:gd name="T104" fmla="*/ 71 w 796"/>
                <a:gd name="T105" fmla="*/ 4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6" h="663">
                  <a:moveTo>
                    <a:pt x="66" y="2"/>
                  </a:moveTo>
                  <a:cubicBezTo>
                    <a:pt x="48" y="5"/>
                    <a:pt x="31" y="12"/>
                    <a:pt x="19" y="25"/>
                  </a:cubicBezTo>
                  <a:cubicBezTo>
                    <a:pt x="2" y="44"/>
                    <a:pt x="0" y="72"/>
                    <a:pt x="5" y="99"/>
                  </a:cubicBezTo>
                  <a:cubicBezTo>
                    <a:pt x="11" y="126"/>
                    <a:pt x="24" y="156"/>
                    <a:pt x="43" y="188"/>
                  </a:cubicBezTo>
                  <a:cubicBezTo>
                    <a:pt x="79" y="252"/>
                    <a:pt x="137" y="326"/>
                    <a:pt x="201" y="396"/>
                  </a:cubicBezTo>
                  <a:cubicBezTo>
                    <a:pt x="265" y="466"/>
                    <a:pt x="335" y="532"/>
                    <a:pt x="396" y="581"/>
                  </a:cubicBezTo>
                  <a:cubicBezTo>
                    <a:pt x="427" y="605"/>
                    <a:pt x="455" y="625"/>
                    <a:pt x="480" y="640"/>
                  </a:cubicBezTo>
                  <a:cubicBezTo>
                    <a:pt x="504" y="654"/>
                    <a:pt x="524" y="663"/>
                    <a:pt x="546" y="662"/>
                  </a:cubicBezTo>
                  <a:cubicBezTo>
                    <a:pt x="561" y="661"/>
                    <a:pt x="574" y="651"/>
                    <a:pt x="581" y="639"/>
                  </a:cubicBezTo>
                  <a:cubicBezTo>
                    <a:pt x="588" y="628"/>
                    <a:pt x="590" y="615"/>
                    <a:pt x="591" y="600"/>
                  </a:cubicBezTo>
                  <a:cubicBezTo>
                    <a:pt x="594" y="572"/>
                    <a:pt x="591" y="537"/>
                    <a:pt x="586" y="500"/>
                  </a:cubicBezTo>
                  <a:cubicBezTo>
                    <a:pt x="582" y="464"/>
                    <a:pt x="576" y="425"/>
                    <a:pt x="573" y="393"/>
                  </a:cubicBezTo>
                  <a:cubicBezTo>
                    <a:pt x="570" y="362"/>
                    <a:pt x="571" y="339"/>
                    <a:pt x="574" y="326"/>
                  </a:cubicBezTo>
                  <a:cubicBezTo>
                    <a:pt x="575" y="326"/>
                    <a:pt x="575" y="326"/>
                    <a:pt x="576" y="326"/>
                  </a:cubicBezTo>
                  <a:cubicBezTo>
                    <a:pt x="579" y="326"/>
                    <a:pt x="586" y="328"/>
                    <a:pt x="594" y="333"/>
                  </a:cubicBezTo>
                  <a:cubicBezTo>
                    <a:pt x="610" y="342"/>
                    <a:pt x="632" y="361"/>
                    <a:pt x="653" y="381"/>
                  </a:cubicBezTo>
                  <a:cubicBezTo>
                    <a:pt x="674" y="401"/>
                    <a:pt x="694" y="421"/>
                    <a:pt x="713" y="436"/>
                  </a:cubicBezTo>
                  <a:cubicBezTo>
                    <a:pt x="723" y="443"/>
                    <a:pt x="732" y="449"/>
                    <a:pt x="743" y="452"/>
                  </a:cubicBezTo>
                  <a:cubicBezTo>
                    <a:pt x="754" y="455"/>
                    <a:pt x="771" y="453"/>
                    <a:pt x="780" y="442"/>
                  </a:cubicBezTo>
                  <a:cubicBezTo>
                    <a:pt x="793" y="425"/>
                    <a:pt x="796" y="404"/>
                    <a:pt x="796" y="379"/>
                  </a:cubicBezTo>
                  <a:cubicBezTo>
                    <a:pt x="796" y="354"/>
                    <a:pt x="793" y="325"/>
                    <a:pt x="785" y="297"/>
                  </a:cubicBezTo>
                  <a:cubicBezTo>
                    <a:pt x="778" y="269"/>
                    <a:pt x="767" y="241"/>
                    <a:pt x="751" y="219"/>
                  </a:cubicBezTo>
                  <a:cubicBezTo>
                    <a:pt x="735" y="196"/>
                    <a:pt x="713" y="178"/>
                    <a:pt x="685" y="174"/>
                  </a:cubicBezTo>
                  <a:cubicBezTo>
                    <a:pt x="533" y="152"/>
                    <a:pt x="389" y="95"/>
                    <a:pt x="274" y="53"/>
                  </a:cubicBezTo>
                  <a:cubicBezTo>
                    <a:pt x="216" y="31"/>
                    <a:pt x="166" y="14"/>
                    <a:pt x="124" y="6"/>
                  </a:cubicBezTo>
                  <a:cubicBezTo>
                    <a:pt x="103" y="1"/>
                    <a:pt x="84" y="0"/>
                    <a:pt x="66" y="2"/>
                  </a:cubicBezTo>
                  <a:close/>
                  <a:moveTo>
                    <a:pt x="71" y="42"/>
                  </a:moveTo>
                  <a:cubicBezTo>
                    <a:pt x="82" y="40"/>
                    <a:pt x="98" y="41"/>
                    <a:pt x="116" y="45"/>
                  </a:cubicBezTo>
                  <a:cubicBezTo>
                    <a:pt x="154" y="52"/>
                    <a:pt x="203" y="69"/>
                    <a:pt x="260" y="90"/>
                  </a:cubicBezTo>
                  <a:cubicBezTo>
                    <a:pt x="375" y="132"/>
                    <a:pt x="521" y="190"/>
                    <a:pt x="679" y="213"/>
                  </a:cubicBezTo>
                  <a:cubicBezTo>
                    <a:pt x="693" y="215"/>
                    <a:pt x="706" y="225"/>
                    <a:pt x="718" y="242"/>
                  </a:cubicBezTo>
                  <a:cubicBezTo>
                    <a:pt x="730" y="259"/>
                    <a:pt x="740" y="282"/>
                    <a:pt x="746" y="307"/>
                  </a:cubicBezTo>
                  <a:cubicBezTo>
                    <a:pt x="753" y="332"/>
                    <a:pt x="756" y="357"/>
                    <a:pt x="756" y="378"/>
                  </a:cubicBezTo>
                  <a:cubicBezTo>
                    <a:pt x="756" y="396"/>
                    <a:pt x="752" y="406"/>
                    <a:pt x="750" y="411"/>
                  </a:cubicBezTo>
                  <a:cubicBezTo>
                    <a:pt x="746" y="410"/>
                    <a:pt x="743" y="408"/>
                    <a:pt x="738" y="404"/>
                  </a:cubicBezTo>
                  <a:cubicBezTo>
                    <a:pt x="722" y="392"/>
                    <a:pt x="702" y="372"/>
                    <a:pt x="680" y="352"/>
                  </a:cubicBezTo>
                  <a:cubicBezTo>
                    <a:pt x="659" y="332"/>
                    <a:pt x="637" y="311"/>
                    <a:pt x="614" y="298"/>
                  </a:cubicBezTo>
                  <a:cubicBezTo>
                    <a:pt x="603" y="292"/>
                    <a:pt x="591" y="287"/>
                    <a:pt x="579" y="286"/>
                  </a:cubicBezTo>
                  <a:cubicBezTo>
                    <a:pt x="566" y="285"/>
                    <a:pt x="551" y="290"/>
                    <a:pt x="541" y="301"/>
                  </a:cubicBezTo>
                  <a:lnTo>
                    <a:pt x="538" y="304"/>
                  </a:lnTo>
                  <a:lnTo>
                    <a:pt x="537" y="307"/>
                  </a:lnTo>
                  <a:cubicBezTo>
                    <a:pt x="528" y="332"/>
                    <a:pt x="530" y="362"/>
                    <a:pt x="533" y="396"/>
                  </a:cubicBezTo>
                  <a:cubicBezTo>
                    <a:pt x="536" y="431"/>
                    <a:pt x="542" y="469"/>
                    <a:pt x="546" y="505"/>
                  </a:cubicBezTo>
                  <a:cubicBezTo>
                    <a:pt x="551" y="541"/>
                    <a:pt x="554" y="574"/>
                    <a:pt x="552" y="597"/>
                  </a:cubicBezTo>
                  <a:cubicBezTo>
                    <a:pt x="551" y="608"/>
                    <a:pt x="548" y="616"/>
                    <a:pt x="546" y="619"/>
                  </a:cubicBezTo>
                  <a:cubicBezTo>
                    <a:pt x="544" y="623"/>
                    <a:pt x="545" y="622"/>
                    <a:pt x="543" y="622"/>
                  </a:cubicBezTo>
                  <a:cubicBezTo>
                    <a:pt x="539" y="622"/>
                    <a:pt x="521" y="617"/>
                    <a:pt x="500" y="605"/>
                  </a:cubicBezTo>
                  <a:cubicBezTo>
                    <a:pt x="478" y="592"/>
                    <a:pt x="451" y="573"/>
                    <a:pt x="421" y="550"/>
                  </a:cubicBezTo>
                  <a:cubicBezTo>
                    <a:pt x="363" y="503"/>
                    <a:pt x="294" y="437"/>
                    <a:pt x="231" y="369"/>
                  </a:cubicBezTo>
                  <a:cubicBezTo>
                    <a:pt x="168" y="300"/>
                    <a:pt x="111" y="228"/>
                    <a:pt x="77" y="168"/>
                  </a:cubicBezTo>
                  <a:cubicBezTo>
                    <a:pt x="60" y="138"/>
                    <a:pt x="49" y="111"/>
                    <a:pt x="44" y="91"/>
                  </a:cubicBezTo>
                  <a:cubicBezTo>
                    <a:pt x="40" y="70"/>
                    <a:pt x="43" y="59"/>
                    <a:pt x="49" y="52"/>
                  </a:cubicBezTo>
                  <a:cubicBezTo>
                    <a:pt x="54" y="47"/>
                    <a:pt x="60" y="43"/>
                    <a:pt x="71"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6"/>
            <p:cNvSpPr>
              <a:spLocks noEditPoints="1"/>
            </p:cNvSpPr>
            <p:nvPr/>
          </p:nvSpPr>
          <p:spPr bwMode="auto">
            <a:xfrm>
              <a:off x="5954713" y="4989513"/>
              <a:ext cx="344487" cy="593725"/>
            </a:xfrm>
            <a:custGeom>
              <a:avLst/>
              <a:gdLst>
                <a:gd name="T0" fmla="*/ 602 w 705"/>
                <a:gd name="T1" fmla="*/ 0 h 1212"/>
                <a:gd name="T2" fmla="*/ 537 w 705"/>
                <a:gd name="T3" fmla="*/ 10 h 1212"/>
                <a:gd name="T4" fmla="*/ 492 w 705"/>
                <a:gd name="T5" fmla="*/ 51 h 1212"/>
                <a:gd name="T6" fmla="*/ 492 w 705"/>
                <a:gd name="T7" fmla="*/ 50 h 1212"/>
                <a:gd name="T8" fmla="*/ 10 w 705"/>
                <a:gd name="T9" fmla="*/ 1056 h 1212"/>
                <a:gd name="T10" fmla="*/ 9 w 705"/>
                <a:gd name="T11" fmla="*/ 1057 h 1212"/>
                <a:gd name="T12" fmla="*/ 9 w 705"/>
                <a:gd name="T13" fmla="*/ 1058 h 1212"/>
                <a:gd name="T14" fmla="*/ 16 w 705"/>
                <a:gd name="T15" fmla="*/ 1110 h 1212"/>
                <a:gd name="T16" fmla="*/ 60 w 705"/>
                <a:gd name="T17" fmla="*/ 1144 h 1212"/>
                <a:gd name="T18" fmla="*/ 201 w 705"/>
                <a:gd name="T19" fmla="*/ 1192 h 1212"/>
                <a:gd name="T20" fmla="*/ 351 w 705"/>
                <a:gd name="T21" fmla="*/ 1212 h 1212"/>
                <a:gd name="T22" fmla="*/ 407 w 705"/>
                <a:gd name="T23" fmla="*/ 1207 h 1212"/>
                <a:gd name="T24" fmla="*/ 428 w 705"/>
                <a:gd name="T25" fmla="*/ 1197 h 1212"/>
                <a:gd name="T26" fmla="*/ 443 w 705"/>
                <a:gd name="T27" fmla="*/ 1175 h 1212"/>
                <a:gd name="T28" fmla="*/ 442 w 705"/>
                <a:gd name="T29" fmla="*/ 1179 h 1212"/>
                <a:gd name="T30" fmla="*/ 477 w 705"/>
                <a:gd name="T31" fmla="*/ 1066 h 1212"/>
                <a:gd name="T32" fmla="*/ 528 w 705"/>
                <a:gd name="T33" fmla="*/ 874 h 1212"/>
                <a:gd name="T34" fmla="*/ 603 w 705"/>
                <a:gd name="T35" fmla="*/ 514 h 1212"/>
                <a:gd name="T36" fmla="*/ 663 w 705"/>
                <a:gd name="T37" fmla="*/ 240 h 1212"/>
                <a:gd name="T38" fmla="*/ 696 w 705"/>
                <a:gd name="T39" fmla="*/ 114 h 1212"/>
                <a:gd name="T40" fmla="*/ 704 w 705"/>
                <a:gd name="T41" fmla="*/ 72 h 1212"/>
                <a:gd name="T42" fmla="*/ 705 w 705"/>
                <a:gd name="T43" fmla="*/ 57 h 1212"/>
                <a:gd name="T44" fmla="*/ 701 w 705"/>
                <a:gd name="T45" fmla="*/ 44 h 1212"/>
                <a:gd name="T46" fmla="*/ 690 w 705"/>
                <a:gd name="T47" fmla="*/ 24 h 1212"/>
                <a:gd name="T48" fmla="*/ 665 w 705"/>
                <a:gd name="T49" fmla="*/ 10 h 1212"/>
                <a:gd name="T50" fmla="*/ 602 w 705"/>
                <a:gd name="T51" fmla="*/ 0 h 1212"/>
                <a:gd name="T52" fmla="*/ 602 w 705"/>
                <a:gd name="T53" fmla="*/ 40 h 1212"/>
                <a:gd name="T54" fmla="*/ 652 w 705"/>
                <a:gd name="T55" fmla="*/ 47 h 1212"/>
                <a:gd name="T56" fmla="*/ 663 w 705"/>
                <a:gd name="T57" fmla="*/ 53 h 1212"/>
                <a:gd name="T58" fmla="*/ 663 w 705"/>
                <a:gd name="T59" fmla="*/ 52 h 1212"/>
                <a:gd name="T60" fmla="*/ 663 w 705"/>
                <a:gd name="T61" fmla="*/ 62 h 1212"/>
                <a:gd name="T62" fmla="*/ 665 w 705"/>
                <a:gd name="T63" fmla="*/ 63 h 1212"/>
                <a:gd name="T64" fmla="*/ 664 w 705"/>
                <a:gd name="T65" fmla="*/ 67 h 1212"/>
                <a:gd name="T66" fmla="*/ 657 w 705"/>
                <a:gd name="T67" fmla="*/ 105 h 1212"/>
                <a:gd name="T68" fmla="*/ 625 w 705"/>
                <a:gd name="T69" fmla="*/ 230 h 1212"/>
                <a:gd name="T70" fmla="*/ 563 w 705"/>
                <a:gd name="T71" fmla="*/ 511 h 1212"/>
                <a:gd name="T72" fmla="*/ 489 w 705"/>
                <a:gd name="T73" fmla="*/ 865 h 1212"/>
                <a:gd name="T74" fmla="*/ 439 w 705"/>
                <a:gd name="T75" fmla="*/ 1055 h 1212"/>
                <a:gd name="T76" fmla="*/ 405 w 705"/>
                <a:gd name="T77" fmla="*/ 1164 h 1212"/>
                <a:gd name="T78" fmla="*/ 404 w 705"/>
                <a:gd name="T79" fmla="*/ 1165 h 1212"/>
                <a:gd name="T80" fmla="*/ 396 w 705"/>
                <a:gd name="T81" fmla="*/ 1168 h 1212"/>
                <a:gd name="T82" fmla="*/ 351 w 705"/>
                <a:gd name="T83" fmla="*/ 1172 h 1212"/>
                <a:gd name="T84" fmla="*/ 210 w 705"/>
                <a:gd name="T85" fmla="*/ 1153 h 1212"/>
                <a:gd name="T86" fmla="*/ 79 w 705"/>
                <a:gd name="T87" fmla="*/ 1109 h 1212"/>
                <a:gd name="T88" fmla="*/ 47 w 705"/>
                <a:gd name="T89" fmla="*/ 1086 h 1212"/>
                <a:gd name="T90" fmla="*/ 45 w 705"/>
                <a:gd name="T91" fmla="*/ 1076 h 1212"/>
                <a:gd name="T92" fmla="*/ 531 w 705"/>
                <a:gd name="T93" fmla="*/ 62 h 1212"/>
                <a:gd name="T94" fmla="*/ 531 w 705"/>
                <a:gd name="T95" fmla="*/ 62 h 1212"/>
                <a:gd name="T96" fmla="*/ 531 w 705"/>
                <a:gd name="T97" fmla="*/ 61 h 1212"/>
                <a:gd name="T98" fmla="*/ 550 w 705"/>
                <a:gd name="T99" fmla="*/ 48 h 1212"/>
                <a:gd name="T100" fmla="*/ 602 w 705"/>
                <a:gd name="T101" fmla="*/ 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1212">
                  <a:moveTo>
                    <a:pt x="602" y="0"/>
                  </a:moveTo>
                  <a:cubicBezTo>
                    <a:pt x="580" y="1"/>
                    <a:pt x="557" y="4"/>
                    <a:pt x="537" y="10"/>
                  </a:cubicBezTo>
                  <a:cubicBezTo>
                    <a:pt x="517" y="17"/>
                    <a:pt x="498" y="29"/>
                    <a:pt x="492" y="51"/>
                  </a:cubicBezTo>
                  <a:lnTo>
                    <a:pt x="492" y="50"/>
                  </a:lnTo>
                  <a:cubicBezTo>
                    <a:pt x="353" y="504"/>
                    <a:pt x="221" y="742"/>
                    <a:pt x="10" y="1056"/>
                  </a:cubicBezTo>
                  <a:lnTo>
                    <a:pt x="9" y="1057"/>
                  </a:lnTo>
                  <a:lnTo>
                    <a:pt x="9" y="1058"/>
                  </a:lnTo>
                  <a:cubicBezTo>
                    <a:pt x="0" y="1075"/>
                    <a:pt x="5" y="1096"/>
                    <a:pt x="16" y="1110"/>
                  </a:cubicBezTo>
                  <a:cubicBezTo>
                    <a:pt x="26" y="1124"/>
                    <a:pt x="42" y="1135"/>
                    <a:pt x="60" y="1144"/>
                  </a:cubicBezTo>
                  <a:cubicBezTo>
                    <a:pt x="98" y="1164"/>
                    <a:pt x="148" y="1180"/>
                    <a:pt x="201" y="1192"/>
                  </a:cubicBezTo>
                  <a:cubicBezTo>
                    <a:pt x="254" y="1204"/>
                    <a:pt x="308" y="1211"/>
                    <a:pt x="351" y="1212"/>
                  </a:cubicBezTo>
                  <a:cubicBezTo>
                    <a:pt x="372" y="1212"/>
                    <a:pt x="391" y="1211"/>
                    <a:pt x="407" y="1207"/>
                  </a:cubicBezTo>
                  <a:cubicBezTo>
                    <a:pt x="414" y="1205"/>
                    <a:pt x="422" y="1202"/>
                    <a:pt x="428" y="1197"/>
                  </a:cubicBezTo>
                  <a:cubicBezTo>
                    <a:pt x="435" y="1192"/>
                    <a:pt x="441" y="1185"/>
                    <a:pt x="443" y="1175"/>
                  </a:cubicBezTo>
                  <a:lnTo>
                    <a:pt x="442" y="1179"/>
                  </a:lnTo>
                  <a:cubicBezTo>
                    <a:pt x="450" y="1160"/>
                    <a:pt x="462" y="1120"/>
                    <a:pt x="477" y="1066"/>
                  </a:cubicBezTo>
                  <a:cubicBezTo>
                    <a:pt x="492" y="1012"/>
                    <a:pt x="510" y="944"/>
                    <a:pt x="528" y="874"/>
                  </a:cubicBezTo>
                  <a:cubicBezTo>
                    <a:pt x="563" y="735"/>
                    <a:pt x="597" y="588"/>
                    <a:pt x="603" y="514"/>
                  </a:cubicBezTo>
                  <a:cubicBezTo>
                    <a:pt x="609" y="448"/>
                    <a:pt x="638" y="336"/>
                    <a:pt x="663" y="240"/>
                  </a:cubicBezTo>
                  <a:cubicBezTo>
                    <a:pt x="676" y="192"/>
                    <a:pt x="688" y="148"/>
                    <a:pt x="696" y="114"/>
                  </a:cubicBezTo>
                  <a:cubicBezTo>
                    <a:pt x="700" y="97"/>
                    <a:pt x="703" y="84"/>
                    <a:pt x="704" y="72"/>
                  </a:cubicBezTo>
                  <a:cubicBezTo>
                    <a:pt x="705" y="67"/>
                    <a:pt x="705" y="62"/>
                    <a:pt x="705" y="57"/>
                  </a:cubicBezTo>
                  <a:cubicBezTo>
                    <a:pt x="705" y="54"/>
                    <a:pt x="704" y="49"/>
                    <a:pt x="701" y="44"/>
                  </a:cubicBezTo>
                  <a:cubicBezTo>
                    <a:pt x="699" y="36"/>
                    <a:pt x="696" y="29"/>
                    <a:pt x="690" y="24"/>
                  </a:cubicBezTo>
                  <a:cubicBezTo>
                    <a:pt x="683" y="17"/>
                    <a:pt x="674" y="13"/>
                    <a:pt x="665" y="10"/>
                  </a:cubicBezTo>
                  <a:cubicBezTo>
                    <a:pt x="647" y="3"/>
                    <a:pt x="625" y="0"/>
                    <a:pt x="602" y="0"/>
                  </a:cubicBezTo>
                  <a:close/>
                  <a:moveTo>
                    <a:pt x="602" y="40"/>
                  </a:moveTo>
                  <a:cubicBezTo>
                    <a:pt x="621" y="40"/>
                    <a:pt x="640" y="43"/>
                    <a:pt x="652" y="47"/>
                  </a:cubicBezTo>
                  <a:cubicBezTo>
                    <a:pt x="658" y="49"/>
                    <a:pt x="662" y="52"/>
                    <a:pt x="663" y="53"/>
                  </a:cubicBezTo>
                  <a:cubicBezTo>
                    <a:pt x="665" y="54"/>
                    <a:pt x="663" y="53"/>
                    <a:pt x="663" y="52"/>
                  </a:cubicBezTo>
                  <a:lnTo>
                    <a:pt x="663" y="62"/>
                  </a:lnTo>
                  <a:lnTo>
                    <a:pt x="665" y="63"/>
                  </a:lnTo>
                  <a:cubicBezTo>
                    <a:pt x="665" y="65"/>
                    <a:pt x="665" y="65"/>
                    <a:pt x="664" y="67"/>
                  </a:cubicBezTo>
                  <a:cubicBezTo>
                    <a:pt x="663" y="76"/>
                    <a:pt x="661" y="89"/>
                    <a:pt x="657" y="105"/>
                  </a:cubicBezTo>
                  <a:cubicBezTo>
                    <a:pt x="649" y="137"/>
                    <a:pt x="637" y="181"/>
                    <a:pt x="625" y="230"/>
                  </a:cubicBezTo>
                  <a:cubicBezTo>
                    <a:pt x="599" y="326"/>
                    <a:pt x="570" y="438"/>
                    <a:pt x="563" y="511"/>
                  </a:cubicBezTo>
                  <a:cubicBezTo>
                    <a:pt x="557" y="576"/>
                    <a:pt x="524" y="726"/>
                    <a:pt x="489" y="865"/>
                  </a:cubicBezTo>
                  <a:cubicBezTo>
                    <a:pt x="472" y="934"/>
                    <a:pt x="454" y="1001"/>
                    <a:pt x="439" y="1055"/>
                  </a:cubicBezTo>
                  <a:cubicBezTo>
                    <a:pt x="423" y="1109"/>
                    <a:pt x="411" y="1150"/>
                    <a:pt x="405" y="1164"/>
                  </a:cubicBezTo>
                  <a:lnTo>
                    <a:pt x="404" y="1165"/>
                  </a:lnTo>
                  <a:cubicBezTo>
                    <a:pt x="403" y="1166"/>
                    <a:pt x="401" y="1167"/>
                    <a:pt x="396" y="1168"/>
                  </a:cubicBezTo>
                  <a:cubicBezTo>
                    <a:pt x="387" y="1171"/>
                    <a:pt x="371" y="1172"/>
                    <a:pt x="351" y="1172"/>
                  </a:cubicBezTo>
                  <a:cubicBezTo>
                    <a:pt x="312" y="1172"/>
                    <a:pt x="260" y="1165"/>
                    <a:pt x="210" y="1153"/>
                  </a:cubicBezTo>
                  <a:cubicBezTo>
                    <a:pt x="160" y="1142"/>
                    <a:pt x="111" y="1126"/>
                    <a:pt x="79" y="1109"/>
                  </a:cubicBezTo>
                  <a:cubicBezTo>
                    <a:pt x="63" y="1101"/>
                    <a:pt x="52" y="1092"/>
                    <a:pt x="47" y="1086"/>
                  </a:cubicBezTo>
                  <a:cubicBezTo>
                    <a:pt x="43" y="1079"/>
                    <a:pt x="43" y="1079"/>
                    <a:pt x="45" y="1076"/>
                  </a:cubicBezTo>
                  <a:cubicBezTo>
                    <a:pt x="256" y="762"/>
                    <a:pt x="391" y="517"/>
                    <a:pt x="531" y="62"/>
                  </a:cubicBezTo>
                  <a:lnTo>
                    <a:pt x="531" y="62"/>
                  </a:lnTo>
                  <a:lnTo>
                    <a:pt x="531" y="61"/>
                  </a:lnTo>
                  <a:cubicBezTo>
                    <a:pt x="531" y="59"/>
                    <a:pt x="537" y="53"/>
                    <a:pt x="550" y="48"/>
                  </a:cubicBezTo>
                  <a:cubicBezTo>
                    <a:pt x="564" y="43"/>
                    <a:pt x="584" y="41"/>
                    <a:pt x="602"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7"/>
            <p:cNvSpPr>
              <a:spLocks noEditPoints="1"/>
            </p:cNvSpPr>
            <p:nvPr/>
          </p:nvSpPr>
          <p:spPr bwMode="auto">
            <a:xfrm>
              <a:off x="6159500" y="4264026"/>
              <a:ext cx="301625" cy="806450"/>
            </a:xfrm>
            <a:custGeom>
              <a:avLst/>
              <a:gdLst>
                <a:gd name="T0" fmla="*/ 477 w 617"/>
                <a:gd name="T1" fmla="*/ 2 h 1648"/>
                <a:gd name="T2" fmla="*/ 477 w 617"/>
                <a:gd name="T3" fmla="*/ 2 h 1648"/>
                <a:gd name="T4" fmla="*/ 326 w 617"/>
                <a:gd name="T5" fmla="*/ 86 h 1648"/>
                <a:gd name="T6" fmla="*/ 263 w 617"/>
                <a:gd name="T7" fmla="*/ 271 h 1648"/>
                <a:gd name="T8" fmla="*/ 237 w 617"/>
                <a:gd name="T9" fmla="*/ 785 h 1648"/>
                <a:gd name="T10" fmla="*/ 82 w 617"/>
                <a:gd name="T11" fmla="*/ 1293 h 1648"/>
                <a:gd name="T12" fmla="*/ 11 w 617"/>
                <a:gd name="T13" fmla="*/ 1457 h 1648"/>
                <a:gd name="T14" fmla="*/ 8 w 617"/>
                <a:gd name="T15" fmla="*/ 1512 h 1648"/>
                <a:gd name="T16" fmla="*/ 31 w 617"/>
                <a:gd name="T17" fmla="*/ 1532 h 1648"/>
                <a:gd name="T18" fmla="*/ 60 w 617"/>
                <a:gd name="T19" fmla="*/ 1531 h 1648"/>
                <a:gd name="T20" fmla="*/ 226 w 617"/>
                <a:gd name="T21" fmla="*/ 1512 h 1648"/>
                <a:gd name="T22" fmla="*/ 227 w 617"/>
                <a:gd name="T23" fmla="*/ 1513 h 1648"/>
                <a:gd name="T24" fmla="*/ 235 w 617"/>
                <a:gd name="T25" fmla="*/ 1525 h 1648"/>
                <a:gd name="T26" fmla="*/ 257 w 617"/>
                <a:gd name="T27" fmla="*/ 1572 h 1648"/>
                <a:gd name="T28" fmla="*/ 287 w 617"/>
                <a:gd name="T29" fmla="*/ 1623 h 1648"/>
                <a:gd name="T30" fmla="*/ 345 w 617"/>
                <a:gd name="T31" fmla="*/ 1641 h 1648"/>
                <a:gd name="T32" fmla="*/ 429 w 617"/>
                <a:gd name="T33" fmla="*/ 1543 h 1648"/>
                <a:gd name="T34" fmla="*/ 489 w 617"/>
                <a:gd name="T35" fmla="*/ 1349 h 1648"/>
                <a:gd name="T36" fmla="*/ 574 w 617"/>
                <a:gd name="T37" fmla="*/ 799 h 1648"/>
                <a:gd name="T38" fmla="*/ 612 w 617"/>
                <a:gd name="T39" fmla="*/ 254 h 1648"/>
                <a:gd name="T40" fmla="*/ 582 w 617"/>
                <a:gd name="T41" fmla="*/ 75 h 1648"/>
                <a:gd name="T42" fmla="*/ 477 w 617"/>
                <a:gd name="T43" fmla="*/ 2 h 1648"/>
                <a:gd name="T44" fmla="*/ 477 w 617"/>
                <a:gd name="T45" fmla="*/ 2 h 1648"/>
                <a:gd name="T46" fmla="*/ 479 w 617"/>
                <a:gd name="T47" fmla="*/ 42 h 1648"/>
                <a:gd name="T48" fmla="*/ 545 w 617"/>
                <a:gd name="T49" fmla="*/ 91 h 1648"/>
                <a:gd name="T50" fmla="*/ 572 w 617"/>
                <a:gd name="T51" fmla="*/ 255 h 1648"/>
                <a:gd name="T52" fmla="*/ 534 w 617"/>
                <a:gd name="T53" fmla="*/ 795 h 1648"/>
                <a:gd name="T54" fmla="*/ 450 w 617"/>
                <a:gd name="T55" fmla="*/ 1340 h 1648"/>
                <a:gd name="T56" fmla="*/ 392 w 617"/>
                <a:gd name="T57" fmla="*/ 1526 h 1648"/>
                <a:gd name="T58" fmla="*/ 333 w 617"/>
                <a:gd name="T59" fmla="*/ 1603 h 1648"/>
                <a:gd name="T60" fmla="*/ 317 w 617"/>
                <a:gd name="T61" fmla="*/ 1596 h 1648"/>
                <a:gd name="T62" fmla="*/ 294 w 617"/>
                <a:gd name="T63" fmla="*/ 1556 h 1648"/>
                <a:gd name="T64" fmla="*/ 270 w 617"/>
                <a:gd name="T65" fmla="*/ 1505 h 1648"/>
                <a:gd name="T66" fmla="*/ 254 w 617"/>
                <a:gd name="T67" fmla="*/ 1483 h 1648"/>
                <a:gd name="T68" fmla="*/ 226 w 617"/>
                <a:gd name="T69" fmla="*/ 1472 h 1648"/>
                <a:gd name="T70" fmla="*/ 52 w 617"/>
                <a:gd name="T71" fmla="*/ 1492 h 1648"/>
                <a:gd name="T72" fmla="*/ 45 w 617"/>
                <a:gd name="T73" fmla="*/ 1493 h 1648"/>
                <a:gd name="T74" fmla="*/ 49 w 617"/>
                <a:gd name="T75" fmla="*/ 1469 h 1648"/>
                <a:gd name="T76" fmla="*/ 118 w 617"/>
                <a:gd name="T77" fmla="*/ 1310 h 1648"/>
                <a:gd name="T78" fmla="*/ 277 w 617"/>
                <a:gd name="T79" fmla="*/ 787 h 1648"/>
                <a:gd name="T80" fmla="*/ 303 w 617"/>
                <a:gd name="T81" fmla="*/ 277 h 1648"/>
                <a:gd name="T82" fmla="*/ 359 w 617"/>
                <a:gd name="T83" fmla="*/ 109 h 1648"/>
                <a:gd name="T84" fmla="*/ 479 w 617"/>
                <a:gd name="T85" fmla="*/ 42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1648">
                  <a:moveTo>
                    <a:pt x="477" y="2"/>
                  </a:moveTo>
                  <a:lnTo>
                    <a:pt x="477" y="2"/>
                  </a:lnTo>
                  <a:cubicBezTo>
                    <a:pt x="410" y="6"/>
                    <a:pt x="360" y="38"/>
                    <a:pt x="326" y="86"/>
                  </a:cubicBezTo>
                  <a:cubicBezTo>
                    <a:pt x="293" y="134"/>
                    <a:pt x="275" y="197"/>
                    <a:pt x="263" y="271"/>
                  </a:cubicBezTo>
                  <a:cubicBezTo>
                    <a:pt x="241" y="417"/>
                    <a:pt x="247" y="604"/>
                    <a:pt x="237" y="785"/>
                  </a:cubicBezTo>
                  <a:cubicBezTo>
                    <a:pt x="226" y="970"/>
                    <a:pt x="145" y="1156"/>
                    <a:pt x="82" y="1293"/>
                  </a:cubicBezTo>
                  <a:cubicBezTo>
                    <a:pt x="50" y="1362"/>
                    <a:pt x="23" y="1417"/>
                    <a:pt x="11" y="1457"/>
                  </a:cubicBezTo>
                  <a:cubicBezTo>
                    <a:pt x="5" y="1478"/>
                    <a:pt x="0" y="1494"/>
                    <a:pt x="8" y="1512"/>
                  </a:cubicBezTo>
                  <a:cubicBezTo>
                    <a:pt x="12" y="1521"/>
                    <a:pt x="22" y="1529"/>
                    <a:pt x="31" y="1532"/>
                  </a:cubicBezTo>
                  <a:cubicBezTo>
                    <a:pt x="41" y="1534"/>
                    <a:pt x="50" y="1534"/>
                    <a:pt x="60" y="1531"/>
                  </a:cubicBezTo>
                  <a:cubicBezTo>
                    <a:pt x="101" y="1523"/>
                    <a:pt x="190" y="1512"/>
                    <a:pt x="226" y="1512"/>
                  </a:cubicBezTo>
                  <a:cubicBezTo>
                    <a:pt x="225" y="1512"/>
                    <a:pt x="225" y="1511"/>
                    <a:pt x="227" y="1513"/>
                  </a:cubicBezTo>
                  <a:cubicBezTo>
                    <a:pt x="229" y="1514"/>
                    <a:pt x="232" y="1519"/>
                    <a:pt x="235" y="1525"/>
                  </a:cubicBezTo>
                  <a:cubicBezTo>
                    <a:pt x="242" y="1536"/>
                    <a:pt x="249" y="1554"/>
                    <a:pt x="257" y="1572"/>
                  </a:cubicBezTo>
                  <a:cubicBezTo>
                    <a:pt x="265" y="1590"/>
                    <a:pt x="274" y="1608"/>
                    <a:pt x="287" y="1623"/>
                  </a:cubicBezTo>
                  <a:cubicBezTo>
                    <a:pt x="300" y="1638"/>
                    <a:pt x="323" y="1648"/>
                    <a:pt x="345" y="1641"/>
                  </a:cubicBezTo>
                  <a:cubicBezTo>
                    <a:pt x="382" y="1629"/>
                    <a:pt x="406" y="1593"/>
                    <a:pt x="429" y="1543"/>
                  </a:cubicBezTo>
                  <a:cubicBezTo>
                    <a:pt x="451" y="1493"/>
                    <a:pt x="471" y="1427"/>
                    <a:pt x="489" y="1349"/>
                  </a:cubicBezTo>
                  <a:cubicBezTo>
                    <a:pt x="525" y="1195"/>
                    <a:pt x="553" y="997"/>
                    <a:pt x="574" y="799"/>
                  </a:cubicBezTo>
                  <a:cubicBezTo>
                    <a:pt x="596" y="595"/>
                    <a:pt x="617" y="400"/>
                    <a:pt x="612" y="254"/>
                  </a:cubicBezTo>
                  <a:cubicBezTo>
                    <a:pt x="610" y="181"/>
                    <a:pt x="602" y="120"/>
                    <a:pt x="582" y="75"/>
                  </a:cubicBezTo>
                  <a:cubicBezTo>
                    <a:pt x="562" y="30"/>
                    <a:pt x="525" y="0"/>
                    <a:pt x="477" y="2"/>
                  </a:cubicBezTo>
                  <a:lnTo>
                    <a:pt x="477" y="2"/>
                  </a:lnTo>
                  <a:close/>
                  <a:moveTo>
                    <a:pt x="479" y="42"/>
                  </a:moveTo>
                  <a:cubicBezTo>
                    <a:pt x="511" y="41"/>
                    <a:pt x="529" y="55"/>
                    <a:pt x="545" y="91"/>
                  </a:cubicBezTo>
                  <a:cubicBezTo>
                    <a:pt x="561" y="128"/>
                    <a:pt x="570" y="185"/>
                    <a:pt x="572" y="255"/>
                  </a:cubicBezTo>
                  <a:cubicBezTo>
                    <a:pt x="577" y="396"/>
                    <a:pt x="556" y="591"/>
                    <a:pt x="534" y="795"/>
                  </a:cubicBezTo>
                  <a:cubicBezTo>
                    <a:pt x="513" y="991"/>
                    <a:pt x="485" y="1189"/>
                    <a:pt x="450" y="1340"/>
                  </a:cubicBezTo>
                  <a:cubicBezTo>
                    <a:pt x="433" y="1416"/>
                    <a:pt x="413" y="1480"/>
                    <a:pt x="392" y="1526"/>
                  </a:cubicBezTo>
                  <a:cubicBezTo>
                    <a:pt x="372" y="1572"/>
                    <a:pt x="349" y="1598"/>
                    <a:pt x="333" y="1603"/>
                  </a:cubicBezTo>
                  <a:cubicBezTo>
                    <a:pt x="326" y="1605"/>
                    <a:pt x="324" y="1604"/>
                    <a:pt x="317" y="1596"/>
                  </a:cubicBezTo>
                  <a:cubicBezTo>
                    <a:pt x="309" y="1588"/>
                    <a:pt x="301" y="1573"/>
                    <a:pt x="294" y="1556"/>
                  </a:cubicBezTo>
                  <a:cubicBezTo>
                    <a:pt x="286" y="1539"/>
                    <a:pt x="279" y="1520"/>
                    <a:pt x="270" y="1505"/>
                  </a:cubicBezTo>
                  <a:cubicBezTo>
                    <a:pt x="266" y="1497"/>
                    <a:pt x="261" y="1490"/>
                    <a:pt x="254" y="1483"/>
                  </a:cubicBezTo>
                  <a:cubicBezTo>
                    <a:pt x="247" y="1477"/>
                    <a:pt x="238" y="1472"/>
                    <a:pt x="226" y="1472"/>
                  </a:cubicBezTo>
                  <a:cubicBezTo>
                    <a:pt x="182" y="1472"/>
                    <a:pt x="97" y="1483"/>
                    <a:pt x="52" y="1492"/>
                  </a:cubicBezTo>
                  <a:cubicBezTo>
                    <a:pt x="48" y="1493"/>
                    <a:pt x="47" y="1493"/>
                    <a:pt x="45" y="1493"/>
                  </a:cubicBezTo>
                  <a:cubicBezTo>
                    <a:pt x="45" y="1492"/>
                    <a:pt x="44" y="1484"/>
                    <a:pt x="49" y="1469"/>
                  </a:cubicBezTo>
                  <a:cubicBezTo>
                    <a:pt x="59" y="1435"/>
                    <a:pt x="86" y="1379"/>
                    <a:pt x="118" y="1310"/>
                  </a:cubicBezTo>
                  <a:cubicBezTo>
                    <a:pt x="182" y="1172"/>
                    <a:pt x="265" y="982"/>
                    <a:pt x="277" y="787"/>
                  </a:cubicBezTo>
                  <a:cubicBezTo>
                    <a:pt x="287" y="604"/>
                    <a:pt x="281" y="417"/>
                    <a:pt x="303" y="277"/>
                  </a:cubicBezTo>
                  <a:cubicBezTo>
                    <a:pt x="314" y="207"/>
                    <a:pt x="332" y="149"/>
                    <a:pt x="359" y="109"/>
                  </a:cubicBezTo>
                  <a:cubicBezTo>
                    <a:pt x="387" y="69"/>
                    <a:pt x="423" y="46"/>
                    <a:pt x="479"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88"/>
            <p:cNvSpPr>
              <a:spLocks noEditPoints="1"/>
            </p:cNvSpPr>
            <p:nvPr/>
          </p:nvSpPr>
          <p:spPr bwMode="auto">
            <a:xfrm>
              <a:off x="6230938" y="4103688"/>
              <a:ext cx="325437" cy="561975"/>
            </a:xfrm>
            <a:custGeom>
              <a:avLst/>
              <a:gdLst>
                <a:gd name="T0" fmla="*/ 363 w 665"/>
                <a:gd name="T1" fmla="*/ 0 h 1150"/>
                <a:gd name="T2" fmla="*/ 360 w 665"/>
                <a:gd name="T3" fmla="*/ 0 h 1150"/>
                <a:gd name="T4" fmla="*/ 148 w 665"/>
                <a:gd name="T5" fmla="*/ 139 h 1150"/>
                <a:gd name="T6" fmla="*/ 33 w 665"/>
                <a:gd name="T7" fmla="*/ 348 h 1150"/>
                <a:gd name="T8" fmla="*/ 32 w 665"/>
                <a:gd name="T9" fmla="*/ 350 h 1150"/>
                <a:gd name="T10" fmla="*/ 32 w 665"/>
                <a:gd name="T11" fmla="*/ 352 h 1150"/>
                <a:gd name="T12" fmla="*/ 93 w 665"/>
                <a:gd name="T13" fmla="*/ 730 h 1150"/>
                <a:gd name="T14" fmla="*/ 97 w 665"/>
                <a:gd name="T15" fmla="*/ 741 h 1150"/>
                <a:gd name="T16" fmla="*/ 109 w 665"/>
                <a:gd name="T17" fmla="*/ 743 h 1150"/>
                <a:gd name="T18" fmla="*/ 132 w 665"/>
                <a:gd name="T19" fmla="*/ 738 h 1150"/>
                <a:gd name="T20" fmla="*/ 146 w 665"/>
                <a:gd name="T21" fmla="*/ 722 h 1150"/>
                <a:gd name="T22" fmla="*/ 154 w 665"/>
                <a:gd name="T23" fmla="*/ 683 h 1150"/>
                <a:gd name="T24" fmla="*/ 163 w 665"/>
                <a:gd name="T25" fmla="*/ 577 h 1150"/>
                <a:gd name="T26" fmla="*/ 322 w 665"/>
                <a:gd name="T27" fmla="*/ 367 h 1150"/>
                <a:gd name="T28" fmla="*/ 378 w 665"/>
                <a:gd name="T29" fmla="*/ 386 h 1150"/>
                <a:gd name="T30" fmla="*/ 415 w 665"/>
                <a:gd name="T31" fmla="*/ 464 h 1150"/>
                <a:gd name="T32" fmla="*/ 433 w 665"/>
                <a:gd name="T33" fmla="*/ 736 h 1150"/>
                <a:gd name="T34" fmla="*/ 420 w 665"/>
                <a:gd name="T35" fmla="*/ 1013 h 1150"/>
                <a:gd name="T36" fmla="*/ 422 w 665"/>
                <a:gd name="T37" fmla="*/ 1104 h 1150"/>
                <a:gd name="T38" fmla="*/ 431 w 665"/>
                <a:gd name="T39" fmla="*/ 1134 h 1150"/>
                <a:gd name="T40" fmla="*/ 446 w 665"/>
                <a:gd name="T41" fmla="*/ 1147 h 1150"/>
                <a:gd name="T42" fmla="*/ 467 w 665"/>
                <a:gd name="T43" fmla="*/ 1147 h 1150"/>
                <a:gd name="T44" fmla="*/ 477 w 665"/>
                <a:gd name="T45" fmla="*/ 1143 h 1150"/>
                <a:gd name="T46" fmla="*/ 479 w 665"/>
                <a:gd name="T47" fmla="*/ 1133 h 1150"/>
                <a:gd name="T48" fmla="*/ 649 w 665"/>
                <a:gd name="T49" fmla="*/ 484 h 1150"/>
                <a:gd name="T50" fmla="*/ 624 w 665"/>
                <a:gd name="T51" fmla="*/ 158 h 1150"/>
                <a:gd name="T52" fmla="*/ 365 w 665"/>
                <a:gd name="T53" fmla="*/ 0 h 1150"/>
                <a:gd name="T54" fmla="*/ 363 w 665"/>
                <a:gd name="T55" fmla="*/ 0 h 1150"/>
                <a:gd name="T56" fmla="*/ 365 w 665"/>
                <a:gd name="T57" fmla="*/ 40 h 1150"/>
                <a:gd name="T58" fmla="*/ 587 w 665"/>
                <a:gd name="T59" fmla="*/ 174 h 1150"/>
                <a:gd name="T60" fmla="*/ 609 w 665"/>
                <a:gd name="T61" fmla="*/ 478 h 1150"/>
                <a:gd name="T62" fmla="*/ 461 w 665"/>
                <a:gd name="T63" fmla="*/ 1053 h 1150"/>
                <a:gd name="T64" fmla="*/ 460 w 665"/>
                <a:gd name="T65" fmla="*/ 1014 h 1150"/>
                <a:gd name="T66" fmla="*/ 473 w 665"/>
                <a:gd name="T67" fmla="*/ 737 h 1150"/>
                <a:gd name="T68" fmla="*/ 453 w 665"/>
                <a:gd name="T69" fmla="*/ 454 h 1150"/>
                <a:gd name="T70" fmla="*/ 406 w 665"/>
                <a:gd name="T71" fmla="*/ 359 h 1150"/>
                <a:gd name="T72" fmla="*/ 315 w 665"/>
                <a:gd name="T73" fmla="*/ 327 h 1150"/>
                <a:gd name="T74" fmla="*/ 313 w 665"/>
                <a:gd name="T75" fmla="*/ 327 h 1150"/>
                <a:gd name="T76" fmla="*/ 311 w 665"/>
                <a:gd name="T77" fmla="*/ 328 h 1150"/>
                <a:gd name="T78" fmla="*/ 124 w 665"/>
                <a:gd name="T79" fmla="*/ 571 h 1150"/>
                <a:gd name="T80" fmla="*/ 115 w 665"/>
                <a:gd name="T81" fmla="*/ 675 h 1150"/>
                <a:gd name="T82" fmla="*/ 71 w 665"/>
                <a:gd name="T83" fmla="*/ 361 h 1150"/>
                <a:gd name="T84" fmla="*/ 179 w 665"/>
                <a:gd name="T85" fmla="*/ 164 h 1150"/>
                <a:gd name="T86" fmla="*/ 365 w 665"/>
                <a:gd name="T87" fmla="*/ 4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5" h="1150">
                  <a:moveTo>
                    <a:pt x="363" y="0"/>
                  </a:moveTo>
                  <a:lnTo>
                    <a:pt x="360" y="0"/>
                  </a:lnTo>
                  <a:cubicBezTo>
                    <a:pt x="268" y="18"/>
                    <a:pt x="199" y="73"/>
                    <a:pt x="148" y="139"/>
                  </a:cubicBezTo>
                  <a:cubicBezTo>
                    <a:pt x="96" y="205"/>
                    <a:pt x="60" y="282"/>
                    <a:pt x="33" y="348"/>
                  </a:cubicBezTo>
                  <a:lnTo>
                    <a:pt x="32" y="350"/>
                  </a:lnTo>
                  <a:lnTo>
                    <a:pt x="32" y="352"/>
                  </a:lnTo>
                  <a:cubicBezTo>
                    <a:pt x="0" y="538"/>
                    <a:pt x="61" y="637"/>
                    <a:pt x="93" y="730"/>
                  </a:cubicBezTo>
                  <a:lnTo>
                    <a:pt x="97" y="741"/>
                  </a:lnTo>
                  <a:lnTo>
                    <a:pt x="109" y="743"/>
                  </a:lnTo>
                  <a:cubicBezTo>
                    <a:pt x="117" y="744"/>
                    <a:pt x="126" y="743"/>
                    <a:pt x="132" y="738"/>
                  </a:cubicBezTo>
                  <a:cubicBezTo>
                    <a:pt x="139" y="734"/>
                    <a:pt x="143" y="728"/>
                    <a:pt x="146" y="722"/>
                  </a:cubicBezTo>
                  <a:cubicBezTo>
                    <a:pt x="152" y="710"/>
                    <a:pt x="153" y="698"/>
                    <a:pt x="154" y="683"/>
                  </a:cubicBezTo>
                  <a:cubicBezTo>
                    <a:pt x="157" y="654"/>
                    <a:pt x="157" y="617"/>
                    <a:pt x="163" y="577"/>
                  </a:cubicBezTo>
                  <a:cubicBezTo>
                    <a:pt x="175" y="498"/>
                    <a:pt x="206" y="412"/>
                    <a:pt x="322" y="367"/>
                  </a:cubicBezTo>
                  <a:cubicBezTo>
                    <a:pt x="347" y="364"/>
                    <a:pt x="363" y="371"/>
                    <a:pt x="378" y="386"/>
                  </a:cubicBezTo>
                  <a:cubicBezTo>
                    <a:pt x="393" y="402"/>
                    <a:pt x="406" y="429"/>
                    <a:pt x="415" y="464"/>
                  </a:cubicBezTo>
                  <a:cubicBezTo>
                    <a:pt x="433" y="534"/>
                    <a:pt x="436" y="635"/>
                    <a:pt x="433" y="736"/>
                  </a:cubicBezTo>
                  <a:cubicBezTo>
                    <a:pt x="431" y="836"/>
                    <a:pt x="423" y="938"/>
                    <a:pt x="420" y="1013"/>
                  </a:cubicBezTo>
                  <a:cubicBezTo>
                    <a:pt x="419" y="1051"/>
                    <a:pt x="419" y="1081"/>
                    <a:pt x="422" y="1104"/>
                  </a:cubicBezTo>
                  <a:cubicBezTo>
                    <a:pt x="423" y="1116"/>
                    <a:pt x="425" y="1125"/>
                    <a:pt x="431" y="1134"/>
                  </a:cubicBezTo>
                  <a:cubicBezTo>
                    <a:pt x="434" y="1139"/>
                    <a:pt x="439" y="1144"/>
                    <a:pt x="446" y="1147"/>
                  </a:cubicBezTo>
                  <a:cubicBezTo>
                    <a:pt x="453" y="1150"/>
                    <a:pt x="461" y="1149"/>
                    <a:pt x="467" y="1147"/>
                  </a:cubicBezTo>
                  <a:lnTo>
                    <a:pt x="477" y="1143"/>
                  </a:lnTo>
                  <a:lnTo>
                    <a:pt x="479" y="1133"/>
                  </a:lnTo>
                  <a:cubicBezTo>
                    <a:pt x="510" y="998"/>
                    <a:pt x="616" y="726"/>
                    <a:pt x="649" y="484"/>
                  </a:cubicBezTo>
                  <a:cubicBezTo>
                    <a:pt x="665" y="362"/>
                    <a:pt x="664" y="247"/>
                    <a:pt x="624" y="158"/>
                  </a:cubicBezTo>
                  <a:cubicBezTo>
                    <a:pt x="583" y="68"/>
                    <a:pt x="499" y="7"/>
                    <a:pt x="365" y="0"/>
                  </a:cubicBezTo>
                  <a:lnTo>
                    <a:pt x="363" y="0"/>
                  </a:lnTo>
                  <a:close/>
                  <a:moveTo>
                    <a:pt x="365" y="40"/>
                  </a:moveTo>
                  <a:cubicBezTo>
                    <a:pt x="487" y="48"/>
                    <a:pt x="552" y="97"/>
                    <a:pt x="587" y="174"/>
                  </a:cubicBezTo>
                  <a:cubicBezTo>
                    <a:pt x="623" y="252"/>
                    <a:pt x="625" y="361"/>
                    <a:pt x="609" y="478"/>
                  </a:cubicBezTo>
                  <a:cubicBezTo>
                    <a:pt x="581" y="685"/>
                    <a:pt x="503" y="904"/>
                    <a:pt x="461" y="1053"/>
                  </a:cubicBezTo>
                  <a:cubicBezTo>
                    <a:pt x="461" y="1040"/>
                    <a:pt x="460" y="1031"/>
                    <a:pt x="460" y="1014"/>
                  </a:cubicBezTo>
                  <a:cubicBezTo>
                    <a:pt x="463" y="941"/>
                    <a:pt x="471" y="839"/>
                    <a:pt x="473" y="737"/>
                  </a:cubicBezTo>
                  <a:cubicBezTo>
                    <a:pt x="476" y="634"/>
                    <a:pt x="473" y="532"/>
                    <a:pt x="453" y="454"/>
                  </a:cubicBezTo>
                  <a:cubicBezTo>
                    <a:pt x="443" y="415"/>
                    <a:pt x="429" y="382"/>
                    <a:pt x="406" y="359"/>
                  </a:cubicBezTo>
                  <a:cubicBezTo>
                    <a:pt x="384" y="335"/>
                    <a:pt x="352" y="322"/>
                    <a:pt x="315" y="327"/>
                  </a:cubicBezTo>
                  <a:lnTo>
                    <a:pt x="313" y="327"/>
                  </a:lnTo>
                  <a:lnTo>
                    <a:pt x="311" y="328"/>
                  </a:lnTo>
                  <a:cubicBezTo>
                    <a:pt x="178" y="378"/>
                    <a:pt x="137" y="484"/>
                    <a:pt x="124" y="571"/>
                  </a:cubicBezTo>
                  <a:cubicBezTo>
                    <a:pt x="117" y="612"/>
                    <a:pt x="117" y="649"/>
                    <a:pt x="115" y="675"/>
                  </a:cubicBezTo>
                  <a:cubicBezTo>
                    <a:pt x="82" y="593"/>
                    <a:pt x="46" y="510"/>
                    <a:pt x="71" y="361"/>
                  </a:cubicBezTo>
                  <a:cubicBezTo>
                    <a:pt x="98" y="297"/>
                    <a:pt x="132" y="224"/>
                    <a:pt x="179" y="164"/>
                  </a:cubicBezTo>
                  <a:cubicBezTo>
                    <a:pt x="226" y="103"/>
                    <a:pt x="286" y="56"/>
                    <a:pt x="36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89"/>
            <p:cNvSpPr>
              <a:spLocks noEditPoints="1"/>
            </p:cNvSpPr>
            <p:nvPr/>
          </p:nvSpPr>
          <p:spPr bwMode="auto">
            <a:xfrm>
              <a:off x="6515100" y="5578476"/>
              <a:ext cx="168275" cy="273050"/>
            </a:xfrm>
            <a:custGeom>
              <a:avLst/>
              <a:gdLst>
                <a:gd name="T0" fmla="*/ 291 w 345"/>
                <a:gd name="T1" fmla="*/ 2 h 560"/>
                <a:gd name="T2" fmla="*/ 194 w 345"/>
                <a:gd name="T3" fmla="*/ 48 h 560"/>
                <a:gd name="T4" fmla="*/ 105 w 345"/>
                <a:gd name="T5" fmla="*/ 165 h 560"/>
                <a:gd name="T6" fmla="*/ 0 w 345"/>
                <a:gd name="T7" fmla="*/ 489 h 560"/>
                <a:gd name="T8" fmla="*/ 0 w 345"/>
                <a:gd name="T9" fmla="*/ 491 h 560"/>
                <a:gd name="T10" fmla="*/ 0 w 345"/>
                <a:gd name="T11" fmla="*/ 492 h 560"/>
                <a:gd name="T12" fmla="*/ 21 w 345"/>
                <a:gd name="T13" fmla="*/ 531 h 560"/>
                <a:gd name="T14" fmla="*/ 60 w 345"/>
                <a:gd name="T15" fmla="*/ 550 h 560"/>
                <a:gd name="T16" fmla="*/ 158 w 345"/>
                <a:gd name="T17" fmla="*/ 558 h 560"/>
                <a:gd name="T18" fmla="*/ 252 w 345"/>
                <a:gd name="T19" fmla="*/ 541 h 560"/>
                <a:gd name="T20" fmla="*/ 286 w 345"/>
                <a:gd name="T21" fmla="*/ 526 h 560"/>
                <a:gd name="T22" fmla="*/ 298 w 345"/>
                <a:gd name="T23" fmla="*/ 514 h 560"/>
                <a:gd name="T24" fmla="*/ 303 w 345"/>
                <a:gd name="T25" fmla="*/ 492 h 560"/>
                <a:gd name="T26" fmla="*/ 329 w 345"/>
                <a:gd name="T27" fmla="*/ 195 h 560"/>
                <a:gd name="T28" fmla="*/ 344 w 345"/>
                <a:gd name="T29" fmla="*/ 71 h 560"/>
                <a:gd name="T30" fmla="*/ 332 w 345"/>
                <a:gd name="T31" fmla="*/ 25 h 560"/>
                <a:gd name="T32" fmla="*/ 291 w 345"/>
                <a:gd name="T33" fmla="*/ 2 h 560"/>
                <a:gd name="T34" fmla="*/ 288 w 345"/>
                <a:gd name="T35" fmla="*/ 42 h 560"/>
                <a:gd name="T36" fmla="*/ 298 w 345"/>
                <a:gd name="T37" fmla="*/ 47 h 560"/>
                <a:gd name="T38" fmla="*/ 304 w 345"/>
                <a:gd name="T39" fmla="*/ 73 h 560"/>
                <a:gd name="T40" fmla="*/ 289 w 345"/>
                <a:gd name="T41" fmla="*/ 187 h 560"/>
                <a:gd name="T42" fmla="*/ 263 w 345"/>
                <a:gd name="T43" fmla="*/ 493 h 560"/>
                <a:gd name="T44" fmla="*/ 240 w 345"/>
                <a:gd name="T45" fmla="*/ 503 h 560"/>
                <a:gd name="T46" fmla="*/ 156 w 345"/>
                <a:gd name="T47" fmla="*/ 518 h 560"/>
                <a:gd name="T48" fmla="*/ 70 w 345"/>
                <a:gd name="T49" fmla="*/ 512 h 560"/>
                <a:gd name="T50" fmla="*/ 47 w 345"/>
                <a:gd name="T51" fmla="*/ 501 h 560"/>
                <a:gd name="T52" fmla="*/ 40 w 345"/>
                <a:gd name="T53" fmla="*/ 490 h 560"/>
                <a:gd name="T54" fmla="*/ 139 w 345"/>
                <a:gd name="T55" fmla="*/ 185 h 560"/>
                <a:gd name="T56" fmla="*/ 221 w 345"/>
                <a:gd name="T57" fmla="*/ 77 h 560"/>
                <a:gd name="T58" fmla="*/ 288 w 345"/>
                <a:gd name="T59" fmla="*/ 4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5" h="560">
                  <a:moveTo>
                    <a:pt x="291" y="2"/>
                  </a:moveTo>
                  <a:cubicBezTo>
                    <a:pt x="257" y="0"/>
                    <a:pt x="225" y="19"/>
                    <a:pt x="194" y="48"/>
                  </a:cubicBezTo>
                  <a:cubicBezTo>
                    <a:pt x="163" y="77"/>
                    <a:pt x="132" y="118"/>
                    <a:pt x="105" y="165"/>
                  </a:cubicBezTo>
                  <a:cubicBezTo>
                    <a:pt x="50" y="259"/>
                    <a:pt x="6" y="380"/>
                    <a:pt x="0" y="489"/>
                  </a:cubicBezTo>
                  <a:lnTo>
                    <a:pt x="0" y="491"/>
                  </a:lnTo>
                  <a:lnTo>
                    <a:pt x="0" y="492"/>
                  </a:lnTo>
                  <a:cubicBezTo>
                    <a:pt x="1" y="508"/>
                    <a:pt x="10" y="522"/>
                    <a:pt x="21" y="531"/>
                  </a:cubicBezTo>
                  <a:cubicBezTo>
                    <a:pt x="32" y="540"/>
                    <a:pt x="45" y="546"/>
                    <a:pt x="60" y="550"/>
                  </a:cubicBezTo>
                  <a:cubicBezTo>
                    <a:pt x="89" y="559"/>
                    <a:pt x="124" y="560"/>
                    <a:pt x="158" y="558"/>
                  </a:cubicBezTo>
                  <a:cubicBezTo>
                    <a:pt x="193" y="555"/>
                    <a:pt x="226" y="550"/>
                    <a:pt x="252" y="541"/>
                  </a:cubicBezTo>
                  <a:cubicBezTo>
                    <a:pt x="265" y="537"/>
                    <a:pt x="276" y="533"/>
                    <a:pt x="286" y="526"/>
                  </a:cubicBezTo>
                  <a:cubicBezTo>
                    <a:pt x="290" y="523"/>
                    <a:pt x="295" y="520"/>
                    <a:pt x="298" y="514"/>
                  </a:cubicBezTo>
                  <a:cubicBezTo>
                    <a:pt x="302" y="509"/>
                    <a:pt x="305" y="501"/>
                    <a:pt x="303" y="492"/>
                  </a:cubicBezTo>
                  <a:cubicBezTo>
                    <a:pt x="286" y="405"/>
                    <a:pt x="310" y="290"/>
                    <a:pt x="329" y="195"/>
                  </a:cubicBezTo>
                  <a:cubicBezTo>
                    <a:pt x="338" y="147"/>
                    <a:pt x="345" y="105"/>
                    <a:pt x="344" y="71"/>
                  </a:cubicBezTo>
                  <a:cubicBezTo>
                    <a:pt x="343" y="54"/>
                    <a:pt x="341" y="39"/>
                    <a:pt x="332" y="25"/>
                  </a:cubicBezTo>
                  <a:cubicBezTo>
                    <a:pt x="324" y="12"/>
                    <a:pt x="308" y="3"/>
                    <a:pt x="291" y="2"/>
                  </a:cubicBezTo>
                  <a:close/>
                  <a:moveTo>
                    <a:pt x="288" y="42"/>
                  </a:moveTo>
                  <a:cubicBezTo>
                    <a:pt x="295" y="42"/>
                    <a:pt x="296" y="43"/>
                    <a:pt x="298" y="47"/>
                  </a:cubicBezTo>
                  <a:cubicBezTo>
                    <a:pt x="301" y="51"/>
                    <a:pt x="304" y="60"/>
                    <a:pt x="304" y="73"/>
                  </a:cubicBezTo>
                  <a:cubicBezTo>
                    <a:pt x="305" y="99"/>
                    <a:pt x="298" y="140"/>
                    <a:pt x="289" y="187"/>
                  </a:cubicBezTo>
                  <a:cubicBezTo>
                    <a:pt x="272" y="279"/>
                    <a:pt x="246" y="394"/>
                    <a:pt x="263" y="493"/>
                  </a:cubicBezTo>
                  <a:cubicBezTo>
                    <a:pt x="259" y="496"/>
                    <a:pt x="251" y="500"/>
                    <a:pt x="240" y="503"/>
                  </a:cubicBezTo>
                  <a:cubicBezTo>
                    <a:pt x="219" y="510"/>
                    <a:pt x="187" y="516"/>
                    <a:pt x="156" y="518"/>
                  </a:cubicBezTo>
                  <a:cubicBezTo>
                    <a:pt x="124" y="520"/>
                    <a:pt x="92" y="518"/>
                    <a:pt x="70" y="512"/>
                  </a:cubicBezTo>
                  <a:cubicBezTo>
                    <a:pt x="60" y="509"/>
                    <a:pt x="51" y="505"/>
                    <a:pt x="47" y="501"/>
                  </a:cubicBezTo>
                  <a:cubicBezTo>
                    <a:pt x="42" y="497"/>
                    <a:pt x="41" y="494"/>
                    <a:pt x="40" y="490"/>
                  </a:cubicBezTo>
                  <a:cubicBezTo>
                    <a:pt x="46" y="389"/>
                    <a:pt x="88" y="274"/>
                    <a:pt x="139" y="185"/>
                  </a:cubicBezTo>
                  <a:cubicBezTo>
                    <a:pt x="165" y="140"/>
                    <a:pt x="194" y="103"/>
                    <a:pt x="221" y="77"/>
                  </a:cubicBezTo>
                  <a:cubicBezTo>
                    <a:pt x="248" y="52"/>
                    <a:pt x="273" y="41"/>
                    <a:pt x="28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90"/>
            <p:cNvSpPr>
              <a:spLocks noEditPoints="1"/>
            </p:cNvSpPr>
            <p:nvPr/>
          </p:nvSpPr>
          <p:spPr bwMode="auto">
            <a:xfrm>
              <a:off x="6572250" y="4779963"/>
              <a:ext cx="200025" cy="842963"/>
            </a:xfrm>
            <a:custGeom>
              <a:avLst/>
              <a:gdLst>
                <a:gd name="T0" fmla="*/ 304 w 410"/>
                <a:gd name="T1" fmla="*/ 1 h 1726"/>
                <a:gd name="T2" fmla="*/ 281 w 410"/>
                <a:gd name="T3" fmla="*/ 14 h 1726"/>
                <a:gd name="T4" fmla="*/ 269 w 410"/>
                <a:gd name="T5" fmla="*/ 35 h 1726"/>
                <a:gd name="T6" fmla="*/ 249 w 410"/>
                <a:gd name="T7" fmla="*/ 99 h 1726"/>
                <a:gd name="T8" fmla="*/ 209 w 410"/>
                <a:gd name="T9" fmla="*/ 307 h 1726"/>
                <a:gd name="T10" fmla="*/ 163 w 410"/>
                <a:gd name="T11" fmla="*/ 814 h 1726"/>
                <a:gd name="T12" fmla="*/ 134 w 410"/>
                <a:gd name="T13" fmla="*/ 1016 h 1726"/>
                <a:gd name="T14" fmla="*/ 72 w 410"/>
                <a:gd name="T15" fmla="*/ 1313 h 1726"/>
                <a:gd name="T16" fmla="*/ 16 w 410"/>
                <a:gd name="T17" fmla="*/ 1583 h 1726"/>
                <a:gd name="T18" fmla="*/ 2 w 410"/>
                <a:gd name="T19" fmla="*/ 1670 h 1726"/>
                <a:gd name="T20" fmla="*/ 0 w 410"/>
                <a:gd name="T21" fmla="*/ 1697 h 1726"/>
                <a:gd name="T22" fmla="*/ 3 w 410"/>
                <a:gd name="T23" fmla="*/ 1710 h 1726"/>
                <a:gd name="T24" fmla="*/ 8 w 410"/>
                <a:gd name="T25" fmla="*/ 1718 h 1726"/>
                <a:gd name="T26" fmla="*/ 22 w 410"/>
                <a:gd name="T27" fmla="*/ 1725 h 1726"/>
                <a:gd name="T28" fmla="*/ 64 w 410"/>
                <a:gd name="T29" fmla="*/ 1712 h 1726"/>
                <a:gd name="T30" fmla="*/ 104 w 410"/>
                <a:gd name="T31" fmla="*/ 1687 h 1726"/>
                <a:gd name="T32" fmla="*/ 139 w 410"/>
                <a:gd name="T33" fmla="*/ 1663 h 1726"/>
                <a:gd name="T34" fmla="*/ 151 w 410"/>
                <a:gd name="T35" fmla="*/ 1655 h 1726"/>
                <a:gd name="T36" fmla="*/ 193 w 410"/>
                <a:gd name="T37" fmla="*/ 1675 h 1726"/>
                <a:gd name="T38" fmla="*/ 258 w 410"/>
                <a:gd name="T39" fmla="*/ 1696 h 1726"/>
                <a:gd name="T40" fmla="*/ 282 w 410"/>
                <a:gd name="T41" fmla="*/ 1686 h 1726"/>
                <a:gd name="T42" fmla="*/ 295 w 410"/>
                <a:gd name="T43" fmla="*/ 1668 h 1726"/>
                <a:gd name="T44" fmla="*/ 317 w 410"/>
                <a:gd name="T45" fmla="*/ 1615 h 1726"/>
                <a:gd name="T46" fmla="*/ 354 w 410"/>
                <a:gd name="T47" fmla="*/ 1453 h 1726"/>
                <a:gd name="T48" fmla="*/ 397 w 410"/>
                <a:gd name="T49" fmla="*/ 1110 h 1726"/>
                <a:gd name="T50" fmla="*/ 397 w 410"/>
                <a:gd name="T51" fmla="*/ 1110 h 1726"/>
                <a:gd name="T52" fmla="*/ 397 w 410"/>
                <a:gd name="T53" fmla="*/ 1110 h 1726"/>
                <a:gd name="T54" fmla="*/ 404 w 410"/>
                <a:gd name="T55" fmla="*/ 409 h 1726"/>
                <a:gd name="T56" fmla="*/ 380 w 410"/>
                <a:gd name="T57" fmla="*/ 124 h 1726"/>
                <a:gd name="T58" fmla="*/ 355 w 410"/>
                <a:gd name="T59" fmla="*/ 37 h 1726"/>
                <a:gd name="T60" fmla="*/ 335 w 410"/>
                <a:gd name="T61" fmla="*/ 10 h 1726"/>
                <a:gd name="T62" fmla="*/ 304 w 410"/>
                <a:gd name="T63" fmla="*/ 1 h 1726"/>
                <a:gd name="T64" fmla="*/ 310 w 410"/>
                <a:gd name="T65" fmla="*/ 42 h 1726"/>
                <a:gd name="T66" fmla="*/ 319 w 410"/>
                <a:gd name="T67" fmla="*/ 55 h 1726"/>
                <a:gd name="T68" fmla="*/ 341 w 410"/>
                <a:gd name="T69" fmla="*/ 131 h 1726"/>
                <a:gd name="T70" fmla="*/ 364 w 410"/>
                <a:gd name="T71" fmla="*/ 410 h 1726"/>
                <a:gd name="T72" fmla="*/ 357 w 410"/>
                <a:gd name="T73" fmla="*/ 1108 h 1726"/>
                <a:gd name="T74" fmla="*/ 314 w 410"/>
                <a:gd name="T75" fmla="*/ 1446 h 1726"/>
                <a:gd name="T76" fmla="*/ 279 w 410"/>
                <a:gd name="T77" fmla="*/ 1603 h 1726"/>
                <a:gd name="T78" fmla="*/ 261 w 410"/>
                <a:gd name="T79" fmla="*/ 1648 h 1726"/>
                <a:gd name="T80" fmla="*/ 256 w 410"/>
                <a:gd name="T81" fmla="*/ 1655 h 1726"/>
                <a:gd name="T82" fmla="*/ 211 w 410"/>
                <a:gd name="T83" fmla="*/ 1639 h 1726"/>
                <a:gd name="T84" fmla="*/ 156 w 410"/>
                <a:gd name="T85" fmla="*/ 1616 h 1726"/>
                <a:gd name="T86" fmla="*/ 118 w 410"/>
                <a:gd name="T87" fmla="*/ 1628 h 1726"/>
                <a:gd name="T88" fmla="*/ 81 w 410"/>
                <a:gd name="T89" fmla="*/ 1654 h 1726"/>
                <a:gd name="T90" fmla="*/ 45 w 410"/>
                <a:gd name="T91" fmla="*/ 1677 h 1726"/>
                <a:gd name="T92" fmla="*/ 41 w 410"/>
                <a:gd name="T93" fmla="*/ 1679 h 1726"/>
                <a:gd name="T94" fmla="*/ 41 w 410"/>
                <a:gd name="T95" fmla="*/ 1674 h 1726"/>
                <a:gd name="T96" fmla="*/ 55 w 410"/>
                <a:gd name="T97" fmla="*/ 1590 h 1726"/>
                <a:gd name="T98" fmla="*/ 111 w 410"/>
                <a:gd name="T99" fmla="*/ 1322 h 1726"/>
                <a:gd name="T100" fmla="*/ 173 w 410"/>
                <a:gd name="T101" fmla="*/ 1023 h 1726"/>
                <a:gd name="T102" fmla="*/ 203 w 410"/>
                <a:gd name="T103" fmla="*/ 814 h 1726"/>
                <a:gd name="T104" fmla="*/ 248 w 410"/>
                <a:gd name="T105" fmla="*/ 313 h 1726"/>
                <a:gd name="T106" fmla="*/ 288 w 410"/>
                <a:gd name="T107" fmla="*/ 109 h 1726"/>
                <a:gd name="T108" fmla="*/ 306 w 410"/>
                <a:gd name="T109" fmla="*/ 50 h 1726"/>
                <a:gd name="T110" fmla="*/ 310 w 410"/>
                <a:gd name="T111" fmla="*/ 42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1726">
                  <a:moveTo>
                    <a:pt x="304" y="1"/>
                  </a:moveTo>
                  <a:cubicBezTo>
                    <a:pt x="292" y="1"/>
                    <a:pt x="285" y="8"/>
                    <a:pt x="281" y="14"/>
                  </a:cubicBezTo>
                  <a:cubicBezTo>
                    <a:pt x="276" y="20"/>
                    <a:pt x="273" y="27"/>
                    <a:pt x="269" y="35"/>
                  </a:cubicBezTo>
                  <a:cubicBezTo>
                    <a:pt x="262" y="51"/>
                    <a:pt x="256" y="72"/>
                    <a:pt x="249" y="99"/>
                  </a:cubicBezTo>
                  <a:cubicBezTo>
                    <a:pt x="235" y="152"/>
                    <a:pt x="221" y="225"/>
                    <a:pt x="209" y="307"/>
                  </a:cubicBezTo>
                  <a:cubicBezTo>
                    <a:pt x="183" y="471"/>
                    <a:pt x="163" y="670"/>
                    <a:pt x="163" y="814"/>
                  </a:cubicBezTo>
                  <a:cubicBezTo>
                    <a:pt x="163" y="849"/>
                    <a:pt x="151" y="925"/>
                    <a:pt x="134" y="1016"/>
                  </a:cubicBezTo>
                  <a:cubicBezTo>
                    <a:pt x="117" y="1106"/>
                    <a:pt x="94" y="1212"/>
                    <a:pt x="72" y="1313"/>
                  </a:cubicBezTo>
                  <a:cubicBezTo>
                    <a:pt x="50" y="1415"/>
                    <a:pt x="29" y="1511"/>
                    <a:pt x="16" y="1583"/>
                  </a:cubicBezTo>
                  <a:cubicBezTo>
                    <a:pt x="9" y="1619"/>
                    <a:pt x="4" y="1649"/>
                    <a:pt x="2" y="1670"/>
                  </a:cubicBezTo>
                  <a:cubicBezTo>
                    <a:pt x="0" y="1681"/>
                    <a:pt x="0" y="1690"/>
                    <a:pt x="0" y="1697"/>
                  </a:cubicBezTo>
                  <a:cubicBezTo>
                    <a:pt x="1" y="1701"/>
                    <a:pt x="1" y="1705"/>
                    <a:pt x="3" y="1710"/>
                  </a:cubicBezTo>
                  <a:cubicBezTo>
                    <a:pt x="4" y="1712"/>
                    <a:pt x="5" y="1715"/>
                    <a:pt x="8" y="1718"/>
                  </a:cubicBezTo>
                  <a:cubicBezTo>
                    <a:pt x="11" y="1721"/>
                    <a:pt x="17" y="1724"/>
                    <a:pt x="22" y="1725"/>
                  </a:cubicBezTo>
                  <a:cubicBezTo>
                    <a:pt x="38" y="1726"/>
                    <a:pt x="51" y="1720"/>
                    <a:pt x="64" y="1712"/>
                  </a:cubicBezTo>
                  <a:cubicBezTo>
                    <a:pt x="77" y="1705"/>
                    <a:pt x="91" y="1696"/>
                    <a:pt x="104" y="1687"/>
                  </a:cubicBezTo>
                  <a:cubicBezTo>
                    <a:pt x="117" y="1677"/>
                    <a:pt x="129" y="1669"/>
                    <a:pt x="139" y="1663"/>
                  </a:cubicBezTo>
                  <a:cubicBezTo>
                    <a:pt x="149" y="1657"/>
                    <a:pt x="158" y="1656"/>
                    <a:pt x="151" y="1655"/>
                  </a:cubicBezTo>
                  <a:cubicBezTo>
                    <a:pt x="154" y="1656"/>
                    <a:pt x="174" y="1665"/>
                    <a:pt x="193" y="1675"/>
                  </a:cubicBezTo>
                  <a:cubicBezTo>
                    <a:pt x="213" y="1685"/>
                    <a:pt x="234" y="1696"/>
                    <a:pt x="258" y="1696"/>
                  </a:cubicBezTo>
                  <a:cubicBezTo>
                    <a:pt x="268" y="1696"/>
                    <a:pt x="276" y="1691"/>
                    <a:pt x="282" y="1686"/>
                  </a:cubicBezTo>
                  <a:cubicBezTo>
                    <a:pt x="287" y="1681"/>
                    <a:pt x="291" y="1675"/>
                    <a:pt x="295" y="1668"/>
                  </a:cubicBezTo>
                  <a:cubicBezTo>
                    <a:pt x="303" y="1654"/>
                    <a:pt x="310" y="1636"/>
                    <a:pt x="317" y="1615"/>
                  </a:cubicBezTo>
                  <a:cubicBezTo>
                    <a:pt x="330" y="1572"/>
                    <a:pt x="343" y="1515"/>
                    <a:pt x="354" y="1453"/>
                  </a:cubicBezTo>
                  <a:cubicBezTo>
                    <a:pt x="376" y="1329"/>
                    <a:pt x="392" y="1187"/>
                    <a:pt x="397" y="1110"/>
                  </a:cubicBezTo>
                  <a:lnTo>
                    <a:pt x="397" y="1110"/>
                  </a:lnTo>
                  <a:lnTo>
                    <a:pt x="397" y="1110"/>
                  </a:lnTo>
                  <a:cubicBezTo>
                    <a:pt x="403" y="911"/>
                    <a:pt x="410" y="634"/>
                    <a:pt x="404" y="409"/>
                  </a:cubicBezTo>
                  <a:cubicBezTo>
                    <a:pt x="400" y="296"/>
                    <a:pt x="393" y="196"/>
                    <a:pt x="380" y="124"/>
                  </a:cubicBezTo>
                  <a:cubicBezTo>
                    <a:pt x="374" y="88"/>
                    <a:pt x="366" y="59"/>
                    <a:pt x="355" y="37"/>
                  </a:cubicBezTo>
                  <a:cubicBezTo>
                    <a:pt x="350" y="27"/>
                    <a:pt x="343" y="17"/>
                    <a:pt x="335" y="10"/>
                  </a:cubicBezTo>
                  <a:cubicBezTo>
                    <a:pt x="326" y="4"/>
                    <a:pt x="315" y="0"/>
                    <a:pt x="304" y="1"/>
                  </a:cubicBezTo>
                  <a:close/>
                  <a:moveTo>
                    <a:pt x="310" y="42"/>
                  </a:moveTo>
                  <a:cubicBezTo>
                    <a:pt x="312" y="44"/>
                    <a:pt x="316" y="48"/>
                    <a:pt x="319" y="55"/>
                  </a:cubicBezTo>
                  <a:cubicBezTo>
                    <a:pt x="327" y="71"/>
                    <a:pt x="335" y="97"/>
                    <a:pt x="341" y="131"/>
                  </a:cubicBezTo>
                  <a:cubicBezTo>
                    <a:pt x="353" y="199"/>
                    <a:pt x="360" y="298"/>
                    <a:pt x="364" y="410"/>
                  </a:cubicBezTo>
                  <a:cubicBezTo>
                    <a:pt x="370" y="634"/>
                    <a:pt x="363" y="910"/>
                    <a:pt x="357" y="1108"/>
                  </a:cubicBezTo>
                  <a:cubicBezTo>
                    <a:pt x="353" y="1182"/>
                    <a:pt x="336" y="1324"/>
                    <a:pt x="314" y="1446"/>
                  </a:cubicBezTo>
                  <a:cubicBezTo>
                    <a:pt x="303" y="1507"/>
                    <a:pt x="291" y="1563"/>
                    <a:pt x="279" y="1603"/>
                  </a:cubicBezTo>
                  <a:cubicBezTo>
                    <a:pt x="272" y="1623"/>
                    <a:pt x="266" y="1638"/>
                    <a:pt x="261" y="1648"/>
                  </a:cubicBezTo>
                  <a:cubicBezTo>
                    <a:pt x="258" y="1652"/>
                    <a:pt x="257" y="1654"/>
                    <a:pt x="256" y="1655"/>
                  </a:cubicBezTo>
                  <a:cubicBezTo>
                    <a:pt x="246" y="1654"/>
                    <a:pt x="229" y="1648"/>
                    <a:pt x="211" y="1639"/>
                  </a:cubicBezTo>
                  <a:cubicBezTo>
                    <a:pt x="193" y="1630"/>
                    <a:pt x="177" y="1618"/>
                    <a:pt x="156" y="1616"/>
                  </a:cubicBezTo>
                  <a:cubicBezTo>
                    <a:pt x="139" y="1613"/>
                    <a:pt x="130" y="1621"/>
                    <a:pt x="118" y="1628"/>
                  </a:cubicBezTo>
                  <a:cubicBezTo>
                    <a:pt x="106" y="1636"/>
                    <a:pt x="93" y="1645"/>
                    <a:pt x="81" y="1654"/>
                  </a:cubicBezTo>
                  <a:cubicBezTo>
                    <a:pt x="68" y="1663"/>
                    <a:pt x="55" y="1672"/>
                    <a:pt x="45" y="1677"/>
                  </a:cubicBezTo>
                  <a:cubicBezTo>
                    <a:pt x="43" y="1679"/>
                    <a:pt x="43" y="1678"/>
                    <a:pt x="41" y="1679"/>
                  </a:cubicBezTo>
                  <a:cubicBezTo>
                    <a:pt x="41" y="1677"/>
                    <a:pt x="41" y="1677"/>
                    <a:pt x="41" y="1674"/>
                  </a:cubicBezTo>
                  <a:cubicBezTo>
                    <a:pt x="43" y="1655"/>
                    <a:pt x="48" y="1626"/>
                    <a:pt x="55" y="1590"/>
                  </a:cubicBezTo>
                  <a:cubicBezTo>
                    <a:pt x="68" y="1520"/>
                    <a:pt x="89" y="1423"/>
                    <a:pt x="111" y="1322"/>
                  </a:cubicBezTo>
                  <a:cubicBezTo>
                    <a:pt x="133" y="1221"/>
                    <a:pt x="156" y="1114"/>
                    <a:pt x="173" y="1023"/>
                  </a:cubicBezTo>
                  <a:cubicBezTo>
                    <a:pt x="191" y="932"/>
                    <a:pt x="203" y="857"/>
                    <a:pt x="203" y="814"/>
                  </a:cubicBezTo>
                  <a:cubicBezTo>
                    <a:pt x="203" y="674"/>
                    <a:pt x="223" y="475"/>
                    <a:pt x="248" y="313"/>
                  </a:cubicBezTo>
                  <a:cubicBezTo>
                    <a:pt x="261" y="232"/>
                    <a:pt x="275" y="160"/>
                    <a:pt x="288" y="109"/>
                  </a:cubicBezTo>
                  <a:cubicBezTo>
                    <a:pt x="294" y="83"/>
                    <a:pt x="301" y="63"/>
                    <a:pt x="306" y="50"/>
                  </a:cubicBezTo>
                  <a:cubicBezTo>
                    <a:pt x="308" y="46"/>
                    <a:pt x="309" y="44"/>
                    <a:pt x="310"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91"/>
            <p:cNvSpPr>
              <a:spLocks noEditPoints="1"/>
            </p:cNvSpPr>
            <p:nvPr/>
          </p:nvSpPr>
          <p:spPr bwMode="auto">
            <a:xfrm>
              <a:off x="6627813" y="3970338"/>
              <a:ext cx="179387" cy="890588"/>
            </a:xfrm>
            <a:custGeom>
              <a:avLst/>
              <a:gdLst>
                <a:gd name="T0" fmla="*/ 127 w 365"/>
                <a:gd name="T1" fmla="*/ 2 h 1822"/>
                <a:gd name="T2" fmla="*/ 88 w 365"/>
                <a:gd name="T3" fmla="*/ 10 h 1822"/>
                <a:gd name="T4" fmla="*/ 61 w 365"/>
                <a:gd name="T5" fmla="*/ 40 h 1822"/>
                <a:gd name="T6" fmla="*/ 28 w 365"/>
                <a:gd name="T7" fmla="*/ 140 h 1822"/>
                <a:gd name="T8" fmla="*/ 5 w 365"/>
                <a:gd name="T9" fmla="*/ 454 h 1822"/>
                <a:gd name="T10" fmla="*/ 14 w 365"/>
                <a:gd name="T11" fmla="*/ 1084 h 1822"/>
                <a:gd name="T12" fmla="*/ 1 w 365"/>
                <a:gd name="T13" fmla="*/ 1504 h 1822"/>
                <a:gd name="T14" fmla="*/ 10 w 365"/>
                <a:gd name="T15" fmla="*/ 1718 h 1822"/>
                <a:gd name="T16" fmla="*/ 28 w 365"/>
                <a:gd name="T17" fmla="*/ 1788 h 1822"/>
                <a:gd name="T18" fmla="*/ 44 w 365"/>
                <a:gd name="T19" fmla="*/ 1812 h 1822"/>
                <a:gd name="T20" fmla="*/ 74 w 365"/>
                <a:gd name="T21" fmla="*/ 1821 h 1822"/>
                <a:gd name="T22" fmla="*/ 97 w 365"/>
                <a:gd name="T23" fmla="*/ 1808 h 1822"/>
                <a:gd name="T24" fmla="*/ 110 w 365"/>
                <a:gd name="T25" fmla="*/ 1790 h 1822"/>
                <a:gd name="T26" fmla="*/ 136 w 365"/>
                <a:gd name="T27" fmla="*/ 1744 h 1822"/>
                <a:gd name="T28" fmla="*/ 200 w 365"/>
                <a:gd name="T29" fmla="*/ 1680 h 1822"/>
                <a:gd name="T30" fmla="*/ 227 w 365"/>
                <a:gd name="T31" fmla="*/ 1695 h 1822"/>
                <a:gd name="T32" fmla="*/ 255 w 365"/>
                <a:gd name="T33" fmla="*/ 1735 h 1822"/>
                <a:gd name="T34" fmla="*/ 281 w 365"/>
                <a:gd name="T35" fmla="*/ 1780 h 1822"/>
                <a:gd name="T36" fmla="*/ 296 w 365"/>
                <a:gd name="T37" fmla="*/ 1799 h 1822"/>
                <a:gd name="T38" fmla="*/ 320 w 365"/>
                <a:gd name="T39" fmla="*/ 1810 h 1822"/>
                <a:gd name="T40" fmla="*/ 341 w 365"/>
                <a:gd name="T41" fmla="*/ 1802 h 1822"/>
                <a:gd name="T42" fmla="*/ 352 w 365"/>
                <a:gd name="T43" fmla="*/ 1786 h 1822"/>
                <a:gd name="T44" fmla="*/ 361 w 365"/>
                <a:gd name="T45" fmla="*/ 1747 h 1822"/>
                <a:gd name="T46" fmla="*/ 364 w 365"/>
                <a:gd name="T47" fmla="*/ 1621 h 1822"/>
                <a:gd name="T48" fmla="*/ 335 w 365"/>
                <a:gd name="T49" fmla="*/ 1241 h 1822"/>
                <a:gd name="T50" fmla="*/ 291 w 365"/>
                <a:gd name="T51" fmla="*/ 848 h 1822"/>
                <a:gd name="T52" fmla="*/ 275 w 365"/>
                <a:gd name="T53" fmla="*/ 708 h 1822"/>
                <a:gd name="T54" fmla="*/ 268 w 365"/>
                <a:gd name="T55" fmla="*/ 641 h 1822"/>
                <a:gd name="T56" fmla="*/ 220 w 365"/>
                <a:gd name="T57" fmla="*/ 264 h 1822"/>
                <a:gd name="T58" fmla="*/ 178 w 365"/>
                <a:gd name="T59" fmla="*/ 91 h 1822"/>
                <a:gd name="T60" fmla="*/ 158 w 365"/>
                <a:gd name="T61" fmla="*/ 35 h 1822"/>
                <a:gd name="T62" fmla="*/ 147 w 365"/>
                <a:gd name="T63" fmla="*/ 16 h 1822"/>
                <a:gd name="T64" fmla="*/ 127 w 365"/>
                <a:gd name="T65" fmla="*/ 2 h 1822"/>
                <a:gd name="T66" fmla="*/ 117 w 365"/>
                <a:gd name="T67" fmla="*/ 42 h 1822"/>
                <a:gd name="T68" fmla="*/ 122 w 365"/>
                <a:gd name="T69" fmla="*/ 52 h 1822"/>
                <a:gd name="T70" fmla="*/ 140 w 365"/>
                <a:gd name="T71" fmla="*/ 102 h 1822"/>
                <a:gd name="T72" fmla="*/ 180 w 365"/>
                <a:gd name="T73" fmla="*/ 272 h 1822"/>
                <a:gd name="T74" fmla="*/ 228 w 365"/>
                <a:gd name="T75" fmla="*/ 641 h 1822"/>
                <a:gd name="T76" fmla="*/ 235 w 365"/>
                <a:gd name="T77" fmla="*/ 713 h 1822"/>
                <a:gd name="T78" fmla="*/ 251 w 365"/>
                <a:gd name="T79" fmla="*/ 853 h 1822"/>
                <a:gd name="T80" fmla="*/ 295 w 365"/>
                <a:gd name="T81" fmla="*/ 1245 h 1822"/>
                <a:gd name="T82" fmla="*/ 324 w 365"/>
                <a:gd name="T83" fmla="*/ 1622 h 1822"/>
                <a:gd name="T84" fmla="*/ 321 w 365"/>
                <a:gd name="T85" fmla="*/ 1742 h 1822"/>
                <a:gd name="T86" fmla="*/ 317 w 365"/>
                <a:gd name="T87" fmla="*/ 1761 h 1822"/>
                <a:gd name="T88" fmla="*/ 315 w 365"/>
                <a:gd name="T89" fmla="*/ 1759 h 1822"/>
                <a:gd name="T90" fmla="*/ 290 w 365"/>
                <a:gd name="T91" fmla="*/ 1715 h 1822"/>
                <a:gd name="T92" fmla="*/ 255 w 365"/>
                <a:gd name="T93" fmla="*/ 1667 h 1822"/>
                <a:gd name="T94" fmla="*/ 200 w 365"/>
                <a:gd name="T95" fmla="*/ 1640 h 1822"/>
                <a:gd name="T96" fmla="*/ 198 w 365"/>
                <a:gd name="T97" fmla="*/ 1640 h 1822"/>
                <a:gd name="T98" fmla="*/ 196 w 365"/>
                <a:gd name="T99" fmla="*/ 1640 h 1822"/>
                <a:gd name="T100" fmla="*/ 101 w 365"/>
                <a:gd name="T101" fmla="*/ 1724 h 1822"/>
                <a:gd name="T102" fmla="*/ 76 w 365"/>
                <a:gd name="T103" fmla="*/ 1769 h 1822"/>
                <a:gd name="T104" fmla="*/ 69 w 365"/>
                <a:gd name="T105" fmla="*/ 1779 h 1822"/>
                <a:gd name="T106" fmla="*/ 64 w 365"/>
                <a:gd name="T107" fmla="*/ 1771 h 1822"/>
                <a:gd name="T108" fmla="*/ 50 w 365"/>
                <a:gd name="T109" fmla="*/ 1712 h 1822"/>
                <a:gd name="T110" fmla="*/ 41 w 365"/>
                <a:gd name="T111" fmla="*/ 1505 h 1822"/>
                <a:gd name="T112" fmla="*/ 54 w 365"/>
                <a:gd name="T113" fmla="*/ 1084 h 1822"/>
                <a:gd name="T114" fmla="*/ 45 w 365"/>
                <a:gd name="T115" fmla="*/ 454 h 1822"/>
                <a:gd name="T116" fmla="*/ 68 w 365"/>
                <a:gd name="T117" fmla="*/ 147 h 1822"/>
                <a:gd name="T118" fmla="*/ 95 w 365"/>
                <a:gd name="T119" fmla="*/ 60 h 1822"/>
                <a:gd name="T120" fmla="*/ 109 w 365"/>
                <a:gd name="T121" fmla="*/ 44 h 1822"/>
                <a:gd name="T122" fmla="*/ 117 w 365"/>
                <a:gd name="T123" fmla="*/ 42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5" h="1822">
                  <a:moveTo>
                    <a:pt x="127" y="2"/>
                  </a:moveTo>
                  <a:cubicBezTo>
                    <a:pt x="114" y="0"/>
                    <a:pt x="99" y="3"/>
                    <a:pt x="88" y="10"/>
                  </a:cubicBezTo>
                  <a:cubicBezTo>
                    <a:pt x="76" y="17"/>
                    <a:pt x="68" y="28"/>
                    <a:pt x="61" y="40"/>
                  </a:cubicBezTo>
                  <a:cubicBezTo>
                    <a:pt x="46" y="65"/>
                    <a:pt x="36" y="99"/>
                    <a:pt x="28" y="140"/>
                  </a:cubicBezTo>
                  <a:cubicBezTo>
                    <a:pt x="13" y="222"/>
                    <a:pt x="7" y="334"/>
                    <a:pt x="5" y="454"/>
                  </a:cubicBezTo>
                  <a:cubicBezTo>
                    <a:pt x="1" y="694"/>
                    <a:pt x="16" y="967"/>
                    <a:pt x="14" y="1084"/>
                  </a:cubicBezTo>
                  <a:cubicBezTo>
                    <a:pt x="13" y="1160"/>
                    <a:pt x="2" y="1342"/>
                    <a:pt x="1" y="1504"/>
                  </a:cubicBezTo>
                  <a:cubicBezTo>
                    <a:pt x="0" y="1585"/>
                    <a:pt x="3" y="1661"/>
                    <a:pt x="10" y="1718"/>
                  </a:cubicBezTo>
                  <a:cubicBezTo>
                    <a:pt x="14" y="1746"/>
                    <a:pt x="19" y="1769"/>
                    <a:pt x="28" y="1788"/>
                  </a:cubicBezTo>
                  <a:cubicBezTo>
                    <a:pt x="32" y="1797"/>
                    <a:pt x="37" y="1805"/>
                    <a:pt x="44" y="1812"/>
                  </a:cubicBezTo>
                  <a:cubicBezTo>
                    <a:pt x="52" y="1818"/>
                    <a:pt x="63" y="1822"/>
                    <a:pt x="74" y="1821"/>
                  </a:cubicBezTo>
                  <a:cubicBezTo>
                    <a:pt x="85" y="1820"/>
                    <a:pt x="92" y="1814"/>
                    <a:pt x="97" y="1808"/>
                  </a:cubicBezTo>
                  <a:cubicBezTo>
                    <a:pt x="102" y="1803"/>
                    <a:pt x="106" y="1797"/>
                    <a:pt x="110" y="1790"/>
                  </a:cubicBezTo>
                  <a:cubicBezTo>
                    <a:pt x="118" y="1776"/>
                    <a:pt x="126" y="1760"/>
                    <a:pt x="136" y="1744"/>
                  </a:cubicBezTo>
                  <a:cubicBezTo>
                    <a:pt x="154" y="1713"/>
                    <a:pt x="175" y="1686"/>
                    <a:pt x="200" y="1680"/>
                  </a:cubicBezTo>
                  <a:cubicBezTo>
                    <a:pt x="209" y="1681"/>
                    <a:pt x="217" y="1685"/>
                    <a:pt x="227" y="1695"/>
                  </a:cubicBezTo>
                  <a:cubicBezTo>
                    <a:pt x="236" y="1705"/>
                    <a:pt x="246" y="1720"/>
                    <a:pt x="255" y="1735"/>
                  </a:cubicBezTo>
                  <a:cubicBezTo>
                    <a:pt x="264" y="1751"/>
                    <a:pt x="273" y="1767"/>
                    <a:pt x="281" y="1780"/>
                  </a:cubicBezTo>
                  <a:cubicBezTo>
                    <a:pt x="286" y="1787"/>
                    <a:pt x="290" y="1793"/>
                    <a:pt x="296" y="1799"/>
                  </a:cubicBezTo>
                  <a:cubicBezTo>
                    <a:pt x="301" y="1804"/>
                    <a:pt x="309" y="1809"/>
                    <a:pt x="320" y="1810"/>
                  </a:cubicBezTo>
                  <a:cubicBezTo>
                    <a:pt x="328" y="1810"/>
                    <a:pt x="336" y="1806"/>
                    <a:pt x="341" y="1802"/>
                  </a:cubicBezTo>
                  <a:cubicBezTo>
                    <a:pt x="346" y="1797"/>
                    <a:pt x="349" y="1792"/>
                    <a:pt x="352" y="1786"/>
                  </a:cubicBezTo>
                  <a:cubicBezTo>
                    <a:pt x="356" y="1775"/>
                    <a:pt x="359" y="1762"/>
                    <a:pt x="361" y="1747"/>
                  </a:cubicBezTo>
                  <a:cubicBezTo>
                    <a:pt x="364" y="1715"/>
                    <a:pt x="365" y="1672"/>
                    <a:pt x="364" y="1621"/>
                  </a:cubicBezTo>
                  <a:cubicBezTo>
                    <a:pt x="360" y="1518"/>
                    <a:pt x="349" y="1380"/>
                    <a:pt x="335" y="1241"/>
                  </a:cubicBezTo>
                  <a:cubicBezTo>
                    <a:pt x="321" y="1101"/>
                    <a:pt x="304" y="959"/>
                    <a:pt x="291" y="848"/>
                  </a:cubicBezTo>
                  <a:cubicBezTo>
                    <a:pt x="284" y="792"/>
                    <a:pt x="279" y="744"/>
                    <a:pt x="275" y="708"/>
                  </a:cubicBezTo>
                  <a:cubicBezTo>
                    <a:pt x="271" y="672"/>
                    <a:pt x="268" y="646"/>
                    <a:pt x="268" y="641"/>
                  </a:cubicBezTo>
                  <a:cubicBezTo>
                    <a:pt x="268" y="550"/>
                    <a:pt x="246" y="397"/>
                    <a:pt x="220" y="264"/>
                  </a:cubicBezTo>
                  <a:cubicBezTo>
                    <a:pt x="206" y="197"/>
                    <a:pt x="192" y="136"/>
                    <a:pt x="178" y="91"/>
                  </a:cubicBezTo>
                  <a:cubicBezTo>
                    <a:pt x="171" y="68"/>
                    <a:pt x="165" y="49"/>
                    <a:pt x="158" y="35"/>
                  </a:cubicBezTo>
                  <a:cubicBezTo>
                    <a:pt x="155" y="28"/>
                    <a:pt x="151" y="21"/>
                    <a:pt x="147" y="16"/>
                  </a:cubicBezTo>
                  <a:cubicBezTo>
                    <a:pt x="143" y="11"/>
                    <a:pt x="139" y="4"/>
                    <a:pt x="127" y="2"/>
                  </a:cubicBezTo>
                  <a:close/>
                  <a:moveTo>
                    <a:pt x="117" y="42"/>
                  </a:moveTo>
                  <a:cubicBezTo>
                    <a:pt x="118" y="44"/>
                    <a:pt x="120" y="47"/>
                    <a:pt x="122" y="52"/>
                  </a:cubicBezTo>
                  <a:cubicBezTo>
                    <a:pt x="127" y="63"/>
                    <a:pt x="133" y="81"/>
                    <a:pt x="140" y="102"/>
                  </a:cubicBezTo>
                  <a:cubicBezTo>
                    <a:pt x="153" y="146"/>
                    <a:pt x="167" y="206"/>
                    <a:pt x="180" y="272"/>
                  </a:cubicBezTo>
                  <a:cubicBezTo>
                    <a:pt x="207" y="403"/>
                    <a:pt x="228" y="556"/>
                    <a:pt x="228" y="641"/>
                  </a:cubicBezTo>
                  <a:cubicBezTo>
                    <a:pt x="228" y="653"/>
                    <a:pt x="231" y="676"/>
                    <a:pt x="235" y="713"/>
                  </a:cubicBezTo>
                  <a:cubicBezTo>
                    <a:pt x="239" y="749"/>
                    <a:pt x="245" y="797"/>
                    <a:pt x="251" y="853"/>
                  </a:cubicBezTo>
                  <a:cubicBezTo>
                    <a:pt x="264" y="964"/>
                    <a:pt x="281" y="1105"/>
                    <a:pt x="295" y="1245"/>
                  </a:cubicBezTo>
                  <a:cubicBezTo>
                    <a:pt x="309" y="1384"/>
                    <a:pt x="321" y="1521"/>
                    <a:pt x="324" y="1622"/>
                  </a:cubicBezTo>
                  <a:cubicBezTo>
                    <a:pt x="325" y="1672"/>
                    <a:pt x="324" y="1714"/>
                    <a:pt x="321" y="1742"/>
                  </a:cubicBezTo>
                  <a:cubicBezTo>
                    <a:pt x="320" y="1751"/>
                    <a:pt x="318" y="1756"/>
                    <a:pt x="317" y="1761"/>
                  </a:cubicBezTo>
                  <a:cubicBezTo>
                    <a:pt x="316" y="1760"/>
                    <a:pt x="316" y="1760"/>
                    <a:pt x="315" y="1759"/>
                  </a:cubicBezTo>
                  <a:cubicBezTo>
                    <a:pt x="308" y="1748"/>
                    <a:pt x="300" y="1732"/>
                    <a:pt x="290" y="1715"/>
                  </a:cubicBezTo>
                  <a:cubicBezTo>
                    <a:pt x="280" y="1699"/>
                    <a:pt x="269" y="1681"/>
                    <a:pt x="255" y="1667"/>
                  </a:cubicBezTo>
                  <a:cubicBezTo>
                    <a:pt x="241" y="1653"/>
                    <a:pt x="222" y="1641"/>
                    <a:pt x="200" y="1640"/>
                  </a:cubicBezTo>
                  <a:lnTo>
                    <a:pt x="198" y="1640"/>
                  </a:lnTo>
                  <a:lnTo>
                    <a:pt x="196" y="1640"/>
                  </a:lnTo>
                  <a:cubicBezTo>
                    <a:pt x="149" y="1647"/>
                    <a:pt x="121" y="1689"/>
                    <a:pt x="101" y="1724"/>
                  </a:cubicBezTo>
                  <a:cubicBezTo>
                    <a:pt x="91" y="1741"/>
                    <a:pt x="82" y="1758"/>
                    <a:pt x="76" y="1769"/>
                  </a:cubicBezTo>
                  <a:cubicBezTo>
                    <a:pt x="73" y="1774"/>
                    <a:pt x="71" y="1776"/>
                    <a:pt x="69" y="1779"/>
                  </a:cubicBezTo>
                  <a:cubicBezTo>
                    <a:pt x="68" y="1777"/>
                    <a:pt x="66" y="1776"/>
                    <a:pt x="64" y="1771"/>
                  </a:cubicBezTo>
                  <a:cubicBezTo>
                    <a:pt x="59" y="1759"/>
                    <a:pt x="54" y="1738"/>
                    <a:pt x="50" y="1712"/>
                  </a:cubicBezTo>
                  <a:cubicBezTo>
                    <a:pt x="43" y="1659"/>
                    <a:pt x="40" y="1585"/>
                    <a:pt x="41" y="1505"/>
                  </a:cubicBezTo>
                  <a:cubicBezTo>
                    <a:pt x="42" y="1344"/>
                    <a:pt x="53" y="1164"/>
                    <a:pt x="54" y="1084"/>
                  </a:cubicBezTo>
                  <a:cubicBezTo>
                    <a:pt x="56" y="963"/>
                    <a:pt x="41" y="692"/>
                    <a:pt x="45" y="454"/>
                  </a:cubicBezTo>
                  <a:cubicBezTo>
                    <a:pt x="47" y="335"/>
                    <a:pt x="53" y="225"/>
                    <a:pt x="68" y="147"/>
                  </a:cubicBezTo>
                  <a:cubicBezTo>
                    <a:pt x="75" y="108"/>
                    <a:pt x="85" y="78"/>
                    <a:pt x="95" y="60"/>
                  </a:cubicBezTo>
                  <a:cubicBezTo>
                    <a:pt x="100" y="52"/>
                    <a:pt x="105" y="46"/>
                    <a:pt x="109" y="44"/>
                  </a:cubicBezTo>
                  <a:cubicBezTo>
                    <a:pt x="112" y="42"/>
                    <a:pt x="114" y="42"/>
                    <a:pt x="11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92"/>
            <p:cNvSpPr>
              <a:spLocks noEditPoints="1"/>
            </p:cNvSpPr>
            <p:nvPr/>
          </p:nvSpPr>
          <p:spPr bwMode="auto">
            <a:xfrm>
              <a:off x="6561138" y="3767138"/>
              <a:ext cx="223837" cy="331788"/>
            </a:xfrm>
            <a:custGeom>
              <a:avLst/>
              <a:gdLst>
                <a:gd name="T0" fmla="*/ 182 w 456"/>
                <a:gd name="T1" fmla="*/ 8 h 678"/>
                <a:gd name="T2" fmla="*/ 147 w 456"/>
                <a:gd name="T3" fmla="*/ 32 h 678"/>
                <a:gd name="T4" fmla="*/ 121 w 456"/>
                <a:gd name="T5" fmla="*/ 75 h 678"/>
                <a:gd name="T6" fmla="*/ 72 w 456"/>
                <a:gd name="T7" fmla="*/ 199 h 678"/>
                <a:gd name="T8" fmla="*/ 6 w 456"/>
                <a:gd name="T9" fmla="*/ 419 h 678"/>
                <a:gd name="T10" fmla="*/ 11 w 456"/>
                <a:gd name="T11" fmla="*/ 492 h 678"/>
                <a:gd name="T12" fmla="*/ 43 w 456"/>
                <a:gd name="T13" fmla="*/ 570 h 678"/>
                <a:gd name="T14" fmla="*/ 88 w 456"/>
                <a:gd name="T15" fmla="*/ 638 h 678"/>
                <a:gd name="T16" fmla="*/ 140 w 456"/>
                <a:gd name="T17" fmla="*/ 675 h 678"/>
                <a:gd name="T18" fmla="*/ 174 w 456"/>
                <a:gd name="T19" fmla="*/ 663 h 678"/>
                <a:gd name="T20" fmla="*/ 191 w 456"/>
                <a:gd name="T21" fmla="*/ 635 h 678"/>
                <a:gd name="T22" fmla="*/ 214 w 456"/>
                <a:gd name="T23" fmla="*/ 559 h 678"/>
                <a:gd name="T24" fmla="*/ 235 w 456"/>
                <a:gd name="T25" fmla="*/ 484 h 678"/>
                <a:gd name="T26" fmla="*/ 246 w 456"/>
                <a:gd name="T27" fmla="*/ 461 h 678"/>
                <a:gd name="T28" fmla="*/ 248 w 456"/>
                <a:gd name="T29" fmla="*/ 459 h 678"/>
                <a:gd name="T30" fmla="*/ 261 w 456"/>
                <a:gd name="T31" fmla="*/ 470 h 678"/>
                <a:gd name="T32" fmla="*/ 288 w 456"/>
                <a:gd name="T33" fmla="*/ 508 h 678"/>
                <a:gd name="T34" fmla="*/ 313 w 456"/>
                <a:gd name="T35" fmla="*/ 552 h 678"/>
                <a:gd name="T36" fmla="*/ 335 w 456"/>
                <a:gd name="T37" fmla="*/ 585 h 678"/>
                <a:gd name="T38" fmla="*/ 370 w 456"/>
                <a:gd name="T39" fmla="*/ 599 h 678"/>
                <a:gd name="T40" fmla="*/ 404 w 456"/>
                <a:gd name="T41" fmla="*/ 586 h 678"/>
                <a:gd name="T42" fmla="*/ 449 w 456"/>
                <a:gd name="T43" fmla="*/ 527 h 678"/>
                <a:gd name="T44" fmla="*/ 447 w 456"/>
                <a:gd name="T45" fmla="*/ 463 h 678"/>
                <a:gd name="T46" fmla="*/ 426 w 456"/>
                <a:gd name="T47" fmla="*/ 379 h 678"/>
                <a:gd name="T48" fmla="*/ 401 w 456"/>
                <a:gd name="T49" fmla="*/ 228 h 678"/>
                <a:gd name="T50" fmla="*/ 342 w 456"/>
                <a:gd name="T51" fmla="*/ 80 h 678"/>
                <a:gd name="T52" fmla="*/ 182 w 456"/>
                <a:gd name="T53" fmla="*/ 8 h 678"/>
                <a:gd name="T54" fmla="*/ 187 w 456"/>
                <a:gd name="T55" fmla="*/ 48 h 678"/>
                <a:gd name="T56" fmla="*/ 313 w 456"/>
                <a:gd name="T57" fmla="*/ 107 h 678"/>
                <a:gd name="T58" fmla="*/ 362 w 456"/>
                <a:gd name="T59" fmla="*/ 221 h 678"/>
                <a:gd name="T60" fmla="*/ 388 w 456"/>
                <a:gd name="T61" fmla="*/ 389 h 678"/>
                <a:gd name="T62" fmla="*/ 408 w 456"/>
                <a:gd name="T63" fmla="*/ 471 h 678"/>
                <a:gd name="T64" fmla="*/ 412 w 456"/>
                <a:gd name="T65" fmla="*/ 513 h 678"/>
                <a:gd name="T66" fmla="*/ 381 w 456"/>
                <a:gd name="T67" fmla="*/ 553 h 678"/>
                <a:gd name="T68" fmla="*/ 367 w 456"/>
                <a:gd name="T69" fmla="*/ 559 h 678"/>
                <a:gd name="T70" fmla="*/ 365 w 456"/>
                <a:gd name="T71" fmla="*/ 559 h 678"/>
                <a:gd name="T72" fmla="*/ 348 w 456"/>
                <a:gd name="T73" fmla="*/ 532 h 678"/>
                <a:gd name="T74" fmla="*/ 322 w 456"/>
                <a:gd name="T75" fmla="*/ 487 h 678"/>
                <a:gd name="T76" fmla="*/ 291 w 456"/>
                <a:gd name="T77" fmla="*/ 443 h 678"/>
                <a:gd name="T78" fmla="*/ 248 w 456"/>
                <a:gd name="T79" fmla="*/ 416 h 678"/>
                <a:gd name="T80" fmla="*/ 244 w 456"/>
                <a:gd name="T81" fmla="*/ 415 h 678"/>
                <a:gd name="T82" fmla="*/ 239 w 456"/>
                <a:gd name="T83" fmla="*/ 417 h 678"/>
                <a:gd name="T84" fmla="*/ 213 w 456"/>
                <a:gd name="T85" fmla="*/ 439 h 678"/>
                <a:gd name="T86" fmla="*/ 198 w 456"/>
                <a:gd name="T87" fmla="*/ 471 h 678"/>
                <a:gd name="T88" fmla="*/ 175 w 456"/>
                <a:gd name="T89" fmla="*/ 550 h 678"/>
                <a:gd name="T90" fmla="*/ 155 w 456"/>
                <a:gd name="T91" fmla="*/ 619 h 678"/>
                <a:gd name="T92" fmla="*/ 146 w 456"/>
                <a:gd name="T93" fmla="*/ 635 h 678"/>
                <a:gd name="T94" fmla="*/ 119 w 456"/>
                <a:gd name="T95" fmla="*/ 612 h 678"/>
                <a:gd name="T96" fmla="*/ 79 w 456"/>
                <a:gd name="T97" fmla="*/ 551 h 678"/>
                <a:gd name="T98" fmla="*/ 49 w 456"/>
                <a:gd name="T99" fmla="*/ 481 h 678"/>
                <a:gd name="T100" fmla="*/ 45 w 456"/>
                <a:gd name="T101" fmla="*/ 430 h 678"/>
                <a:gd name="T102" fmla="*/ 110 w 456"/>
                <a:gd name="T103" fmla="*/ 211 h 678"/>
                <a:gd name="T104" fmla="*/ 157 w 456"/>
                <a:gd name="T105" fmla="*/ 93 h 678"/>
                <a:gd name="T106" fmla="*/ 179 w 456"/>
                <a:gd name="T107" fmla="*/ 57 h 678"/>
                <a:gd name="T108" fmla="*/ 187 w 456"/>
                <a:gd name="T109" fmla="*/ 4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678">
                  <a:moveTo>
                    <a:pt x="182" y="8"/>
                  </a:moveTo>
                  <a:cubicBezTo>
                    <a:pt x="166" y="10"/>
                    <a:pt x="156" y="21"/>
                    <a:pt x="147" y="32"/>
                  </a:cubicBezTo>
                  <a:cubicBezTo>
                    <a:pt x="138" y="44"/>
                    <a:pt x="130" y="58"/>
                    <a:pt x="121" y="75"/>
                  </a:cubicBezTo>
                  <a:cubicBezTo>
                    <a:pt x="104" y="109"/>
                    <a:pt x="88" y="153"/>
                    <a:pt x="72" y="199"/>
                  </a:cubicBezTo>
                  <a:cubicBezTo>
                    <a:pt x="41" y="290"/>
                    <a:pt x="15" y="387"/>
                    <a:pt x="6" y="419"/>
                  </a:cubicBezTo>
                  <a:cubicBezTo>
                    <a:pt x="0" y="441"/>
                    <a:pt x="4" y="466"/>
                    <a:pt x="11" y="492"/>
                  </a:cubicBezTo>
                  <a:cubicBezTo>
                    <a:pt x="18" y="517"/>
                    <a:pt x="30" y="545"/>
                    <a:pt x="43" y="570"/>
                  </a:cubicBezTo>
                  <a:cubicBezTo>
                    <a:pt x="57" y="596"/>
                    <a:pt x="72" y="619"/>
                    <a:pt x="88" y="638"/>
                  </a:cubicBezTo>
                  <a:cubicBezTo>
                    <a:pt x="104" y="657"/>
                    <a:pt x="119" y="671"/>
                    <a:pt x="140" y="675"/>
                  </a:cubicBezTo>
                  <a:cubicBezTo>
                    <a:pt x="154" y="678"/>
                    <a:pt x="167" y="671"/>
                    <a:pt x="174" y="663"/>
                  </a:cubicBezTo>
                  <a:cubicBezTo>
                    <a:pt x="182" y="655"/>
                    <a:pt x="187" y="646"/>
                    <a:pt x="191" y="635"/>
                  </a:cubicBezTo>
                  <a:cubicBezTo>
                    <a:pt x="200" y="614"/>
                    <a:pt x="207" y="587"/>
                    <a:pt x="214" y="559"/>
                  </a:cubicBezTo>
                  <a:cubicBezTo>
                    <a:pt x="221" y="532"/>
                    <a:pt x="228" y="505"/>
                    <a:pt x="235" y="484"/>
                  </a:cubicBezTo>
                  <a:cubicBezTo>
                    <a:pt x="239" y="474"/>
                    <a:pt x="243" y="466"/>
                    <a:pt x="246" y="461"/>
                  </a:cubicBezTo>
                  <a:cubicBezTo>
                    <a:pt x="247" y="460"/>
                    <a:pt x="247" y="460"/>
                    <a:pt x="248" y="459"/>
                  </a:cubicBezTo>
                  <a:cubicBezTo>
                    <a:pt x="251" y="461"/>
                    <a:pt x="255" y="463"/>
                    <a:pt x="261" y="470"/>
                  </a:cubicBezTo>
                  <a:cubicBezTo>
                    <a:pt x="270" y="479"/>
                    <a:pt x="279" y="493"/>
                    <a:pt x="288" y="508"/>
                  </a:cubicBezTo>
                  <a:cubicBezTo>
                    <a:pt x="297" y="522"/>
                    <a:pt x="305" y="538"/>
                    <a:pt x="313" y="552"/>
                  </a:cubicBezTo>
                  <a:cubicBezTo>
                    <a:pt x="321" y="565"/>
                    <a:pt x="327" y="576"/>
                    <a:pt x="335" y="585"/>
                  </a:cubicBezTo>
                  <a:cubicBezTo>
                    <a:pt x="344" y="596"/>
                    <a:pt x="358" y="600"/>
                    <a:pt x="370" y="599"/>
                  </a:cubicBezTo>
                  <a:cubicBezTo>
                    <a:pt x="383" y="598"/>
                    <a:pt x="394" y="593"/>
                    <a:pt x="404" y="586"/>
                  </a:cubicBezTo>
                  <a:cubicBezTo>
                    <a:pt x="423" y="573"/>
                    <a:pt x="441" y="551"/>
                    <a:pt x="449" y="527"/>
                  </a:cubicBezTo>
                  <a:cubicBezTo>
                    <a:pt x="456" y="507"/>
                    <a:pt x="452" y="488"/>
                    <a:pt x="447" y="463"/>
                  </a:cubicBezTo>
                  <a:cubicBezTo>
                    <a:pt x="442" y="438"/>
                    <a:pt x="434" y="409"/>
                    <a:pt x="426" y="379"/>
                  </a:cubicBezTo>
                  <a:cubicBezTo>
                    <a:pt x="411" y="320"/>
                    <a:pt x="397" y="255"/>
                    <a:pt x="401" y="228"/>
                  </a:cubicBezTo>
                  <a:cubicBezTo>
                    <a:pt x="409" y="181"/>
                    <a:pt x="383" y="126"/>
                    <a:pt x="342" y="80"/>
                  </a:cubicBezTo>
                  <a:cubicBezTo>
                    <a:pt x="302" y="35"/>
                    <a:pt x="245" y="0"/>
                    <a:pt x="182" y="8"/>
                  </a:cubicBezTo>
                  <a:close/>
                  <a:moveTo>
                    <a:pt x="187" y="48"/>
                  </a:moveTo>
                  <a:cubicBezTo>
                    <a:pt x="232" y="42"/>
                    <a:pt x="278" y="68"/>
                    <a:pt x="313" y="107"/>
                  </a:cubicBezTo>
                  <a:cubicBezTo>
                    <a:pt x="347" y="146"/>
                    <a:pt x="366" y="196"/>
                    <a:pt x="362" y="221"/>
                  </a:cubicBezTo>
                  <a:cubicBezTo>
                    <a:pt x="354" y="267"/>
                    <a:pt x="372" y="329"/>
                    <a:pt x="388" y="389"/>
                  </a:cubicBezTo>
                  <a:cubicBezTo>
                    <a:pt x="396" y="419"/>
                    <a:pt x="403" y="448"/>
                    <a:pt x="408" y="471"/>
                  </a:cubicBezTo>
                  <a:cubicBezTo>
                    <a:pt x="412" y="494"/>
                    <a:pt x="412" y="513"/>
                    <a:pt x="412" y="513"/>
                  </a:cubicBezTo>
                  <a:cubicBezTo>
                    <a:pt x="406" y="529"/>
                    <a:pt x="393" y="545"/>
                    <a:pt x="381" y="553"/>
                  </a:cubicBezTo>
                  <a:cubicBezTo>
                    <a:pt x="375" y="557"/>
                    <a:pt x="370" y="559"/>
                    <a:pt x="367" y="559"/>
                  </a:cubicBezTo>
                  <a:cubicBezTo>
                    <a:pt x="364" y="560"/>
                    <a:pt x="366" y="560"/>
                    <a:pt x="365" y="559"/>
                  </a:cubicBezTo>
                  <a:cubicBezTo>
                    <a:pt x="362" y="556"/>
                    <a:pt x="355" y="545"/>
                    <a:pt x="348" y="532"/>
                  </a:cubicBezTo>
                  <a:cubicBezTo>
                    <a:pt x="340" y="519"/>
                    <a:pt x="332" y="503"/>
                    <a:pt x="322" y="487"/>
                  </a:cubicBezTo>
                  <a:cubicBezTo>
                    <a:pt x="313" y="471"/>
                    <a:pt x="302" y="456"/>
                    <a:pt x="291" y="443"/>
                  </a:cubicBezTo>
                  <a:cubicBezTo>
                    <a:pt x="279" y="430"/>
                    <a:pt x="266" y="419"/>
                    <a:pt x="248" y="416"/>
                  </a:cubicBezTo>
                  <a:lnTo>
                    <a:pt x="244" y="415"/>
                  </a:lnTo>
                  <a:lnTo>
                    <a:pt x="239" y="417"/>
                  </a:lnTo>
                  <a:cubicBezTo>
                    <a:pt x="227" y="421"/>
                    <a:pt x="219" y="430"/>
                    <a:pt x="213" y="439"/>
                  </a:cubicBezTo>
                  <a:cubicBezTo>
                    <a:pt x="207" y="448"/>
                    <a:pt x="202" y="459"/>
                    <a:pt x="198" y="471"/>
                  </a:cubicBezTo>
                  <a:cubicBezTo>
                    <a:pt x="189" y="494"/>
                    <a:pt x="182" y="523"/>
                    <a:pt x="175" y="550"/>
                  </a:cubicBezTo>
                  <a:cubicBezTo>
                    <a:pt x="169" y="577"/>
                    <a:pt x="162" y="603"/>
                    <a:pt x="155" y="619"/>
                  </a:cubicBezTo>
                  <a:cubicBezTo>
                    <a:pt x="151" y="627"/>
                    <a:pt x="148" y="632"/>
                    <a:pt x="146" y="635"/>
                  </a:cubicBezTo>
                  <a:cubicBezTo>
                    <a:pt x="143" y="633"/>
                    <a:pt x="131" y="627"/>
                    <a:pt x="119" y="612"/>
                  </a:cubicBezTo>
                  <a:cubicBezTo>
                    <a:pt x="105" y="596"/>
                    <a:pt x="91" y="575"/>
                    <a:pt x="79" y="551"/>
                  </a:cubicBezTo>
                  <a:cubicBezTo>
                    <a:pt x="66" y="528"/>
                    <a:pt x="56" y="503"/>
                    <a:pt x="49" y="481"/>
                  </a:cubicBezTo>
                  <a:cubicBezTo>
                    <a:pt x="43" y="459"/>
                    <a:pt x="42" y="439"/>
                    <a:pt x="45" y="430"/>
                  </a:cubicBezTo>
                  <a:cubicBezTo>
                    <a:pt x="54" y="398"/>
                    <a:pt x="80" y="301"/>
                    <a:pt x="110" y="211"/>
                  </a:cubicBezTo>
                  <a:cubicBezTo>
                    <a:pt x="125" y="167"/>
                    <a:pt x="142" y="124"/>
                    <a:pt x="157" y="93"/>
                  </a:cubicBezTo>
                  <a:cubicBezTo>
                    <a:pt x="165" y="77"/>
                    <a:pt x="172" y="65"/>
                    <a:pt x="179" y="57"/>
                  </a:cubicBezTo>
                  <a:cubicBezTo>
                    <a:pt x="185" y="49"/>
                    <a:pt x="190" y="47"/>
                    <a:pt x="187"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93"/>
            <p:cNvSpPr>
              <a:spLocks/>
            </p:cNvSpPr>
            <p:nvPr/>
          </p:nvSpPr>
          <p:spPr bwMode="auto">
            <a:xfrm>
              <a:off x="5411788" y="3832226"/>
              <a:ext cx="922337" cy="1003300"/>
            </a:xfrm>
            <a:custGeom>
              <a:avLst/>
              <a:gdLst>
                <a:gd name="T0" fmla="*/ 796 w 1887"/>
                <a:gd name="T1" fmla="*/ 0 h 2053"/>
                <a:gd name="T2" fmla="*/ 815 w 1887"/>
                <a:gd name="T3" fmla="*/ 1 h 2053"/>
                <a:gd name="T4" fmla="*/ 885 w 1887"/>
                <a:gd name="T5" fmla="*/ 27 h 2053"/>
                <a:gd name="T6" fmla="*/ 938 w 1887"/>
                <a:gd name="T7" fmla="*/ 62 h 2053"/>
                <a:gd name="T8" fmla="*/ 938 w 1887"/>
                <a:gd name="T9" fmla="*/ 57 h 2053"/>
                <a:gd name="T10" fmla="*/ 950 w 1887"/>
                <a:gd name="T11" fmla="*/ 42 h 2053"/>
                <a:gd name="T12" fmla="*/ 973 w 1887"/>
                <a:gd name="T13" fmla="*/ 40 h 2053"/>
                <a:gd name="T14" fmla="*/ 1011 w 1887"/>
                <a:gd name="T15" fmla="*/ 62 h 2053"/>
                <a:gd name="T16" fmla="*/ 1057 w 1887"/>
                <a:gd name="T17" fmla="*/ 80 h 2053"/>
                <a:gd name="T18" fmla="*/ 1478 w 1887"/>
                <a:gd name="T19" fmla="*/ 226 h 2053"/>
                <a:gd name="T20" fmla="*/ 1878 w 1887"/>
                <a:gd name="T21" fmla="*/ 645 h 2053"/>
                <a:gd name="T22" fmla="*/ 1880 w 1887"/>
                <a:gd name="T23" fmla="*/ 648 h 2053"/>
                <a:gd name="T24" fmla="*/ 1880 w 1887"/>
                <a:gd name="T25" fmla="*/ 651 h 2053"/>
                <a:gd name="T26" fmla="*/ 1843 w 1887"/>
                <a:gd name="T27" fmla="*/ 750 h 2053"/>
                <a:gd name="T28" fmla="*/ 1768 w 1887"/>
                <a:gd name="T29" fmla="*/ 857 h 2053"/>
                <a:gd name="T30" fmla="*/ 1807 w 1887"/>
                <a:gd name="T31" fmla="*/ 1381 h 2053"/>
                <a:gd name="T32" fmla="*/ 1808 w 1887"/>
                <a:gd name="T33" fmla="*/ 1383 h 2053"/>
                <a:gd name="T34" fmla="*/ 1808 w 1887"/>
                <a:gd name="T35" fmla="*/ 1385 h 2053"/>
                <a:gd name="T36" fmla="*/ 1775 w 1887"/>
                <a:gd name="T37" fmla="*/ 1521 h 2053"/>
                <a:gd name="T38" fmla="*/ 1667 w 1887"/>
                <a:gd name="T39" fmla="*/ 1647 h 2053"/>
                <a:gd name="T40" fmla="*/ 1350 w 1887"/>
                <a:gd name="T41" fmla="*/ 1918 h 2053"/>
                <a:gd name="T42" fmla="*/ 894 w 1887"/>
                <a:gd name="T43" fmla="*/ 2051 h 2053"/>
                <a:gd name="T44" fmla="*/ 767 w 1887"/>
                <a:gd name="T45" fmla="*/ 2021 h 2053"/>
                <a:gd name="T46" fmla="*/ 649 w 1887"/>
                <a:gd name="T47" fmla="*/ 1963 h 2053"/>
                <a:gd name="T48" fmla="*/ 649 w 1887"/>
                <a:gd name="T49" fmla="*/ 1962 h 2053"/>
                <a:gd name="T50" fmla="*/ 649 w 1887"/>
                <a:gd name="T51" fmla="*/ 1962 h 2053"/>
                <a:gd name="T52" fmla="*/ 3 w 1887"/>
                <a:gd name="T53" fmla="*/ 1213 h 2053"/>
                <a:gd name="T54" fmla="*/ 2 w 1887"/>
                <a:gd name="T55" fmla="*/ 1212 h 2053"/>
                <a:gd name="T56" fmla="*/ 2 w 1887"/>
                <a:gd name="T57" fmla="*/ 1210 h 2053"/>
                <a:gd name="T58" fmla="*/ 29 w 1887"/>
                <a:gd name="T59" fmla="*/ 1134 h 2053"/>
                <a:gd name="T60" fmla="*/ 84 w 1887"/>
                <a:gd name="T61" fmla="*/ 1070 h 2053"/>
                <a:gd name="T62" fmla="*/ 157 w 1887"/>
                <a:gd name="T63" fmla="*/ 1003 h 2053"/>
                <a:gd name="T64" fmla="*/ 187 w 1887"/>
                <a:gd name="T65" fmla="*/ 971 h 2053"/>
                <a:gd name="T66" fmla="*/ 195 w 1887"/>
                <a:gd name="T67" fmla="*/ 961 h 2053"/>
                <a:gd name="T68" fmla="*/ 195 w 1887"/>
                <a:gd name="T69" fmla="*/ 960 h 2053"/>
                <a:gd name="T70" fmla="*/ 198 w 1887"/>
                <a:gd name="T71" fmla="*/ 943 h 2053"/>
                <a:gd name="T72" fmla="*/ 206 w 1887"/>
                <a:gd name="T73" fmla="*/ 925 h 2053"/>
                <a:gd name="T74" fmla="*/ 231 w 1887"/>
                <a:gd name="T75" fmla="*/ 883 h 2053"/>
                <a:gd name="T76" fmla="*/ 271 w 1887"/>
                <a:gd name="T77" fmla="*/ 812 h 2053"/>
                <a:gd name="T78" fmla="*/ 283 w 1887"/>
                <a:gd name="T79" fmla="*/ 577 h 2053"/>
                <a:gd name="T80" fmla="*/ 422 w 1887"/>
                <a:gd name="T81" fmla="*/ 354 h 2053"/>
                <a:gd name="T82" fmla="*/ 493 w 1887"/>
                <a:gd name="T83" fmla="*/ 262 h 2053"/>
                <a:gd name="T84" fmla="*/ 595 w 1887"/>
                <a:gd name="T85" fmla="*/ 206 h 2053"/>
                <a:gd name="T86" fmla="*/ 807 w 1887"/>
                <a:gd name="T87" fmla="*/ 112 h 2053"/>
                <a:gd name="T88" fmla="*/ 807 w 1887"/>
                <a:gd name="T89" fmla="*/ 109 h 2053"/>
                <a:gd name="T90" fmla="*/ 797 w 1887"/>
                <a:gd name="T91" fmla="*/ 76 h 2053"/>
                <a:gd name="T92" fmla="*/ 776 w 1887"/>
                <a:gd name="T93" fmla="*/ 30 h 2053"/>
                <a:gd name="T94" fmla="*/ 765 w 1887"/>
                <a:gd name="T95" fmla="*/ 9 h 2053"/>
                <a:gd name="T96" fmla="*/ 787 w 1887"/>
                <a:gd name="T97" fmla="*/ 2 h 2053"/>
                <a:gd name="T98" fmla="*/ 796 w 1887"/>
                <a:gd name="T99" fmla="*/ 0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7" h="2053">
                  <a:moveTo>
                    <a:pt x="796" y="0"/>
                  </a:moveTo>
                  <a:cubicBezTo>
                    <a:pt x="801" y="0"/>
                    <a:pt x="807" y="0"/>
                    <a:pt x="815" y="1"/>
                  </a:cubicBezTo>
                  <a:cubicBezTo>
                    <a:pt x="830" y="4"/>
                    <a:pt x="853" y="11"/>
                    <a:pt x="885" y="27"/>
                  </a:cubicBezTo>
                  <a:cubicBezTo>
                    <a:pt x="910" y="39"/>
                    <a:pt x="924" y="51"/>
                    <a:pt x="938" y="62"/>
                  </a:cubicBezTo>
                  <a:cubicBezTo>
                    <a:pt x="938" y="60"/>
                    <a:pt x="938" y="59"/>
                    <a:pt x="938" y="57"/>
                  </a:cubicBezTo>
                  <a:cubicBezTo>
                    <a:pt x="940" y="52"/>
                    <a:pt x="943" y="46"/>
                    <a:pt x="950" y="42"/>
                  </a:cubicBezTo>
                  <a:cubicBezTo>
                    <a:pt x="957" y="37"/>
                    <a:pt x="967" y="38"/>
                    <a:pt x="973" y="40"/>
                  </a:cubicBezTo>
                  <a:cubicBezTo>
                    <a:pt x="986" y="45"/>
                    <a:pt x="997" y="54"/>
                    <a:pt x="1011" y="62"/>
                  </a:cubicBezTo>
                  <a:cubicBezTo>
                    <a:pt x="1025" y="70"/>
                    <a:pt x="1040" y="77"/>
                    <a:pt x="1057" y="80"/>
                  </a:cubicBezTo>
                  <a:cubicBezTo>
                    <a:pt x="1164" y="71"/>
                    <a:pt x="1322" y="127"/>
                    <a:pt x="1478" y="226"/>
                  </a:cubicBezTo>
                  <a:cubicBezTo>
                    <a:pt x="1636" y="326"/>
                    <a:pt x="1790" y="472"/>
                    <a:pt x="1878" y="645"/>
                  </a:cubicBezTo>
                  <a:lnTo>
                    <a:pt x="1880" y="648"/>
                  </a:lnTo>
                  <a:lnTo>
                    <a:pt x="1880" y="651"/>
                  </a:lnTo>
                  <a:cubicBezTo>
                    <a:pt x="1887" y="689"/>
                    <a:pt x="1867" y="720"/>
                    <a:pt x="1843" y="750"/>
                  </a:cubicBezTo>
                  <a:cubicBezTo>
                    <a:pt x="1820" y="780"/>
                    <a:pt x="1791" y="812"/>
                    <a:pt x="1768" y="857"/>
                  </a:cubicBezTo>
                  <a:cubicBezTo>
                    <a:pt x="1723" y="947"/>
                    <a:pt x="1699" y="1092"/>
                    <a:pt x="1807" y="1381"/>
                  </a:cubicBezTo>
                  <a:lnTo>
                    <a:pt x="1808" y="1383"/>
                  </a:lnTo>
                  <a:lnTo>
                    <a:pt x="1808" y="1385"/>
                  </a:lnTo>
                  <a:cubicBezTo>
                    <a:pt x="1814" y="1432"/>
                    <a:pt x="1801" y="1478"/>
                    <a:pt x="1775" y="1521"/>
                  </a:cubicBezTo>
                  <a:cubicBezTo>
                    <a:pt x="1750" y="1564"/>
                    <a:pt x="1712" y="1606"/>
                    <a:pt x="1667" y="1647"/>
                  </a:cubicBezTo>
                  <a:cubicBezTo>
                    <a:pt x="1578" y="1731"/>
                    <a:pt x="1460" y="1817"/>
                    <a:pt x="1350" y="1918"/>
                  </a:cubicBezTo>
                  <a:cubicBezTo>
                    <a:pt x="1220" y="2037"/>
                    <a:pt x="1029" y="2051"/>
                    <a:pt x="894" y="2051"/>
                  </a:cubicBezTo>
                  <a:cubicBezTo>
                    <a:pt x="857" y="2053"/>
                    <a:pt x="812" y="2039"/>
                    <a:pt x="767" y="2021"/>
                  </a:cubicBezTo>
                  <a:cubicBezTo>
                    <a:pt x="723" y="2003"/>
                    <a:pt x="679" y="1980"/>
                    <a:pt x="649" y="1963"/>
                  </a:cubicBezTo>
                  <a:lnTo>
                    <a:pt x="649" y="1962"/>
                  </a:lnTo>
                  <a:lnTo>
                    <a:pt x="649" y="1962"/>
                  </a:lnTo>
                  <a:cubicBezTo>
                    <a:pt x="422" y="1823"/>
                    <a:pt x="86" y="1546"/>
                    <a:pt x="3" y="1213"/>
                  </a:cubicBezTo>
                  <a:lnTo>
                    <a:pt x="2" y="1212"/>
                  </a:lnTo>
                  <a:lnTo>
                    <a:pt x="2" y="1210"/>
                  </a:lnTo>
                  <a:cubicBezTo>
                    <a:pt x="0" y="1183"/>
                    <a:pt x="13" y="1158"/>
                    <a:pt x="29" y="1134"/>
                  </a:cubicBezTo>
                  <a:cubicBezTo>
                    <a:pt x="46" y="1110"/>
                    <a:pt x="66" y="1088"/>
                    <a:pt x="84" y="1070"/>
                  </a:cubicBezTo>
                  <a:cubicBezTo>
                    <a:pt x="102" y="1052"/>
                    <a:pt x="132" y="1026"/>
                    <a:pt x="157" y="1003"/>
                  </a:cubicBezTo>
                  <a:cubicBezTo>
                    <a:pt x="169" y="991"/>
                    <a:pt x="180" y="980"/>
                    <a:pt x="187" y="971"/>
                  </a:cubicBezTo>
                  <a:cubicBezTo>
                    <a:pt x="191" y="967"/>
                    <a:pt x="194" y="963"/>
                    <a:pt x="195" y="961"/>
                  </a:cubicBezTo>
                  <a:cubicBezTo>
                    <a:pt x="195" y="960"/>
                    <a:pt x="195" y="960"/>
                    <a:pt x="195" y="960"/>
                  </a:cubicBezTo>
                  <a:cubicBezTo>
                    <a:pt x="194" y="953"/>
                    <a:pt x="196" y="948"/>
                    <a:pt x="198" y="943"/>
                  </a:cubicBezTo>
                  <a:cubicBezTo>
                    <a:pt x="200" y="937"/>
                    <a:pt x="203" y="931"/>
                    <a:pt x="206" y="925"/>
                  </a:cubicBezTo>
                  <a:cubicBezTo>
                    <a:pt x="213" y="912"/>
                    <a:pt x="221" y="898"/>
                    <a:pt x="231" y="883"/>
                  </a:cubicBezTo>
                  <a:cubicBezTo>
                    <a:pt x="248" y="854"/>
                    <a:pt x="267" y="822"/>
                    <a:pt x="271" y="812"/>
                  </a:cubicBezTo>
                  <a:cubicBezTo>
                    <a:pt x="272" y="731"/>
                    <a:pt x="267" y="653"/>
                    <a:pt x="283" y="577"/>
                  </a:cubicBezTo>
                  <a:cubicBezTo>
                    <a:pt x="299" y="501"/>
                    <a:pt x="338" y="426"/>
                    <a:pt x="422" y="354"/>
                  </a:cubicBezTo>
                  <a:cubicBezTo>
                    <a:pt x="433" y="317"/>
                    <a:pt x="461" y="287"/>
                    <a:pt x="493" y="262"/>
                  </a:cubicBezTo>
                  <a:cubicBezTo>
                    <a:pt x="526" y="236"/>
                    <a:pt x="564" y="217"/>
                    <a:pt x="595" y="206"/>
                  </a:cubicBezTo>
                  <a:cubicBezTo>
                    <a:pt x="657" y="167"/>
                    <a:pt x="732" y="135"/>
                    <a:pt x="807" y="112"/>
                  </a:cubicBezTo>
                  <a:cubicBezTo>
                    <a:pt x="807" y="111"/>
                    <a:pt x="807" y="111"/>
                    <a:pt x="807" y="109"/>
                  </a:cubicBezTo>
                  <a:cubicBezTo>
                    <a:pt x="805" y="100"/>
                    <a:pt x="801" y="88"/>
                    <a:pt x="797" y="76"/>
                  </a:cubicBezTo>
                  <a:cubicBezTo>
                    <a:pt x="787" y="53"/>
                    <a:pt x="776" y="30"/>
                    <a:pt x="776" y="30"/>
                  </a:cubicBezTo>
                  <a:lnTo>
                    <a:pt x="765" y="9"/>
                  </a:lnTo>
                  <a:lnTo>
                    <a:pt x="787" y="2"/>
                  </a:lnTo>
                  <a:cubicBezTo>
                    <a:pt x="787" y="2"/>
                    <a:pt x="792" y="0"/>
                    <a:pt x="796"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94"/>
            <p:cNvSpPr>
              <a:spLocks/>
            </p:cNvSpPr>
            <p:nvPr/>
          </p:nvSpPr>
          <p:spPr bwMode="auto">
            <a:xfrm>
              <a:off x="5926138" y="3871913"/>
              <a:ext cx="3175" cy="0"/>
            </a:xfrm>
            <a:custGeom>
              <a:avLst/>
              <a:gdLst>
                <a:gd name="T0" fmla="*/ 4 w 5"/>
                <a:gd name="T1" fmla="*/ 0 w 5"/>
                <a:gd name="T2" fmla="*/ 5 w 5"/>
                <a:gd name="T3" fmla="*/ 4 w 5"/>
              </a:gdLst>
              <a:ahLst/>
              <a:cxnLst>
                <a:cxn ang="0">
                  <a:pos x="T0" y="0"/>
                </a:cxn>
                <a:cxn ang="0">
                  <a:pos x="T1" y="0"/>
                </a:cxn>
                <a:cxn ang="0">
                  <a:pos x="T2" y="0"/>
                </a:cxn>
                <a:cxn ang="0">
                  <a:pos x="T3" y="0"/>
                </a:cxn>
              </a:cxnLst>
              <a:rect l="0" t="0" r="r" b="b"/>
              <a:pathLst>
                <a:path w="5">
                  <a:moveTo>
                    <a:pt x="4" y="0"/>
                  </a:moveTo>
                  <a:cubicBezTo>
                    <a:pt x="2" y="0"/>
                    <a:pt x="1" y="0"/>
                    <a:pt x="0" y="0"/>
                  </a:cubicBezTo>
                  <a:lnTo>
                    <a:pt x="5" y="0"/>
                  </a:lnTo>
                  <a:cubicBezTo>
                    <a:pt x="5" y="0"/>
                    <a:pt x="4" y="0"/>
                    <a:pt x="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5"/>
            <p:cNvSpPr>
              <a:spLocks/>
            </p:cNvSpPr>
            <p:nvPr/>
          </p:nvSpPr>
          <p:spPr bwMode="auto">
            <a:xfrm>
              <a:off x="5432425" y="3856038"/>
              <a:ext cx="881062" cy="960438"/>
            </a:xfrm>
            <a:custGeom>
              <a:avLst/>
              <a:gdLst>
                <a:gd name="T0" fmla="*/ 786 w 1801"/>
                <a:gd name="T1" fmla="*/ 0 h 1965"/>
                <a:gd name="T2" fmla="*/ 792 w 1801"/>
                <a:gd name="T3" fmla="*/ 14 h 1965"/>
                <a:gd name="T4" fmla="*/ 804 w 1801"/>
                <a:gd name="T5" fmla="*/ 53 h 1965"/>
                <a:gd name="T6" fmla="*/ 806 w 1801"/>
                <a:gd name="T7" fmla="*/ 73 h 1965"/>
                <a:gd name="T8" fmla="*/ 795 w 1801"/>
                <a:gd name="T9" fmla="*/ 95 h 1965"/>
                <a:gd name="T10" fmla="*/ 792 w 1801"/>
                <a:gd name="T11" fmla="*/ 98 h 1965"/>
                <a:gd name="T12" fmla="*/ 788 w 1801"/>
                <a:gd name="T13" fmla="*/ 99 h 1965"/>
                <a:gd name="T14" fmla="*/ 658 w 1801"/>
                <a:gd name="T15" fmla="*/ 147 h 1965"/>
                <a:gd name="T16" fmla="*/ 610 w 1801"/>
                <a:gd name="T17" fmla="*/ 149 h 1965"/>
                <a:gd name="T18" fmla="*/ 523 w 1801"/>
                <a:gd name="T19" fmla="*/ 194 h 1965"/>
                <a:gd name="T20" fmla="*/ 426 w 1801"/>
                <a:gd name="T21" fmla="*/ 256 h 1965"/>
                <a:gd name="T22" fmla="*/ 391 w 1801"/>
                <a:gd name="T23" fmla="*/ 333 h 1965"/>
                <a:gd name="T24" fmla="*/ 334 w 1801"/>
                <a:gd name="T25" fmla="*/ 374 h 1965"/>
                <a:gd name="T26" fmla="*/ 254 w 1801"/>
                <a:gd name="T27" fmla="*/ 548 h 1965"/>
                <a:gd name="T28" fmla="*/ 254 w 1801"/>
                <a:gd name="T29" fmla="*/ 728 h 1965"/>
                <a:gd name="T30" fmla="*/ 247 w 1801"/>
                <a:gd name="T31" fmla="*/ 792 h 1965"/>
                <a:gd name="T32" fmla="*/ 202 w 1801"/>
                <a:gd name="T33" fmla="*/ 865 h 1965"/>
                <a:gd name="T34" fmla="*/ 93 w 1801"/>
                <a:gd name="T35" fmla="*/ 1014 h 1965"/>
                <a:gd name="T36" fmla="*/ 123 w 1801"/>
                <a:gd name="T37" fmla="*/ 1020 h 1965"/>
                <a:gd name="T38" fmla="*/ 6 w 1801"/>
                <a:gd name="T39" fmla="*/ 1135 h 1965"/>
                <a:gd name="T40" fmla="*/ 5 w 1801"/>
                <a:gd name="T41" fmla="*/ 1136 h 1965"/>
                <a:gd name="T42" fmla="*/ 0 w 1801"/>
                <a:gd name="T43" fmla="*/ 1158 h 1965"/>
                <a:gd name="T44" fmla="*/ 627 w 1801"/>
                <a:gd name="T45" fmla="*/ 1880 h 1965"/>
                <a:gd name="T46" fmla="*/ 627 w 1801"/>
                <a:gd name="T47" fmla="*/ 1880 h 1965"/>
                <a:gd name="T48" fmla="*/ 740 w 1801"/>
                <a:gd name="T49" fmla="*/ 1936 h 1965"/>
                <a:gd name="T50" fmla="*/ 850 w 1801"/>
                <a:gd name="T51" fmla="*/ 1963 h 1965"/>
                <a:gd name="T52" fmla="*/ 851 w 1801"/>
                <a:gd name="T53" fmla="*/ 1963 h 1965"/>
                <a:gd name="T54" fmla="*/ 851 w 1801"/>
                <a:gd name="T55" fmla="*/ 1963 h 1965"/>
                <a:gd name="T56" fmla="*/ 1281 w 1801"/>
                <a:gd name="T57" fmla="*/ 1840 h 1965"/>
                <a:gd name="T58" fmla="*/ 1598 w 1801"/>
                <a:gd name="T59" fmla="*/ 1570 h 1965"/>
                <a:gd name="T60" fmla="*/ 1699 w 1801"/>
                <a:gd name="T61" fmla="*/ 1453 h 1965"/>
                <a:gd name="T62" fmla="*/ 1726 w 1801"/>
                <a:gd name="T63" fmla="*/ 1343 h 1965"/>
                <a:gd name="T64" fmla="*/ 1691 w 1801"/>
                <a:gd name="T65" fmla="*/ 791 h 1965"/>
                <a:gd name="T66" fmla="*/ 1770 w 1801"/>
                <a:gd name="T67" fmla="*/ 677 h 1965"/>
                <a:gd name="T68" fmla="*/ 1799 w 1801"/>
                <a:gd name="T69" fmla="*/ 612 h 1965"/>
                <a:gd name="T70" fmla="*/ 1415 w 1801"/>
                <a:gd name="T71" fmla="*/ 212 h 1965"/>
                <a:gd name="T72" fmla="*/ 1015 w 1801"/>
                <a:gd name="T73" fmla="*/ 72 h 1965"/>
                <a:gd name="T74" fmla="*/ 1012 w 1801"/>
                <a:gd name="T75" fmla="*/ 72 h 1965"/>
                <a:gd name="T76" fmla="*/ 1010 w 1801"/>
                <a:gd name="T77" fmla="*/ 72 h 1965"/>
                <a:gd name="T78" fmla="*/ 949 w 1801"/>
                <a:gd name="T79" fmla="*/ 49 h 1965"/>
                <a:gd name="T80" fmla="*/ 934 w 1801"/>
                <a:gd name="T81" fmla="*/ 40 h 1965"/>
                <a:gd name="T82" fmla="*/ 936 w 1801"/>
                <a:gd name="T83" fmla="*/ 55 h 1965"/>
                <a:gd name="T84" fmla="*/ 900 w 1801"/>
                <a:gd name="T85" fmla="*/ 70 h 1965"/>
                <a:gd name="T86" fmla="*/ 885 w 1801"/>
                <a:gd name="T87" fmla="*/ 54 h 1965"/>
                <a:gd name="T88" fmla="*/ 825 w 1801"/>
                <a:gd name="T89" fmla="*/ 15 h 1965"/>
                <a:gd name="T90" fmla="*/ 786 w 1801"/>
                <a:gd name="T91" fmla="*/ 0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1" h="1965">
                  <a:moveTo>
                    <a:pt x="786" y="0"/>
                  </a:moveTo>
                  <a:cubicBezTo>
                    <a:pt x="789" y="6"/>
                    <a:pt x="789" y="7"/>
                    <a:pt x="792" y="14"/>
                  </a:cubicBezTo>
                  <a:cubicBezTo>
                    <a:pt x="797" y="27"/>
                    <a:pt x="802" y="40"/>
                    <a:pt x="804" y="53"/>
                  </a:cubicBezTo>
                  <a:cubicBezTo>
                    <a:pt x="806" y="60"/>
                    <a:pt x="806" y="66"/>
                    <a:pt x="806" y="73"/>
                  </a:cubicBezTo>
                  <a:cubicBezTo>
                    <a:pt x="805" y="79"/>
                    <a:pt x="803" y="88"/>
                    <a:pt x="795" y="95"/>
                  </a:cubicBezTo>
                  <a:lnTo>
                    <a:pt x="792" y="98"/>
                  </a:lnTo>
                  <a:lnTo>
                    <a:pt x="788" y="99"/>
                  </a:lnTo>
                  <a:cubicBezTo>
                    <a:pt x="743" y="112"/>
                    <a:pt x="699" y="128"/>
                    <a:pt x="658" y="147"/>
                  </a:cubicBezTo>
                  <a:lnTo>
                    <a:pt x="610" y="149"/>
                  </a:lnTo>
                  <a:lnTo>
                    <a:pt x="523" y="194"/>
                  </a:lnTo>
                  <a:lnTo>
                    <a:pt x="426" y="256"/>
                  </a:lnTo>
                  <a:lnTo>
                    <a:pt x="391" y="333"/>
                  </a:lnTo>
                  <a:lnTo>
                    <a:pt x="334" y="374"/>
                  </a:lnTo>
                  <a:lnTo>
                    <a:pt x="254" y="548"/>
                  </a:lnTo>
                  <a:lnTo>
                    <a:pt x="254" y="728"/>
                  </a:lnTo>
                  <a:lnTo>
                    <a:pt x="247" y="792"/>
                  </a:lnTo>
                  <a:lnTo>
                    <a:pt x="202" y="865"/>
                  </a:lnTo>
                  <a:lnTo>
                    <a:pt x="93" y="1014"/>
                  </a:lnTo>
                  <a:lnTo>
                    <a:pt x="123" y="1020"/>
                  </a:lnTo>
                  <a:cubicBezTo>
                    <a:pt x="81" y="1051"/>
                    <a:pt x="43" y="1088"/>
                    <a:pt x="6" y="1135"/>
                  </a:cubicBezTo>
                  <a:cubicBezTo>
                    <a:pt x="6" y="1135"/>
                    <a:pt x="5" y="1136"/>
                    <a:pt x="5" y="1136"/>
                  </a:cubicBezTo>
                  <a:cubicBezTo>
                    <a:pt x="2" y="1145"/>
                    <a:pt x="0" y="1152"/>
                    <a:pt x="0" y="1158"/>
                  </a:cubicBezTo>
                  <a:cubicBezTo>
                    <a:pt x="80" y="1470"/>
                    <a:pt x="407" y="1745"/>
                    <a:pt x="627" y="1880"/>
                  </a:cubicBezTo>
                  <a:lnTo>
                    <a:pt x="627" y="1880"/>
                  </a:lnTo>
                  <a:cubicBezTo>
                    <a:pt x="656" y="1897"/>
                    <a:pt x="698" y="1919"/>
                    <a:pt x="740" y="1936"/>
                  </a:cubicBezTo>
                  <a:cubicBezTo>
                    <a:pt x="783" y="1953"/>
                    <a:pt x="826" y="1965"/>
                    <a:pt x="850" y="1963"/>
                  </a:cubicBezTo>
                  <a:lnTo>
                    <a:pt x="851" y="1963"/>
                  </a:lnTo>
                  <a:lnTo>
                    <a:pt x="851" y="1963"/>
                  </a:lnTo>
                  <a:cubicBezTo>
                    <a:pt x="983" y="1963"/>
                    <a:pt x="1164" y="1947"/>
                    <a:pt x="1281" y="1840"/>
                  </a:cubicBezTo>
                  <a:cubicBezTo>
                    <a:pt x="1393" y="1738"/>
                    <a:pt x="1511" y="1651"/>
                    <a:pt x="1598" y="1570"/>
                  </a:cubicBezTo>
                  <a:cubicBezTo>
                    <a:pt x="1641" y="1530"/>
                    <a:pt x="1677" y="1491"/>
                    <a:pt x="1699" y="1453"/>
                  </a:cubicBezTo>
                  <a:cubicBezTo>
                    <a:pt x="1721" y="1415"/>
                    <a:pt x="1731" y="1380"/>
                    <a:pt x="1726" y="1343"/>
                  </a:cubicBezTo>
                  <a:cubicBezTo>
                    <a:pt x="1617" y="1051"/>
                    <a:pt x="1640" y="891"/>
                    <a:pt x="1691" y="791"/>
                  </a:cubicBezTo>
                  <a:cubicBezTo>
                    <a:pt x="1716" y="740"/>
                    <a:pt x="1748" y="705"/>
                    <a:pt x="1770" y="677"/>
                  </a:cubicBezTo>
                  <a:cubicBezTo>
                    <a:pt x="1791" y="650"/>
                    <a:pt x="1801" y="633"/>
                    <a:pt x="1799" y="612"/>
                  </a:cubicBezTo>
                  <a:cubicBezTo>
                    <a:pt x="1715" y="449"/>
                    <a:pt x="1566" y="308"/>
                    <a:pt x="1415" y="212"/>
                  </a:cubicBezTo>
                  <a:cubicBezTo>
                    <a:pt x="1262" y="115"/>
                    <a:pt x="1104" y="63"/>
                    <a:pt x="1015" y="72"/>
                  </a:cubicBezTo>
                  <a:lnTo>
                    <a:pt x="1012" y="72"/>
                  </a:lnTo>
                  <a:lnTo>
                    <a:pt x="1010" y="72"/>
                  </a:lnTo>
                  <a:cubicBezTo>
                    <a:pt x="986" y="68"/>
                    <a:pt x="965" y="58"/>
                    <a:pt x="949" y="49"/>
                  </a:cubicBezTo>
                  <a:cubicBezTo>
                    <a:pt x="942" y="45"/>
                    <a:pt x="940" y="43"/>
                    <a:pt x="934" y="40"/>
                  </a:cubicBezTo>
                  <a:cubicBezTo>
                    <a:pt x="935" y="47"/>
                    <a:pt x="936" y="55"/>
                    <a:pt x="936" y="55"/>
                  </a:cubicBezTo>
                  <a:lnTo>
                    <a:pt x="900" y="70"/>
                  </a:lnTo>
                  <a:cubicBezTo>
                    <a:pt x="900" y="70"/>
                    <a:pt x="897" y="65"/>
                    <a:pt x="885" y="54"/>
                  </a:cubicBezTo>
                  <a:cubicBezTo>
                    <a:pt x="873" y="44"/>
                    <a:pt x="854" y="29"/>
                    <a:pt x="825" y="15"/>
                  </a:cubicBezTo>
                  <a:cubicBezTo>
                    <a:pt x="805" y="5"/>
                    <a:pt x="797" y="3"/>
                    <a:pt x="786"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6"/>
            <p:cNvSpPr>
              <a:spLocks/>
            </p:cNvSpPr>
            <p:nvPr/>
          </p:nvSpPr>
          <p:spPr bwMode="auto">
            <a:xfrm>
              <a:off x="5756275" y="3919538"/>
              <a:ext cx="400050" cy="381000"/>
            </a:xfrm>
            <a:custGeom>
              <a:avLst/>
              <a:gdLst>
                <a:gd name="T0" fmla="*/ 199 w 819"/>
                <a:gd name="T1" fmla="*/ 0 h 780"/>
                <a:gd name="T2" fmla="*/ 213 w 819"/>
                <a:gd name="T3" fmla="*/ 0 h 780"/>
                <a:gd name="T4" fmla="*/ 350 w 819"/>
                <a:gd name="T5" fmla="*/ 53 h 780"/>
                <a:gd name="T6" fmla="*/ 377 w 819"/>
                <a:gd name="T7" fmla="*/ 83 h 780"/>
                <a:gd name="T8" fmla="*/ 383 w 819"/>
                <a:gd name="T9" fmla="*/ 88 h 780"/>
                <a:gd name="T10" fmla="*/ 391 w 819"/>
                <a:gd name="T11" fmla="*/ 90 h 780"/>
                <a:gd name="T12" fmla="*/ 404 w 819"/>
                <a:gd name="T13" fmla="*/ 104 h 780"/>
                <a:gd name="T14" fmla="*/ 399 w 819"/>
                <a:gd name="T15" fmla="*/ 125 h 780"/>
                <a:gd name="T16" fmla="*/ 380 w 819"/>
                <a:gd name="T17" fmla="*/ 142 h 780"/>
                <a:gd name="T18" fmla="*/ 309 w 819"/>
                <a:gd name="T19" fmla="*/ 181 h 780"/>
                <a:gd name="T20" fmla="*/ 194 w 819"/>
                <a:gd name="T21" fmla="*/ 212 h 780"/>
                <a:gd name="T22" fmla="*/ 262 w 819"/>
                <a:gd name="T23" fmla="*/ 252 h 780"/>
                <a:gd name="T24" fmla="*/ 396 w 819"/>
                <a:gd name="T25" fmla="*/ 419 h 780"/>
                <a:gd name="T26" fmla="*/ 459 w 819"/>
                <a:gd name="T27" fmla="*/ 618 h 780"/>
                <a:gd name="T28" fmla="*/ 454 w 819"/>
                <a:gd name="T29" fmla="*/ 666 h 780"/>
                <a:gd name="T30" fmla="*/ 558 w 819"/>
                <a:gd name="T31" fmla="*/ 560 h 780"/>
                <a:gd name="T32" fmla="*/ 523 w 819"/>
                <a:gd name="T33" fmla="*/ 553 h 780"/>
                <a:gd name="T34" fmla="*/ 431 w 819"/>
                <a:gd name="T35" fmla="*/ 450 h 780"/>
                <a:gd name="T36" fmla="*/ 404 w 819"/>
                <a:gd name="T37" fmla="*/ 303 h 780"/>
                <a:gd name="T38" fmla="*/ 473 w 819"/>
                <a:gd name="T39" fmla="*/ 195 h 780"/>
                <a:gd name="T40" fmla="*/ 474 w 819"/>
                <a:gd name="T41" fmla="*/ 195 h 780"/>
                <a:gd name="T42" fmla="*/ 496 w 819"/>
                <a:gd name="T43" fmla="*/ 192 h 780"/>
                <a:gd name="T44" fmla="*/ 558 w 819"/>
                <a:gd name="T45" fmla="*/ 222 h 780"/>
                <a:gd name="T46" fmla="*/ 630 w 819"/>
                <a:gd name="T47" fmla="*/ 306 h 780"/>
                <a:gd name="T48" fmla="*/ 673 w 819"/>
                <a:gd name="T49" fmla="*/ 410 h 780"/>
                <a:gd name="T50" fmla="*/ 677 w 819"/>
                <a:gd name="T51" fmla="*/ 445 h 780"/>
                <a:gd name="T52" fmla="*/ 680 w 819"/>
                <a:gd name="T53" fmla="*/ 443 h 780"/>
                <a:gd name="T54" fmla="*/ 792 w 819"/>
                <a:gd name="T55" fmla="*/ 399 h 780"/>
                <a:gd name="T56" fmla="*/ 791 w 819"/>
                <a:gd name="T57" fmla="*/ 439 h 780"/>
                <a:gd name="T58" fmla="*/ 703 w 819"/>
                <a:gd name="T59" fmla="*/ 475 h 780"/>
                <a:gd name="T60" fmla="*/ 605 w 819"/>
                <a:gd name="T61" fmla="*/ 568 h 780"/>
                <a:gd name="T62" fmla="*/ 407 w 819"/>
                <a:gd name="T63" fmla="*/ 747 h 780"/>
                <a:gd name="T64" fmla="*/ 375 w 819"/>
                <a:gd name="T65" fmla="*/ 758 h 780"/>
                <a:gd name="T66" fmla="*/ 370 w 819"/>
                <a:gd name="T67" fmla="*/ 760 h 780"/>
                <a:gd name="T68" fmla="*/ 211 w 819"/>
                <a:gd name="T69" fmla="*/ 749 h 780"/>
                <a:gd name="T70" fmla="*/ 187 w 819"/>
                <a:gd name="T71" fmla="*/ 740 h 780"/>
                <a:gd name="T72" fmla="*/ 23 w 819"/>
                <a:gd name="T73" fmla="*/ 638 h 780"/>
                <a:gd name="T74" fmla="*/ 45 w 819"/>
                <a:gd name="T75" fmla="*/ 605 h 780"/>
                <a:gd name="T76" fmla="*/ 116 w 819"/>
                <a:gd name="T77" fmla="*/ 654 h 780"/>
                <a:gd name="T78" fmla="*/ 77 w 819"/>
                <a:gd name="T79" fmla="*/ 568 h 780"/>
                <a:gd name="T80" fmla="*/ 50 w 819"/>
                <a:gd name="T81" fmla="*/ 370 h 780"/>
                <a:gd name="T82" fmla="*/ 107 w 819"/>
                <a:gd name="T83" fmla="*/ 219 h 780"/>
                <a:gd name="T84" fmla="*/ 110 w 819"/>
                <a:gd name="T85" fmla="*/ 217 h 780"/>
                <a:gd name="T86" fmla="*/ 121 w 819"/>
                <a:gd name="T87" fmla="*/ 212 h 780"/>
                <a:gd name="T88" fmla="*/ 80 w 819"/>
                <a:gd name="T89" fmla="*/ 204 h 780"/>
                <a:gd name="T90" fmla="*/ 79 w 819"/>
                <a:gd name="T91" fmla="*/ 203 h 780"/>
                <a:gd name="T92" fmla="*/ 77 w 819"/>
                <a:gd name="T93" fmla="*/ 202 h 780"/>
                <a:gd name="T94" fmla="*/ 58 w 819"/>
                <a:gd name="T95" fmla="*/ 179 h 780"/>
                <a:gd name="T96" fmla="*/ 54 w 819"/>
                <a:gd name="T97" fmla="*/ 151 h 780"/>
                <a:gd name="T98" fmla="*/ 69 w 819"/>
                <a:gd name="T99" fmla="*/ 84 h 780"/>
                <a:gd name="T100" fmla="*/ 199 w 819"/>
                <a:gd name="T101"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9" h="780">
                  <a:moveTo>
                    <a:pt x="199" y="0"/>
                  </a:moveTo>
                  <a:cubicBezTo>
                    <a:pt x="204" y="0"/>
                    <a:pt x="208" y="0"/>
                    <a:pt x="213" y="0"/>
                  </a:cubicBezTo>
                  <a:cubicBezTo>
                    <a:pt x="284" y="5"/>
                    <a:pt x="325" y="30"/>
                    <a:pt x="350" y="53"/>
                  </a:cubicBezTo>
                  <a:cubicBezTo>
                    <a:pt x="363" y="65"/>
                    <a:pt x="371" y="76"/>
                    <a:pt x="377" y="83"/>
                  </a:cubicBezTo>
                  <a:cubicBezTo>
                    <a:pt x="380" y="86"/>
                    <a:pt x="382" y="88"/>
                    <a:pt x="383" y="88"/>
                  </a:cubicBezTo>
                  <a:cubicBezTo>
                    <a:pt x="385" y="88"/>
                    <a:pt x="388" y="89"/>
                    <a:pt x="391" y="90"/>
                  </a:cubicBezTo>
                  <a:cubicBezTo>
                    <a:pt x="396" y="92"/>
                    <a:pt x="402" y="97"/>
                    <a:pt x="404" y="104"/>
                  </a:cubicBezTo>
                  <a:cubicBezTo>
                    <a:pt x="407" y="117"/>
                    <a:pt x="402" y="122"/>
                    <a:pt x="399" y="125"/>
                  </a:cubicBezTo>
                  <a:cubicBezTo>
                    <a:pt x="394" y="132"/>
                    <a:pt x="388" y="136"/>
                    <a:pt x="380" y="142"/>
                  </a:cubicBezTo>
                  <a:cubicBezTo>
                    <a:pt x="364" y="154"/>
                    <a:pt x="339" y="168"/>
                    <a:pt x="309" y="181"/>
                  </a:cubicBezTo>
                  <a:cubicBezTo>
                    <a:pt x="276" y="195"/>
                    <a:pt x="236" y="207"/>
                    <a:pt x="194" y="212"/>
                  </a:cubicBezTo>
                  <a:cubicBezTo>
                    <a:pt x="217" y="220"/>
                    <a:pt x="240" y="234"/>
                    <a:pt x="262" y="252"/>
                  </a:cubicBezTo>
                  <a:cubicBezTo>
                    <a:pt x="312" y="292"/>
                    <a:pt x="359" y="353"/>
                    <a:pt x="396" y="419"/>
                  </a:cubicBezTo>
                  <a:cubicBezTo>
                    <a:pt x="432" y="485"/>
                    <a:pt x="457" y="556"/>
                    <a:pt x="459" y="618"/>
                  </a:cubicBezTo>
                  <a:cubicBezTo>
                    <a:pt x="459" y="635"/>
                    <a:pt x="458" y="651"/>
                    <a:pt x="454" y="666"/>
                  </a:cubicBezTo>
                  <a:cubicBezTo>
                    <a:pt x="486" y="637"/>
                    <a:pt x="522" y="598"/>
                    <a:pt x="558" y="560"/>
                  </a:cubicBezTo>
                  <a:cubicBezTo>
                    <a:pt x="546" y="559"/>
                    <a:pt x="534" y="557"/>
                    <a:pt x="523" y="553"/>
                  </a:cubicBezTo>
                  <a:cubicBezTo>
                    <a:pt x="482" y="536"/>
                    <a:pt x="452" y="496"/>
                    <a:pt x="431" y="450"/>
                  </a:cubicBezTo>
                  <a:cubicBezTo>
                    <a:pt x="411" y="403"/>
                    <a:pt x="400" y="350"/>
                    <a:pt x="404" y="303"/>
                  </a:cubicBezTo>
                  <a:cubicBezTo>
                    <a:pt x="408" y="256"/>
                    <a:pt x="429" y="211"/>
                    <a:pt x="473" y="195"/>
                  </a:cubicBezTo>
                  <a:cubicBezTo>
                    <a:pt x="473" y="195"/>
                    <a:pt x="474" y="195"/>
                    <a:pt x="474" y="195"/>
                  </a:cubicBezTo>
                  <a:cubicBezTo>
                    <a:pt x="481" y="192"/>
                    <a:pt x="489" y="192"/>
                    <a:pt x="496" y="192"/>
                  </a:cubicBezTo>
                  <a:cubicBezTo>
                    <a:pt x="518" y="194"/>
                    <a:pt x="539" y="206"/>
                    <a:pt x="558" y="222"/>
                  </a:cubicBezTo>
                  <a:cubicBezTo>
                    <a:pt x="584" y="243"/>
                    <a:pt x="609" y="272"/>
                    <a:pt x="630" y="306"/>
                  </a:cubicBezTo>
                  <a:cubicBezTo>
                    <a:pt x="650" y="339"/>
                    <a:pt x="666" y="375"/>
                    <a:pt x="673" y="410"/>
                  </a:cubicBezTo>
                  <a:cubicBezTo>
                    <a:pt x="676" y="422"/>
                    <a:pt x="677" y="434"/>
                    <a:pt x="677" y="445"/>
                  </a:cubicBezTo>
                  <a:cubicBezTo>
                    <a:pt x="678" y="444"/>
                    <a:pt x="679" y="444"/>
                    <a:pt x="680" y="443"/>
                  </a:cubicBezTo>
                  <a:cubicBezTo>
                    <a:pt x="715" y="416"/>
                    <a:pt x="753" y="398"/>
                    <a:pt x="792" y="399"/>
                  </a:cubicBezTo>
                  <a:cubicBezTo>
                    <a:pt x="819" y="399"/>
                    <a:pt x="818" y="439"/>
                    <a:pt x="791" y="439"/>
                  </a:cubicBezTo>
                  <a:cubicBezTo>
                    <a:pt x="765" y="438"/>
                    <a:pt x="735" y="451"/>
                    <a:pt x="703" y="475"/>
                  </a:cubicBezTo>
                  <a:cubicBezTo>
                    <a:pt x="672" y="499"/>
                    <a:pt x="638" y="532"/>
                    <a:pt x="605" y="568"/>
                  </a:cubicBezTo>
                  <a:cubicBezTo>
                    <a:pt x="538" y="639"/>
                    <a:pt x="474" y="719"/>
                    <a:pt x="407" y="747"/>
                  </a:cubicBezTo>
                  <a:cubicBezTo>
                    <a:pt x="396" y="751"/>
                    <a:pt x="386" y="755"/>
                    <a:pt x="375" y="758"/>
                  </a:cubicBezTo>
                  <a:cubicBezTo>
                    <a:pt x="373" y="758"/>
                    <a:pt x="372" y="759"/>
                    <a:pt x="370" y="760"/>
                  </a:cubicBezTo>
                  <a:cubicBezTo>
                    <a:pt x="310" y="780"/>
                    <a:pt x="255" y="773"/>
                    <a:pt x="211" y="749"/>
                  </a:cubicBezTo>
                  <a:cubicBezTo>
                    <a:pt x="202" y="747"/>
                    <a:pt x="194" y="743"/>
                    <a:pt x="187" y="740"/>
                  </a:cubicBezTo>
                  <a:cubicBezTo>
                    <a:pt x="123" y="712"/>
                    <a:pt x="68" y="669"/>
                    <a:pt x="23" y="638"/>
                  </a:cubicBezTo>
                  <a:cubicBezTo>
                    <a:pt x="0" y="624"/>
                    <a:pt x="23" y="590"/>
                    <a:pt x="45" y="605"/>
                  </a:cubicBezTo>
                  <a:cubicBezTo>
                    <a:pt x="68" y="620"/>
                    <a:pt x="91" y="637"/>
                    <a:pt x="116" y="654"/>
                  </a:cubicBezTo>
                  <a:cubicBezTo>
                    <a:pt x="100" y="627"/>
                    <a:pt x="87" y="598"/>
                    <a:pt x="77" y="568"/>
                  </a:cubicBezTo>
                  <a:cubicBezTo>
                    <a:pt x="55" y="503"/>
                    <a:pt x="46" y="432"/>
                    <a:pt x="50" y="370"/>
                  </a:cubicBezTo>
                  <a:cubicBezTo>
                    <a:pt x="55" y="307"/>
                    <a:pt x="71" y="252"/>
                    <a:pt x="107" y="219"/>
                  </a:cubicBezTo>
                  <a:cubicBezTo>
                    <a:pt x="108" y="218"/>
                    <a:pt x="109" y="218"/>
                    <a:pt x="110" y="217"/>
                  </a:cubicBezTo>
                  <a:cubicBezTo>
                    <a:pt x="114" y="215"/>
                    <a:pt x="117" y="213"/>
                    <a:pt x="121" y="212"/>
                  </a:cubicBezTo>
                  <a:cubicBezTo>
                    <a:pt x="107" y="210"/>
                    <a:pt x="94" y="207"/>
                    <a:pt x="80" y="204"/>
                  </a:cubicBezTo>
                  <a:lnTo>
                    <a:pt x="79" y="203"/>
                  </a:lnTo>
                  <a:lnTo>
                    <a:pt x="77" y="202"/>
                  </a:lnTo>
                  <a:cubicBezTo>
                    <a:pt x="67" y="197"/>
                    <a:pt x="61" y="188"/>
                    <a:pt x="58" y="179"/>
                  </a:cubicBezTo>
                  <a:cubicBezTo>
                    <a:pt x="55" y="170"/>
                    <a:pt x="54" y="161"/>
                    <a:pt x="54" y="151"/>
                  </a:cubicBezTo>
                  <a:cubicBezTo>
                    <a:pt x="53" y="130"/>
                    <a:pt x="58" y="107"/>
                    <a:pt x="69" y="84"/>
                  </a:cubicBezTo>
                  <a:cubicBezTo>
                    <a:pt x="89" y="42"/>
                    <a:pt x="133" y="1"/>
                    <a:pt x="19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7"/>
            <p:cNvSpPr>
              <a:spLocks/>
            </p:cNvSpPr>
            <p:nvPr/>
          </p:nvSpPr>
          <p:spPr bwMode="auto">
            <a:xfrm>
              <a:off x="5942013" y="3962401"/>
              <a:ext cx="1587" cy="0"/>
            </a:xfrm>
            <a:custGeom>
              <a:avLst/>
              <a:gdLst>
                <a:gd name="T0" fmla="*/ 2 w 3"/>
                <a:gd name="T1" fmla="*/ 0 h 1"/>
                <a:gd name="T2" fmla="*/ 0 w 3"/>
                <a:gd name="T3" fmla="*/ 0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3" y="1"/>
                    <a:pt x="2" y="1"/>
                  </a:cubicBezTo>
                  <a:cubicBezTo>
                    <a:pt x="2" y="1"/>
                    <a:pt x="2" y="0"/>
                    <a:pt x="2"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98"/>
            <p:cNvSpPr>
              <a:spLocks/>
            </p:cNvSpPr>
            <p:nvPr/>
          </p:nvSpPr>
          <p:spPr bwMode="auto">
            <a:xfrm>
              <a:off x="5800725" y="3938588"/>
              <a:ext cx="82550" cy="65088"/>
            </a:xfrm>
            <a:custGeom>
              <a:avLst/>
              <a:gdLst>
                <a:gd name="T0" fmla="*/ 107 w 166"/>
                <a:gd name="T1" fmla="*/ 0 h 135"/>
                <a:gd name="T2" fmla="*/ 12 w 166"/>
                <a:gd name="T3" fmla="*/ 61 h 135"/>
                <a:gd name="T4" fmla="*/ 1 w 166"/>
                <a:gd name="T5" fmla="*/ 110 h 135"/>
                <a:gd name="T6" fmla="*/ 3 w 166"/>
                <a:gd name="T7" fmla="*/ 125 h 135"/>
                <a:gd name="T8" fmla="*/ 3 w 166"/>
                <a:gd name="T9" fmla="*/ 126 h 135"/>
                <a:gd name="T10" fmla="*/ 87 w 166"/>
                <a:gd name="T11" fmla="*/ 132 h 135"/>
                <a:gd name="T12" fmla="*/ 166 w 166"/>
                <a:gd name="T13" fmla="*/ 8 h 135"/>
                <a:gd name="T14" fmla="*/ 118 w 166"/>
                <a:gd name="T15" fmla="*/ 0 h 135"/>
                <a:gd name="T16" fmla="*/ 107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107" y="0"/>
                  </a:moveTo>
                  <a:cubicBezTo>
                    <a:pt x="55" y="0"/>
                    <a:pt x="27" y="29"/>
                    <a:pt x="12" y="61"/>
                  </a:cubicBezTo>
                  <a:cubicBezTo>
                    <a:pt x="4" y="79"/>
                    <a:pt x="0" y="97"/>
                    <a:pt x="1" y="110"/>
                  </a:cubicBezTo>
                  <a:cubicBezTo>
                    <a:pt x="1" y="117"/>
                    <a:pt x="2" y="122"/>
                    <a:pt x="3" y="125"/>
                  </a:cubicBezTo>
                  <a:cubicBezTo>
                    <a:pt x="3" y="126"/>
                    <a:pt x="3" y="126"/>
                    <a:pt x="3" y="126"/>
                  </a:cubicBezTo>
                  <a:cubicBezTo>
                    <a:pt x="30" y="133"/>
                    <a:pt x="59" y="135"/>
                    <a:pt x="87" y="132"/>
                  </a:cubicBezTo>
                  <a:cubicBezTo>
                    <a:pt x="55" y="74"/>
                    <a:pt x="110" y="18"/>
                    <a:pt x="166" y="8"/>
                  </a:cubicBezTo>
                  <a:cubicBezTo>
                    <a:pt x="152" y="4"/>
                    <a:pt x="137" y="1"/>
                    <a:pt x="118" y="0"/>
                  </a:cubicBezTo>
                  <a:cubicBezTo>
                    <a:pt x="114" y="0"/>
                    <a:pt x="110" y="0"/>
                    <a:pt x="107"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499"/>
            <p:cNvSpPr>
              <a:spLocks/>
            </p:cNvSpPr>
            <p:nvPr/>
          </p:nvSpPr>
          <p:spPr bwMode="auto">
            <a:xfrm>
              <a:off x="5802313" y="4000501"/>
              <a:ext cx="0"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1" y="0"/>
                    <a:pt x="1" y="0"/>
                  </a:cubicBez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500"/>
            <p:cNvSpPr>
              <a:spLocks/>
            </p:cNvSpPr>
            <p:nvPr/>
          </p:nvSpPr>
          <p:spPr bwMode="auto">
            <a:xfrm>
              <a:off x="5637213" y="3951288"/>
              <a:ext cx="73025" cy="61913"/>
            </a:xfrm>
            <a:custGeom>
              <a:avLst/>
              <a:gdLst>
                <a:gd name="T0" fmla="*/ 145 w 148"/>
                <a:gd name="T1" fmla="*/ 0 h 125"/>
                <a:gd name="T2" fmla="*/ 57 w 148"/>
                <a:gd name="T3" fmla="*/ 48 h 125"/>
                <a:gd name="T4" fmla="*/ 0 w 148"/>
                <a:gd name="T5" fmla="*/ 115 h 125"/>
                <a:gd name="T6" fmla="*/ 34 w 148"/>
                <a:gd name="T7" fmla="*/ 124 h 125"/>
                <a:gd name="T8" fmla="*/ 63 w 148"/>
                <a:gd name="T9" fmla="*/ 120 h 125"/>
                <a:gd name="T10" fmla="*/ 148 w 148"/>
                <a:gd name="T11" fmla="*/ 21 h 125"/>
                <a:gd name="T12" fmla="*/ 146 w 148"/>
                <a:gd name="T13" fmla="*/ 7 h 125"/>
                <a:gd name="T14" fmla="*/ 145 w 14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25">
                  <a:moveTo>
                    <a:pt x="145" y="0"/>
                  </a:moveTo>
                  <a:cubicBezTo>
                    <a:pt x="119" y="9"/>
                    <a:pt x="85" y="26"/>
                    <a:pt x="57" y="48"/>
                  </a:cubicBezTo>
                  <a:cubicBezTo>
                    <a:pt x="31" y="69"/>
                    <a:pt x="10" y="93"/>
                    <a:pt x="0" y="115"/>
                  </a:cubicBezTo>
                  <a:cubicBezTo>
                    <a:pt x="10" y="121"/>
                    <a:pt x="22" y="124"/>
                    <a:pt x="34" y="124"/>
                  </a:cubicBezTo>
                  <a:cubicBezTo>
                    <a:pt x="47" y="125"/>
                    <a:pt x="58" y="122"/>
                    <a:pt x="63" y="120"/>
                  </a:cubicBezTo>
                  <a:cubicBezTo>
                    <a:pt x="73" y="79"/>
                    <a:pt x="103" y="39"/>
                    <a:pt x="148" y="21"/>
                  </a:cubicBezTo>
                  <a:cubicBezTo>
                    <a:pt x="148" y="16"/>
                    <a:pt x="147" y="12"/>
                    <a:pt x="146" y="7"/>
                  </a:cubicBezTo>
                  <a:cubicBezTo>
                    <a:pt x="146" y="5"/>
                    <a:pt x="145" y="2"/>
                    <a:pt x="14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501"/>
            <p:cNvSpPr>
              <a:spLocks/>
            </p:cNvSpPr>
            <p:nvPr/>
          </p:nvSpPr>
          <p:spPr bwMode="auto">
            <a:xfrm>
              <a:off x="5856288" y="3960813"/>
              <a:ext cx="41275" cy="28575"/>
            </a:xfrm>
            <a:custGeom>
              <a:avLst/>
              <a:gdLst>
                <a:gd name="T0" fmla="*/ 35 w 86"/>
                <a:gd name="T1" fmla="*/ 0 h 59"/>
                <a:gd name="T2" fmla="*/ 54 w 86"/>
                <a:gd name="T3" fmla="*/ 51 h 59"/>
                <a:gd name="T4" fmla="*/ 35 w 86"/>
                <a:gd name="T5" fmla="*/ 0 h 59"/>
              </a:gdLst>
              <a:ahLst/>
              <a:cxnLst>
                <a:cxn ang="0">
                  <a:pos x="T0" y="T1"/>
                </a:cxn>
                <a:cxn ang="0">
                  <a:pos x="T2" y="T3"/>
                </a:cxn>
                <a:cxn ang="0">
                  <a:pos x="T4" y="T5"/>
                </a:cxn>
              </a:cxnLst>
              <a:rect l="0" t="0" r="r" b="b"/>
              <a:pathLst>
                <a:path w="86" h="59">
                  <a:moveTo>
                    <a:pt x="35" y="0"/>
                  </a:moveTo>
                  <a:cubicBezTo>
                    <a:pt x="0" y="18"/>
                    <a:pt x="22" y="59"/>
                    <a:pt x="54" y="51"/>
                  </a:cubicBezTo>
                  <a:cubicBezTo>
                    <a:pt x="86" y="43"/>
                    <a:pt x="50" y="1"/>
                    <a:pt x="3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502"/>
            <p:cNvSpPr>
              <a:spLocks/>
            </p:cNvSpPr>
            <p:nvPr/>
          </p:nvSpPr>
          <p:spPr bwMode="auto">
            <a:xfrm>
              <a:off x="5938838" y="3979863"/>
              <a:ext cx="3175" cy="1588"/>
            </a:xfrm>
            <a:custGeom>
              <a:avLst/>
              <a:gdLst>
                <a:gd name="T0" fmla="*/ 0 w 7"/>
                <a:gd name="T1" fmla="*/ 0 h 2"/>
                <a:gd name="T2" fmla="*/ 1 w 7"/>
                <a:gd name="T3" fmla="*/ 1 h 2"/>
                <a:gd name="T4" fmla="*/ 7 w 7"/>
                <a:gd name="T5" fmla="*/ 2 h 2"/>
                <a:gd name="T6" fmla="*/ 0 w 7"/>
                <a:gd name="T7" fmla="*/ 0 h 2"/>
              </a:gdLst>
              <a:ahLst/>
              <a:cxnLst>
                <a:cxn ang="0">
                  <a:pos x="T0" y="T1"/>
                </a:cxn>
                <a:cxn ang="0">
                  <a:pos x="T2" y="T3"/>
                </a:cxn>
                <a:cxn ang="0">
                  <a:pos x="T4" y="T5"/>
                </a:cxn>
                <a:cxn ang="0">
                  <a:pos x="T6" y="T7"/>
                </a:cxn>
              </a:cxnLst>
              <a:rect l="0" t="0" r="r" b="b"/>
              <a:pathLst>
                <a:path w="7" h="2">
                  <a:moveTo>
                    <a:pt x="0" y="0"/>
                  </a:moveTo>
                  <a:cubicBezTo>
                    <a:pt x="0" y="0"/>
                    <a:pt x="1" y="1"/>
                    <a:pt x="1" y="1"/>
                  </a:cubicBezTo>
                  <a:cubicBezTo>
                    <a:pt x="4" y="2"/>
                    <a:pt x="6" y="2"/>
                    <a:pt x="7" y="2"/>
                  </a:cubicBezTo>
                  <a:cubicBezTo>
                    <a:pt x="4" y="2"/>
                    <a:pt x="3" y="1"/>
                    <a:pt x="0"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503"/>
            <p:cNvSpPr>
              <a:spLocks/>
            </p:cNvSpPr>
            <p:nvPr/>
          </p:nvSpPr>
          <p:spPr bwMode="auto">
            <a:xfrm>
              <a:off x="5972175" y="4032251"/>
              <a:ext cx="73025" cy="136525"/>
            </a:xfrm>
            <a:custGeom>
              <a:avLst/>
              <a:gdLst>
                <a:gd name="T0" fmla="*/ 49 w 149"/>
                <a:gd name="T1" fmla="*/ 0 h 281"/>
                <a:gd name="T2" fmla="*/ 45 w 149"/>
                <a:gd name="T3" fmla="*/ 1 h 281"/>
                <a:gd name="T4" fmla="*/ 3 w 149"/>
                <a:gd name="T5" fmla="*/ 74 h 281"/>
                <a:gd name="T6" fmla="*/ 27 w 149"/>
                <a:gd name="T7" fmla="*/ 201 h 281"/>
                <a:gd name="T8" fmla="*/ 92 w 149"/>
                <a:gd name="T9" fmla="*/ 281 h 281"/>
                <a:gd name="T10" fmla="*/ 105 w 149"/>
                <a:gd name="T11" fmla="*/ 69 h 281"/>
                <a:gd name="T12" fmla="*/ 149 w 149"/>
                <a:gd name="T13" fmla="*/ 86 h 281"/>
                <a:gd name="T14" fmla="*/ 92 w 149"/>
                <a:gd name="T15" fmla="*/ 21 h 281"/>
                <a:gd name="T16" fmla="*/ 49 w 149"/>
                <a:gd name="T1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1">
                  <a:moveTo>
                    <a:pt x="49" y="0"/>
                  </a:moveTo>
                  <a:cubicBezTo>
                    <a:pt x="47" y="0"/>
                    <a:pt x="46" y="1"/>
                    <a:pt x="45" y="1"/>
                  </a:cubicBezTo>
                  <a:cubicBezTo>
                    <a:pt x="20" y="11"/>
                    <a:pt x="6" y="36"/>
                    <a:pt x="3" y="74"/>
                  </a:cubicBezTo>
                  <a:cubicBezTo>
                    <a:pt x="0" y="113"/>
                    <a:pt x="9" y="161"/>
                    <a:pt x="27" y="201"/>
                  </a:cubicBezTo>
                  <a:cubicBezTo>
                    <a:pt x="44" y="239"/>
                    <a:pt x="68" y="269"/>
                    <a:pt x="92" y="281"/>
                  </a:cubicBezTo>
                  <a:cubicBezTo>
                    <a:pt x="43" y="225"/>
                    <a:pt x="28" y="101"/>
                    <a:pt x="105" y="69"/>
                  </a:cubicBezTo>
                  <a:cubicBezTo>
                    <a:pt x="118" y="65"/>
                    <a:pt x="134" y="72"/>
                    <a:pt x="149" y="86"/>
                  </a:cubicBezTo>
                  <a:cubicBezTo>
                    <a:pt x="132" y="60"/>
                    <a:pt x="111" y="36"/>
                    <a:pt x="92" y="21"/>
                  </a:cubicBezTo>
                  <a:cubicBezTo>
                    <a:pt x="74" y="6"/>
                    <a:pt x="58" y="0"/>
                    <a:pt x="4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504"/>
            <p:cNvSpPr>
              <a:spLocks/>
            </p:cNvSpPr>
            <p:nvPr/>
          </p:nvSpPr>
          <p:spPr bwMode="auto">
            <a:xfrm>
              <a:off x="5799138" y="4038601"/>
              <a:ext cx="161925" cy="233363"/>
            </a:xfrm>
            <a:custGeom>
              <a:avLst/>
              <a:gdLst>
                <a:gd name="T0" fmla="*/ 64 w 332"/>
                <a:gd name="T1" fmla="*/ 0 h 477"/>
                <a:gd name="T2" fmla="*/ 45 w 332"/>
                <a:gd name="T3" fmla="*/ 6 h 477"/>
                <a:gd name="T4" fmla="*/ 3 w 332"/>
                <a:gd name="T5" fmla="*/ 127 h 477"/>
                <a:gd name="T6" fmla="*/ 28 w 332"/>
                <a:gd name="T7" fmla="*/ 310 h 477"/>
                <a:gd name="T8" fmla="*/ 120 w 332"/>
                <a:gd name="T9" fmla="*/ 454 h 477"/>
                <a:gd name="T10" fmla="*/ 140 w 332"/>
                <a:gd name="T11" fmla="*/ 468 h 477"/>
                <a:gd name="T12" fmla="*/ 174 w 332"/>
                <a:gd name="T13" fmla="*/ 477 h 477"/>
                <a:gd name="T14" fmla="*/ 152 w 332"/>
                <a:gd name="T15" fmla="*/ 136 h 477"/>
                <a:gd name="T16" fmla="*/ 331 w 332"/>
                <a:gd name="T17" fmla="*/ 393 h 477"/>
                <a:gd name="T18" fmla="*/ 332 w 332"/>
                <a:gd name="T19" fmla="*/ 374 h 477"/>
                <a:gd name="T20" fmla="*/ 274 w 332"/>
                <a:gd name="T21" fmla="*/ 193 h 477"/>
                <a:gd name="T22" fmla="*/ 150 w 332"/>
                <a:gd name="T23" fmla="*/ 38 h 477"/>
                <a:gd name="T24" fmla="*/ 88 w 332"/>
                <a:gd name="T25" fmla="*/ 3 h 477"/>
                <a:gd name="T26" fmla="*/ 64 w 332"/>
                <a:gd name="T27"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477">
                  <a:moveTo>
                    <a:pt x="64" y="0"/>
                  </a:moveTo>
                  <a:cubicBezTo>
                    <a:pt x="57" y="1"/>
                    <a:pt x="51" y="3"/>
                    <a:pt x="45" y="6"/>
                  </a:cubicBezTo>
                  <a:cubicBezTo>
                    <a:pt x="23" y="27"/>
                    <a:pt x="7" y="72"/>
                    <a:pt x="3" y="127"/>
                  </a:cubicBezTo>
                  <a:cubicBezTo>
                    <a:pt x="0" y="184"/>
                    <a:pt x="8" y="251"/>
                    <a:pt x="28" y="310"/>
                  </a:cubicBezTo>
                  <a:cubicBezTo>
                    <a:pt x="48" y="370"/>
                    <a:pt x="79" y="423"/>
                    <a:pt x="120" y="454"/>
                  </a:cubicBezTo>
                  <a:cubicBezTo>
                    <a:pt x="126" y="459"/>
                    <a:pt x="133" y="464"/>
                    <a:pt x="140" y="468"/>
                  </a:cubicBezTo>
                  <a:cubicBezTo>
                    <a:pt x="151" y="472"/>
                    <a:pt x="162" y="475"/>
                    <a:pt x="174" y="477"/>
                  </a:cubicBezTo>
                  <a:cubicBezTo>
                    <a:pt x="65" y="401"/>
                    <a:pt x="38" y="153"/>
                    <a:pt x="152" y="136"/>
                  </a:cubicBezTo>
                  <a:cubicBezTo>
                    <a:pt x="235" y="126"/>
                    <a:pt x="327" y="283"/>
                    <a:pt x="331" y="393"/>
                  </a:cubicBezTo>
                  <a:cubicBezTo>
                    <a:pt x="332" y="387"/>
                    <a:pt x="332" y="381"/>
                    <a:pt x="332" y="374"/>
                  </a:cubicBezTo>
                  <a:cubicBezTo>
                    <a:pt x="331" y="322"/>
                    <a:pt x="308" y="255"/>
                    <a:pt x="274" y="193"/>
                  </a:cubicBezTo>
                  <a:cubicBezTo>
                    <a:pt x="240" y="131"/>
                    <a:pt x="194" y="74"/>
                    <a:pt x="150" y="38"/>
                  </a:cubicBezTo>
                  <a:cubicBezTo>
                    <a:pt x="128" y="20"/>
                    <a:pt x="107" y="8"/>
                    <a:pt x="88" y="3"/>
                  </a:cubicBezTo>
                  <a:cubicBezTo>
                    <a:pt x="79" y="1"/>
                    <a:pt x="71" y="0"/>
                    <a:pt x="6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5"/>
            <p:cNvSpPr>
              <a:spLocks/>
            </p:cNvSpPr>
            <p:nvPr/>
          </p:nvSpPr>
          <p:spPr bwMode="auto">
            <a:xfrm>
              <a:off x="5602288" y="4062413"/>
              <a:ext cx="96837" cy="206375"/>
            </a:xfrm>
            <a:custGeom>
              <a:avLst/>
              <a:gdLst>
                <a:gd name="T0" fmla="*/ 118 w 196"/>
                <a:gd name="T1" fmla="*/ 1 h 421"/>
                <a:gd name="T2" fmla="*/ 53 w 196"/>
                <a:gd name="T3" fmla="*/ 42 h 421"/>
                <a:gd name="T4" fmla="*/ 16 w 196"/>
                <a:gd name="T5" fmla="*/ 148 h 421"/>
                <a:gd name="T6" fmla="*/ 0 w 196"/>
                <a:gd name="T7" fmla="*/ 370 h 421"/>
                <a:gd name="T8" fmla="*/ 9 w 196"/>
                <a:gd name="T9" fmla="*/ 406 h 421"/>
                <a:gd name="T10" fmla="*/ 31 w 196"/>
                <a:gd name="T11" fmla="*/ 419 h 421"/>
                <a:gd name="T12" fmla="*/ 61 w 196"/>
                <a:gd name="T13" fmla="*/ 417 h 421"/>
                <a:gd name="T14" fmla="*/ 44 w 196"/>
                <a:gd name="T15" fmla="*/ 271 h 421"/>
                <a:gd name="T16" fmla="*/ 100 w 196"/>
                <a:gd name="T17" fmla="*/ 126 h 421"/>
                <a:gd name="T18" fmla="*/ 187 w 196"/>
                <a:gd name="T19" fmla="*/ 143 h 421"/>
                <a:gd name="T20" fmla="*/ 193 w 196"/>
                <a:gd name="T21" fmla="*/ 169 h 421"/>
                <a:gd name="T22" fmla="*/ 190 w 196"/>
                <a:gd name="T23" fmla="*/ 61 h 421"/>
                <a:gd name="T24" fmla="*/ 169 w 196"/>
                <a:gd name="T25" fmla="*/ 16 h 421"/>
                <a:gd name="T26" fmla="*/ 118 w 196"/>
                <a:gd name="T27" fmla="*/ 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421">
                  <a:moveTo>
                    <a:pt x="118" y="1"/>
                  </a:moveTo>
                  <a:cubicBezTo>
                    <a:pt x="89" y="2"/>
                    <a:pt x="70" y="16"/>
                    <a:pt x="53" y="42"/>
                  </a:cubicBezTo>
                  <a:cubicBezTo>
                    <a:pt x="36" y="69"/>
                    <a:pt x="24" y="107"/>
                    <a:pt x="16" y="148"/>
                  </a:cubicBezTo>
                  <a:cubicBezTo>
                    <a:pt x="0" y="231"/>
                    <a:pt x="1" y="326"/>
                    <a:pt x="0" y="370"/>
                  </a:cubicBezTo>
                  <a:cubicBezTo>
                    <a:pt x="0" y="388"/>
                    <a:pt x="4" y="399"/>
                    <a:pt x="9" y="406"/>
                  </a:cubicBezTo>
                  <a:cubicBezTo>
                    <a:pt x="14" y="414"/>
                    <a:pt x="21" y="418"/>
                    <a:pt x="31" y="419"/>
                  </a:cubicBezTo>
                  <a:cubicBezTo>
                    <a:pt x="39" y="421"/>
                    <a:pt x="50" y="420"/>
                    <a:pt x="61" y="417"/>
                  </a:cubicBezTo>
                  <a:cubicBezTo>
                    <a:pt x="37" y="383"/>
                    <a:pt x="39" y="314"/>
                    <a:pt x="44" y="271"/>
                  </a:cubicBezTo>
                  <a:cubicBezTo>
                    <a:pt x="52" y="218"/>
                    <a:pt x="58" y="139"/>
                    <a:pt x="100" y="126"/>
                  </a:cubicBezTo>
                  <a:cubicBezTo>
                    <a:pt x="120" y="117"/>
                    <a:pt x="179" y="129"/>
                    <a:pt x="187" y="143"/>
                  </a:cubicBezTo>
                  <a:cubicBezTo>
                    <a:pt x="189" y="149"/>
                    <a:pt x="191" y="158"/>
                    <a:pt x="193" y="169"/>
                  </a:cubicBezTo>
                  <a:cubicBezTo>
                    <a:pt x="194" y="133"/>
                    <a:pt x="196" y="93"/>
                    <a:pt x="190" y="61"/>
                  </a:cubicBezTo>
                  <a:cubicBezTo>
                    <a:pt x="186" y="41"/>
                    <a:pt x="179" y="26"/>
                    <a:pt x="169" y="16"/>
                  </a:cubicBezTo>
                  <a:cubicBezTo>
                    <a:pt x="159" y="6"/>
                    <a:pt x="144" y="0"/>
                    <a:pt x="118" y="1"/>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6"/>
            <p:cNvSpPr>
              <a:spLocks noEditPoints="1"/>
            </p:cNvSpPr>
            <p:nvPr/>
          </p:nvSpPr>
          <p:spPr bwMode="auto">
            <a:xfrm>
              <a:off x="5589588" y="3929063"/>
              <a:ext cx="511175" cy="396875"/>
            </a:xfrm>
            <a:custGeom>
              <a:avLst/>
              <a:gdLst>
                <a:gd name="T0" fmla="*/ 539 w 1043"/>
                <a:gd name="T1" fmla="*/ 0 h 812"/>
                <a:gd name="T2" fmla="*/ 425 w 1043"/>
                <a:gd name="T3" fmla="*/ 164 h 812"/>
                <a:gd name="T4" fmla="*/ 721 w 1043"/>
                <a:gd name="T5" fmla="*/ 88 h 812"/>
                <a:gd name="T6" fmla="*/ 551 w 1043"/>
                <a:gd name="T7" fmla="*/ 0 h 812"/>
                <a:gd name="T8" fmla="*/ 539 w 1043"/>
                <a:gd name="T9" fmla="*/ 0 h 812"/>
                <a:gd name="T10" fmla="*/ 243 w 1043"/>
                <a:gd name="T11" fmla="*/ 31 h 812"/>
                <a:gd name="T12" fmla="*/ 83 w 1043"/>
                <a:gd name="T13" fmla="*/ 163 h 812"/>
                <a:gd name="T14" fmla="*/ 164 w 1043"/>
                <a:gd name="T15" fmla="*/ 174 h 812"/>
                <a:gd name="T16" fmla="*/ 173 w 1043"/>
                <a:gd name="T17" fmla="*/ 141 h 812"/>
                <a:gd name="T18" fmla="*/ 206 w 1043"/>
                <a:gd name="T19" fmla="*/ 161 h 812"/>
                <a:gd name="T20" fmla="*/ 292 w 1043"/>
                <a:gd name="T21" fmla="*/ 156 h 812"/>
                <a:gd name="T22" fmla="*/ 306 w 1043"/>
                <a:gd name="T23" fmla="*/ 126 h 812"/>
                <a:gd name="T24" fmla="*/ 295 w 1043"/>
                <a:gd name="T25" fmla="*/ 81 h 812"/>
                <a:gd name="T26" fmla="*/ 265 w 1043"/>
                <a:gd name="T27" fmla="*/ 78 h 812"/>
                <a:gd name="T28" fmla="*/ 252 w 1043"/>
                <a:gd name="T29" fmla="*/ 74 h 812"/>
                <a:gd name="T30" fmla="*/ 243 w 1043"/>
                <a:gd name="T31" fmla="*/ 31 h 812"/>
                <a:gd name="T32" fmla="*/ 826 w 1043"/>
                <a:gd name="T33" fmla="*/ 192 h 812"/>
                <a:gd name="T34" fmla="*/ 819 w 1043"/>
                <a:gd name="T35" fmla="*/ 194 h 812"/>
                <a:gd name="T36" fmla="*/ 980 w 1043"/>
                <a:gd name="T37" fmla="*/ 472 h 812"/>
                <a:gd name="T38" fmla="*/ 826 w 1043"/>
                <a:gd name="T39" fmla="*/ 192 h 812"/>
                <a:gd name="T40" fmla="*/ 496 w 1043"/>
                <a:gd name="T41" fmla="*/ 205 h 812"/>
                <a:gd name="T42" fmla="*/ 459 w 1043"/>
                <a:gd name="T43" fmla="*/ 214 h 812"/>
                <a:gd name="T44" fmla="*/ 703 w 1043"/>
                <a:gd name="T45" fmla="*/ 721 h 812"/>
                <a:gd name="T46" fmla="*/ 496 w 1043"/>
                <a:gd name="T47" fmla="*/ 205 h 812"/>
                <a:gd name="T48" fmla="*/ 143 w 1043"/>
                <a:gd name="T49" fmla="*/ 255 h 812"/>
                <a:gd name="T50" fmla="*/ 5 w 1043"/>
                <a:gd name="T51" fmla="*/ 643 h 812"/>
                <a:gd name="T52" fmla="*/ 154 w 1043"/>
                <a:gd name="T53" fmla="*/ 676 h 812"/>
                <a:gd name="T54" fmla="*/ 237 w 1043"/>
                <a:gd name="T55" fmla="*/ 467 h 812"/>
                <a:gd name="T56" fmla="*/ 143 w 1043"/>
                <a:gd name="T57" fmla="*/ 25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3" h="812">
                  <a:moveTo>
                    <a:pt x="539" y="0"/>
                  </a:moveTo>
                  <a:cubicBezTo>
                    <a:pt x="416" y="1"/>
                    <a:pt x="394" y="148"/>
                    <a:pt x="425" y="164"/>
                  </a:cubicBezTo>
                  <a:cubicBezTo>
                    <a:pt x="576" y="209"/>
                    <a:pt x="749" y="88"/>
                    <a:pt x="721" y="88"/>
                  </a:cubicBezTo>
                  <a:cubicBezTo>
                    <a:pt x="693" y="89"/>
                    <a:pt x="685" y="9"/>
                    <a:pt x="551" y="0"/>
                  </a:cubicBezTo>
                  <a:cubicBezTo>
                    <a:pt x="547" y="0"/>
                    <a:pt x="543" y="0"/>
                    <a:pt x="539" y="0"/>
                  </a:cubicBezTo>
                  <a:close/>
                  <a:moveTo>
                    <a:pt x="243" y="31"/>
                  </a:moveTo>
                  <a:cubicBezTo>
                    <a:pt x="165" y="48"/>
                    <a:pt x="103" y="89"/>
                    <a:pt x="83" y="163"/>
                  </a:cubicBezTo>
                  <a:cubicBezTo>
                    <a:pt x="109" y="186"/>
                    <a:pt x="154" y="179"/>
                    <a:pt x="164" y="174"/>
                  </a:cubicBezTo>
                  <a:cubicBezTo>
                    <a:pt x="166" y="162"/>
                    <a:pt x="169" y="151"/>
                    <a:pt x="173" y="141"/>
                  </a:cubicBezTo>
                  <a:lnTo>
                    <a:pt x="206" y="161"/>
                  </a:lnTo>
                  <a:lnTo>
                    <a:pt x="292" y="156"/>
                  </a:lnTo>
                  <a:lnTo>
                    <a:pt x="306" y="126"/>
                  </a:lnTo>
                  <a:lnTo>
                    <a:pt x="295" y="81"/>
                  </a:lnTo>
                  <a:lnTo>
                    <a:pt x="265" y="78"/>
                  </a:lnTo>
                  <a:lnTo>
                    <a:pt x="252" y="74"/>
                  </a:lnTo>
                  <a:cubicBezTo>
                    <a:pt x="251" y="61"/>
                    <a:pt x="245" y="35"/>
                    <a:pt x="243" y="31"/>
                  </a:cubicBezTo>
                  <a:close/>
                  <a:moveTo>
                    <a:pt x="826" y="192"/>
                  </a:moveTo>
                  <a:cubicBezTo>
                    <a:pt x="824" y="193"/>
                    <a:pt x="821" y="193"/>
                    <a:pt x="819" y="194"/>
                  </a:cubicBezTo>
                  <a:cubicBezTo>
                    <a:pt x="679" y="245"/>
                    <a:pt x="824" y="657"/>
                    <a:pt x="980" y="472"/>
                  </a:cubicBezTo>
                  <a:cubicBezTo>
                    <a:pt x="1043" y="398"/>
                    <a:pt x="903" y="185"/>
                    <a:pt x="826" y="192"/>
                  </a:cubicBezTo>
                  <a:close/>
                  <a:moveTo>
                    <a:pt x="496" y="205"/>
                  </a:moveTo>
                  <a:cubicBezTo>
                    <a:pt x="483" y="205"/>
                    <a:pt x="471" y="208"/>
                    <a:pt x="459" y="214"/>
                  </a:cubicBezTo>
                  <a:cubicBezTo>
                    <a:pt x="341" y="321"/>
                    <a:pt x="431" y="812"/>
                    <a:pt x="703" y="721"/>
                  </a:cubicBezTo>
                  <a:cubicBezTo>
                    <a:pt x="906" y="652"/>
                    <a:pt x="649" y="209"/>
                    <a:pt x="496" y="205"/>
                  </a:cubicBezTo>
                  <a:close/>
                  <a:moveTo>
                    <a:pt x="143" y="255"/>
                  </a:moveTo>
                  <a:cubicBezTo>
                    <a:pt x="0" y="259"/>
                    <a:pt x="7" y="558"/>
                    <a:pt x="5" y="643"/>
                  </a:cubicBezTo>
                  <a:cubicBezTo>
                    <a:pt x="3" y="728"/>
                    <a:pt x="85" y="734"/>
                    <a:pt x="154" y="676"/>
                  </a:cubicBezTo>
                  <a:cubicBezTo>
                    <a:pt x="233" y="647"/>
                    <a:pt x="237" y="521"/>
                    <a:pt x="237" y="467"/>
                  </a:cubicBezTo>
                  <a:cubicBezTo>
                    <a:pt x="237" y="392"/>
                    <a:pt x="262" y="251"/>
                    <a:pt x="143"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7"/>
            <p:cNvSpPr>
              <a:spLocks noEditPoints="1"/>
            </p:cNvSpPr>
            <p:nvPr/>
          </p:nvSpPr>
          <p:spPr bwMode="auto">
            <a:xfrm>
              <a:off x="5529263" y="4297363"/>
              <a:ext cx="663575" cy="338138"/>
            </a:xfrm>
            <a:custGeom>
              <a:avLst/>
              <a:gdLst>
                <a:gd name="T0" fmla="*/ 1279 w 1358"/>
                <a:gd name="T1" fmla="*/ 3 h 693"/>
                <a:gd name="T2" fmla="*/ 1159 w 1358"/>
                <a:gd name="T3" fmla="*/ 35 h 693"/>
                <a:gd name="T4" fmla="*/ 1040 w 1358"/>
                <a:gd name="T5" fmla="*/ 80 h 693"/>
                <a:gd name="T6" fmla="*/ 1015 w 1358"/>
                <a:gd name="T7" fmla="*/ 100 h 693"/>
                <a:gd name="T8" fmla="*/ 1015 w 1358"/>
                <a:gd name="T9" fmla="*/ 119 h 693"/>
                <a:gd name="T10" fmla="*/ 1089 w 1358"/>
                <a:gd name="T11" fmla="*/ 128 h 693"/>
                <a:gd name="T12" fmla="*/ 915 w 1358"/>
                <a:gd name="T13" fmla="*/ 330 h 693"/>
                <a:gd name="T14" fmla="*/ 885 w 1358"/>
                <a:gd name="T15" fmla="*/ 341 h 693"/>
                <a:gd name="T16" fmla="*/ 593 w 1358"/>
                <a:gd name="T17" fmla="*/ 415 h 693"/>
                <a:gd name="T18" fmla="*/ 254 w 1358"/>
                <a:gd name="T19" fmla="*/ 490 h 693"/>
                <a:gd name="T20" fmla="*/ 51 w 1358"/>
                <a:gd name="T21" fmla="*/ 438 h 693"/>
                <a:gd name="T22" fmla="*/ 17 w 1358"/>
                <a:gd name="T23" fmla="*/ 432 h 693"/>
                <a:gd name="T24" fmla="*/ 1 w 1358"/>
                <a:gd name="T25" fmla="*/ 455 h 693"/>
                <a:gd name="T26" fmla="*/ 1 w 1358"/>
                <a:gd name="T27" fmla="*/ 457 h 693"/>
                <a:gd name="T28" fmla="*/ 57 w 1358"/>
                <a:gd name="T29" fmla="*/ 506 h 693"/>
                <a:gd name="T30" fmla="*/ 312 w 1358"/>
                <a:gd name="T31" fmla="*/ 570 h 693"/>
                <a:gd name="T32" fmla="*/ 536 w 1358"/>
                <a:gd name="T33" fmla="*/ 670 h 693"/>
                <a:gd name="T34" fmla="*/ 836 w 1358"/>
                <a:gd name="T35" fmla="*/ 661 h 693"/>
                <a:gd name="T36" fmla="*/ 916 w 1358"/>
                <a:gd name="T37" fmla="*/ 615 h 693"/>
                <a:gd name="T38" fmla="*/ 979 w 1358"/>
                <a:gd name="T39" fmla="*/ 494 h 693"/>
                <a:gd name="T40" fmla="*/ 1119 w 1358"/>
                <a:gd name="T41" fmla="*/ 209 h 693"/>
                <a:gd name="T42" fmla="*/ 1294 w 1358"/>
                <a:gd name="T43" fmla="*/ 78 h 693"/>
                <a:gd name="T44" fmla="*/ 1355 w 1358"/>
                <a:gd name="T45" fmla="*/ 51 h 693"/>
                <a:gd name="T46" fmla="*/ 1329 w 1358"/>
                <a:gd name="T47" fmla="*/ 9 h 693"/>
                <a:gd name="T48" fmla="*/ 1297 w 1358"/>
                <a:gd name="T49" fmla="*/ 0 h 693"/>
                <a:gd name="T50" fmla="*/ 934 w 1358"/>
                <a:gd name="T51" fmla="*/ 406 h 693"/>
                <a:gd name="T52" fmla="*/ 865 w 1358"/>
                <a:gd name="T53" fmla="*/ 525 h 693"/>
                <a:gd name="T54" fmla="*/ 795 w 1358"/>
                <a:gd name="T55" fmla="*/ 494 h 693"/>
                <a:gd name="T56" fmla="*/ 784 w 1358"/>
                <a:gd name="T57" fmla="*/ 528 h 693"/>
                <a:gd name="T58" fmla="*/ 866 w 1358"/>
                <a:gd name="T59" fmla="*/ 554 h 693"/>
                <a:gd name="T60" fmla="*/ 919 w 1358"/>
                <a:gd name="T61" fmla="*/ 495 h 693"/>
                <a:gd name="T62" fmla="*/ 874 w 1358"/>
                <a:gd name="T63" fmla="*/ 602 h 693"/>
                <a:gd name="T64" fmla="*/ 699 w 1358"/>
                <a:gd name="T65" fmla="*/ 641 h 693"/>
                <a:gd name="T66" fmla="*/ 359 w 1358"/>
                <a:gd name="T67" fmla="*/ 545 h 693"/>
                <a:gd name="T68" fmla="*/ 905 w 1358"/>
                <a:gd name="T69" fmla="*/ 375 h 693"/>
                <a:gd name="T70" fmla="*/ 717 w 1358"/>
                <a:gd name="T71" fmla="*/ 567 h 693"/>
                <a:gd name="T72" fmla="*/ 717 w 1358"/>
                <a:gd name="T73"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8" h="693">
                  <a:moveTo>
                    <a:pt x="1297" y="0"/>
                  </a:moveTo>
                  <a:cubicBezTo>
                    <a:pt x="1291" y="0"/>
                    <a:pt x="1286" y="1"/>
                    <a:pt x="1279" y="3"/>
                  </a:cubicBezTo>
                  <a:cubicBezTo>
                    <a:pt x="1270" y="4"/>
                    <a:pt x="1259" y="7"/>
                    <a:pt x="1247" y="10"/>
                  </a:cubicBezTo>
                  <a:cubicBezTo>
                    <a:pt x="1221" y="16"/>
                    <a:pt x="1190" y="25"/>
                    <a:pt x="1159" y="35"/>
                  </a:cubicBezTo>
                  <a:cubicBezTo>
                    <a:pt x="1128" y="44"/>
                    <a:pt x="1098" y="55"/>
                    <a:pt x="1073" y="65"/>
                  </a:cubicBezTo>
                  <a:cubicBezTo>
                    <a:pt x="1060" y="70"/>
                    <a:pt x="1049" y="75"/>
                    <a:pt x="1040" y="80"/>
                  </a:cubicBezTo>
                  <a:cubicBezTo>
                    <a:pt x="1031" y="85"/>
                    <a:pt x="1024" y="88"/>
                    <a:pt x="1017" y="97"/>
                  </a:cubicBezTo>
                  <a:lnTo>
                    <a:pt x="1015" y="100"/>
                  </a:lnTo>
                  <a:lnTo>
                    <a:pt x="1014" y="104"/>
                  </a:lnTo>
                  <a:cubicBezTo>
                    <a:pt x="1014" y="104"/>
                    <a:pt x="1012" y="112"/>
                    <a:pt x="1015" y="119"/>
                  </a:cubicBezTo>
                  <a:cubicBezTo>
                    <a:pt x="1018" y="126"/>
                    <a:pt x="1026" y="132"/>
                    <a:pt x="1033" y="134"/>
                  </a:cubicBezTo>
                  <a:cubicBezTo>
                    <a:pt x="1047" y="138"/>
                    <a:pt x="1062" y="136"/>
                    <a:pt x="1089" y="128"/>
                  </a:cubicBezTo>
                  <a:cubicBezTo>
                    <a:pt x="1082" y="142"/>
                    <a:pt x="1068" y="163"/>
                    <a:pt x="1048" y="187"/>
                  </a:cubicBezTo>
                  <a:cubicBezTo>
                    <a:pt x="1001" y="243"/>
                    <a:pt x="938" y="307"/>
                    <a:pt x="915" y="330"/>
                  </a:cubicBezTo>
                  <a:cubicBezTo>
                    <a:pt x="916" y="330"/>
                    <a:pt x="913" y="331"/>
                    <a:pt x="908" y="333"/>
                  </a:cubicBezTo>
                  <a:cubicBezTo>
                    <a:pt x="903" y="335"/>
                    <a:pt x="895" y="338"/>
                    <a:pt x="885" y="341"/>
                  </a:cubicBezTo>
                  <a:cubicBezTo>
                    <a:pt x="866" y="346"/>
                    <a:pt x="841" y="353"/>
                    <a:pt x="810" y="361"/>
                  </a:cubicBezTo>
                  <a:cubicBezTo>
                    <a:pt x="750" y="377"/>
                    <a:pt x="672" y="396"/>
                    <a:pt x="593" y="415"/>
                  </a:cubicBezTo>
                  <a:cubicBezTo>
                    <a:pt x="515" y="433"/>
                    <a:pt x="436" y="451"/>
                    <a:pt x="373" y="465"/>
                  </a:cubicBezTo>
                  <a:cubicBezTo>
                    <a:pt x="311" y="479"/>
                    <a:pt x="264" y="489"/>
                    <a:pt x="254" y="490"/>
                  </a:cubicBezTo>
                  <a:cubicBezTo>
                    <a:pt x="215" y="497"/>
                    <a:pt x="157" y="480"/>
                    <a:pt x="110" y="462"/>
                  </a:cubicBezTo>
                  <a:cubicBezTo>
                    <a:pt x="87" y="453"/>
                    <a:pt x="66" y="444"/>
                    <a:pt x="51" y="438"/>
                  </a:cubicBezTo>
                  <a:cubicBezTo>
                    <a:pt x="43" y="435"/>
                    <a:pt x="37" y="433"/>
                    <a:pt x="30" y="431"/>
                  </a:cubicBezTo>
                  <a:cubicBezTo>
                    <a:pt x="27" y="431"/>
                    <a:pt x="24" y="430"/>
                    <a:pt x="17" y="432"/>
                  </a:cubicBezTo>
                  <a:cubicBezTo>
                    <a:pt x="13" y="433"/>
                    <a:pt x="8" y="435"/>
                    <a:pt x="4" y="440"/>
                  </a:cubicBezTo>
                  <a:cubicBezTo>
                    <a:pt x="1" y="446"/>
                    <a:pt x="0" y="452"/>
                    <a:pt x="1" y="455"/>
                  </a:cubicBezTo>
                  <a:lnTo>
                    <a:pt x="1" y="456"/>
                  </a:lnTo>
                  <a:lnTo>
                    <a:pt x="1" y="457"/>
                  </a:lnTo>
                  <a:cubicBezTo>
                    <a:pt x="4" y="470"/>
                    <a:pt x="13" y="479"/>
                    <a:pt x="22" y="486"/>
                  </a:cubicBezTo>
                  <a:cubicBezTo>
                    <a:pt x="32" y="494"/>
                    <a:pt x="43" y="500"/>
                    <a:pt x="57" y="506"/>
                  </a:cubicBezTo>
                  <a:cubicBezTo>
                    <a:pt x="83" y="517"/>
                    <a:pt x="116" y="528"/>
                    <a:pt x="150" y="536"/>
                  </a:cubicBezTo>
                  <a:cubicBezTo>
                    <a:pt x="218" y="554"/>
                    <a:pt x="289" y="567"/>
                    <a:pt x="312" y="570"/>
                  </a:cubicBezTo>
                  <a:cubicBezTo>
                    <a:pt x="328" y="573"/>
                    <a:pt x="364" y="588"/>
                    <a:pt x="404" y="608"/>
                  </a:cubicBezTo>
                  <a:cubicBezTo>
                    <a:pt x="444" y="627"/>
                    <a:pt x="491" y="651"/>
                    <a:pt x="536" y="670"/>
                  </a:cubicBezTo>
                  <a:cubicBezTo>
                    <a:pt x="589" y="693"/>
                    <a:pt x="667" y="689"/>
                    <a:pt x="739" y="680"/>
                  </a:cubicBezTo>
                  <a:cubicBezTo>
                    <a:pt x="775" y="675"/>
                    <a:pt x="809" y="668"/>
                    <a:pt x="836" y="661"/>
                  </a:cubicBezTo>
                  <a:cubicBezTo>
                    <a:pt x="864" y="654"/>
                    <a:pt x="883" y="648"/>
                    <a:pt x="897" y="637"/>
                  </a:cubicBezTo>
                  <a:cubicBezTo>
                    <a:pt x="905" y="631"/>
                    <a:pt x="910" y="624"/>
                    <a:pt x="916" y="615"/>
                  </a:cubicBezTo>
                  <a:cubicBezTo>
                    <a:pt x="922" y="606"/>
                    <a:pt x="928" y="595"/>
                    <a:pt x="935" y="582"/>
                  </a:cubicBezTo>
                  <a:cubicBezTo>
                    <a:pt x="949" y="557"/>
                    <a:pt x="964" y="526"/>
                    <a:pt x="979" y="494"/>
                  </a:cubicBezTo>
                  <a:cubicBezTo>
                    <a:pt x="1008" y="431"/>
                    <a:pt x="1036" y="365"/>
                    <a:pt x="1044" y="347"/>
                  </a:cubicBezTo>
                  <a:cubicBezTo>
                    <a:pt x="1051" y="332"/>
                    <a:pt x="1087" y="267"/>
                    <a:pt x="1119" y="209"/>
                  </a:cubicBezTo>
                  <a:cubicBezTo>
                    <a:pt x="1149" y="154"/>
                    <a:pt x="1174" y="110"/>
                    <a:pt x="1178" y="104"/>
                  </a:cubicBezTo>
                  <a:cubicBezTo>
                    <a:pt x="1184" y="101"/>
                    <a:pt x="1224" y="84"/>
                    <a:pt x="1294" y="78"/>
                  </a:cubicBezTo>
                  <a:cubicBezTo>
                    <a:pt x="1315" y="76"/>
                    <a:pt x="1328" y="73"/>
                    <a:pt x="1340" y="67"/>
                  </a:cubicBezTo>
                  <a:cubicBezTo>
                    <a:pt x="1346" y="64"/>
                    <a:pt x="1352" y="59"/>
                    <a:pt x="1355" y="51"/>
                  </a:cubicBezTo>
                  <a:cubicBezTo>
                    <a:pt x="1358" y="42"/>
                    <a:pt x="1355" y="33"/>
                    <a:pt x="1352" y="28"/>
                  </a:cubicBezTo>
                  <a:cubicBezTo>
                    <a:pt x="1346" y="17"/>
                    <a:pt x="1338" y="13"/>
                    <a:pt x="1329" y="9"/>
                  </a:cubicBezTo>
                  <a:cubicBezTo>
                    <a:pt x="1321" y="5"/>
                    <a:pt x="1312" y="2"/>
                    <a:pt x="1303" y="1"/>
                  </a:cubicBezTo>
                  <a:cubicBezTo>
                    <a:pt x="1301" y="0"/>
                    <a:pt x="1299" y="0"/>
                    <a:pt x="1297" y="0"/>
                  </a:cubicBezTo>
                  <a:close/>
                  <a:moveTo>
                    <a:pt x="914" y="372"/>
                  </a:moveTo>
                  <a:cubicBezTo>
                    <a:pt x="933" y="370"/>
                    <a:pt x="942" y="390"/>
                    <a:pt x="934" y="406"/>
                  </a:cubicBezTo>
                  <a:cubicBezTo>
                    <a:pt x="920" y="439"/>
                    <a:pt x="904" y="466"/>
                    <a:pt x="889" y="500"/>
                  </a:cubicBezTo>
                  <a:cubicBezTo>
                    <a:pt x="886" y="504"/>
                    <a:pt x="881" y="522"/>
                    <a:pt x="865" y="525"/>
                  </a:cubicBezTo>
                  <a:cubicBezTo>
                    <a:pt x="849" y="527"/>
                    <a:pt x="843" y="521"/>
                    <a:pt x="833" y="513"/>
                  </a:cubicBezTo>
                  <a:cubicBezTo>
                    <a:pt x="823" y="506"/>
                    <a:pt x="804" y="488"/>
                    <a:pt x="795" y="494"/>
                  </a:cubicBezTo>
                  <a:cubicBezTo>
                    <a:pt x="762" y="509"/>
                    <a:pt x="743" y="545"/>
                    <a:pt x="717" y="567"/>
                  </a:cubicBezTo>
                  <a:cubicBezTo>
                    <a:pt x="738" y="553"/>
                    <a:pt x="780" y="529"/>
                    <a:pt x="784" y="528"/>
                  </a:cubicBezTo>
                  <a:cubicBezTo>
                    <a:pt x="796" y="524"/>
                    <a:pt x="823" y="540"/>
                    <a:pt x="829" y="543"/>
                  </a:cubicBezTo>
                  <a:cubicBezTo>
                    <a:pt x="835" y="547"/>
                    <a:pt x="856" y="556"/>
                    <a:pt x="866" y="554"/>
                  </a:cubicBezTo>
                  <a:cubicBezTo>
                    <a:pt x="886" y="552"/>
                    <a:pt x="902" y="506"/>
                    <a:pt x="906" y="501"/>
                  </a:cubicBezTo>
                  <a:cubicBezTo>
                    <a:pt x="909" y="496"/>
                    <a:pt x="912" y="486"/>
                    <a:pt x="919" y="495"/>
                  </a:cubicBezTo>
                  <a:cubicBezTo>
                    <a:pt x="926" y="504"/>
                    <a:pt x="922" y="523"/>
                    <a:pt x="914" y="538"/>
                  </a:cubicBezTo>
                  <a:cubicBezTo>
                    <a:pt x="907" y="552"/>
                    <a:pt x="884" y="597"/>
                    <a:pt x="874" y="602"/>
                  </a:cubicBezTo>
                  <a:cubicBezTo>
                    <a:pt x="864" y="607"/>
                    <a:pt x="821" y="628"/>
                    <a:pt x="806" y="631"/>
                  </a:cubicBezTo>
                  <a:cubicBezTo>
                    <a:pt x="791" y="635"/>
                    <a:pt x="718" y="641"/>
                    <a:pt x="699" y="641"/>
                  </a:cubicBezTo>
                  <a:cubicBezTo>
                    <a:pt x="679" y="641"/>
                    <a:pt x="632" y="652"/>
                    <a:pt x="604" y="647"/>
                  </a:cubicBezTo>
                  <a:cubicBezTo>
                    <a:pt x="512" y="636"/>
                    <a:pt x="416" y="605"/>
                    <a:pt x="359" y="545"/>
                  </a:cubicBezTo>
                  <a:cubicBezTo>
                    <a:pt x="342" y="527"/>
                    <a:pt x="337" y="517"/>
                    <a:pt x="371" y="511"/>
                  </a:cubicBezTo>
                  <a:cubicBezTo>
                    <a:pt x="423" y="504"/>
                    <a:pt x="874" y="386"/>
                    <a:pt x="905" y="375"/>
                  </a:cubicBezTo>
                  <a:cubicBezTo>
                    <a:pt x="908" y="373"/>
                    <a:pt x="911" y="373"/>
                    <a:pt x="914" y="372"/>
                  </a:cubicBezTo>
                  <a:close/>
                  <a:moveTo>
                    <a:pt x="717" y="567"/>
                  </a:moveTo>
                  <a:cubicBezTo>
                    <a:pt x="708" y="573"/>
                    <a:pt x="702" y="577"/>
                    <a:pt x="704" y="577"/>
                  </a:cubicBezTo>
                  <a:cubicBezTo>
                    <a:pt x="708" y="574"/>
                    <a:pt x="712" y="571"/>
                    <a:pt x="717" y="5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508"/>
            <p:cNvSpPr>
              <a:spLocks/>
            </p:cNvSpPr>
            <p:nvPr/>
          </p:nvSpPr>
          <p:spPr bwMode="auto">
            <a:xfrm>
              <a:off x="5692775" y="4476751"/>
              <a:ext cx="296862" cy="139700"/>
            </a:xfrm>
            <a:custGeom>
              <a:avLst/>
              <a:gdLst>
                <a:gd name="T0" fmla="*/ 34 w 606"/>
                <a:gd name="T1" fmla="*/ 146 h 287"/>
                <a:gd name="T2" fmla="*/ 568 w 606"/>
                <a:gd name="T3" fmla="*/ 10 h 287"/>
                <a:gd name="T4" fmla="*/ 597 w 606"/>
                <a:gd name="T5" fmla="*/ 41 h 287"/>
                <a:gd name="T6" fmla="*/ 552 w 606"/>
                <a:gd name="T7" fmla="*/ 135 h 287"/>
                <a:gd name="T8" fmla="*/ 528 w 606"/>
                <a:gd name="T9" fmla="*/ 160 h 287"/>
                <a:gd name="T10" fmla="*/ 496 w 606"/>
                <a:gd name="T11" fmla="*/ 148 h 287"/>
                <a:gd name="T12" fmla="*/ 458 w 606"/>
                <a:gd name="T13" fmla="*/ 129 h 287"/>
                <a:gd name="T14" fmla="*/ 367 w 606"/>
                <a:gd name="T15" fmla="*/ 212 h 287"/>
                <a:gd name="T16" fmla="*/ 447 w 606"/>
                <a:gd name="T17" fmla="*/ 163 h 287"/>
                <a:gd name="T18" fmla="*/ 492 w 606"/>
                <a:gd name="T19" fmla="*/ 178 h 287"/>
                <a:gd name="T20" fmla="*/ 529 w 606"/>
                <a:gd name="T21" fmla="*/ 189 h 287"/>
                <a:gd name="T22" fmla="*/ 569 w 606"/>
                <a:gd name="T23" fmla="*/ 136 h 287"/>
                <a:gd name="T24" fmla="*/ 582 w 606"/>
                <a:gd name="T25" fmla="*/ 130 h 287"/>
                <a:gd name="T26" fmla="*/ 577 w 606"/>
                <a:gd name="T27" fmla="*/ 173 h 287"/>
                <a:gd name="T28" fmla="*/ 537 w 606"/>
                <a:gd name="T29" fmla="*/ 237 h 287"/>
                <a:gd name="T30" fmla="*/ 469 w 606"/>
                <a:gd name="T31" fmla="*/ 266 h 287"/>
                <a:gd name="T32" fmla="*/ 362 w 606"/>
                <a:gd name="T33" fmla="*/ 276 h 287"/>
                <a:gd name="T34" fmla="*/ 267 w 606"/>
                <a:gd name="T35" fmla="*/ 282 h 287"/>
                <a:gd name="T36" fmla="*/ 22 w 606"/>
                <a:gd name="T37" fmla="*/ 180 h 287"/>
                <a:gd name="T38" fmla="*/ 34 w 606"/>
                <a:gd name="T39" fmla="*/ 1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6" h="287">
                  <a:moveTo>
                    <a:pt x="34" y="146"/>
                  </a:moveTo>
                  <a:cubicBezTo>
                    <a:pt x="86" y="139"/>
                    <a:pt x="537" y="21"/>
                    <a:pt x="568" y="10"/>
                  </a:cubicBezTo>
                  <a:cubicBezTo>
                    <a:pt x="593" y="0"/>
                    <a:pt x="606" y="23"/>
                    <a:pt x="597" y="41"/>
                  </a:cubicBezTo>
                  <a:cubicBezTo>
                    <a:pt x="583" y="74"/>
                    <a:pt x="567" y="101"/>
                    <a:pt x="552" y="135"/>
                  </a:cubicBezTo>
                  <a:cubicBezTo>
                    <a:pt x="549" y="139"/>
                    <a:pt x="544" y="157"/>
                    <a:pt x="528" y="160"/>
                  </a:cubicBezTo>
                  <a:cubicBezTo>
                    <a:pt x="512" y="162"/>
                    <a:pt x="506" y="156"/>
                    <a:pt x="496" y="148"/>
                  </a:cubicBezTo>
                  <a:cubicBezTo>
                    <a:pt x="486" y="141"/>
                    <a:pt x="467" y="123"/>
                    <a:pt x="458" y="129"/>
                  </a:cubicBezTo>
                  <a:cubicBezTo>
                    <a:pt x="420" y="147"/>
                    <a:pt x="400" y="191"/>
                    <a:pt x="367" y="212"/>
                  </a:cubicBezTo>
                  <a:cubicBezTo>
                    <a:pt x="359" y="213"/>
                    <a:pt x="442" y="164"/>
                    <a:pt x="447" y="163"/>
                  </a:cubicBezTo>
                  <a:cubicBezTo>
                    <a:pt x="459" y="159"/>
                    <a:pt x="486" y="175"/>
                    <a:pt x="492" y="178"/>
                  </a:cubicBezTo>
                  <a:cubicBezTo>
                    <a:pt x="498" y="182"/>
                    <a:pt x="519" y="191"/>
                    <a:pt x="529" y="189"/>
                  </a:cubicBezTo>
                  <a:cubicBezTo>
                    <a:pt x="549" y="187"/>
                    <a:pt x="565" y="141"/>
                    <a:pt x="569" y="136"/>
                  </a:cubicBezTo>
                  <a:cubicBezTo>
                    <a:pt x="572" y="131"/>
                    <a:pt x="575" y="121"/>
                    <a:pt x="582" y="130"/>
                  </a:cubicBezTo>
                  <a:cubicBezTo>
                    <a:pt x="589" y="139"/>
                    <a:pt x="585" y="158"/>
                    <a:pt x="577" y="173"/>
                  </a:cubicBezTo>
                  <a:cubicBezTo>
                    <a:pt x="570" y="187"/>
                    <a:pt x="547" y="232"/>
                    <a:pt x="537" y="237"/>
                  </a:cubicBezTo>
                  <a:cubicBezTo>
                    <a:pt x="527" y="242"/>
                    <a:pt x="484" y="263"/>
                    <a:pt x="469" y="266"/>
                  </a:cubicBezTo>
                  <a:cubicBezTo>
                    <a:pt x="454" y="270"/>
                    <a:pt x="381" y="276"/>
                    <a:pt x="362" y="276"/>
                  </a:cubicBezTo>
                  <a:cubicBezTo>
                    <a:pt x="342" y="276"/>
                    <a:pt x="295" y="287"/>
                    <a:pt x="267" y="282"/>
                  </a:cubicBezTo>
                  <a:cubicBezTo>
                    <a:pt x="175" y="271"/>
                    <a:pt x="79" y="240"/>
                    <a:pt x="22" y="180"/>
                  </a:cubicBezTo>
                  <a:cubicBezTo>
                    <a:pt x="5" y="162"/>
                    <a:pt x="0" y="152"/>
                    <a:pt x="34" y="146"/>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509"/>
            <p:cNvSpPr>
              <a:spLocks/>
            </p:cNvSpPr>
            <p:nvPr/>
          </p:nvSpPr>
          <p:spPr bwMode="auto">
            <a:xfrm>
              <a:off x="5732463" y="4632326"/>
              <a:ext cx="220662" cy="77788"/>
            </a:xfrm>
            <a:custGeom>
              <a:avLst/>
              <a:gdLst>
                <a:gd name="T0" fmla="*/ 426 w 450"/>
                <a:gd name="T1" fmla="*/ 67 h 160"/>
                <a:gd name="T2" fmla="*/ 310 w 450"/>
                <a:gd name="T3" fmla="*/ 46 h 160"/>
                <a:gd name="T4" fmla="*/ 44 w 450"/>
                <a:gd name="T5" fmla="*/ 5 h 160"/>
                <a:gd name="T6" fmla="*/ 4 w 450"/>
                <a:gd name="T7" fmla="*/ 17 h 160"/>
                <a:gd name="T8" fmla="*/ 23 w 450"/>
                <a:gd name="T9" fmla="*/ 140 h 160"/>
                <a:gd name="T10" fmla="*/ 96 w 450"/>
                <a:gd name="T11" fmla="*/ 156 h 160"/>
                <a:gd name="T12" fmla="*/ 426 w 450"/>
                <a:gd name="T13" fmla="*/ 67 h 160"/>
              </a:gdLst>
              <a:ahLst/>
              <a:cxnLst>
                <a:cxn ang="0">
                  <a:pos x="T0" y="T1"/>
                </a:cxn>
                <a:cxn ang="0">
                  <a:pos x="T2" y="T3"/>
                </a:cxn>
                <a:cxn ang="0">
                  <a:pos x="T4" y="T5"/>
                </a:cxn>
                <a:cxn ang="0">
                  <a:pos x="T6" y="T7"/>
                </a:cxn>
                <a:cxn ang="0">
                  <a:pos x="T8" y="T9"/>
                </a:cxn>
                <a:cxn ang="0">
                  <a:pos x="T10" y="T11"/>
                </a:cxn>
                <a:cxn ang="0">
                  <a:pos x="T12" y="T13"/>
                </a:cxn>
              </a:cxnLst>
              <a:rect l="0" t="0" r="r" b="b"/>
              <a:pathLst>
                <a:path w="450" h="160">
                  <a:moveTo>
                    <a:pt x="426" y="67"/>
                  </a:moveTo>
                  <a:cubicBezTo>
                    <a:pt x="426" y="50"/>
                    <a:pt x="352" y="38"/>
                    <a:pt x="310" y="46"/>
                  </a:cubicBezTo>
                  <a:cubicBezTo>
                    <a:pt x="152" y="71"/>
                    <a:pt x="73" y="83"/>
                    <a:pt x="44" y="5"/>
                  </a:cubicBezTo>
                  <a:cubicBezTo>
                    <a:pt x="31" y="2"/>
                    <a:pt x="7" y="0"/>
                    <a:pt x="4" y="17"/>
                  </a:cubicBezTo>
                  <a:cubicBezTo>
                    <a:pt x="0" y="34"/>
                    <a:pt x="6" y="123"/>
                    <a:pt x="23" y="140"/>
                  </a:cubicBezTo>
                  <a:cubicBezTo>
                    <a:pt x="41" y="157"/>
                    <a:pt x="69" y="160"/>
                    <a:pt x="96" y="156"/>
                  </a:cubicBezTo>
                  <a:cubicBezTo>
                    <a:pt x="124" y="153"/>
                    <a:pt x="450" y="136"/>
                    <a:pt x="426"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510"/>
            <p:cNvSpPr>
              <a:spLocks noEditPoints="1"/>
            </p:cNvSpPr>
            <p:nvPr/>
          </p:nvSpPr>
          <p:spPr bwMode="auto">
            <a:xfrm>
              <a:off x="5411788" y="3832226"/>
              <a:ext cx="922337" cy="1003300"/>
            </a:xfrm>
            <a:custGeom>
              <a:avLst/>
              <a:gdLst>
                <a:gd name="T0" fmla="*/ 797 w 1887"/>
                <a:gd name="T1" fmla="*/ 76 h 2053"/>
                <a:gd name="T2" fmla="*/ 422 w 1887"/>
                <a:gd name="T3" fmla="*/ 354 h 2053"/>
                <a:gd name="T4" fmla="*/ 198 w 1887"/>
                <a:gd name="T5" fmla="*/ 943 h 2053"/>
                <a:gd name="T6" fmla="*/ 84 w 1887"/>
                <a:gd name="T7" fmla="*/ 1070 h 2053"/>
                <a:gd name="T8" fmla="*/ 649 w 1887"/>
                <a:gd name="T9" fmla="*/ 1962 h 2053"/>
                <a:gd name="T10" fmla="*/ 1350 w 1887"/>
                <a:gd name="T11" fmla="*/ 1918 h 2053"/>
                <a:gd name="T12" fmla="*/ 1807 w 1887"/>
                <a:gd name="T13" fmla="*/ 1381 h 2053"/>
                <a:gd name="T14" fmla="*/ 1878 w 1887"/>
                <a:gd name="T15" fmla="*/ 645 h 2053"/>
                <a:gd name="T16" fmla="*/ 1057 w 1887"/>
                <a:gd name="T17" fmla="*/ 80 h 2053"/>
                <a:gd name="T18" fmla="*/ 938 w 1887"/>
                <a:gd name="T19" fmla="*/ 62 h 2053"/>
                <a:gd name="T20" fmla="*/ 867 w 1887"/>
                <a:gd name="T21" fmla="*/ 63 h 2053"/>
                <a:gd name="T22" fmla="*/ 991 w 1887"/>
                <a:gd name="T23" fmla="*/ 97 h 2053"/>
                <a:gd name="T24" fmla="*/ 1841 w 1887"/>
                <a:gd name="T25" fmla="*/ 660 h 2053"/>
                <a:gd name="T26" fmla="*/ 1640 w 1887"/>
                <a:gd name="T27" fmla="*/ 1618 h 2053"/>
                <a:gd name="T28" fmla="*/ 782 w 1887"/>
                <a:gd name="T29" fmla="*/ 1984 h 2053"/>
                <a:gd name="T30" fmla="*/ 48 w 1887"/>
                <a:gd name="T31" fmla="*/ 1183 h 2053"/>
                <a:gd name="T32" fmla="*/ 566 w 1887"/>
                <a:gd name="T33" fmla="*/ 865 h 2053"/>
                <a:gd name="T34" fmla="*/ 622 w 1887"/>
                <a:gd name="T35" fmla="*/ 664 h 2053"/>
                <a:gd name="T36" fmla="*/ 366 w 1887"/>
                <a:gd name="T37" fmla="*/ 612 h 2053"/>
                <a:gd name="T38" fmla="*/ 230 w 1887"/>
                <a:gd name="T39" fmla="*/ 980 h 2053"/>
                <a:gd name="T40" fmla="*/ 310 w 1887"/>
                <a:gd name="T41" fmla="*/ 822 h 2053"/>
                <a:gd name="T42" fmla="*/ 456 w 1887"/>
                <a:gd name="T43" fmla="*/ 376 h 2053"/>
                <a:gd name="T44" fmla="*/ 535 w 1887"/>
                <a:gd name="T45" fmla="*/ 372 h 2053"/>
                <a:gd name="T46" fmla="*/ 620 w 1887"/>
                <a:gd name="T47" fmla="*/ 250 h 2053"/>
                <a:gd name="T48" fmla="*/ 848 w 1887"/>
                <a:gd name="T49" fmla="*/ 121 h 2053"/>
                <a:gd name="T50" fmla="*/ 773 w 1887"/>
                <a:gd name="T51" fmla="*/ 261 h 2053"/>
                <a:gd name="T52" fmla="*/ 784 w 1887"/>
                <a:gd name="T53" fmla="*/ 381 h 2053"/>
                <a:gd name="T54" fmla="*/ 781 w 1887"/>
                <a:gd name="T55" fmla="*/ 745 h 2053"/>
                <a:gd name="T56" fmla="*/ 915 w 1887"/>
                <a:gd name="T57" fmla="*/ 926 h 2053"/>
                <a:gd name="T58" fmla="*/ 1407 w 1887"/>
                <a:gd name="T59" fmla="*/ 652 h 2053"/>
                <a:gd name="T60" fmla="*/ 1377 w 1887"/>
                <a:gd name="T61" fmla="*/ 587 h 2053"/>
                <a:gd name="T62" fmla="*/ 1177 w 1887"/>
                <a:gd name="T63" fmla="*/ 372 h 2053"/>
                <a:gd name="T64" fmla="*/ 1158 w 1887"/>
                <a:gd name="T65" fmla="*/ 843 h 2053"/>
                <a:gd name="T66" fmla="*/ 1013 w 1887"/>
                <a:gd name="T67" fmla="*/ 358 h 2053"/>
                <a:gd name="T68" fmla="*/ 1087 w 1887"/>
                <a:gd name="T69" fmla="*/ 265 h 2053"/>
                <a:gd name="T70" fmla="*/ 1054 w 1887"/>
                <a:gd name="T71" fmla="*/ 230 h 2053"/>
                <a:gd name="T72" fmla="*/ 963 w 1887"/>
                <a:gd name="T73" fmla="*/ 225 h 2053"/>
                <a:gd name="T74" fmla="*/ 800 w 1887"/>
                <a:gd name="T75" fmla="*/ 343 h 2053"/>
                <a:gd name="T76" fmla="*/ 606 w 1887"/>
                <a:gd name="T77" fmla="*/ 245 h 2053"/>
                <a:gd name="T78" fmla="*/ 461 w 1887"/>
                <a:gd name="T79" fmla="*/ 360 h 2053"/>
                <a:gd name="T80" fmla="*/ 943 w 1887"/>
                <a:gd name="T81" fmla="*/ 264 h 2053"/>
                <a:gd name="T82" fmla="*/ 1079 w 1887"/>
                <a:gd name="T83" fmla="*/ 303 h 2053"/>
                <a:gd name="T84" fmla="*/ 1237 w 1887"/>
                <a:gd name="T85" fmla="*/ 430 h 2053"/>
                <a:gd name="T86" fmla="*/ 1148 w 1887"/>
                <a:gd name="T87" fmla="*/ 483 h 2053"/>
                <a:gd name="T88" fmla="*/ 941 w 1887"/>
                <a:gd name="T89" fmla="*/ 460 h 2053"/>
                <a:gd name="T90" fmla="*/ 965 w 1887"/>
                <a:gd name="T91" fmla="*/ 899 h 2053"/>
                <a:gd name="T92" fmla="*/ 836 w 1887"/>
                <a:gd name="T93" fmla="*/ 428 h 2053"/>
                <a:gd name="T94" fmla="*/ 583 w 1887"/>
                <a:gd name="T95" fmla="*/ 640 h 2053"/>
                <a:gd name="T96" fmla="*/ 421 w 1887"/>
                <a:gd name="T97" fmla="*/ 890 h 2053"/>
                <a:gd name="T98" fmla="*/ 508 w 1887"/>
                <a:gd name="T99" fmla="*/ 472 h 2053"/>
                <a:gd name="T100" fmla="*/ 1004 w 1887"/>
                <a:gd name="T101" fmla="*/ 727 h 2053"/>
                <a:gd name="T102" fmla="*/ 521 w 1887"/>
                <a:gd name="T103" fmla="*/ 747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7" h="2053">
                  <a:moveTo>
                    <a:pt x="796" y="0"/>
                  </a:moveTo>
                  <a:cubicBezTo>
                    <a:pt x="792" y="0"/>
                    <a:pt x="787" y="2"/>
                    <a:pt x="787" y="2"/>
                  </a:cubicBezTo>
                  <a:lnTo>
                    <a:pt x="765" y="9"/>
                  </a:lnTo>
                  <a:lnTo>
                    <a:pt x="776" y="30"/>
                  </a:lnTo>
                  <a:cubicBezTo>
                    <a:pt x="776" y="30"/>
                    <a:pt x="787" y="53"/>
                    <a:pt x="797" y="76"/>
                  </a:cubicBezTo>
                  <a:cubicBezTo>
                    <a:pt x="801" y="88"/>
                    <a:pt x="805" y="100"/>
                    <a:pt x="807" y="109"/>
                  </a:cubicBezTo>
                  <a:cubicBezTo>
                    <a:pt x="807" y="111"/>
                    <a:pt x="807" y="111"/>
                    <a:pt x="807" y="112"/>
                  </a:cubicBezTo>
                  <a:cubicBezTo>
                    <a:pt x="732" y="135"/>
                    <a:pt x="657" y="167"/>
                    <a:pt x="595" y="206"/>
                  </a:cubicBezTo>
                  <a:cubicBezTo>
                    <a:pt x="564" y="217"/>
                    <a:pt x="526" y="236"/>
                    <a:pt x="493" y="262"/>
                  </a:cubicBezTo>
                  <a:cubicBezTo>
                    <a:pt x="461" y="287"/>
                    <a:pt x="433" y="317"/>
                    <a:pt x="422" y="354"/>
                  </a:cubicBezTo>
                  <a:cubicBezTo>
                    <a:pt x="338" y="426"/>
                    <a:pt x="299" y="501"/>
                    <a:pt x="283" y="577"/>
                  </a:cubicBezTo>
                  <a:cubicBezTo>
                    <a:pt x="267" y="653"/>
                    <a:pt x="272" y="731"/>
                    <a:pt x="271" y="812"/>
                  </a:cubicBezTo>
                  <a:cubicBezTo>
                    <a:pt x="267" y="822"/>
                    <a:pt x="248" y="854"/>
                    <a:pt x="231" y="883"/>
                  </a:cubicBezTo>
                  <a:cubicBezTo>
                    <a:pt x="221" y="898"/>
                    <a:pt x="213" y="912"/>
                    <a:pt x="206" y="925"/>
                  </a:cubicBezTo>
                  <a:cubicBezTo>
                    <a:pt x="203" y="931"/>
                    <a:pt x="200" y="937"/>
                    <a:pt x="198" y="943"/>
                  </a:cubicBezTo>
                  <a:cubicBezTo>
                    <a:pt x="196" y="948"/>
                    <a:pt x="194" y="953"/>
                    <a:pt x="195" y="960"/>
                  </a:cubicBezTo>
                  <a:cubicBezTo>
                    <a:pt x="195" y="960"/>
                    <a:pt x="195" y="960"/>
                    <a:pt x="195" y="961"/>
                  </a:cubicBezTo>
                  <a:cubicBezTo>
                    <a:pt x="194" y="963"/>
                    <a:pt x="191" y="967"/>
                    <a:pt x="187" y="971"/>
                  </a:cubicBezTo>
                  <a:cubicBezTo>
                    <a:pt x="180" y="980"/>
                    <a:pt x="169" y="991"/>
                    <a:pt x="157" y="1003"/>
                  </a:cubicBezTo>
                  <a:cubicBezTo>
                    <a:pt x="132" y="1026"/>
                    <a:pt x="102" y="1052"/>
                    <a:pt x="84" y="1070"/>
                  </a:cubicBezTo>
                  <a:cubicBezTo>
                    <a:pt x="66" y="1088"/>
                    <a:pt x="46" y="1110"/>
                    <a:pt x="29" y="1134"/>
                  </a:cubicBezTo>
                  <a:cubicBezTo>
                    <a:pt x="13" y="1158"/>
                    <a:pt x="0" y="1183"/>
                    <a:pt x="2" y="1210"/>
                  </a:cubicBezTo>
                  <a:lnTo>
                    <a:pt x="2" y="1212"/>
                  </a:lnTo>
                  <a:lnTo>
                    <a:pt x="3" y="1213"/>
                  </a:lnTo>
                  <a:cubicBezTo>
                    <a:pt x="86" y="1546"/>
                    <a:pt x="422" y="1823"/>
                    <a:pt x="649" y="1962"/>
                  </a:cubicBezTo>
                  <a:lnTo>
                    <a:pt x="649" y="1962"/>
                  </a:lnTo>
                  <a:lnTo>
                    <a:pt x="649" y="1963"/>
                  </a:lnTo>
                  <a:cubicBezTo>
                    <a:pt x="679" y="1980"/>
                    <a:pt x="723" y="2003"/>
                    <a:pt x="767" y="2021"/>
                  </a:cubicBezTo>
                  <a:cubicBezTo>
                    <a:pt x="812" y="2039"/>
                    <a:pt x="857" y="2053"/>
                    <a:pt x="894" y="2051"/>
                  </a:cubicBezTo>
                  <a:cubicBezTo>
                    <a:pt x="1029" y="2051"/>
                    <a:pt x="1220" y="2037"/>
                    <a:pt x="1350" y="1918"/>
                  </a:cubicBezTo>
                  <a:cubicBezTo>
                    <a:pt x="1460" y="1817"/>
                    <a:pt x="1578" y="1731"/>
                    <a:pt x="1667" y="1647"/>
                  </a:cubicBezTo>
                  <a:cubicBezTo>
                    <a:pt x="1712" y="1606"/>
                    <a:pt x="1750" y="1564"/>
                    <a:pt x="1775" y="1521"/>
                  </a:cubicBezTo>
                  <a:cubicBezTo>
                    <a:pt x="1801" y="1478"/>
                    <a:pt x="1814" y="1432"/>
                    <a:pt x="1808" y="1385"/>
                  </a:cubicBezTo>
                  <a:lnTo>
                    <a:pt x="1808" y="1383"/>
                  </a:lnTo>
                  <a:lnTo>
                    <a:pt x="1807" y="1381"/>
                  </a:lnTo>
                  <a:cubicBezTo>
                    <a:pt x="1699" y="1092"/>
                    <a:pt x="1723" y="947"/>
                    <a:pt x="1768" y="857"/>
                  </a:cubicBezTo>
                  <a:cubicBezTo>
                    <a:pt x="1791" y="812"/>
                    <a:pt x="1820" y="780"/>
                    <a:pt x="1843" y="750"/>
                  </a:cubicBezTo>
                  <a:cubicBezTo>
                    <a:pt x="1867" y="720"/>
                    <a:pt x="1887" y="689"/>
                    <a:pt x="1880" y="651"/>
                  </a:cubicBezTo>
                  <a:lnTo>
                    <a:pt x="1880" y="648"/>
                  </a:lnTo>
                  <a:lnTo>
                    <a:pt x="1878" y="645"/>
                  </a:lnTo>
                  <a:cubicBezTo>
                    <a:pt x="1790" y="472"/>
                    <a:pt x="1636" y="326"/>
                    <a:pt x="1478" y="226"/>
                  </a:cubicBezTo>
                  <a:cubicBezTo>
                    <a:pt x="1322" y="127"/>
                    <a:pt x="1164" y="71"/>
                    <a:pt x="1057" y="80"/>
                  </a:cubicBezTo>
                  <a:cubicBezTo>
                    <a:pt x="1057" y="80"/>
                    <a:pt x="1058" y="80"/>
                    <a:pt x="1058" y="80"/>
                  </a:cubicBezTo>
                  <a:lnTo>
                    <a:pt x="1053" y="80"/>
                  </a:lnTo>
                  <a:cubicBezTo>
                    <a:pt x="1054" y="80"/>
                    <a:pt x="1055" y="80"/>
                    <a:pt x="1057" y="80"/>
                  </a:cubicBezTo>
                  <a:cubicBezTo>
                    <a:pt x="1040" y="77"/>
                    <a:pt x="1025" y="70"/>
                    <a:pt x="1011" y="62"/>
                  </a:cubicBezTo>
                  <a:cubicBezTo>
                    <a:pt x="997" y="54"/>
                    <a:pt x="986" y="45"/>
                    <a:pt x="973" y="40"/>
                  </a:cubicBezTo>
                  <a:cubicBezTo>
                    <a:pt x="967" y="38"/>
                    <a:pt x="957" y="37"/>
                    <a:pt x="950" y="42"/>
                  </a:cubicBezTo>
                  <a:cubicBezTo>
                    <a:pt x="943" y="46"/>
                    <a:pt x="940" y="52"/>
                    <a:pt x="938" y="57"/>
                  </a:cubicBezTo>
                  <a:cubicBezTo>
                    <a:pt x="938" y="59"/>
                    <a:pt x="938" y="60"/>
                    <a:pt x="938" y="62"/>
                  </a:cubicBezTo>
                  <a:cubicBezTo>
                    <a:pt x="924" y="51"/>
                    <a:pt x="910" y="39"/>
                    <a:pt x="885" y="27"/>
                  </a:cubicBezTo>
                  <a:cubicBezTo>
                    <a:pt x="853" y="11"/>
                    <a:pt x="830" y="4"/>
                    <a:pt x="815" y="1"/>
                  </a:cubicBezTo>
                  <a:cubicBezTo>
                    <a:pt x="807" y="0"/>
                    <a:pt x="801" y="0"/>
                    <a:pt x="796" y="0"/>
                  </a:cubicBezTo>
                  <a:close/>
                  <a:moveTo>
                    <a:pt x="828" y="48"/>
                  </a:moveTo>
                  <a:cubicBezTo>
                    <a:pt x="839" y="51"/>
                    <a:pt x="847" y="53"/>
                    <a:pt x="867" y="63"/>
                  </a:cubicBezTo>
                  <a:cubicBezTo>
                    <a:pt x="896" y="77"/>
                    <a:pt x="915" y="92"/>
                    <a:pt x="927" y="102"/>
                  </a:cubicBezTo>
                  <a:cubicBezTo>
                    <a:pt x="939" y="113"/>
                    <a:pt x="942" y="118"/>
                    <a:pt x="942" y="118"/>
                  </a:cubicBezTo>
                  <a:lnTo>
                    <a:pt x="978" y="103"/>
                  </a:lnTo>
                  <a:cubicBezTo>
                    <a:pt x="978" y="103"/>
                    <a:pt x="977" y="95"/>
                    <a:pt x="976" y="88"/>
                  </a:cubicBezTo>
                  <a:cubicBezTo>
                    <a:pt x="982" y="91"/>
                    <a:pt x="984" y="93"/>
                    <a:pt x="991" y="97"/>
                  </a:cubicBezTo>
                  <a:cubicBezTo>
                    <a:pt x="1007" y="106"/>
                    <a:pt x="1028" y="116"/>
                    <a:pt x="1052" y="120"/>
                  </a:cubicBezTo>
                  <a:lnTo>
                    <a:pt x="1054" y="120"/>
                  </a:lnTo>
                  <a:lnTo>
                    <a:pt x="1057" y="120"/>
                  </a:lnTo>
                  <a:cubicBezTo>
                    <a:pt x="1146" y="111"/>
                    <a:pt x="1304" y="163"/>
                    <a:pt x="1457" y="260"/>
                  </a:cubicBezTo>
                  <a:cubicBezTo>
                    <a:pt x="1608" y="356"/>
                    <a:pt x="1757" y="497"/>
                    <a:pt x="1841" y="660"/>
                  </a:cubicBezTo>
                  <a:cubicBezTo>
                    <a:pt x="1843" y="681"/>
                    <a:pt x="1833" y="698"/>
                    <a:pt x="1812" y="725"/>
                  </a:cubicBezTo>
                  <a:cubicBezTo>
                    <a:pt x="1790" y="753"/>
                    <a:pt x="1758" y="788"/>
                    <a:pt x="1733" y="839"/>
                  </a:cubicBezTo>
                  <a:cubicBezTo>
                    <a:pt x="1682" y="939"/>
                    <a:pt x="1659" y="1099"/>
                    <a:pt x="1768" y="1391"/>
                  </a:cubicBezTo>
                  <a:cubicBezTo>
                    <a:pt x="1773" y="1428"/>
                    <a:pt x="1763" y="1463"/>
                    <a:pt x="1741" y="1501"/>
                  </a:cubicBezTo>
                  <a:cubicBezTo>
                    <a:pt x="1719" y="1539"/>
                    <a:pt x="1683" y="1578"/>
                    <a:pt x="1640" y="1618"/>
                  </a:cubicBezTo>
                  <a:cubicBezTo>
                    <a:pt x="1553" y="1699"/>
                    <a:pt x="1435" y="1786"/>
                    <a:pt x="1323" y="1888"/>
                  </a:cubicBezTo>
                  <a:cubicBezTo>
                    <a:pt x="1206" y="1995"/>
                    <a:pt x="1025" y="2011"/>
                    <a:pt x="893" y="2011"/>
                  </a:cubicBezTo>
                  <a:lnTo>
                    <a:pt x="893" y="2011"/>
                  </a:lnTo>
                  <a:lnTo>
                    <a:pt x="892" y="2011"/>
                  </a:lnTo>
                  <a:cubicBezTo>
                    <a:pt x="868" y="2013"/>
                    <a:pt x="825" y="2001"/>
                    <a:pt x="782" y="1984"/>
                  </a:cubicBezTo>
                  <a:cubicBezTo>
                    <a:pt x="740" y="1967"/>
                    <a:pt x="698" y="1945"/>
                    <a:pt x="669" y="1928"/>
                  </a:cubicBezTo>
                  <a:lnTo>
                    <a:pt x="669" y="1928"/>
                  </a:lnTo>
                  <a:cubicBezTo>
                    <a:pt x="449" y="1793"/>
                    <a:pt x="122" y="1518"/>
                    <a:pt x="42" y="1206"/>
                  </a:cubicBezTo>
                  <a:cubicBezTo>
                    <a:pt x="42" y="1200"/>
                    <a:pt x="44" y="1193"/>
                    <a:pt x="47" y="1184"/>
                  </a:cubicBezTo>
                  <a:cubicBezTo>
                    <a:pt x="47" y="1184"/>
                    <a:pt x="48" y="1183"/>
                    <a:pt x="48" y="1183"/>
                  </a:cubicBezTo>
                  <a:cubicBezTo>
                    <a:pt x="145" y="1059"/>
                    <a:pt x="247" y="1007"/>
                    <a:pt x="411" y="948"/>
                  </a:cubicBezTo>
                  <a:cubicBezTo>
                    <a:pt x="433" y="941"/>
                    <a:pt x="454" y="932"/>
                    <a:pt x="472" y="923"/>
                  </a:cubicBezTo>
                  <a:cubicBezTo>
                    <a:pt x="487" y="918"/>
                    <a:pt x="501" y="910"/>
                    <a:pt x="515" y="901"/>
                  </a:cubicBezTo>
                  <a:cubicBezTo>
                    <a:pt x="524" y="895"/>
                    <a:pt x="533" y="890"/>
                    <a:pt x="541" y="884"/>
                  </a:cubicBezTo>
                  <a:cubicBezTo>
                    <a:pt x="550" y="879"/>
                    <a:pt x="559" y="872"/>
                    <a:pt x="566" y="865"/>
                  </a:cubicBezTo>
                  <a:cubicBezTo>
                    <a:pt x="620" y="820"/>
                    <a:pt x="647" y="771"/>
                    <a:pt x="664" y="727"/>
                  </a:cubicBezTo>
                  <a:cubicBezTo>
                    <a:pt x="669" y="713"/>
                    <a:pt x="659" y="699"/>
                    <a:pt x="644" y="699"/>
                  </a:cubicBezTo>
                  <a:cubicBezTo>
                    <a:pt x="636" y="700"/>
                    <a:pt x="629" y="705"/>
                    <a:pt x="627" y="712"/>
                  </a:cubicBezTo>
                  <a:cubicBezTo>
                    <a:pt x="624" y="719"/>
                    <a:pt x="621" y="725"/>
                    <a:pt x="619" y="731"/>
                  </a:cubicBezTo>
                  <a:cubicBezTo>
                    <a:pt x="622" y="705"/>
                    <a:pt x="622" y="681"/>
                    <a:pt x="622" y="664"/>
                  </a:cubicBezTo>
                  <a:cubicBezTo>
                    <a:pt x="622" y="629"/>
                    <a:pt x="629" y="573"/>
                    <a:pt x="619" y="524"/>
                  </a:cubicBezTo>
                  <a:cubicBezTo>
                    <a:pt x="615" y="500"/>
                    <a:pt x="605" y="476"/>
                    <a:pt x="587" y="458"/>
                  </a:cubicBezTo>
                  <a:cubicBezTo>
                    <a:pt x="568" y="440"/>
                    <a:pt x="541" y="431"/>
                    <a:pt x="507" y="432"/>
                  </a:cubicBezTo>
                  <a:cubicBezTo>
                    <a:pt x="464" y="433"/>
                    <a:pt x="431" y="458"/>
                    <a:pt x="409" y="492"/>
                  </a:cubicBezTo>
                  <a:cubicBezTo>
                    <a:pt x="388" y="525"/>
                    <a:pt x="375" y="568"/>
                    <a:pt x="366" y="612"/>
                  </a:cubicBezTo>
                  <a:cubicBezTo>
                    <a:pt x="350" y="701"/>
                    <a:pt x="351" y="798"/>
                    <a:pt x="350" y="840"/>
                  </a:cubicBezTo>
                  <a:cubicBezTo>
                    <a:pt x="350" y="864"/>
                    <a:pt x="355" y="885"/>
                    <a:pt x="367" y="901"/>
                  </a:cubicBezTo>
                  <a:cubicBezTo>
                    <a:pt x="371" y="907"/>
                    <a:pt x="376" y="912"/>
                    <a:pt x="382" y="916"/>
                  </a:cubicBezTo>
                  <a:cubicBezTo>
                    <a:pt x="325" y="937"/>
                    <a:pt x="275" y="958"/>
                    <a:pt x="229" y="982"/>
                  </a:cubicBezTo>
                  <a:cubicBezTo>
                    <a:pt x="229" y="981"/>
                    <a:pt x="229" y="981"/>
                    <a:pt x="230" y="980"/>
                  </a:cubicBezTo>
                  <a:cubicBezTo>
                    <a:pt x="233" y="974"/>
                    <a:pt x="236" y="967"/>
                    <a:pt x="235" y="957"/>
                  </a:cubicBezTo>
                  <a:cubicBezTo>
                    <a:pt x="235" y="961"/>
                    <a:pt x="235" y="960"/>
                    <a:pt x="236" y="957"/>
                  </a:cubicBezTo>
                  <a:cubicBezTo>
                    <a:pt x="237" y="953"/>
                    <a:pt x="239" y="949"/>
                    <a:pt x="242" y="943"/>
                  </a:cubicBezTo>
                  <a:cubicBezTo>
                    <a:pt x="247" y="933"/>
                    <a:pt x="256" y="919"/>
                    <a:pt x="265" y="904"/>
                  </a:cubicBezTo>
                  <a:cubicBezTo>
                    <a:pt x="283" y="875"/>
                    <a:pt x="302" y="846"/>
                    <a:pt x="310" y="822"/>
                  </a:cubicBezTo>
                  <a:lnTo>
                    <a:pt x="311" y="819"/>
                  </a:lnTo>
                  <a:lnTo>
                    <a:pt x="311" y="816"/>
                  </a:lnTo>
                  <a:cubicBezTo>
                    <a:pt x="312" y="732"/>
                    <a:pt x="307" y="656"/>
                    <a:pt x="322" y="585"/>
                  </a:cubicBezTo>
                  <a:cubicBezTo>
                    <a:pt x="337" y="515"/>
                    <a:pt x="370" y="449"/>
                    <a:pt x="452" y="380"/>
                  </a:cubicBezTo>
                  <a:lnTo>
                    <a:pt x="456" y="376"/>
                  </a:lnTo>
                  <a:lnTo>
                    <a:pt x="457" y="374"/>
                  </a:lnTo>
                  <a:cubicBezTo>
                    <a:pt x="469" y="380"/>
                    <a:pt x="482" y="382"/>
                    <a:pt x="494" y="383"/>
                  </a:cubicBezTo>
                  <a:cubicBezTo>
                    <a:pt x="511" y="383"/>
                    <a:pt x="524" y="381"/>
                    <a:pt x="531" y="377"/>
                  </a:cubicBezTo>
                  <a:lnTo>
                    <a:pt x="535" y="376"/>
                  </a:lnTo>
                  <a:lnTo>
                    <a:pt x="535" y="372"/>
                  </a:lnTo>
                  <a:cubicBezTo>
                    <a:pt x="536" y="368"/>
                    <a:pt x="537" y="363"/>
                    <a:pt x="538" y="359"/>
                  </a:cubicBezTo>
                  <a:cubicBezTo>
                    <a:pt x="549" y="375"/>
                    <a:pt x="575" y="388"/>
                    <a:pt x="627" y="383"/>
                  </a:cubicBezTo>
                  <a:cubicBezTo>
                    <a:pt x="737" y="375"/>
                    <a:pt x="678" y="264"/>
                    <a:pt x="656" y="257"/>
                  </a:cubicBezTo>
                  <a:cubicBezTo>
                    <a:pt x="644" y="256"/>
                    <a:pt x="633" y="258"/>
                    <a:pt x="622" y="261"/>
                  </a:cubicBezTo>
                  <a:cubicBezTo>
                    <a:pt x="622" y="257"/>
                    <a:pt x="621" y="254"/>
                    <a:pt x="620" y="250"/>
                  </a:cubicBezTo>
                  <a:cubicBezTo>
                    <a:pt x="620" y="246"/>
                    <a:pt x="619" y="242"/>
                    <a:pt x="618" y="239"/>
                  </a:cubicBezTo>
                  <a:cubicBezTo>
                    <a:pt x="678" y="201"/>
                    <a:pt x="754" y="169"/>
                    <a:pt x="830" y="147"/>
                  </a:cubicBezTo>
                  <a:lnTo>
                    <a:pt x="834" y="146"/>
                  </a:lnTo>
                  <a:lnTo>
                    <a:pt x="837" y="143"/>
                  </a:lnTo>
                  <a:cubicBezTo>
                    <a:pt x="845" y="136"/>
                    <a:pt x="847" y="127"/>
                    <a:pt x="848" y="121"/>
                  </a:cubicBezTo>
                  <a:cubicBezTo>
                    <a:pt x="848" y="114"/>
                    <a:pt x="848" y="108"/>
                    <a:pt x="846" y="101"/>
                  </a:cubicBezTo>
                  <a:cubicBezTo>
                    <a:pt x="844" y="88"/>
                    <a:pt x="839" y="75"/>
                    <a:pt x="834" y="62"/>
                  </a:cubicBezTo>
                  <a:cubicBezTo>
                    <a:pt x="831" y="55"/>
                    <a:pt x="831" y="54"/>
                    <a:pt x="828" y="48"/>
                  </a:cubicBezTo>
                  <a:close/>
                  <a:moveTo>
                    <a:pt x="903" y="177"/>
                  </a:moveTo>
                  <a:cubicBezTo>
                    <a:pt x="837" y="178"/>
                    <a:pt x="793" y="219"/>
                    <a:pt x="773" y="261"/>
                  </a:cubicBezTo>
                  <a:cubicBezTo>
                    <a:pt x="762" y="284"/>
                    <a:pt x="757" y="307"/>
                    <a:pt x="758" y="328"/>
                  </a:cubicBezTo>
                  <a:cubicBezTo>
                    <a:pt x="758" y="338"/>
                    <a:pt x="759" y="347"/>
                    <a:pt x="762" y="356"/>
                  </a:cubicBezTo>
                  <a:cubicBezTo>
                    <a:pt x="765" y="365"/>
                    <a:pt x="771" y="374"/>
                    <a:pt x="781" y="379"/>
                  </a:cubicBezTo>
                  <a:lnTo>
                    <a:pt x="783" y="380"/>
                  </a:lnTo>
                  <a:lnTo>
                    <a:pt x="784" y="381"/>
                  </a:lnTo>
                  <a:cubicBezTo>
                    <a:pt x="798" y="384"/>
                    <a:pt x="811" y="387"/>
                    <a:pt x="825" y="389"/>
                  </a:cubicBezTo>
                  <a:cubicBezTo>
                    <a:pt x="821" y="390"/>
                    <a:pt x="818" y="392"/>
                    <a:pt x="814" y="394"/>
                  </a:cubicBezTo>
                  <a:cubicBezTo>
                    <a:pt x="813" y="395"/>
                    <a:pt x="812" y="395"/>
                    <a:pt x="811" y="396"/>
                  </a:cubicBezTo>
                  <a:cubicBezTo>
                    <a:pt x="775" y="429"/>
                    <a:pt x="759" y="484"/>
                    <a:pt x="754" y="547"/>
                  </a:cubicBezTo>
                  <a:cubicBezTo>
                    <a:pt x="750" y="609"/>
                    <a:pt x="759" y="680"/>
                    <a:pt x="781" y="745"/>
                  </a:cubicBezTo>
                  <a:cubicBezTo>
                    <a:pt x="791" y="775"/>
                    <a:pt x="804" y="804"/>
                    <a:pt x="820" y="831"/>
                  </a:cubicBezTo>
                  <a:cubicBezTo>
                    <a:pt x="795" y="814"/>
                    <a:pt x="772" y="797"/>
                    <a:pt x="749" y="782"/>
                  </a:cubicBezTo>
                  <a:cubicBezTo>
                    <a:pt x="727" y="767"/>
                    <a:pt x="704" y="801"/>
                    <a:pt x="727" y="815"/>
                  </a:cubicBezTo>
                  <a:cubicBezTo>
                    <a:pt x="772" y="846"/>
                    <a:pt x="827" y="889"/>
                    <a:pt x="891" y="917"/>
                  </a:cubicBezTo>
                  <a:cubicBezTo>
                    <a:pt x="898" y="920"/>
                    <a:pt x="906" y="924"/>
                    <a:pt x="915" y="926"/>
                  </a:cubicBezTo>
                  <a:cubicBezTo>
                    <a:pt x="959" y="950"/>
                    <a:pt x="1014" y="957"/>
                    <a:pt x="1074" y="937"/>
                  </a:cubicBezTo>
                  <a:cubicBezTo>
                    <a:pt x="1076" y="936"/>
                    <a:pt x="1077" y="935"/>
                    <a:pt x="1079" y="935"/>
                  </a:cubicBezTo>
                  <a:cubicBezTo>
                    <a:pt x="1090" y="932"/>
                    <a:pt x="1100" y="928"/>
                    <a:pt x="1111" y="924"/>
                  </a:cubicBezTo>
                  <a:cubicBezTo>
                    <a:pt x="1178" y="896"/>
                    <a:pt x="1242" y="816"/>
                    <a:pt x="1309" y="745"/>
                  </a:cubicBezTo>
                  <a:cubicBezTo>
                    <a:pt x="1342" y="709"/>
                    <a:pt x="1376" y="676"/>
                    <a:pt x="1407" y="652"/>
                  </a:cubicBezTo>
                  <a:cubicBezTo>
                    <a:pt x="1439" y="628"/>
                    <a:pt x="1469" y="615"/>
                    <a:pt x="1495" y="616"/>
                  </a:cubicBezTo>
                  <a:cubicBezTo>
                    <a:pt x="1522" y="616"/>
                    <a:pt x="1523" y="576"/>
                    <a:pt x="1496" y="576"/>
                  </a:cubicBezTo>
                  <a:cubicBezTo>
                    <a:pt x="1457" y="575"/>
                    <a:pt x="1419" y="593"/>
                    <a:pt x="1384" y="620"/>
                  </a:cubicBezTo>
                  <a:cubicBezTo>
                    <a:pt x="1383" y="621"/>
                    <a:pt x="1382" y="621"/>
                    <a:pt x="1381" y="622"/>
                  </a:cubicBezTo>
                  <a:cubicBezTo>
                    <a:pt x="1381" y="611"/>
                    <a:pt x="1380" y="599"/>
                    <a:pt x="1377" y="587"/>
                  </a:cubicBezTo>
                  <a:cubicBezTo>
                    <a:pt x="1370" y="552"/>
                    <a:pt x="1354" y="516"/>
                    <a:pt x="1334" y="483"/>
                  </a:cubicBezTo>
                  <a:cubicBezTo>
                    <a:pt x="1313" y="449"/>
                    <a:pt x="1288" y="420"/>
                    <a:pt x="1262" y="399"/>
                  </a:cubicBezTo>
                  <a:cubicBezTo>
                    <a:pt x="1243" y="383"/>
                    <a:pt x="1222" y="371"/>
                    <a:pt x="1200" y="369"/>
                  </a:cubicBezTo>
                  <a:cubicBezTo>
                    <a:pt x="1193" y="369"/>
                    <a:pt x="1185" y="369"/>
                    <a:pt x="1178" y="372"/>
                  </a:cubicBezTo>
                  <a:cubicBezTo>
                    <a:pt x="1178" y="372"/>
                    <a:pt x="1177" y="372"/>
                    <a:pt x="1177" y="372"/>
                  </a:cubicBezTo>
                  <a:cubicBezTo>
                    <a:pt x="1133" y="388"/>
                    <a:pt x="1112" y="433"/>
                    <a:pt x="1108" y="480"/>
                  </a:cubicBezTo>
                  <a:cubicBezTo>
                    <a:pt x="1104" y="527"/>
                    <a:pt x="1115" y="580"/>
                    <a:pt x="1135" y="627"/>
                  </a:cubicBezTo>
                  <a:cubicBezTo>
                    <a:pt x="1156" y="673"/>
                    <a:pt x="1186" y="713"/>
                    <a:pt x="1227" y="729"/>
                  </a:cubicBezTo>
                  <a:cubicBezTo>
                    <a:pt x="1238" y="734"/>
                    <a:pt x="1250" y="736"/>
                    <a:pt x="1262" y="737"/>
                  </a:cubicBezTo>
                  <a:cubicBezTo>
                    <a:pt x="1226" y="775"/>
                    <a:pt x="1190" y="814"/>
                    <a:pt x="1158" y="843"/>
                  </a:cubicBezTo>
                  <a:cubicBezTo>
                    <a:pt x="1162" y="828"/>
                    <a:pt x="1163" y="812"/>
                    <a:pt x="1163" y="795"/>
                  </a:cubicBezTo>
                  <a:cubicBezTo>
                    <a:pt x="1161" y="733"/>
                    <a:pt x="1136" y="662"/>
                    <a:pt x="1100" y="596"/>
                  </a:cubicBezTo>
                  <a:cubicBezTo>
                    <a:pt x="1063" y="530"/>
                    <a:pt x="1016" y="469"/>
                    <a:pt x="966" y="429"/>
                  </a:cubicBezTo>
                  <a:cubicBezTo>
                    <a:pt x="944" y="411"/>
                    <a:pt x="921" y="397"/>
                    <a:pt x="898" y="389"/>
                  </a:cubicBezTo>
                  <a:cubicBezTo>
                    <a:pt x="940" y="384"/>
                    <a:pt x="980" y="372"/>
                    <a:pt x="1013" y="358"/>
                  </a:cubicBezTo>
                  <a:cubicBezTo>
                    <a:pt x="1043" y="345"/>
                    <a:pt x="1068" y="331"/>
                    <a:pt x="1084" y="319"/>
                  </a:cubicBezTo>
                  <a:cubicBezTo>
                    <a:pt x="1092" y="313"/>
                    <a:pt x="1098" y="309"/>
                    <a:pt x="1103" y="302"/>
                  </a:cubicBezTo>
                  <a:cubicBezTo>
                    <a:pt x="1106" y="299"/>
                    <a:pt x="1111" y="294"/>
                    <a:pt x="1108" y="281"/>
                  </a:cubicBezTo>
                  <a:cubicBezTo>
                    <a:pt x="1106" y="274"/>
                    <a:pt x="1100" y="269"/>
                    <a:pt x="1095" y="267"/>
                  </a:cubicBezTo>
                  <a:cubicBezTo>
                    <a:pt x="1092" y="266"/>
                    <a:pt x="1089" y="265"/>
                    <a:pt x="1087" y="265"/>
                  </a:cubicBezTo>
                  <a:cubicBezTo>
                    <a:pt x="1087" y="265"/>
                    <a:pt x="1087" y="266"/>
                    <a:pt x="1087" y="266"/>
                  </a:cubicBezTo>
                  <a:cubicBezTo>
                    <a:pt x="1088" y="266"/>
                    <a:pt x="1086" y="265"/>
                    <a:pt x="1085" y="265"/>
                  </a:cubicBezTo>
                  <a:cubicBezTo>
                    <a:pt x="1086" y="265"/>
                    <a:pt x="1086" y="265"/>
                    <a:pt x="1087" y="265"/>
                  </a:cubicBezTo>
                  <a:cubicBezTo>
                    <a:pt x="1086" y="265"/>
                    <a:pt x="1084" y="263"/>
                    <a:pt x="1081" y="260"/>
                  </a:cubicBezTo>
                  <a:cubicBezTo>
                    <a:pt x="1075" y="253"/>
                    <a:pt x="1067" y="242"/>
                    <a:pt x="1054" y="230"/>
                  </a:cubicBezTo>
                  <a:cubicBezTo>
                    <a:pt x="1029" y="207"/>
                    <a:pt x="988" y="182"/>
                    <a:pt x="917" y="177"/>
                  </a:cubicBezTo>
                  <a:cubicBezTo>
                    <a:pt x="912" y="177"/>
                    <a:pt x="908" y="177"/>
                    <a:pt x="903" y="177"/>
                  </a:cubicBezTo>
                  <a:close/>
                  <a:moveTo>
                    <a:pt x="904" y="217"/>
                  </a:moveTo>
                  <a:cubicBezTo>
                    <a:pt x="907" y="217"/>
                    <a:pt x="911" y="217"/>
                    <a:pt x="915" y="217"/>
                  </a:cubicBezTo>
                  <a:cubicBezTo>
                    <a:pt x="934" y="218"/>
                    <a:pt x="949" y="221"/>
                    <a:pt x="963" y="225"/>
                  </a:cubicBezTo>
                  <a:cubicBezTo>
                    <a:pt x="907" y="235"/>
                    <a:pt x="852" y="291"/>
                    <a:pt x="884" y="349"/>
                  </a:cubicBezTo>
                  <a:cubicBezTo>
                    <a:pt x="856" y="352"/>
                    <a:pt x="827" y="350"/>
                    <a:pt x="800" y="343"/>
                  </a:cubicBezTo>
                  <a:lnTo>
                    <a:pt x="800" y="343"/>
                  </a:lnTo>
                  <a:cubicBezTo>
                    <a:pt x="800" y="343"/>
                    <a:pt x="799" y="343"/>
                    <a:pt x="800" y="343"/>
                  </a:cubicBezTo>
                  <a:cubicBezTo>
                    <a:pt x="800" y="343"/>
                    <a:pt x="800" y="343"/>
                    <a:pt x="800" y="343"/>
                  </a:cubicBezTo>
                  <a:cubicBezTo>
                    <a:pt x="800" y="343"/>
                    <a:pt x="800" y="343"/>
                    <a:pt x="800" y="342"/>
                  </a:cubicBezTo>
                  <a:cubicBezTo>
                    <a:pt x="799" y="339"/>
                    <a:pt x="798" y="334"/>
                    <a:pt x="798" y="327"/>
                  </a:cubicBezTo>
                  <a:cubicBezTo>
                    <a:pt x="797" y="314"/>
                    <a:pt x="801" y="296"/>
                    <a:pt x="809" y="278"/>
                  </a:cubicBezTo>
                  <a:cubicBezTo>
                    <a:pt x="824" y="246"/>
                    <a:pt x="852" y="217"/>
                    <a:pt x="904" y="217"/>
                  </a:cubicBezTo>
                  <a:close/>
                  <a:moveTo>
                    <a:pt x="606" y="245"/>
                  </a:moveTo>
                  <a:cubicBezTo>
                    <a:pt x="606" y="247"/>
                    <a:pt x="607" y="250"/>
                    <a:pt x="607" y="252"/>
                  </a:cubicBezTo>
                  <a:cubicBezTo>
                    <a:pt x="608" y="257"/>
                    <a:pt x="609" y="261"/>
                    <a:pt x="609" y="266"/>
                  </a:cubicBezTo>
                  <a:cubicBezTo>
                    <a:pt x="564" y="284"/>
                    <a:pt x="534" y="324"/>
                    <a:pt x="524" y="365"/>
                  </a:cubicBezTo>
                  <a:cubicBezTo>
                    <a:pt x="519" y="367"/>
                    <a:pt x="508" y="370"/>
                    <a:pt x="495" y="369"/>
                  </a:cubicBezTo>
                  <a:cubicBezTo>
                    <a:pt x="483" y="369"/>
                    <a:pt x="471" y="366"/>
                    <a:pt x="461" y="360"/>
                  </a:cubicBezTo>
                  <a:cubicBezTo>
                    <a:pt x="471" y="338"/>
                    <a:pt x="492" y="314"/>
                    <a:pt x="518" y="293"/>
                  </a:cubicBezTo>
                  <a:cubicBezTo>
                    <a:pt x="546" y="271"/>
                    <a:pt x="580" y="254"/>
                    <a:pt x="606" y="245"/>
                  </a:cubicBezTo>
                  <a:close/>
                  <a:moveTo>
                    <a:pt x="943" y="264"/>
                  </a:moveTo>
                  <a:cubicBezTo>
                    <a:pt x="958" y="265"/>
                    <a:pt x="994" y="307"/>
                    <a:pt x="962" y="315"/>
                  </a:cubicBezTo>
                  <a:cubicBezTo>
                    <a:pt x="930" y="323"/>
                    <a:pt x="908" y="282"/>
                    <a:pt x="943" y="264"/>
                  </a:cubicBezTo>
                  <a:close/>
                  <a:moveTo>
                    <a:pt x="630" y="291"/>
                  </a:moveTo>
                  <a:cubicBezTo>
                    <a:pt x="653" y="292"/>
                    <a:pt x="659" y="322"/>
                    <a:pt x="643" y="326"/>
                  </a:cubicBezTo>
                  <a:cubicBezTo>
                    <a:pt x="613" y="334"/>
                    <a:pt x="595" y="300"/>
                    <a:pt x="625" y="292"/>
                  </a:cubicBezTo>
                  <a:cubicBezTo>
                    <a:pt x="626" y="292"/>
                    <a:pt x="628" y="291"/>
                    <a:pt x="630" y="291"/>
                  </a:cubicBezTo>
                  <a:close/>
                  <a:moveTo>
                    <a:pt x="1079" y="303"/>
                  </a:moveTo>
                  <a:cubicBezTo>
                    <a:pt x="1082" y="304"/>
                    <a:pt x="1083" y="305"/>
                    <a:pt x="1086" y="305"/>
                  </a:cubicBezTo>
                  <a:cubicBezTo>
                    <a:pt x="1085" y="305"/>
                    <a:pt x="1083" y="305"/>
                    <a:pt x="1080" y="304"/>
                  </a:cubicBezTo>
                  <a:cubicBezTo>
                    <a:pt x="1080" y="304"/>
                    <a:pt x="1079" y="303"/>
                    <a:pt x="1079" y="303"/>
                  </a:cubicBezTo>
                  <a:close/>
                  <a:moveTo>
                    <a:pt x="1194" y="409"/>
                  </a:moveTo>
                  <a:cubicBezTo>
                    <a:pt x="1203" y="409"/>
                    <a:pt x="1219" y="415"/>
                    <a:pt x="1237" y="430"/>
                  </a:cubicBezTo>
                  <a:cubicBezTo>
                    <a:pt x="1256" y="445"/>
                    <a:pt x="1277" y="469"/>
                    <a:pt x="1294" y="495"/>
                  </a:cubicBezTo>
                  <a:cubicBezTo>
                    <a:pt x="1279" y="481"/>
                    <a:pt x="1263" y="474"/>
                    <a:pt x="1250" y="478"/>
                  </a:cubicBezTo>
                  <a:cubicBezTo>
                    <a:pt x="1173" y="510"/>
                    <a:pt x="1188" y="634"/>
                    <a:pt x="1237" y="690"/>
                  </a:cubicBezTo>
                  <a:cubicBezTo>
                    <a:pt x="1213" y="678"/>
                    <a:pt x="1189" y="648"/>
                    <a:pt x="1172" y="610"/>
                  </a:cubicBezTo>
                  <a:cubicBezTo>
                    <a:pt x="1154" y="570"/>
                    <a:pt x="1145" y="522"/>
                    <a:pt x="1148" y="483"/>
                  </a:cubicBezTo>
                  <a:cubicBezTo>
                    <a:pt x="1151" y="445"/>
                    <a:pt x="1165" y="420"/>
                    <a:pt x="1190" y="410"/>
                  </a:cubicBezTo>
                  <a:cubicBezTo>
                    <a:pt x="1191" y="410"/>
                    <a:pt x="1192" y="409"/>
                    <a:pt x="1194" y="409"/>
                  </a:cubicBezTo>
                  <a:close/>
                  <a:moveTo>
                    <a:pt x="855" y="422"/>
                  </a:moveTo>
                  <a:cubicBezTo>
                    <a:pt x="862" y="422"/>
                    <a:pt x="870" y="423"/>
                    <a:pt x="879" y="425"/>
                  </a:cubicBezTo>
                  <a:cubicBezTo>
                    <a:pt x="898" y="430"/>
                    <a:pt x="919" y="442"/>
                    <a:pt x="941" y="460"/>
                  </a:cubicBezTo>
                  <a:cubicBezTo>
                    <a:pt x="985" y="496"/>
                    <a:pt x="1031" y="553"/>
                    <a:pt x="1065" y="615"/>
                  </a:cubicBezTo>
                  <a:cubicBezTo>
                    <a:pt x="1099" y="677"/>
                    <a:pt x="1122" y="744"/>
                    <a:pt x="1123" y="796"/>
                  </a:cubicBezTo>
                  <a:cubicBezTo>
                    <a:pt x="1123" y="803"/>
                    <a:pt x="1123" y="809"/>
                    <a:pt x="1122" y="815"/>
                  </a:cubicBezTo>
                  <a:cubicBezTo>
                    <a:pt x="1118" y="705"/>
                    <a:pt x="1026" y="548"/>
                    <a:pt x="943" y="558"/>
                  </a:cubicBezTo>
                  <a:cubicBezTo>
                    <a:pt x="829" y="575"/>
                    <a:pt x="856" y="823"/>
                    <a:pt x="965" y="899"/>
                  </a:cubicBezTo>
                  <a:cubicBezTo>
                    <a:pt x="953" y="897"/>
                    <a:pt x="942" y="894"/>
                    <a:pt x="931" y="890"/>
                  </a:cubicBezTo>
                  <a:cubicBezTo>
                    <a:pt x="924" y="886"/>
                    <a:pt x="917" y="881"/>
                    <a:pt x="911" y="876"/>
                  </a:cubicBezTo>
                  <a:cubicBezTo>
                    <a:pt x="870" y="845"/>
                    <a:pt x="839" y="792"/>
                    <a:pt x="819" y="732"/>
                  </a:cubicBezTo>
                  <a:cubicBezTo>
                    <a:pt x="799" y="673"/>
                    <a:pt x="791" y="606"/>
                    <a:pt x="794" y="549"/>
                  </a:cubicBezTo>
                  <a:cubicBezTo>
                    <a:pt x="798" y="494"/>
                    <a:pt x="814" y="449"/>
                    <a:pt x="836" y="428"/>
                  </a:cubicBezTo>
                  <a:cubicBezTo>
                    <a:pt x="842" y="425"/>
                    <a:pt x="848" y="423"/>
                    <a:pt x="855" y="422"/>
                  </a:cubicBezTo>
                  <a:close/>
                  <a:moveTo>
                    <a:pt x="508" y="472"/>
                  </a:moveTo>
                  <a:cubicBezTo>
                    <a:pt x="534" y="471"/>
                    <a:pt x="549" y="477"/>
                    <a:pt x="559" y="487"/>
                  </a:cubicBezTo>
                  <a:cubicBezTo>
                    <a:pt x="569" y="497"/>
                    <a:pt x="576" y="512"/>
                    <a:pt x="580" y="532"/>
                  </a:cubicBezTo>
                  <a:cubicBezTo>
                    <a:pt x="586" y="564"/>
                    <a:pt x="584" y="604"/>
                    <a:pt x="583" y="640"/>
                  </a:cubicBezTo>
                  <a:cubicBezTo>
                    <a:pt x="581" y="629"/>
                    <a:pt x="579" y="620"/>
                    <a:pt x="577" y="614"/>
                  </a:cubicBezTo>
                  <a:cubicBezTo>
                    <a:pt x="569" y="600"/>
                    <a:pt x="510" y="588"/>
                    <a:pt x="490" y="597"/>
                  </a:cubicBezTo>
                  <a:cubicBezTo>
                    <a:pt x="448" y="610"/>
                    <a:pt x="442" y="689"/>
                    <a:pt x="434" y="742"/>
                  </a:cubicBezTo>
                  <a:cubicBezTo>
                    <a:pt x="429" y="785"/>
                    <a:pt x="427" y="854"/>
                    <a:pt x="451" y="888"/>
                  </a:cubicBezTo>
                  <a:cubicBezTo>
                    <a:pt x="440" y="891"/>
                    <a:pt x="429" y="892"/>
                    <a:pt x="421" y="890"/>
                  </a:cubicBezTo>
                  <a:cubicBezTo>
                    <a:pt x="411" y="889"/>
                    <a:pt x="404" y="885"/>
                    <a:pt x="399" y="877"/>
                  </a:cubicBezTo>
                  <a:cubicBezTo>
                    <a:pt x="394" y="870"/>
                    <a:pt x="390" y="859"/>
                    <a:pt x="390" y="841"/>
                  </a:cubicBezTo>
                  <a:cubicBezTo>
                    <a:pt x="391" y="797"/>
                    <a:pt x="390" y="702"/>
                    <a:pt x="406" y="619"/>
                  </a:cubicBezTo>
                  <a:cubicBezTo>
                    <a:pt x="414" y="578"/>
                    <a:pt x="426" y="540"/>
                    <a:pt x="443" y="513"/>
                  </a:cubicBezTo>
                  <a:cubicBezTo>
                    <a:pt x="460" y="487"/>
                    <a:pt x="479" y="473"/>
                    <a:pt x="508" y="472"/>
                  </a:cubicBezTo>
                  <a:close/>
                  <a:moveTo>
                    <a:pt x="1277" y="538"/>
                  </a:moveTo>
                  <a:cubicBezTo>
                    <a:pt x="1301" y="544"/>
                    <a:pt x="1310" y="598"/>
                    <a:pt x="1296" y="598"/>
                  </a:cubicBezTo>
                  <a:cubicBezTo>
                    <a:pt x="1282" y="598"/>
                    <a:pt x="1241" y="546"/>
                    <a:pt x="1277" y="538"/>
                  </a:cubicBezTo>
                  <a:close/>
                  <a:moveTo>
                    <a:pt x="978" y="637"/>
                  </a:moveTo>
                  <a:cubicBezTo>
                    <a:pt x="1011" y="633"/>
                    <a:pt x="1022" y="719"/>
                    <a:pt x="1004" y="727"/>
                  </a:cubicBezTo>
                  <a:cubicBezTo>
                    <a:pt x="976" y="739"/>
                    <a:pt x="952" y="653"/>
                    <a:pt x="971" y="639"/>
                  </a:cubicBezTo>
                  <a:cubicBezTo>
                    <a:pt x="973" y="638"/>
                    <a:pt x="976" y="638"/>
                    <a:pt x="978" y="637"/>
                  </a:cubicBezTo>
                  <a:close/>
                  <a:moveTo>
                    <a:pt x="538" y="651"/>
                  </a:moveTo>
                  <a:cubicBezTo>
                    <a:pt x="546" y="651"/>
                    <a:pt x="556" y="662"/>
                    <a:pt x="546" y="676"/>
                  </a:cubicBezTo>
                  <a:cubicBezTo>
                    <a:pt x="537" y="689"/>
                    <a:pt x="531" y="742"/>
                    <a:pt x="521" y="747"/>
                  </a:cubicBezTo>
                  <a:cubicBezTo>
                    <a:pt x="511" y="753"/>
                    <a:pt x="504" y="686"/>
                    <a:pt x="500" y="674"/>
                  </a:cubicBezTo>
                  <a:cubicBezTo>
                    <a:pt x="496" y="662"/>
                    <a:pt x="519" y="651"/>
                    <a:pt x="538" y="6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511"/>
            <p:cNvSpPr>
              <a:spLocks/>
            </p:cNvSpPr>
            <p:nvPr/>
          </p:nvSpPr>
          <p:spPr bwMode="auto">
            <a:xfrm>
              <a:off x="6032500" y="3554413"/>
              <a:ext cx="273050" cy="415925"/>
            </a:xfrm>
            <a:custGeom>
              <a:avLst/>
              <a:gdLst>
                <a:gd name="T0" fmla="*/ 75 w 559"/>
                <a:gd name="T1" fmla="*/ 0 h 851"/>
                <a:gd name="T2" fmla="*/ 24 w 559"/>
                <a:gd name="T3" fmla="*/ 15 h 851"/>
                <a:gd name="T4" fmla="*/ 0 w 559"/>
                <a:gd name="T5" fmla="*/ 51 h 851"/>
                <a:gd name="T6" fmla="*/ 24 w 559"/>
                <a:gd name="T7" fmla="*/ 78 h 851"/>
                <a:gd name="T8" fmla="*/ 90 w 559"/>
                <a:gd name="T9" fmla="*/ 80 h 851"/>
                <a:gd name="T10" fmla="*/ 108 w 559"/>
                <a:gd name="T11" fmla="*/ 54 h 851"/>
                <a:gd name="T12" fmla="*/ 96 w 559"/>
                <a:gd name="T13" fmla="*/ 90 h 851"/>
                <a:gd name="T14" fmla="*/ 208 w 559"/>
                <a:gd name="T15" fmla="*/ 323 h 851"/>
                <a:gd name="T16" fmla="*/ 324 w 559"/>
                <a:gd name="T17" fmla="*/ 826 h 851"/>
                <a:gd name="T18" fmla="*/ 377 w 559"/>
                <a:gd name="T19" fmla="*/ 824 h 851"/>
                <a:gd name="T20" fmla="*/ 350 w 559"/>
                <a:gd name="T21" fmla="*/ 508 h 851"/>
                <a:gd name="T22" fmla="*/ 417 w 559"/>
                <a:gd name="T23" fmla="*/ 821 h 851"/>
                <a:gd name="T24" fmla="*/ 455 w 559"/>
                <a:gd name="T25" fmla="*/ 805 h 851"/>
                <a:gd name="T26" fmla="*/ 369 w 559"/>
                <a:gd name="T27" fmla="*/ 483 h 851"/>
                <a:gd name="T28" fmla="*/ 484 w 559"/>
                <a:gd name="T29" fmla="*/ 783 h 851"/>
                <a:gd name="T30" fmla="*/ 508 w 559"/>
                <a:gd name="T31" fmla="*/ 759 h 851"/>
                <a:gd name="T32" fmla="*/ 415 w 559"/>
                <a:gd name="T33" fmla="*/ 451 h 851"/>
                <a:gd name="T34" fmla="*/ 531 w 559"/>
                <a:gd name="T35" fmla="*/ 733 h 851"/>
                <a:gd name="T36" fmla="*/ 551 w 559"/>
                <a:gd name="T37" fmla="*/ 711 h 851"/>
                <a:gd name="T38" fmla="*/ 401 w 559"/>
                <a:gd name="T39" fmla="*/ 315 h 851"/>
                <a:gd name="T40" fmla="*/ 262 w 559"/>
                <a:gd name="T41" fmla="*/ 149 h 851"/>
                <a:gd name="T42" fmla="*/ 120 w 559"/>
                <a:gd name="T43" fmla="*/ 17 h 851"/>
                <a:gd name="T44" fmla="*/ 109 w 559"/>
                <a:gd name="T45" fmla="*/ 50 h 851"/>
                <a:gd name="T46" fmla="*/ 102 w 559"/>
                <a:gd name="T47" fmla="*/ 8 h 851"/>
                <a:gd name="T48" fmla="*/ 75 w 559"/>
                <a:gd name="T49" fmla="*/ 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9" h="851">
                  <a:moveTo>
                    <a:pt x="75" y="0"/>
                  </a:moveTo>
                  <a:lnTo>
                    <a:pt x="24" y="15"/>
                  </a:lnTo>
                  <a:lnTo>
                    <a:pt x="0" y="51"/>
                  </a:lnTo>
                  <a:lnTo>
                    <a:pt x="24" y="78"/>
                  </a:lnTo>
                  <a:lnTo>
                    <a:pt x="90" y="80"/>
                  </a:lnTo>
                  <a:lnTo>
                    <a:pt x="108" y="54"/>
                  </a:lnTo>
                  <a:lnTo>
                    <a:pt x="96" y="90"/>
                  </a:lnTo>
                  <a:cubicBezTo>
                    <a:pt x="182" y="104"/>
                    <a:pt x="191" y="219"/>
                    <a:pt x="208" y="323"/>
                  </a:cubicBezTo>
                  <a:cubicBezTo>
                    <a:pt x="282" y="436"/>
                    <a:pt x="316" y="625"/>
                    <a:pt x="324" y="826"/>
                  </a:cubicBezTo>
                  <a:cubicBezTo>
                    <a:pt x="330" y="850"/>
                    <a:pt x="383" y="851"/>
                    <a:pt x="377" y="824"/>
                  </a:cubicBezTo>
                  <a:cubicBezTo>
                    <a:pt x="376" y="742"/>
                    <a:pt x="359" y="613"/>
                    <a:pt x="350" y="508"/>
                  </a:cubicBezTo>
                  <a:cubicBezTo>
                    <a:pt x="373" y="612"/>
                    <a:pt x="395" y="726"/>
                    <a:pt x="417" y="821"/>
                  </a:cubicBezTo>
                  <a:cubicBezTo>
                    <a:pt x="424" y="835"/>
                    <a:pt x="461" y="825"/>
                    <a:pt x="455" y="805"/>
                  </a:cubicBezTo>
                  <a:cubicBezTo>
                    <a:pt x="445" y="694"/>
                    <a:pt x="398" y="591"/>
                    <a:pt x="369" y="483"/>
                  </a:cubicBezTo>
                  <a:cubicBezTo>
                    <a:pt x="408" y="583"/>
                    <a:pt x="449" y="679"/>
                    <a:pt x="484" y="783"/>
                  </a:cubicBezTo>
                  <a:cubicBezTo>
                    <a:pt x="494" y="804"/>
                    <a:pt x="515" y="785"/>
                    <a:pt x="508" y="759"/>
                  </a:cubicBezTo>
                  <a:cubicBezTo>
                    <a:pt x="494" y="662"/>
                    <a:pt x="451" y="555"/>
                    <a:pt x="415" y="451"/>
                  </a:cubicBezTo>
                  <a:cubicBezTo>
                    <a:pt x="462" y="536"/>
                    <a:pt x="500" y="629"/>
                    <a:pt x="531" y="733"/>
                  </a:cubicBezTo>
                  <a:cubicBezTo>
                    <a:pt x="541" y="753"/>
                    <a:pt x="559" y="735"/>
                    <a:pt x="551" y="711"/>
                  </a:cubicBezTo>
                  <a:cubicBezTo>
                    <a:pt x="520" y="579"/>
                    <a:pt x="475" y="447"/>
                    <a:pt x="401" y="315"/>
                  </a:cubicBezTo>
                  <a:lnTo>
                    <a:pt x="262" y="149"/>
                  </a:lnTo>
                  <a:lnTo>
                    <a:pt x="120" y="17"/>
                  </a:lnTo>
                  <a:lnTo>
                    <a:pt x="109" y="50"/>
                  </a:lnTo>
                  <a:lnTo>
                    <a:pt x="102" y="8"/>
                  </a:lnTo>
                  <a:lnTo>
                    <a:pt x="75"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12"/>
            <p:cNvSpPr>
              <a:spLocks noEditPoints="1"/>
            </p:cNvSpPr>
            <p:nvPr/>
          </p:nvSpPr>
          <p:spPr bwMode="auto">
            <a:xfrm>
              <a:off x="6016625" y="3543301"/>
              <a:ext cx="296862" cy="433388"/>
            </a:xfrm>
            <a:custGeom>
              <a:avLst/>
              <a:gdLst>
                <a:gd name="T0" fmla="*/ 88 w 607"/>
                <a:gd name="T1" fmla="*/ 3 h 888"/>
                <a:gd name="T2" fmla="*/ 2 w 607"/>
                <a:gd name="T3" fmla="*/ 66 h 888"/>
                <a:gd name="T4" fmla="*/ 26 w 607"/>
                <a:gd name="T5" fmla="*/ 123 h 888"/>
                <a:gd name="T6" fmla="*/ 34 w 607"/>
                <a:gd name="T7" fmla="*/ 127 h 888"/>
                <a:gd name="T8" fmla="*/ 44 w 607"/>
                <a:gd name="T9" fmla="*/ 128 h 888"/>
                <a:gd name="T10" fmla="*/ 113 w 607"/>
                <a:gd name="T11" fmla="*/ 129 h 888"/>
                <a:gd name="T12" fmla="*/ 190 w 607"/>
                <a:gd name="T13" fmla="*/ 203 h 888"/>
                <a:gd name="T14" fmla="*/ 223 w 607"/>
                <a:gd name="T15" fmla="*/ 358 h 888"/>
                <a:gd name="T16" fmla="*/ 335 w 607"/>
                <a:gd name="T17" fmla="*/ 855 h 888"/>
                <a:gd name="T18" fmla="*/ 386 w 607"/>
                <a:gd name="T19" fmla="*/ 888 h 888"/>
                <a:gd name="T20" fmla="*/ 428 w 607"/>
                <a:gd name="T21" fmla="*/ 844 h 888"/>
                <a:gd name="T22" fmla="*/ 428 w 607"/>
                <a:gd name="T23" fmla="*/ 847 h 888"/>
                <a:gd name="T24" fmla="*/ 429 w 607"/>
                <a:gd name="T25" fmla="*/ 849 h 888"/>
                <a:gd name="T26" fmla="*/ 454 w 607"/>
                <a:gd name="T27" fmla="*/ 871 h 888"/>
                <a:gd name="T28" fmla="*/ 499 w 607"/>
                <a:gd name="T29" fmla="*/ 854 h 888"/>
                <a:gd name="T30" fmla="*/ 520 w 607"/>
                <a:gd name="T31" fmla="*/ 835 h 888"/>
                <a:gd name="T32" fmla="*/ 559 w 607"/>
                <a:gd name="T33" fmla="*/ 781 h 888"/>
                <a:gd name="T34" fmla="*/ 593 w 607"/>
                <a:gd name="T35" fmla="*/ 776 h 888"/>
                <a:gd name="T36" fmla="*/ 602 w 607"/>
                <a:gd name="T37" fmla="*/ 730 h 888"/>
                <a:gd name="T38" fmla="*/ 448 w 607"/>
                <a:gd name="T39" fmla="*/ 326 h 888"/>
                <a:gd name="T40" fmla="*/ 306 w 607"/>
                <a:gd name="T41" fmla="*/ 158 h 888"/>
                <a:gd name="T42" fmla="*/ 162 w 607"/>
                <a:gd name="T43" fmla="*/ 25 h 888"/>
                <a:gd name="T44" fmla="*/ 118 w 607"/>
                <a:gd name="T45" fmla="*/ 0 h 888"/>
                <a:gd name="T46" fmla="*/ 114 w 607"/>
                <a:gd name="T47" fmla="*/ 40 h 888"/>
                <a:gd name="T48" fmla="*/ 128 w 607"/>
                <a:gd name="T49" fmla="*/ 47 h 888"/>
                <a:gd name="T50" fmla="*/ 100 w 607"/>
                <a:gd name="T51" fmla="*/ 87 h 888"/>
                <a:gd name="T52" fmla="*/ 42 w 607"/>
                <a:gd name="T53" fmla="*/ 85 h 888"/>
                <a:gd name="T54" fmla="*/ 53 w 607"/>
                <a:gd name="T55" fmla="*/ 56 h 888"/>
                <a:gd name="T56" fmla="*/ 114 w 607"/>
                <a:gd name="T57" fmla="*/ 40 h 888"/>
                <a:gd name="T58" fmla="*/ 278 w 607"/>
                <a:gd name="T59" fmla="*/ 186 h 888"/>
                <a:gd name="T60" fmla="*/ 513 w 607"/>
                <a:gd name="T61" fmla="*/ 569 h 888"/>
                <a:gd name="T62" fmla="*/ 427 w 607"/>
                <a:gd name="T63" fmla="*/ 482 h 888"/>
                <a:gd name="T64" fmla="*/ 419 w 607"/>
                <a:gd name="T65" fmla="*/ 500 h 888"/>
                <a:gd name="T66" fmla="*/ 361 w 607"/>
                <a:gd name="T67" fmla="*/ 533 h 888"/>
                <a:gd name="T68" fmla="*/ 385 w 607"/>
                <a:gd name="T69" fmla="*/ 848 h 888"/>
                <a:gd name="T70" fmla="*/ 374 w 607"/>
                <a:gd name="T71" fmla="*/ 845 h 888"/>
                <a:gd name="T72" fmla="*/ 228 w 607"/>
                <a:gd name="T73" fmla="*/ 190 h 888"/>
                <a:gd name="T74" fmla="*/ 163 w 607"/>
                <a:gd name="T75" fmla="*/ 107 h 888"/>
                <a:gd name="T76" fmla="*/ 436 w 607"/>
                <a:gd name="T77" fmla="*/ 693 h 888"/>
                <a:gd name="T78" fmla="*/ 466 w 607"/>
                <a:gd name="T79" fmla="*/ 830 h 888"/>
                <a:gd name="T80" fmla="*/ 559 w 607"/>
                <a:gd name="T81" fmla="*/ 778 h 888"/>
                <a:gd name="T82" fmla="*/ 559 w 607"/>
                <a:gd name="T83" fmla="*/ 77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7" h="888">
                  <a:moveTo>
                    <a:pt x="110" y="0"/>
                  </a:moveTo>
                  <a:cubicBezTo>
                    <a:pt x="102" y="0"/>
                    <a:pt x="95" y="1"/>
                    <a:pt x="88" y="3"/>
                  </a:cubicBezTo>
                  <a:cubicBezTo>
                    <a:pt x="69" y="7"/>
                    <a:pt x="52" y="14"/>
                    <a:pt x="43" y="17"/>
                  </a:cubicBezTo>
                  <a:cubicBezTo>
                    <a:pt x="18" y="23"/>
                    <a:pt x="7" y="45"/>
                    <a:pt x="2" y="66"/>
                  </a:cubicBezTo>
                  <a:cubicBezTo>
                    <a:pt x="0" y="77"/>
                    <a:pt x="0" y="89"/>
                    <a:pt x="5" y="101"/>
                  </a:cubicBezTo>
                  <a:cubicBezTo>
                    <a:pt x="9" y="110"/>
                    <a:pt x="17" y="117"/>
                    <a:pt x="26" y="123"/>
                  </a:cubicBezTo>
                  <a:cubicBezTo>
                    <a:pt x="26" y="123"/>
                    <a:pt x="26" y="123"/>
                    <a:pt x="26" y="123"/>
                  </a:cubicBezTo>
                  <a:cubicBezTo>
                    <a:pt x="28" y="125"/>
                    <a:pt x="31" y="126"/>
                    <a:pt x="34" y="127"/>
                  </a:cubicBezTo>
                  <a:lnTo>
                    <a:pt x="34" y="127"/>
                  </a:lnTo>
                  <a:cubicBezTo>
                    <a:pt x="37" y="128"/>
                    <a:pt x="41" y="129"/>
                    <a:pt x="44" y="128"/>
                  </a:cubicBezTo>
                  <a:cubicBezTo>
                    <a:pt x="62" y="124"/>
                    <a:pt x="80" y="125"/>
                    <a:pt x="96" y="127"/>
                  </a:cubicBezTo>
                  <a:cubicBezTo>
                    <a:pt x="102" y="127"/>
                    <a:pt x="108" y="128"/>
                    <a:pt x="113" y="129"/>
                  </a:cubicBezTo>
                  <a:cubicBezTo>
                    <a:pt x="116" y="131"/>
                    <a:pt x="120" y="133"/>
                    <a:pt x="124" y="133"/>
                  </a:cubicBezTo>
                  <a:cubicBezTo>
                    <a:pt x="158" y="139"/>
                    <a:pt x="176" y="163"/>
                    <a:pt x="190" y="203"/>
                  </a:cubicBezTo>
                  <a:cubicBezTo>
                    <a:pt x="204" y="243"/>
                    <a:pt x="211" y="297"/>
                    <a:pt x="220" y="350"/>
                  </a:cubicBezTo>
                  <a:cubicBezTo>
                    <a:pt x="220" y="353"/>
                    <a:pt x="221" y="355"/>
                    <a:pt x="223" y="358"/>
                  </a:cubicBezTo>
                  <a:cubicBezTo>
                    <a:pt x="292" y="465"/>
                    <a:pt x="327" y="652"/>
                    <a:pt x="335" y="851"/>
                  </a:cubicBezTo>
                  <a:cubicBezTo>
                    <a:pt x="335" y="852"/>
                    <a:pt x="335" y="854"/>
                    <a:pt x="335" y="855"/>
                  </a:cubicBezTo>
                  <a:cubicBezTo>
                    <a:pt x="339" y="868"/>
                    <a:pt x="348" y="877"/>
                    <a:pt x="357" y="881"/>
                  </a:cubicBezTo>
                  <a:cubicBezTo>
                    <a:pt x="366" y="886"/>
                    <a:pt x="376" y="888"/>
                    <a:pt x="386" y="888"/>
                  </a:cubicBezTo>
                  <a:cubicBezTo>
                    <a:pt x="396" y="888"/>
                    <a:pt x="406" y="886"/>
                    <a:pt x="415" y="878"/>
                  </a:cubicBezTo>
                  <a:cubicBezTo>
                    <a:pt x="425" y="871"/>
                    <a:pt x="430" y="857"/>
                    <a:pt x="428" y="844"/>
                  </a:cubicBezTo>
                  <a:cubicBezTo>
                    <a:pt x="428" y="844"/>
                    <a:pt x="428" y="845"/>
                    <a:pt x="428" y="845"/>
                  </a:cubicBezTo>
                  <a:lnTo>
                    <a:pt x="428" y="847"/>
                  </a:lnTo>
                  <a:cubicBezTo>
                    <a:pt x="428" y="847"/>
                    <a:pt x="428" y="846"/>
                    <a:pt x="428" y="845"/>
                  </a:cubicBezTo>
                  <a:cubicBezTo>
                    <a:pt x="428" y="847"/>
                    <a:pt x="428" y="848"/>
                    <a:pt x="429" y="849"/>
                  </a:cubicBezTo>
                  <a:cubicBezTo>
                    <a:pt x="429" y="851"/>
                    <a:pt x="430" y="852"/>
                    <a:pt x="430" y="853"/>
                  </a:cubicBezTo>
                  <a:cubicBezTo>
                    <a:pt x="435" y="864"/>
                    <a:pt x="446" y="869"/>
                    <a:pt x="454" y="871"/>
                  </a:cubicBezTo>
                  <a:cubicBezTo>
                    <a:pt x="463" y="872"/>
                    <a:pt x="471" y="871"/>
                    <a:pt x="478" y="868"/>
                  </a:cubicBezTo>
                  <a:cubicBezTo>
                    <a:pt x="486" y="866"/>
                    <a:pt x="493" y="862"/>
                    <a:pt x="499" y="854"/>
                  </a:cubicBezTo>
                  <a:cubicBezTo>
                    <a:pt x="504" y="847"/>
                    <a:pt x="507" y="837"/>
                    <a:pt x="505" y="827"/>
                  </a:cubicBezTo>
                  <a:cubicBezTo>
                    <a:pt x="509" y="831"/>
                    <a:pt x="514" y="834"/>
                    <a:pt x="520" y="835"/>
                  </a:cubicBezTo>
                  <a:cubicBezTo>
                    <a:pt x="531" y="838"/>
                    <a:pt x="541" y="833"/>
                    <a:pt x="547" y="827"/>
                  </a:cubicBezTo>
                  <a:cubicBezTo>
                    <a:pt x="559" y="816"/>
                    <a:pt x="563" y="799"/>
                    <a:pt x="559" y="781"/>
                  </a:cubicBezTo>
                  <a:cubicBezTo>
                    <a:pt x="561" y="782"/>
                    <a:pt x="563" y="784"/>
                    <a:pt x="566" y="785"/>
                  </a:cubicBezTo>
                  <a:cubicBezTo>
                    <a:pt x="576" y="787"/>
                    <a:pt x="587" y="782"/>
                    <a:pt x="593" y="776"/>
                  </a:cubicBezTo>
                  <a:cubicBezTo>
                    <a:pt x="605" y="764"/>
                    <a:pt x="607" y="748"/>
                    <a:pt x="602" y="730"/>
                  </a:cubicBezTo>
                  <a:lnTo>
                    <a:pt x="602" y="730"/>
                  </a:lnTo>
                  <a:cubicBezTo>
                    <a:pt x="570" y="597"/>
                    <a:pt x="524" y="463"/>
                    <a:pt x="450" y="329"/>
                  </a:cubicBezTo>
                  <a:cubicBezTo>
                    <a:pt x="449" y="328"/>
                    <a:pt x="448" y="327"/>
                    <a:pt x="448" y="326"/>
                  </a:cubicBezTo>
                  <a:lnTo>
                    <a:pt x="308" y="160"/>
                  </a:lnTo>
                  <a:cubicBezTo>
                    <a:pt x="308" y="159"/>
                    <a:pt x="307" y="159"/>
                    <a:pt x="306" y="158"/>
                  </a:cubicBezTo>
                  <a:lnTo>
                    <a:pt x="165" y="27"/>
                  </a:lnTo>
                  <a:cubicBezTo>
                    <a:pt x="164" y="26"/>
                    <a:pt x="163" y="25"/>
                    <a:pt x="162" y="25"/>
                  </a:cubicBezTo>
                  <a:cubicBezTo>
                    <a:pt x="159" y="20"/>
                    <a:pt x="155" y="16"/>
                    <a:pt x="150" y="12"/>
                  </a:cubicBezTo>
                  <a:cubicBezTo>
                    <a:pt x="140" y="5"/>
                    <a:pt x="129" y="1"/>
                    <a:pt x="118" y="0"/>
                  </a:cubicBezTo>
                  <a:cubicBezTo>
                    <a:pt x="116" y="0"/>
                    <a:pt x="113" y="0"/>
                    <a:pt x="110" y="0"/>
                  </a:cubicBezTo>
                  <a:close/>
                  <a:moveTo>
                    <a:pt x="114" y="40"/>
                  </a:moveTo>
                  <a:cubicBezTo>
                    <a:pt x="119" y="40"/>
                    <a:pt x="123" y="42"/>
                    <a:pt x="126" y="44"/>
                  </a:cubicBezTo>
                  <a:cubicBezTo>
                    <a:pt x="127" y="45"/>
                    <a:pt x="127" y="46"/>
                    <a:pt x="128" y="47"/>
                  </a:cubicBezTo>
                  <a:lnTo>
                    <a:pt x="114" y="88"/>
                  </a:lnTo>
                  <a:cubicBezTo>
                    <a:pt x="110" y="88"/>
                    <a:pt x="106" y="87"/>
                    <a:pt x="100" y="87"/>
                  </a:cubicBezTo>
                  <a:cubicBezTo>
                    <a:pt x="85" y="85"/>
                    <a:pt x="65" y="86"/>
                    <a:pt x="46" y="88"/>
                  </a:cubicBezTo>
                  <a:cubicBezTo>
                    <a:pt x="44" y="88"/>
                    <a:pt x="43" y="87"/>
                    <a:pt x="42" y="85"/>
                  </a:cubicBezTo>
                  <a:cubicBezTo>
                    <a:pt x="41" y="83"/>
                    <a:pt x="41" y="79"/>
                    <a:pt x="42" y="74"/>
                  </a:cubicBezTo>
                  <a:cubicBezTo>
                    <a:pt x="44" y="64"/>
                    <a:pt x="53" y="56"/>
                    <a:pt x="53" y="56"/>
                  </a:cubicBezTo>
                  <a:cubicBezTo>
                    <a:pt x="68" y="52"/>
                    <a:pt x="83" y="45"/>
                    <a:pt x="97" y="42"/>
                  </a:cubicBezTo>
                  <a:cubicBezTo>
                    <a:pt x="104" y="40"/>
                    <a:pt x="109" y="40"/>
                    <a:pt x="114" y="40"/>
                  </a:cubicBezTo>
                  <a:close/>
                  <a:moveTo>
                    <a:pt x="170" y="86"/>
                  </a:moveTo>
                  <a:lnTo>
                    <a:pt x="278" y="186"/>
                  </a:lnTo>
                  <a:lnTo>
                    <a:pt x="415" y="350"/>
                  </a:lnTo>
                  <a:cubicBezTo>
                    <a:pt x="456" y="423"/>
                    <a:pt x="487" y="496"/>
                    <a:pt x="513" y="569"/>
                  </a:cubicBezTo>
                  <a:cubicBezTo>
                    <a:pt x="497" y="534"/>
                    <a:pt x="481" y="498"/>
                    <a:pt x="463" y="466"/>
                  </a:cubicBezTo>
                  <a:cubicBezTo>
                    <a:pt x="451" y="444"/>
                    <a:pt x="419" y="459"/>
                    <a:pt x="427" y="482"/>
                  </a:cubicBezTo>
                  <a:cubicBezTo>
                    <a:pt x="457" y="568"/>
                    <a:pt x="490" y="654"/>
                    <a:pt x="509" y="734"/>
                  </a:cubicBezTo>
                  <a:cubicBezTo>
                    <a:pt x="479" y="655"/>
                    <a:pt x="449" y="577"/>
                    <a:pt x="419" y="500"/>
                  </a:cubicBezTo>
                  <a:cubicBezTo>
                    <a:pt x="410" y="477"/>
                    <a:pt x="376" y="488"/>
                    <a:pt x="380" y="512"/>
                  </a:cubicBezTo>
                  <a:cubicBezTo>
                    <a:pt x="369" y="512"/>
                    <a:pt x="360" y="522"/>
                    <a:pt x="361" y="533"/>
                  </a:cubicBezTo>
                  <a:cubicBezTo>
                    <a:pt x="370" y="639"/>
                    <a:pt x="387" y="769"/>
                    <a:pt x="388" y="848"/>
                  </a:cubicBezTo>
                  <a:cubicBezTo>
                    <a:pt x="387" y="848"/>
                    <a:pt x="387" y="848"/>
                    <a:pt x="385" y="848"/>
                  </a:cubicBezTo>
                  <a:cubicBezTo>
                    <a:pt x="382" y="848"/>
                    <a:pt x="378" y="847"/>
                    <a:pt x="376" y="846"/>
                  </a:cubicBezTo>
                  <a:cubicBezTo>
                    <a:pt x="374" y="845"/>
                    <a:pt x="374" y="845"/>
                    <a:pt x="374" y="845"/>
                  </a:cubicBezTo>
                  <a:cubicBezTo>
                    <a:pt x="366" y="647"/>
                    <a:pt x="333" y="460"/>
                    <a:pt x="259" y="341"/>
                  </a:cubicBezTo>
                  <a:cubicBezTo>
                    <a:pt x="250" y="290"/>
                    <a:pt x="244" y="236"/>
                    <a:pt x="228" y="190"/>
                  </a:cubicBezTo>
                  <a:cubicBezTo>
                    <a:pt x="215" y="155"/>
                    <a:pt x="195" y="124"/>
                    <a:pt x="163" y="107"/>
                  </a:cubicBezTo>
                  <a:cubicBezTo>
                    <a:pt x="163" y="107"/>
                    <a:pt x="163" y="107"/>
                    <a:pt x="163" y="107"/>
                  </a:cubicBezTo>
                  <a:cubicBezTo>
                    <a:pt x="167" y="101"/>
                    <a:pt x="169" y="94"/>
                    <a:pt x="170" y="86"/>
                  </a:cubicBezTo>
                  <a:close/>
                  <a:moveTo>
                    <a:pt x="436" y="693"/>
                  </a:moveTo>
                  <a:cubicBezTo>
                    <a:pt x="450" y="738"/>
                    <a:pt x="462" y="784"/>
                    <a:pt x="466" y="830"/>
                  </a:cubicBezTo>
                  <a:cubicBezTo>
                    <a:pt x="466" y="830"/>
                    <a:pt x="466" y="830"/>
                    <a:pt x="466" y="830"/>
                  </a:cubicBezTo>
                  <a:cubicBezTo>
                    <a:pt x="456" y="788"/>
                    <a:pt x="446" y="739"/>
                    <a:pt x="436" y="693"/>
                  </a:cubicBezTo>
                  <a:close/>
                  <a:moveTo>
                    <a:pt x="559" y="778"/>
                  </a:moveTo>
                  <a:lnTo>
                    <a:pt x="559" y="780"/>
                  </a:lnTo>
                  <a:cubicBezTo>
                    <a:pt x="559" y="780"/>
                    <a:pt x="559" y="779"/>
                    <a:pt x="559" y="778"/>
                  </a:cubicBezTo>
                  <a:cubicBezTo>
                    <a:pt x="559" y="778"/>
                    <a:pt x="559" y="778"/>
                    <a:pt x="559" y="7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3"/>
            <p:cNvSpPr>
              <a:spLocks/>
            </p:cNvSpPr>
            <p:nvPr/>
          </p:nvSpPr>
          <p:spPr bwMode="auto">
            <a:xfrm>
              <a:off x="5856288" y="3590926"/>
              <a:ext cx="349250" cy="409575"/>
            </a:xfrm>
            <a:custGeom>
              <a:avLst/>
              <a:gdLst>
                <a:gd name="T0" fmla="*/ 271 w 712"/>
                <a:gd name="T1" fmla="*/ 18 h 837"/>
                <a:gd name="T2" fmla="*/ 514 w 712"/>
                <a:gd name="T3" fmla="*/ 32 h 837"/>
                <a:gd name="T4" fmla="*/ 618 w 712"/>
                <a:gd name="T5" fmla="*/ 327 h 837"/>
                <a:gd name="T6" fmla="*/ 690 w 712"/>
                <a:gd name="T7" fmla="*/ 816 h 837"/>
                <a:gd name="T8" fmla="*/ 28 w 712"/>
                <a:gd name="T9" fmla="*/ 544 h 837"/>
                <a:gd name="T10" fmla="*/ 271 w 712"/>
                <a:gd name="T11" fmla="*/ 18 h 837"/>
              </a:gdLst>
              <a:ahLst/>
              <a:cxnLst>
                <a:cxn ang="0">
                  <a:pos x="T0" y="T1"/>
                </a:cxn>
                <a:cxn ang="0">
                  <a:pos x="T2" y="T3"/>
                </a:cxn>
                <a:cxn ang="0">
                  <a:pos x="T4" y="T5"/>
                </a:cxn>
                <a:cxn ang="0">
                  <a:pos x="T6" y="T7"/>
                </a:cxn>
                <a:cxn ang="0">
                  <a:pos x="T8" y="T9"/>
                </a:cxn>
                <a:cxn ang="0">
                  <a:pos x="T10" y="T11"/>
                </a:cxn>
              </a:cxnLst>
              <a:rect l="0" t="0" r="r" b="b"/>
              <a:pathLst>
                <a:path w="712" h="837">
                  <a:moveTo>
                    <a:pt x="271" y="18"/>
                  </a:moveTo>
                  <a:cubicBezTo>
                    <a:pt x="342" y="0"/>
                    <a:pt x="487" y="8"/>
                    <a:pt x="514" y="32"/>
                  </a:cubicBezTo>
                  <a:cubicBezTo>
                    <a:pt x="541" y="57"/>
                    <a:pt x="579" y="233"/>
                    <a:pt x="618" y="327"/>
                  </a:cubicBezTo>
                  <a:cubicBezTo>
                    <a:pt x="712" y="552"/>
                    <a:pt x="682" y="837"/>
                    <a:pt x="690" y="816"/>
                  </a:cubicBezTo>
                  <a:cubicBezTo>
                    <a:pt x="699" y="790"/>
                    <a:pt x="375" y="562"/>
                    <a:pt x="28" y="544"/>
                  </a:cubicBezTo>
                  <a:cubicBezTo>
                    <a:pt x="0" y="484"/>
                    <a:pt x="199" y="36"/>
                    <a:pt x="271" y="18"/>
                  </a:cubicBezTo>
                  <a:close/>
                </a:path>
              </a:pathLst>
            </a:custGeom>
            <a:solidFill>
              <a:srgbClr val="8A0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14"/>
            <p:cNvSpPr>
              <a:spLocks noEditPoints="1"/>
            </p:cNvSpPr>
            <p:nvPr/>
          </p:nvSpPr>
          <p:spPr bwMode="auto">
            <a:xfrm>
              <a:off x="5857875" y="3584576"/>
              <a:ext cx="347662" cy="415925"/>
            </a:xfrm>
            <a:custGeom>
              <a:avLst/>
              <a:gdLst>
                <a:gd name="T0" fmla="*/ 331 w 709"/>
                <a:gd name="T1" fmla="*/ 2 h 851"/>
                <a:gd name="T2" fmla="*/ 263 w 709"/>
                <a:gd name="T3" fmla="*/ 12 h 851"/>
                <a:gd name="T4" fmla="*/ 220 w 709"/>
                <a:gd name="T5" fmla="*/ 43 h 851"/>
                <a:gd name="T6" fmla="*/ 179 w 709"/>
                <a:gd name="T7" fmla="*/ 102 h 851"/>
                <a:gd name="T8" fmla="*/ 91 w 709"/>
                <a:gd name="T9" fmla="*/ 270 h 851"/>
                <a:gd name="T10" fmla="*/ 22 w 709"/>
                <a:gd name="T11" fmla="*/ 446 h 851"/>
                <a:gd name="T12" fmla="*/ 5 w 709"/>
                <a:gd name="T13" fmla="*/ 515 h 851"/>
                <a:gd name="T14" fmla="*/ 7 w 709"/>
                <a:gd name="T15" fmla="*/ 565 h 851"/>
                <a:gd name="T16" fmla="*/ 12 w 709"/>
                <a:gd name="T17" fmla="*/ 576 h 851"/>
                <a:gd name="T18" fmla="*/ 24 w 709"/>
                <a:gd name="T19" fmla="*/ 577 h 851"/>
                <a:gd name="T20" fmla="*/ 481 w 709"/>
                <a:gd name="T21" fmla="*/ 708 h 851"/>
                <a:gd name="T22" fmla="*/ 624 w 709"/>
                <a:gd name="T23" fmla="*/ 794 h 851"/>
                <a:gd name="T24" fmla="*/ 661 w 709"/>
                <a:gd name="T25" fmla="*/ 825 h 851"/>
                <a:gd name="T26" fmla="*/ 666 w 709"/>
                <a:gd name="T27" fmla="*/ 830 h 851"/>
                <a:gd name="T28" fmla="*/ 666 w 709"/>
                <a:gd name="T29" fmla="*/ 834 h 851"/>
                <a:gd name="T30" fmla="*/ 669 w 709"/>
                <a:gd name="T31" fmla="*/ 841 h 851"/>
                <a:gd name="T32" fmla="*/ 678 w 709"/>
                <a:gd name="T33" fmla="*/ 848 h 851"/>
                <a:gd name="T34" fmla="*/ 694 w 709"/>
                <a:gd name="T35" fmla="*/ 848 h 851"/>
                <a:gd name="T36" fmla="*/ 704 w 709"/>
                <a:gd name="T37" fmla="*/ 839 h 851"/>
                <a:gd name="T38" fmla="*/ 706 w 709"/>
                <a:gd name="T39" fmla="*/ 836 h 851"/>
                <a:gd name="T40" fmla="*/ 706 w 709"/>
                <a:gd name="T41" fmla="*/ 819 h 851"/>
                <a:gd name="T42" fmla="*/ 706 w 709"/>
                <a:gd name="T43" fmla="*/ 793 h 851"/>
                <a:gd name="T44" fmla="*/ 704 w 709"/>
                <a:gd name="T45" fmla="*/ 676 h 851"/>
                <a:gd name="T46" fmla="*/ 634 w 709"/>
                <a:gd name="T47" fmla="*/ 332 h 851"/>
                <a:gd name="T48" fmla="*/ 578 w 709"/>
                <a:gd name="T49" fmla="*/ 161 h 851"/>
                <a:gd name="T50" fmla="*/ 552 w 709"/>
                <a:gd name="T51" fmla="*/ 82 h 851"/>
                <a:gd name="T52" fmla="*/ 525 w 709"/>
                <a:gd name="T53" fmla="*/ 31 h 851"/>
                <a:gd name="T54" fmla="*/ 476 w 709"/>
                <a:gd name="T55" fmla="*/ 11 h 851"/>
                <a:gd name="T56" fmla="*/ 407 w 709"/>
                <a:gd name="T57" fmla="*/ 2 h 851"/>
                <a:gd name="T58" fmla="*/ 331 w 709"/>
                <a:gd name="T59" fmla="*/ 2 h 851"/>
                <a:gd name="T60" fmla="*/ 405 w 709"/>
                <a:gd name="T61" fmla="*/ 42 h 851"/>
                <a:gd name="T62" fmla="*/ 468 w 709"/>
                <a:gd name="T63" fmla="*/ 50 h 851"/>
                <a:gd name="T64" fmla="*/ 497 w 709"/>
                <a:gd name="T65" fmla="*/ 60 h 851"/>
                <a:gd name="T66" fmla="*/ 514 w 709"/>
                <a:gd name="T67" fmla="*/ 95 h 851"/>
                <a:gd name="T68" fmla="*/ 539 w 709"/>
                <a:gd name="T69" fmla="*/ 172 h 851"/>
                <a:gd name="T70" fmla="*/ 597 w 709"/>
                <a:gd name="T71" fmla="*/ 348 h 851"/>
                <a:gd name="T72" fmla="*/ 664 w 709"/>
                <a:gd name="T73" fmla="*/ 678 h 851"/>
                <a:gd name="T74" fmla="*/ 666 w 709"/>
                <a:gd name="T75" fmla="*/ 777 h 851"/>
                <a:gd name="T76" fmla="*/ 648 w 709"/>
                <a:gd name="T77" fmla="*/ 762 h 851"/>
                <a:gd name="T78" fmla="*/ 499 w 709"/>
                <a:gd name="T79" fmla="*/ 672 h 851"/>
                <a:gd name="T80" fmla="*/ 44 w 709"/>
                <a:gd name="T81" fmla="*/ 539 h 851"/>
                <a:gd name="T82" fmla="*/ 44 w 709"/>
                <a:gd name="T83" fmla="*/ 521 h 851"/>
                <a:gd name="T84" fmla="*/ 60 w 709"/>
                <a:gd name="T85" fmla="*/ 458 h 851"/>
                <a:gd name="T86" fmla="*/ 127 w 709"/>
                <a:gd name="T87" fmla="*/ 287 h 851"/>
                <a:gd name="T88" fmla="*/ 213 w 709"/>
                <a:gd name="T89" fmla="*/ 123 h 851"/>
                <a:gd name="T90" fmla="*/ 251 w 709"/>
                <a:gd name="T91" fmla="*/ 70 h 851"/>
                <a:gd name="T92" fmla="*/ 273 w 709"/>
                <a:gd name="T93" fmla="*/ 50 h 851"/>
                <a:gd name="T94" fmla="*/ 405 w 709"/>
                <a:gd name="T95" fmla="*/ 4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9" h="851">
                  <a:moveTo>
                    <a:pt x="331" y="2"/>
                  </a:moveTo>
                  <a:cubicBezTo>
                    <a:pt x="306" y="3"/>
                    <a:pt x="282" y="7"/>
                    <a:pt x="263" y="12"/>
                  </a:cubicBezTo>
                  <a:cubicBezTo>
                    <a:pt x="245" y="16"/>
                    <a:pt x="234" y="28"/>
                    <a:pt x="220" y="43"/>
                  </a:cubicBezTo>
                  <a:cubicBezTo>
                    <a:pt x="207" y="59"/>
                    <a:pt x="193" y="79"/>
                    <a:pt x="179" y="102"/>
                  </a:cubicBezTo>
                  <a:cubicBezTo>
                    <a:pt x="150" y="149"/>
                    <a:pt x="119" y="209"/>
                    <a:pt x="91" y="270"/>
                  </a:cubicBezTo>
                  <a:cubicBezTo>
                    <a:pt x="63" y="332"/>
                    <a:pt x="38" y="394"/>
                    <a:pt x="22" y="446"/>
                  </a:cubicBezTo>
                  <a:cubicBezTo>
                    <a:pt x="14" y="472"/>
                    <a:pt x="8" y="495"/>
                    <a:pt x="5" y="515"/>
                  </a:cubicBezTo>
                  <a:cubicBezTo>
                    <a:pt x="2" y="534"/>
                    <a:pt x="0" y="549"/>
                    <a:pt x="7" y="565"/>
                  </a:cubicBezTo>
                  <a:lnTo>
                    <a:pt x="12" y="576"/>
                  </a:lnTo>
                  <a:lnTo>
                    <a:pt x="24" y="577"/>
                  </a:lnTo>
                  <a:cubicBezTo>
                    <a:pt x="194" y="586"/>
                    <a:pt x="359" y="646"/>
                    <a:pt x="481" y="708"/>
                  </a:cubicBezTo>
                  <a:cubicBezTo>
                    <a:pt x="541" y="739"/>
                    <a:pt x="591" y="770"/>
                    <a:pt x="624" y="794"/>
                  </a:cubicBezTo>
                  <a:cubicBezTo>
                    <a:pt x="641" y="807"/>
                    <a:pt x="654" y="817"/>
                    <a:pt x="661" y="825"/>
                  </a:cubicBezTo>
                  <a:cubicBezTo>
                    <a:pt x="664" y="827"/>
                    <a:pt x="665" y="829"/>
                    <a:pt x="666" y="830"/>
                  </a:cubicBezTo>
                  <a:cubicBezTo>
                    <a:pt x="666" y="832"/>
                    <a:pt x="666" y="832"/>
                    <a:pt x="666" y="834"/>
                  </a:cubicBezTo>
                  <a:cubicBezTo>
                    <a:pt x="667" y="835"/>
                    <a:pt x="667" y="837"/>
                    <a:pt x="669" y="841"/>
                  </a:cubicBezTo>
                  <a:cubicBezTo>
                    <a:pt x="671" y="843"/>
                    <a:pt x="673" y="846"/>
                    <a:pt x="678" y="848"/>
                  </a:cubicBezTo>
                  <a:cubicBezTo>
                    <a:pt x="683" y="851"/>
                    <a:pt x="690" y="850"/>
                    <a:pt x="694" y="848"/>
                  </a:cubicBezTo>
                  <a:cubicBezTo>
                    <a:pt x="703" y="845"/>
                    <a:pt x="703" y="841"/>
                    <a:pt x="704" y="839"/>
                  </a:cubicBezTo>
                  <a:cubicBezTo>
                    <a:pt x="705" y="838"/>
                    <a:pt x="705" y="837"/>
                    <a:pt x="706" y="836"/>
                  </a:cubicBezTo>
                  <a:cubicBezTo>
                    <a:pt x="709" y="828"/>
                    <a:pt x="707" y="823"/>
                    <a:pt x="706" y="819"/>
                  </a:cubicBezTo>
                  <a:cubicBezTo>
                    <a:pt x="706" y="813"/>
                    <a:pt x="706" y="805"/>
                    <a:pt x="706" y="793"/>
                  </a:cubicBezTo>
                  <a:cubicBezTo>
                    <a:pt x="706" y="766"/>
                    <a:pt x="706" y="725"/>
                    <a:pt x="704" y="676"/>
                  </a:cubicBezTo>
                  <a:cubicBezTo>
                    <a:pt x="698" y="578"/>
                    <a:pt x="682" y="448"/>
                    <a:pt x="634" y="332"/>
                  </a:cubicBezTo>
                  <a:cubicBezTo>
                    <a:pt x="615" y="287"/>
                    <a:pt x="595" y="220"/>
                    <a:pt x="578" y="161"/>
                  </a:cubicBezTo>
                  <a:cubicBezTo>
                    <a:pt x="569" y="131"/>
                    <a:pt x="560" y="104"/>
                    <a:pt x="552" y="82"/>
                  </a:cubicBezTo>
                  <a:cubicBezTo>
                    <a:pt x="544" y="59"/>
                    <a:pt x="538" y="43"/>
                    <a:pt x="525" y="31"/>
                  </a:cubicBezTo>
                  <a:cubicBezTo>
                    <a:pt x="512" y="19"/>
                    <a:pt x="496" y="15"/>
                    <a:pt x="476" y="11"/>
                  </a:cubicBezTo>
                  <a:cubicBezTo>
                    <a:pt x="456" y="6"/>
                    <a:pt x="432" y="4"/>
                    <a:pt x="407" y="2"/>
                  </a:cubicBezTo>
                  <a:cubicBezTo>
                    <a:pt x="382" y="1"/>
                    <a:pt x="356" y="0"/>
                    <a:pt x="331" y="2"/>
                  </a:cubicBezTo>
                  <a:close/>
                  <a:moveTo>
                    <a:pt x="405" y="42"/>
                  </a:moveTo>
                  <a:cubicBezTo>
                    <a:pt x="429" y="43"/>
                    <a:pt x="451" y="46"/>
                    <a:pt x="468" y="50"/>
                  </a:cubicBezTo>
                  <a:cubicBezTo>
                    <a:pt x="485" y="53"/>
                    <a:pt x="497" y="60"/>
                    <a:pt x="497" y="60"/>
                  </a:cubicBezTo>
                  <a:cubicBezTo>
                    <a:pt x="497" y="60"/>
                    <a:pt x="507" y="75"/>
                    <a:pt x="514" y="95"/>
                  </a:cubicBezTo>
                  <a:cubicBezTo>
                    <a:pt x="522" y="116"/>
                    <a:pt x="530" y="143"/>
                    <a:pt x="539" y="172"/>
                  </a:cubicBezTo>
                  <a:cubicBezTo>
                    <a:pt x="557" y="231"/>
                    <a:pt x="576" y="299"/>
                    <a:pt x="597" y="348"/>
                  </a:cubicBezTo>
                  <a:cubicBezTo>
                    <a:pt x="642" y="457"/>
                    <a:pt x="658" y="582"/>
                    <a:pt x="664" y="678"/>
                  </a:cubicBezTo>
                  <a:cubicBezTo>
                    <a:pt x="666" y="719"/>
                    <a:pt x="666" y="750"/>
                    <a:pt x="666" y="777"/>
                  </a:cubicBezTo>
                  <a:cubicBezTo>
                    <a:pt x="659" y="772"/>
                    <a:pt x="656" y="768"/>
                    <a:pt x="648" y="762"/>
                  </a:cubicBezTo>
                  <a:cubicBezTo>
                    <a:pt x="612" y="736"/>
                    <a:pt x="561" y="704"/>
                    <a:pt x="499" y="672"/>
                  </a:cubicBezTo>
                  <a:cubicBezTo>
                    <a:pt x="378" y="611"/>
                    <a:pt x="215" y="551"/>
                    <a:pt x="44" y="539"/>
                  </a:cubicBezTo>
                  <a:cubicBezTo>
                    <a:pt x="43" y="535"/>
                    <a:pt x="43" y="532"/>
                    <a:pt x="44" y="521"/>
                  </a:cubicBezTo>
                  <a:cubicBezTo>
                    <a:pt x="47" y="505"/>
                    <a:pt x="53" y="483"/>
                    <a:pt x="60" y="458"/>
                  </a:cubicBezTo>
                  <a:cubicBezTo>
                    <a:pt x="76" y="409"/>
                    <a:pt x="100" y="347"/>
                    <a:pt x="127" y="287"/>
                  </a:cubicBezTo>
                  <a:cubicBezTo>
                    <a:pt x="155" y="227"/>
                    <a:pt x="185" y="168"/>
                    <a:pt x="213" y="123"/>
                  </a:cubicBezTo>
                  <a:cubicBezTo>
                    <a:pt x="226" y="101"/>
                    <a:pt x="239" y="82"/>
                    <a:pt x="251" y="70"/>
                  </a:cubicBezTo>
                  <a:cubicBezTo>
                    <a:pt x="262" y="57"/>
                    <a:pt x="272" y="51"/>
                    <a:pt x="273" y="50"/>
                  </a:cubicBezTo>
                  <a:cubicBezTo>
                    <a:pt x="305" y="42"/>
                    <a:pt x="358" y="39"/>
                    <a:pt x="405"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15"/>
            <p:cNvSpPr>
              <a:spLocks/>
            </p:cNvSpPr>
            <p:nvPr/>
          </p:nvSpPr>
          <p:spPr bwMode="auto">
            <a:xfrm>
              <a:off x="6078538" y="3562351"/>
              <a:ext cx="227012" cy="407988"/>
            </a:xfrm>
            <a:custGeom>
              <a:avLst/>
              <a:gdLst>
                <a:gd name="T0" fmla="*/ 24 w 463"/>
                <a:gd name="T1" fmla="*/ 0 h 834"/>
                <a:gd name="T2" fmla="*/ 166 w 463"/>
                <a:gd name="T3" fmla="*/ 132 h 834"/>
                <a:gd name="T4" fmla="*/ 305 w 463"/>
                <a:gd name="T5" fmla="*/ 298 h 834"/>
                <a:gd name="T6" fmla="*/ 455 w 463"/>
                <a:gd name="T7" fmla="*/ 694 h 834"/>
                <a:gd name="T8" fmla="*/ 435 w 463"/>
                <a:gd name="T9" fmla="*/ 716 h 834"/>
                <a:gd name="T10" fmla="*/ 319 w 463"/>
                <a:gd name="T11" fmla="*/ 434 h 834"/>
                <a:gd name="T12" fmla="*/ 412 w 463"/>
                <a:gd name="T13" fmla="*/ 742 h 834"/>
                <a:gd name="T14" fmla="*/ 388 w 463"/>
                <a:gd name="T15" fmla="*/ 766 h 834"/>
                <a:gd name="T16" fmla="*/ 273 w 463"/>
                <a:gd name="T17" fmla="*/ 466 h 834"/>
                <a:gd name="T18" fmla="*/ 359 w 463"/>
                <a:gd name="T19" fmla="*/ 788 h 834"/>
                <a:gd name="T20" fmla="*/ 321 w 463"/>
                <a:gd name="T21" fmla="*/ 804 h 834"/>
                <a:gd name="T22" fmla="*/ 254 w 463"/>
                <a:gd name="T23" fmla="*/ 490 h 834"/>
                <a:gd name="T24" fmla="*/ 281 w 463"/>
                <a:gd name="T25" fmla="*/ 807 h 834"/>
                <a:gd name="T26" fmla="*/ 228 w 463"/>
                <a:gd name="T27" fmla="*/ 809 h 834"/>
                <a:gd name="T28" fmla="*/ 112 w 463"/>
                <a:gd name="T29" fmla="*/ 306 h 834"/>
                <a:gd name="T30" fmla="*/ 0 w 463"/>
                <a:gd name="T31" fmla="*/ 73 h 834"/>
                <a:gd name="T32" fmla="*/ 24 w 463"/>
                <a:gd name="T3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3" h="834">
                  <a:moveTo>
                    <a:pt x="24" y="0"/>
                  </a:moveTo>
                  <a:lnTo>
                    <a:pt x="166" y="132"/>
                  </a:lnTo>
                  <a:lnTo>
                    <a:pt x="305" y="298"/>
                  </a:lnTo>
                  <a:cubicBezTo>
                    <a:pt x="379" y="430"/>
                    <a:pt x="424" y="562"/>
                    <a:pt x="455" y="694"/>
                  </a:cubicBezTo>
                  <a:cubicBezTo>
                    <a:pt x="463" y="718"/>
                    <a:pt x="445" y="736"/>
                    <a:pt x="435" y="716"/>
                  </a:cubicBezTo>
                  <a:cubicBezTo>
                    <a:pt x="404" y="612"/>
                    <a:pt x="366" y="519"/>
                    <a:pt x="319" y="434"/>
                  </a:cubicBezTo>
                  <a:cubicBezTo>
                    <a:pt x="355" y="538"/>
                    <a:pt x="398" y="645"/>
                    <a:pt x="412" y="742"/>
                  </a:cubicBezTo>
                  <a:cubicBezTo>
                    <a:pt x="419" y="768"/>
                    <a:pt x="398" y="787"/>
                    <a:pt x="388" y="766"/>
                  </a:cubicBezTo>
                  <a:cubicBezTo>
                    <a:pt x="353" y="662"/>
                    <a:pt x="312" y="566"/>
                    <a:pt x="273" y="466"/>
                  </a:cubicBezTo>
                  <a:cubicBezTo>
                    <a:pt x="302" y="574"/>
                    <a:pt x="349" y="677"/>
                    <a:pt x="359" y="788"/>
                  </a:cubicBezTo>
                  <a:cubicBezTo>
                    <a:pt x="365" y="808"/>
                    <a:pt x="328" y="818"/>
                    <a:pt x="321" y="804"/>
                  </a:cubicBezTo>
                  <a:cubicBezTo>
                    <a:pt x="299" y="709"/>
                    <a:pt x="277" y="595"/>
                    <a:pt x="254" y="490"/>
                  </a:cubicBezTo>
                  <a:cubicBezTo>
                    <a:pt x="263" y="596"/>
                    <a:pt x="280" y="725"/>
                    <a:pt x="281" y="807"/>
                  </a:cubicBezTo>
                  <a:cubicBezTo>
                    <a:pt x="287" y="834"/>
                    <a:pt x="234" y="833"/>
                    <a:pt x="228" y="809"/>
                  </a:cubicBezTo>
                  <a:cubicBezTo>
                    <a:pt x="220" y="608"/>
                    <a:pt x="186" y="419"/>
                    <a:pt x="112" y="306"/>
                  </a:cubicBezTo>
                  <a:cubicBezTo>
                    <a:pt x="95" y="202"/>
                    <a:pt x="86" y="87"/>
                    <a:pt x="0" y="73"/>
                  </a:cubicBezTo>
                  <a:lnTo>
                    <a:pt x="24" y="0"/>
                  </a:lnTo>
                  <a:close/>
                </a:path>
              </a:pathLst>
            </a:custGeom>
            <a:noFill/>
            <a:ln w="63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7" name="Freeform 516"/>
            <p:cNvSpPr>
              <a:spLocks noEditPoints="1"/>
            </p:cNvSpPr>
            <p:nvPr/>
          </p:nvSpPr>
          <p:spPr bwMode="auto">
            <a:xfrm>
              <a:off x="4779963" y="5295901"/>
              <a:ext cx="3313112" cy="774700"/>
            </a:xfrm>
            <a:custGeom>
              <a:avLst/>
              <a:gdLst>
                <a:gd name="T0" fmla="*/ 3421 w 6779"/>
                <a:gd name="T1" fmla="*/ 1364 h 1585"/>
                <a:gd name="T2" fmla="*/ 3641 w 6779"/>
                <a:gd name="T3" fmla="*/ 1052 h 1585"/>
                <a:gd name="T4" fmla="*/ 4523 w 6779"/>
                <a:gd name="T5" fmla="*/ 25 h 1585"/>
                <a:gd name="T6" fmla="*/ 4531 w 6779"/>
                <a:gd name="T7" fmla="*/ 1400 h 1585"/>
                <a:gd name="T8" fmla="*/ 5291 w 6779"/>
                <a:gd name="T9" fmla="*/ 64 h 1585"/>
                <a:gd name="T10" fmla="*/ 5895 w 6779"/>
                <a:gd name="T11" fmla="*/ 1330 h 1585"/>
                <a:gd name="T12" fmla="*/ 5522 w 6779"/>
                <a:gd name="T13" fmla="*/ 1099 h 1585"/>
                <a:gd name="T14" fmla="*/ 5525 w 6779"/>
                <a:gd name="T15" fmla="*/ 802 h 1585"/>
                <a:gd name="T16" fmla="*/ 5806 w 6779"/>
                <a:gd name="T17" fmla="*/ 573 h 1585"/>
                <a:gd name="T18" fmla="*/ 5506 w 6779"/>
                <a:gd name="T19" fmla="*/ 298 h 1585"/>
                <a:gd name="T20" fmla="*/ 5898 w 6779"/>
                <a:gd name="T21" fmla="*/ 56 h 1585"/>
                <a:gd name="T22" fmla="*/ 6145 w 6779"/>
                <a:gd name="T23" fmla="*/ 50 h 1585"/>
                <a:gd name="T24" fmla="*/ 6004 w 6779"/>
                <a:gd name="T25" fmla="*/ 1361 h 1585"/>
                <a:gd name="T26" fmla="*/ 6221 w 6779"/>
                <a:gd name="T27" fmla="*/ 1002 h 1585"/>
                <a:gd name="T28" fmla="*/ 6725 w 6779"/>
                <a:gd name="T29" fmla="*/ 1380 h 1585"/>
                <a:gd name="T30" fmla="*/ 6145 w 6779"/>
                <a:gd name="T31" fmla="*/ 50 h 1585"/>
                <a:gd name="T32" fmla="*/ 3104 w 6779"/>
                <a:gd name="T33" fmla="*/ 1019 h 1585"/>
                <a:gd name="T34" fmla="*/ 3310 w 6779"/>
                <a:gd name="T35" fmla="*/ 1108 h 1585"/>
                <a:gd name="T36" fmla="*/ 3201 w 6779"/>
                <a:gd name="T37" fmla="*/ 473 h 1585"/>
                <a:gd name="T38" fmla="*/ 1297 w 6779"/>
                <a:gd name="T39" fmla="*/ 61 h 1585"/>
                <a:gd name="T40" fmla="*/ 1300 w 6779"/>
                <a:gd name="T41" fmla="*/ 1322 h 1585"/>
                <a:gd name="T42" fmla="*/ 905 w 6779"/>
                <a:gd name="T43" fmla="*/ 829 h 1585"/>
                <a:gd name="T44" fmla="*/ 1228 w 6779"/>
                <a:gd name="T45" fmla="*/ 793 h 1585"/>
                <a:gd name="T46" fmla="*/ 908 w 6779"/>
                <a:gd name="T47" fmla="*/ 573 h 1585"/>
                <a:gd name="T48" fmla="*/ 1297 w 6779"/>
                <a:gd name="T49" fmla="*/ 289 h 1585"/>
                <a:gd name="T50" fmla="*/ 4195 w 6779"/>
                <a:gd name="T51" fmla="*/ 109 h 1585"/>
                <a:gd name="T52" fmla="*/ 4373 w 6779"/>
                <a:gd name="T53" fmla="*/ 1344 h 1585"/>
                <a:gd name="T54" fmla="*/ 4403 w 6779"/>
                <a:gd name="T55" fmla="*/ 106 h 1585"/>
                <a:gd name="T56" fmla="*/ 2074 w 6779"/>
                <a:gd name="T57" fmla="*/ 95 h 1585"/>
                <a:gd name="T58" fmla="*/ 1406 w 6779"/>
                <a:gd name="T59" fmla="*/ 392 h 1585"/>
                <a:gd name="T60" fmla="*/ 1395 w 6779"/>
                <a:gd name="T61" fmla="*/ 1033 h 1585"/>
                <a:gd name="T62" fmla="*/ 2093 w 6779"/>
                <a:gd name="T63" fmla="*/ 1372 h 1585"/>
                <a:gd name="T64" fmla="*/ 1698 w 6779"/>
                <a:gd name="T65" fmla="*/ 1069 h 1585"/>
                <a:gd name="T66" fmla="*/ 2091 w 6779"/>
                <a:gd name="T67" fmla="*/ 443 h 1585"/>
                <a:gd name="T68" fmla="*/ 2074 w 6779"/>
                <a:gd name="T69" fmla="*/ 95 h 1585"/>
                <a:gd name="T70" fmla="*/ 212 w 6779"/>
                <a:gd name="T71" fmla="*/ 1369 h 1585"/>
                <a:gd name="T72" fmla="*/ 537 w 6779"/>
                <a:gd name="T73" fmla="*/ 621 h 1585"/>
                <a:gd name="T74" fmla="*/ 618 w 6779"/>
                <a:gd name="T75" fmla="*/ 331 h 1585"/>
                <a:gd name="T76" fmla="*/ 3680 w 6779"/>
                <a:gd name="T77" fmla="*/ 312 h 1585"/>
                <a:gd name="T78" fmla="*/ 3644 w 6779"/>
                <a:gd name="T79" fmla="*/ 348 h 1585"/>
                <a:gd name="T80" fmla="*/ 6275 w 6779"/>
                <a:gd name="T81" fmla="*/ 360 h 1585"/>
                <a:gd name="T82" fmla="*/ 6219 w 6779"/>
                <a:gd name="T83" fmla="*/ 389 h 1585"/>
                <a:gd name="T84" fmla="*/ 4775 w 6779"/>
                <a:gd name="T85" fmla="*/ 1084 h 1585"/>
                <a:gd name="T86" fmla="*/ 4740 w 6779"/>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79"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2" y="53"/>
                  </a:cubicBezTo>
                  <a:lnTo>
                    <a:pt x="4492" y="1387"/>
                  </a:lnTo>
                  <a:cubicBezTo>
                    <a:pt x="4493" y="1404"/>
                    <a:pt x="4513" y="1399"/>
                    <a:pt x="4531" y="1400"/>
                  </a:cubicBezTo>
                  <a:cubicBezTo>
                    <a:pt x="5349" y="1441"/>
                    <a:pt x="5534" y="96"/>
                    <a:pt x="4523" y="25"/>
                  </a:cubicBezTo>
                  <a:close/>
                  <a:moveTo>
                    <a:pt x="5311" y="47"/>
                  </a:moveTo>
                  <a:cubicBezTo>
                    <a:pt x="5296" y="48"/>
                    <a:pt x="5291" y="55"/>
                    <a:pt x="5291" y="64"/>
                  </a:cubicBezTo>
                  <a:lnTo>
                    <a:pt x="5288" y="1278"/>
                  </a:lnTo>
                  <a:cubicBezTo>
                    <a:pt x="5289" y="1302"/>
                    <a:pt x="5299"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09" y="813"/>
                    <a:pt x="5510" y="803"/>
                    <a:pt x="5525" y="802"/>
                  </a:cubicBezTo>
                  <a:lnTo>
                    <a:pt x="5773" y="807"/>
                  </a:lnTo>
                  <a:lnTo>
                    <a:pt x="5817" y="807"/>
                  </a:lnTo>
                  <a:lnTo>
                    <a:pt x="5806" y="573"/>
                  </a:lnTo>
                  <a:lnTo>
                    <a:pt x="5525" y="571"/>
                  </a:lnTo>
                  <a:cubicBezTo>
                    <a:pt x="5515" y="570"/>
                    <a:pt x="5503" y="575"/>
                    <a:pt x="5503" y="551"/>
                  </a:cubicBezTo>
                  <a:lnTo>
                    <a:pt x="5506" y="298"/>
                  </a:lnTo>
                  <a:cubicBezTo>
                    <a:pt x="5504" y="281"/>
                    <a:pt x="5512" y="275"/>
                    <a:pt x="5525" y="276"/>
                  </a:cubicBezTo>
                  <a:lnTo>
                    <a:pt x="5909" y="284"/>
                  </a:lnTo>
                  <a:lnTo>
                    <a:pt x="5898" y="56"/>
                  </a:lnTo>
                  <a:lnTo>
                    <a:pt x="5319" y="47"/>
                  </a:lnTo>
                  <a:cubicBezTo>
                    <a:pt x="5316" y="47"/>
                    <a:pt x="5314" y="47"/>
                    <a:pt x="5311" y="47"/>
                  </a:cubicBezTo>
                  <a:close/>
                  <a:moveTo>
                    <a:pt x="6145" y="50"/>
                  </a:moveTo>
                  <a:cubicBezTo>
                    <a:pt x="6106" y="50"/>
                    <a:pt x="6064" y="53"/>
                    <a:pt x="6020" y="58"/>
                  </a:cubicBezTo>
                  <a:lnTo>
                    <a:pt x="5995" y="72"/>
                  </a:lnTo>
                  <a:lnTo>
                    <a:pt x="6004" y="1361"/>
                  </a:lnTo>
                  <a:lnTo>
                    <a:pt x="6204" y="1358"/>
                  </a:lnTo>
                  <a:cubicBezTo>
                    <a:pt x="6207" y="1358"/>
                    <a:pt x="6218" y="1356"/>
                    <a:pt x="6218" y="1353"/>
                  </a:cubicBezTo>
                  <a:lnTo>
                    <a:pt x="6221" y="1002"/>
                  </a:lnTo>
                  <a:lnTo>
                    <a:pt x="6276" y="1005"/>
                  </a:lnTo>
                  <a:lnTo>
                    <a:pt x="6474" y="1375"/>
                  </a:lnTo>
                  <a:lnTo>
                    <a:pt x="6725" y="1380"/>
                  </a:lnTo>
                  <a:lnTo>
                    <a:pt x="6494" y="963"/>
                  </a:lnTo>
                  <a:cubicBezTo>
                    <a:pt x="6484" y="952"/>
                    <a:pt x="6488" y="945"/>
                    <a:pt x="6493" y="939"/>
                  </a:cubicBezTo>
                  <a:cubicBezTo>
                    <a:pt x="6779" y="648"/>
                    <a:pt x="6731"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8"/>
                    <a:pt x="2753" y="657"/>
                    <a:pt x="2845" y="412"/>
                  </a:cubicBezTo>
                  <a:cubicBezTo>
                    <a:pt x="2904" y="253"/>
                    <a:pt x="3176"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8"/>
                    <a:pt x="1224"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89"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5"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3"/>
                  </a:lnTo>
                  <a:lnTo>
                    <a:pt x="2093" y="392"/>
                  </a:lnTo>
                  <a:lnTo>
                    <a:pt x="2099" y="148"/>
                  </a:lnTo>
                  <a:cubicBezTo>
                    <a:pt x="2100" y="120"/>
                    <a:pt x="2097" y="95"/>
                    <a:pt x="2074" y="95"/>
                  </a:cubicBezTo>
                  <a:close/>
                  <a:moveTo>
                    <a:pt x="0" y="103"/>
                  </a:moveTo>
                  <a:lnTo>
                    <a:pt x="0" y="1361"/>
                  </a:lnTo>
                  <a:cubicBezTo>
                    <a:pt x="72" y="1355"/>
                    <a:pt x="142" y="1363"/>
                    <a:pt x="212" y="1369"/>
                  </a:cubicBezTo>
                  <a:lnTo>
                    <a:pt x="212" y="854"/>
                  </a:lnTo>
                  <a:lnTo>
                    <a:pt x="540" y="852"/>
                  </a:lnTo>
                  <a:lnTo>
                    <a:pt x="537"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2"/>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17"/>
            <p:cNvSpPr>
              <a:spLocks noEditPoints="1"/>
            </p:cNvSpPr>
            <p:nvPr/>
          </p:nvSpPr>
          <p:spPr bwMode="auto">
            <a:xfrm>
              <a:off x="4816475" y="5257801"/>
              <a:ext cx="3314700" cy="774700"/>
            </a:xfrm>
            <a:custGeom>
              <a:avLst/>
              <a:gdLst>
                <a:gd name="T0" fmla="*/ 3421 w 6780"/>
                <a:gd name="T1" fmla="*/ 1364 h 1585"/>
                <a:gd name="T2" fmla="*/ 3641 w 6780"/>
                <a:gd name="T3" fmla="*/ 1052 h 1585"/>
                <a:gd name="T4" fmla="*/ 4523 w 6780"/>
                <a:gd name="T5" fmla="*/ 25 h 1585"/>
                <a:gd name="T6" fmla="*/ 4531 w 6780"/>
                <a:gd name="T7" fmla="*/ 1400 h 1585"/>
                <a:gd name="T8" fmla="*/ 5291 w 6780"/>
                <a:gd name="T9" fmla="*/ 64 h 1585"/>
                <a:gd name="T10" fmla="*/ 5895 w 6780"/>
                <a:gd name="T11" fmla="*/ 1330 h 1585"/>
                <a:gd name="T12" fmla="*/ 5522 w 6780"/>
                <a:gd name="T13" fmla="*/ 1099 h 1585"/>
                <a:gd name="T14" fmla="*/ 5525 w 6780"/>
                <a:gd name="T15" fmla="*/ 802 h 1585"/>
                <a:gd name="T16" fmla="*/ 5806 w 6780"/>
                <a:gd name="T17" fmla="*/ 573 h 1585"/>
                <a:gd name="T18" fmla="*/ 5506 w 6780"/>
                <a:gd name="T19" fmla="*/ 298 h 1585"/>
                <a:gd name="T20" fmla="*/ 5898 w 6780"/>
                <a:gd name="T21" fmla="*/ 56 h 1585"/>
                <a:gd name="T22" fmla="*/ 6145 w 6780"/>
                <a:gd name="T23" fmla="*/ 50 h 1585"/>
                <a:gd name="T24" fmla="*/ 6004 w 6780"/>
                <a:gd name="T25" fmla="*/ 1361 h 1585"/>
                <a:gd name="T26" fmla="*/ 6221 w 6780"/>
                <a:gd name="T27" fmla="*/ 1002 h 1585"/>
                <a:gd name="T28" fmla="*/ 6725 w 6780"/>
                <a:gd name="T29" fmla="*/ 1380 h 1585"/>
                <a:gd name="T30" fmla="*/ 6145 w 6780"/>
                <a:gd name="T31" fmla="*/ 50 h 1585"/>
                <a:gd name="T32" fmla="*/ 3104 w 6780"/>
                <a:gd name="T33" fmla="*/ 1019 h 1585"/>
                <a:gd name="T34" fmla="*/ 3310 w 6780"/>
                <a:gd name="T35" fmla="*/ 1108 h 1585"/>
                <a:gd name="T36" fmla="*/ 3201 w 6780"/>
                <a:gd name="T37" fmla="*/ 473 h 1585"/>
                <a:gd name="T38" fmla="*/ 1297 w 6780"/>
                <a:gd name="T39" fmla="*/ 61 h 1585"/>
                <a:gd name="T40" fmla="*/ 1300 w 6780"/>
                <a:gd name="T41" fmla="*/ 1322 h 1585"/>
                <a:gd name="T42" fmla="*/ 905 w 6780"/>
                <a:gd name="T43" fmla="*/ 829 h 1585"/>
                <a:gd name="T44" fmla="*/ 1228 w 6780"/>
                <a:gd name="T45" fmla="*/ 793 h 1585"/>
                <a:gd name="T46" fmla="*/ 908 w 6780"/>
                <a:gd name="T47" fmla="*/ 573 h 1585"/>
                <a:gd name="T48" fmla="*/ 1297 w 6780"/>
                <a:gd name="T49" fmla="*/ 289 h 1585"/>
                <a:gd name="T50" fmla="*/ 4195 w 6780"/>
                <a:gd name="T51" fmla="*/ 109 h 1585"/>
                <a:gd name="T52" fmla="*/ 4373 w 6780"/>
                <a:gd name="T53" fmla="*/ 1344 h 1585"/>
                <a:gd name="T54" fmla="*/ 4403 w 6780"/>
                <a:gd name="T55" fmla="*/ 106 h 1585"/>
                <a:gd name="T56" fmla="*/ 2074 w 6780"/>
                <a:gd name="T57" fmla="*/ 95 h 1585"/>
                <a:gd name="T58" fmla="*/ 1406 w 6780"/>
                <a:gd name="T59" fmla="*/ 392 h 1585"/>
                <a:gd name="T60" fmla="*/ 1395 w 6780"/>
                <a:gd name="T61" fmla="*/ 1033 h 1585"/>
                <a:gd name="T62" fmla="*/ 2093 w 6780"/>
                <a:gd name="T63" fmla="*/ 1372 h 1585"/>
                <a:gd name="T64" fmla="*/ 1698 w 6780"/>
                <a:gd name="T65" fmla="*/ 1069 h 1585"/>
                <a:gd name="T66" fmla="*/ 2091 w 6780"/>
                <a:gd name="T67" fmla="*/ 442 h 1585"/>
                <a:gd name="T68" fmla="*/ 2074 w 6780"/>
                <a:gd name="T69" fmla="*/ 95 h 1585"/>
                <a:gd name="T70" fmla="*/ 212 w 6780"/>
                <a:gd name="T71" fmla="*/ 1369 h 1585"/>
                <a:gd name="T72" fmla="*/ 538 w 6780"/>
                <a:gd name="T73" fmla="*/ 621 h 1585"/>
                <a:gd name="T74" fmla="*/ 618 w 6780"/>
                <a:gd name="T75" fmla="*/ 331 h 1585"/>
                <a:gd name="T76" fmla="*/ 3680 w 6780"/>
                <a:gd name="T77" fmla="*/ 312 h 1585"/>
                <a:gd name="T78" fmla="*/ 3644 w 6780"/>
                <a:gd name="T79" fmla="*/ 348 h 1585"/>
                <a:gd name="T80" fmla="*/ 6275 w 6780"/>
                <a:gd name="T81" fmla="*/ 360 h 1585"/>
                <a:gd name="T82" fmla="*/ 6219 w 6780"/>
                <a:gd name="T83" fmla="*/ 389 h 1585"/>
                <a:gd name="T84" fmla="*/ 4775 w 6780"/>
                <a:gd name="T85" fmla="*/ 1084 h 1585"/>
                <a:gd name="T86" fmla="*/ 4740 w 6780"/>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80"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3" y="53"/>
                  </a:cubicBezTo>
                  <a:lnTo>
                    <a:pt x="4492" y="1387"/>
                  </a:lnTo>
                  <a:cubicBezTo>
                    <a:pt x="4493" y="1404"/>
                    <a:pt x="4513" y="1399"/>
                    <a:pt x="4531" y="1400"/>
                  </a:cubicBezTo>
                  <a:cubicBezTo>
                    <a:pt x="5349" y="1441"/>
                    <a:pt x="5534" y="96"/>
                    <a:pt x="4523" y="25"/>
                  </a:cubicBezTo>
                  <a:close/>
                  <a:moveTo>
                    <a:pt x="5312" y="47"/>
                  </a:moveTo>
                  <a:cubicBezTo>
                    <a:pt x="5296" y="48"/>
                    <a:pt x="5291" y="55"/>
                    <a:pt x="5291" y="64"/>
                  </a:cubicBezTo>
                  <a:lnTo>
                    <a:pt x="5288" y="1277"/>
                  </a:lnTo>
                  <a:cubicBezTo>
                    <a:pt x="5289" y="1302"/>
                    <a:pt x="5300"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10" y="813"/>
                    <a:pt x="5511" y="803"/>
                    <a:pt x="5525" y="802"/>
                  </a:cubicBezTo>
                  <a:lnTo>
                    <a:pt x="5773" y="807"/>
                  </a:lnTo>
                  <a:lnTo>
                    <a:pt x="5817" y="807"/>
                  </a:lnTo>
                  <a:lnTo>
                    <a:pt x="5806" y="573"/>
                  </a:lnTo>
                  <a:lnTo>
                    <a:pt x="5525" y="571"/>
                  </a:lnTo>
                  <a:cubicBezTo>
                    <a:pt x="5515" y="570"/>
                    <a:pt x="5503" y="574"/>
                    <a:pt x="5503" y="551"/>
                  </a:cubicBezTo>
                  <a:lnTo>
                    <a:pt x="5506" y="298"/>
                  </a:lnTo>
                  <a:cubicBezTo>
                    <a:pt x="5504" y="281"/>
                    <a:pt x="5512" y="275"/>
                    <a:pt x="5525" y="275"/>
                  </a:cubicBezTo>
                  <a:lnTo>
                    <a:pt x="5909" y="284"/>
                  </a:lnTo>
                  <a:lnTo>
                    <a:pt x="5898" y="56"/>
                  </a:lnTo>
                  <a:lnTo>
                    <a:pt x="5319" y="47"/>
                  </a:lnTo>
                  <a:cubicBezTo>
                    <a:pt x="5316" y="47"/>
                    <a:pt x="5314" y="47"/>
                    <a:pt x="5312" y="47"/>
                  </a:cubicBezTo>
                  <a:close/>
                  <a:moveTo>
                    <a:pt x="6145" y="50"/>
                  </a:moveTo>
                  <a:cubicBezTo>
                    <a:pt x="6106" y="50"/>
                    <a:pt x="6064" y="53"/>
                    <a:pt x="6021" y="58"/>
                  </a:cubicBezTo>
                  <a:lnTo>
                    <a:pt x="5995" y="72"/>
                  </a:lnTo>
                  <a:lnTo>
                    <a:pt x="6004" y="1361"/>
                  </a:lnTo>
                  <a:lnTo>
                    <a:pt x="6204" y="1358"/>
                  </a:lnTo>
                  <a:cubicBezTo>
                    <a:pt x="6208" y="1358"/>
                    <a:pt x="6218" y="1356"/>
                    <a:pt x="6218" y="1353"/>
                  </a:cubicBezTo>
                  <a:lnTo>
                    <a:pt x="6221" y="1002"/>
                  </a:lnTo>
                  <a:lnTo>
                    <a:pt x="6277" y="1005"/>
                  </a:lnTo>
                  <a:lnTo>
                    <a:pt x="6474" y="1375"/>
                  </a:lnTo>
                  <a:lnTo>
                    <a:pt x="6725" y="1380"/>
                  </a:lnTo>
                  <a:lnTo>
                    <a:pt x="6494" y="963"/>
                  </a:lnTo>
                  <a:cubicBezTo>
                    <a:pt x="6485" y="952"/>
                    <a:pt x="6488" y="944"/>
                    <a:pt x="6493" y="939"/>
                  </a:cubicBezTo>
                  <a:cubicBezTo>
                    <a:pt x="6780" y="648"/>
                    <a:pt x="6732"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7"/>
                    <a:pt x="2753" y="657"/>
                    <a:pt x="2845" y="412"/>
                  </a:cubicBezTo>
                  <a:cubicBezTo>
                    <a:pt x="2904" y="253"/>
                    <a:pt x="3177"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7"/>
                    <a:pt x="1225"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90"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6"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2"/>
                  </a:lnTo>
                  <a:lnTo>
                    <a:pt x="2093" y="392"/>
                  </a:lnTo>
                  <a:lnTo>
                    <a:pt x="2099" y="147"/>
                  </a:lnTo>
                  <a:cubicBezTo>
                    <a:pt x="2100" y="120"/>
                    <a:pt x="2098" y="95"/>
                    <a:pt x="2074" y="95"/>
                  </a:cubicBezTo>
                  <a:close/>
                  <a:moveTo>
                    <a:pt x="0" y="103"/>
                  </a:moveTo>
                  <a:lnTo>
                    <a:pt x="0" y="1361"/>
                  </a:lnTo>
                  <a:cubicBezTo>
                    <a:pt x="72" y="1355"/>
                    <a:pt x="142" y="1362"/>
                    <a:pt x="212" y="1369"/>
                  </a:cubicBezTo>
                  <a:lnTo>
                    <a:pt x="212" y="854"/>
                  </a:lnTo>
                  <a:lnTo>
                    <a:pt x="540" y="852"/>
                  </a:lnTo>
                  <a:lnTo>
                    <a:pt x="538"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1"/>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C9A5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80" name="Group 7179"/>
          <p:cNvGrpSpPr/>
          <p:nvPr/>
        </p:nvGrpSpPr>
        <p:grpSpPr>
          <a:xfrm>
            <a:off x="7604525" y="2095410"/>
            <a:ext cx="1857422" cy="1179576"/>
            <a:chOff x="-802528" y="2883992"/>
            <a:chExt cx="1857422" cy="1179576"/>
          </a:xfrm>
        </p:grpSpPr>
        <p:sp>
          <p:nvSpPr>
            <p:cNvPr id="529" name="Freeform 528"/>
            <p:cNvSpPr>
              <a:spLocks/>
            </p:cNvSpPr>
            <p:nvPr/>
          </p:nvSpPr>
          <p:spPr bwMode="auto">
            <a:xfrm>
              <a:off x="-802528" y="2883992"/>
              <a:ext cx="1857422" cy="1179576"/>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27" name="Slot 1"/>
            <p:cNvSpPr/>
            <p:nvPr/>
          </p:nvSpPr>
          <p:spPr>
            <a:xfrm rot="16200000">
              <a:off x="237340" y="3272052"/>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83707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parkfun</a:t>
            </a:r>
            <a:r>
              <a:rPr lang="en-US" dirty="0" smtClean="0"/>
              <a:t> weather shield</a:t>
            </a:r>
            <a:endParaRPr lang="en-US" dirty="0"/>
          </a:p>
        </p:txBody>
      </p:sp>
      <p:grpSp>
        <p:nvGrpSpPr>
          <p:cNvPr id="888" name="Group 887"/>
          <p:cNvGrpSpPr/>
          <p:nvPr/>
        </p:nvGrpSpPr>
        <p:grpSpPr>
          <a:xfrm>
            <a:off x="2017407" y="2038590"/>
            <a:ext cx="3727821" cy="3331354"/>
            <a:chOff x="371347" y="2916242"/>
            <a:chExt cx="609315" cy="544512"/>
          </a:xfrm>
        </p:grpSpPr>
        <p:sp>
          <p:nvSpPr>
            <p:cNvPr id="88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06" name="Group 905"/>
            <p:cNvGrpSpPr/>
            <p:nvPr/>
          </p:nvGrpSpPr>
          <p:grpSpPr>
            <a:xfrm>
              <a:off x="529320" y="3244464"/>
              <a:ext cx="295520" cy="141082"/>
              <a:chOff x="582613" y="2928938"/>
              <a:chExt cx="2247900" cy="1073150"/>
            </a:xfrm>
            <a:solidFill>
              <a:schemeClr val="bg1"/>
            </a:solidFill>
          </p:grpSpPr>
          <p:sp>
            <p:nvSpPr>
              <p:cNvPr id="907"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8"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910" name="Freeform 8"/>
          <p:cNvSpPr>
            <a:spLocks noEditPoints="1"/>
          </p:cNvSpPr>
          <p:nvPr/>
        </p:nvSpPr>
        <p:spPr bwMode="auto">
          <a:xfrm>
            <a:off x="8622734" y="2100749"/>
            <a:ext cx="2615694" cy="1159169"/>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30174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Today </a:t>
            </a:r>
            <a:r>
              <a:rPr lang="en-US" sz="2400" i="1" dirty="0">
                <a:solidFill>
                  <a:schemeClr val="accent2"/>
                </a:solidFill>
              </a:rPr>
              <a:t>computers—and, therefore, the Internet—are almost wholly dependent on human beings for information. </a:t>
            </a:r>
            <a:r>
              <a:rPr lang="en-US" sz="2400" i="1" dirty="0"/>
              <a:t>Nearly all of the roughly 50 petabytes (a petabyte is 1,024 terabytes) of data available on the Internet were first captured and created by human beings—by typing, pressing a record button, taking a digital picture or scanning a bar </a:t>
            </a:r>
            <a:r>
              <a:rPr lang="en-US" sz="2400" i="1" dirty="0" smtClean="0"/>
              <a:t>code…”</a:t>
            </a:r>
            <a:endParaRPr lang="en-US" sz="2400" i="1" dirty="0"/>
          </a:p>
        </p:txBody>
      </p:sp>
    </p:spTree>
    <p:extLst>
      <p:ext uri="{BB962C8B-B14F-4D97-AF65-F5344CB8AC3E}">
        <p14:creationId xmlns:p14="http://schemas.microsoft.com/office/powerpoint/2010/main" val="93807753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azure icons</a:t>
            </a:r>
            <a:endParaRPr lang="en-US" dirty="0"/>
          </a:p>
        </p:txBody>
      </p:sp>
      <p:sp>
        <p:nvSpPr>
          <p:cNvPr id="55" name="Freeform 12"/>
          <p:cNvSpPr>
            <a:spLocks/>
          </p:cNvSpPr>
          <p:nvPr/>
        </p:nvSpPr>
        <p:spPr bwMode="auto">
          <a:xfrm>
            <a:off x="1165225" y="1957388"/>
            <a:ext cx="606425" cy="452438"/>
          </a:xfrm>
          <a:custGeom>
            <a:avLst/>
            <a:gdLst>
              <a:gd name="T0" fmla="*/ 536 w 594"/>
              <a:gd name="T1" fmla="*/ 330 h 445"/>
              <a:gd name="T2" fmla="*/ 483 w 594"/>
              <a:gd name="T3" fmla="*/ 365 h 445"/>
              <a:gd name="T4" fmla="*/ 148 w 594"/>
              <a:gd name="T5" fmla="*/ 365 h 445"/>
              <a:gd name="T6" fmla="*/ 45 w 594"/>
              <a:gd name="T7" fmla="*/ 262 h 445"/>
              <a:gd name="T8" fmla="*/ 148 w 594"/>
              <a:gd name="T9" fmla="*/ 159 h 445"/>
              <a:gd name="T10" fmla="*/ 196 w 594"/>
              <a:gd name="T11" fmla="*/ 159 h 445"/>
              <a:gd name="T12" fmla="*/ 206 w 594"/>
              <a:gd name="T13" fmla="*/ 125 h 445"/>
              <a:gd name="T14" fmla="*/ 212 w 594"/>
              <a:gd name="T15" fmla="*/ 113 h 445"/>
              <a:gd name="T16" fmla="*/ 331 w 594"/>
              <a:gd name="T17" fmla="*/ 45 h 445"/>
              <a:gd name="T18" fmla="*/ 441 w 594"/>
              <a:gd name="T19" fmla="*/ 101 h 445"/>
              <a:gd name="T20" fmla="*/ 485 w 594"/>
              <a:gd name="T21" fmla="*/ 86 h 445"/>
              <a:gd name="T22" fmla="*/ 331 w 594"/>
              <a:gd name="T23" fmla="*/ 0 h 445"/>
              <a:gd name="T24" fmla="*/ 162 w 594"/>
              <a:gd name="T25" fmla="*/ 114 h 445"/>
              <a:gd name="T26" fmla="*/ 162 w 594"/>
              <a:gd name="T27" fmla="*/ 115 h 445"/>
              <a:gd name="T28" fmla="*/ 162 w 594"/>
              <a:gd name="T29" fmla="*/ 114 h 445"/>
              <a:gd name="T30" fmla="*/ 148 w 594"/>
              <a:gd name="T31" fmla="*/ 114 h 445"/>
              <a:gd name="T32" fmla="*/ 0 w 594"/>
              <a:gd name="T33" fmla="*/ 262 h 445"/>
              <a:gd name="T34" fmla="*/ 148 w 594"/>
              <a:gd name="T35" fmla="*/ 411 h 445"/>
              <a:gd name="T36" fmla="*/ 484 w 594"/>
              <a:gd name="T37" fmla="*/ 411 h 445"/>
              <a:gd name="T38" fmla="*/ 536 w 594"/>
              <a:gd name="T39" fmla="*/ 445 h 445"/>
              <a:gd name="T40" fmla="*/ 594 w 594"/>
              <a:gd name="T41" fmla="*/ 388 h 445"/>
              <a:gd name="T42" fmla="*/ 536 w 594"/>
              <a:gd name="T43" fmla="*/ 33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5">
                <a:moveTo>
                  <a:pt x="536" y="330"/>
                </a:moveTo>
                <a:cubicBezTo>
                  <a:pt x="512" y="330"/>
                  <a:pt x="492" y="344"/>
                  <a:pt x="483" y="365"/>
                </a:cubicBezTo>
                <a:lnTo>
                  <a:pt x="148" y="365"/>
                </a:lnTo>
                <a:cubicBezTo>
                  <a:pt x="91" y="365"/>
                  <a:pt x="45" y="319"/>
                  <a:pt x="45" y="262"/>
                </a:cubicBezTo>
                <a:cubicBezTo>
                  <a:pt x="45" y="205"/>
                  <a:pt x="90" y="159"/>
                  <a:pt x="148" y="159"/>
                </a:cubicBezTo>
                <a:lnTo>
                  <a:pt x="196" y="159"/>
                </a:lnTo>
                <a:cubicBezTo>
                  <a:pt x="198" y="147"/>
                  <a:pt x="201" y="135"/>
                  <a:pt x="206" y="125"/>
                </a:cubicBezTo>
                <a:cubicBezTo>
                  <a:pt x="207" y="121"/>
                  <a:pt x="210" y="117"/>
                  <a:pt x="212" y="113"/>
                </a:cubicBezTo>
                <a:cubicBezTo>
                  <a:pt x="236" y="72"/>
                  <a:pt x="280" y="45"/>
                  <a:pt x="331" y="45"/>
                </a:cubicBezTo>
                <a:cubicBezTo>
                  <a:pt x="375" y="45"/>
                  <a:pt x="415" y="67"/>
                  <a:pt x="441" y="101"/>
                </a:cubicBezTo>
                <a:cubicBezTo>
                  <a:pt x="455" y="94"/>
                  <a:pt x="470" y="89"/>
                  <a:pt x="485" y="86"/>
                </a:cubicBezTo>
                <a:cubicBezTo>
                  <a:pt x="453" y="34"/>
                  <a:pt x="396" y="0"/>
                  <a:pt x="331" y="0"/>
                </a:cubicBezTo>
                <a:cubicBezTo>
                  <a:pt x="254" y="0"/>
                  <a:pt x="188" y="47"/>
                  <a:pt x="162" y="114"/>
                </a:cubicBezTo>
                <a:cubicBezTo>
                  <a:pt x="162" y="114"/>
                  <a:pt x="162" y="115"/>
                  <a:pt x="162" y="115"/>
                </a:cubicBezTo>
                <a:cubicBezTo>
                  <a:pt x="162" y="115"/>
                  <a:pt x="162" y="114"/>
                  <a:pt x="162" y="114"/>
                </a:cubicBezTo>
                <a:lnTo>
                  <a:pt x="148" y="114"/>
                </a:lnTo>
                <a:cubicBezTo>
                  <a:pt x="67" y="114"/>
                  <a:pt x="0" y="180"/>
                  <a:pt x="0" y="262"/>
                </a:cubicBezTo>
                <a:cubicBezTo>
                  <a:pt x="0" y="345"/>
                  <a:pt x="66" y="411"/>
                  <a:pt x="148" y="411"/>
                </a:cubicBezTo>
                <a:lnTo>
                  <a:pt x="484" y="411"/>
                </a:lnTo>
                <a:cubicBezTo>
                  <a:pt x="492" y="431"/>
                  <a:pt x="513" y="445"/>
                  <a:pt x="536" y="445"/>
                </a:cubicBezTo>
                <a:cubicBezTo>
                  <a:pt x="568" y="445"/>
                  <a:pt x="594" y="420"/>
                  <a:pt x="594" y="388"/>
                </a:cubicBezTo>
                <a:cubicBezTo>
                  <a:pt x="594" y="356"/>
                  <a:pt x="567" y="330"/>
                  <a:pt x="536" y="33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p:cNvSpPr>
            <a:spLocks/>
          </p:cNvSpPr>
          <p:nvPr/>
        </p:nvSpPr>
        <p:spPr bwMode="auto">
          <a:xfrm>
            <a:off x="1360488" y="2060575"/>
            <a:ext cx="723900" cy="488950"/>
          </a:xfrm>
          <a:custGeom>
            <a:avLst/>
            <a:gdLst>
              <a:gd name="T0" fmla="*/ 527 w 708"/>
              <a:gd name="T1" fmla="*/ 115 h 479"/>
              <a:gd name="T2" fmla="*/ 344 w 708"/>
              <a:gd name="T3" fmla="*/ 0 h 479"/>
              <a:gd name="T4" fmla="*/ 143 w 708"/>
              <a:gd name="T5" fmla="*/ 160 h 479"/>
              <a:gd name="T6" fmla="*/ 28 w 708"/>
              <a:gd name="T7" fmla="*/ 228 h 479"/>
              <a:gd name="T8" fmla="*/ 272 w 708"/>
              <a:gd name="T9" fmla="*/ 228 h 479"/>
              <a:gd name="T10" fmla="*/ 344 w 708"/>
              <a:gd name="T11" fmla="*/ 193 h 479"/>
              <a:gd name="T12" fmla="*/ 435 w 708"/>
              <a:gd name="T13" fmla="*/ 285 h 479"/>
              <a:gd name="T14" fmla="*/ 344 w 708"/>
              <a:gd name="T15" fmla="*/ 376 h 479"/>
              <a:gd name="T16" fmla="*/ 272 w 708"/>
              <a:gd name="T17" fmla="*/ 341 h 479"/>
              <a:gd name="T18" fmla="*/ 0 w 708"/>
              <a:gd name="T19" fmla="*/ 341 h 479"/>
              <a:gd name="T20" fmla="*/ 158 w 708"/>
              <a:gd name="T21" fmla="*/ 479 h 479"/>
              <a:gd name="T22" fmla="*/ 159 w 708"/>
              <a:gd name="T23" fmla="*/ 479 h 479"/>
              <a:gd name="T24" fmla="*/ 525 w 708"/>
              <a:gd name="T25" fmla="*/ 479 h 479"/>
              <a:gd name="T26" fmla="*/ 526 w 708"/>
              <a:gd name="T27" fmla="*/ 479 h 479"/>
              <a:gd name="T28" fmla="*/ 708 w 708"/>
              <a:gd name="T29" fmla="*/ 296 h 479"/>
              <a:gd name="T30" fmla="*/ 527 w 708"/>
              <a:gd name="T31" fmla="*/ 11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8" h="479">
                <a:moveTo>
                  <a:pt x="527" y="115"/>
                </a:moveTo>
                <a:cubicBezTo>
                  <a:pt x="494" y="47"/>
                  <a:pt x="424" y="0"/>
                  <a:pt x="344" y="0"/>
                </a:cubicBezTo>
                <a:cubicBezTo>
                  <a:pt x="245" y="0"/>
                  <a:pt x="164" y="69"/>
                  <a:pt x="143" y="160"/>
                </a:cubicBezTo>
                <a:cubicBezTo>
                  <a:pt x="95" y="165"/>
                  <a:pt x="55" y="190"/>
                  <a:pt x="28" y="228"/>
                </a:cubicBezTo>
                <a:lnTo>
                  <a:pt x="272" y="228"/>
                </a:lnTo>
                <a:cubicBezTo>
                  <a:pt x="289" y="207"/>
                  <a:pt x="315" y="193"/>
                  <a:pt x="344" y="193"/>
                </a:cubicBezTo>
                <a:cubicBezTo>
                  <a:pt x="394" y="193"/>
                  <a:pt x="435" y="234"/>
                  <a:pt x="435" y="285"/>
                </a:cubicBezTo>
                <a:cubicBezTo>
                  <a:pt x="435" y="335"/>
                  <a:pt x="394" y="376"/>
                  <a:pt x="344" y="376"/>
                </a:cubicBezTo>
                <a:cubicBezTo>
                  <a:pt x="315" y="376"/>
                  <a:pt x="289" y="362"/>
                  <a:pt x="272" y="341"/>
                </a:cubicBezTo>
                <a:lnTo>
                  <a:pt x="0" y="341"/>
                </a:lnTo>
                <a:cubicBezTo>
                  <a:pt x="11" y="419"/>
                  <a:pt x="78" y="479"/>
                  <a:pt x="158" y="479"/>
                </a:cubicBezTo>
                <a:cubicBezTo>
                  <a:pt x="158" y="479"/>
                  <a:pt x="159" y="479"/>
                  <a:pt x="159" y="479"/>
                </a:cubicBezTo>
                <a:lnTo>
                  <a:pt x="525" y="479"/>
                </a:lnTo>
                <a:cubicBezTo>
                  <a:pt x="525" y="479"/>
                  <a:pt x="526" y="479"/>
                  <a:pt x="526" y="479"/>
                </a:cubicBezTo>
                <a:cubicBezTo>
                  <a:pt x="626" y="479"/>
                  <a:pt x="708" y="397"/>
                  <a:pt x="708" y="296"/>
                </a:cubicBezTo>
                <a:cubicBezTo>
                  <a:pt x="708" y="197"/>
                  <a:pt x="627" y="116"/>
                  <a:pt x="527" y="11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p:cNvSpPr>
            <a:spLocks noChangeArrowheads="1"/>
          </p:cNvSpPr>
          <p:nvPr/>
        </p:nvSpPr>
        <p:spPr bwMode="auto">
          <a:xfrm>
            <a:off x="944563" y="2586038"/>
            <a:ext cx="1342996" cy="2308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Microsoft Azure</a:t>
            </a:r>
            <a:endParaRPr kumimoji="0" lang="en-US" altLang="en-US" sz="1800" b="0" i="0" u="none" strike="noStrike" cap="none" normalizeH="0" baseline="0" smtClean="0">
              <a:ln>
                <a:noFill/>
              </a:ln>
              <a:solidFill>
                <a:srgbClr val="0078D7"/>
              </a:solidFill>
              <a:effectLst/>
            </a:endParaRPr>
          </a:p>
        </p:txBody>
      </p:sp>
      <p:sp>
        <p:nvSpPr>
          <p:cNvPr id="58" name="Freeform 15"/>
          <p:cNvSpPr>
            <a:spLocks/>
          </p:cNvSpPr>
          <p:nvPr/>
        </p:nvSpPr>
        <p:spPr bwMode="auto">
          <a:xfrm>
            <a:off x="5233988" y="2119313"/>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p:cNvSpPr>
            <a:spLocks/>
          </p:cNvSpPr>
          <p:nvPr/>
        </p:nvSpPr>
        <p:spPr bwMode="auto">
          <a:xfrm>
            <a:off x="5394325" y="2189163"/>
            <a:ext cx="114300" cy="88900"/>
          </a:xfrm>
          <a:custGeom>
            <a:avLst/>
            <a:gdLst>
              <a:gd name="T0" fmla="*/ 109 w 111"/>
              <a:gd name="T1" fmla="*/ 76 h 87"/>
              <a:gd name="T2" fmla="*/ 98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 name="T18" fmla="*/ 109 w 111"/>
              <a:gd name="T19"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87">
                <a:moveTo>
                  <a:pt x="109" y="76"/>
                </a:moveTo>
                <a:cubicBezTo>
                  <a:pt x="109" y="82"/>
                  <a:pt x="104" y="87"/>
                  <a:pt x="98"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lnTo>
                  <a:pt x="109"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p:cNvSpPr>
            <a:spLocks/>
          </p:cNvSpPr>
          <p:nvPr/>
        </p:nvSpPr>
        <p:spPr bwMode="auto">
          <a:xfrm>
            <a:off x="5233988" y="2257425"/>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p:cNvSpPr>
            <a:spLocks/>
          </p:cNvSpPr>
          <p:nvPr/>
        </p:nvSpPr>
        <p:spPr bwMode="auto">
          <a:xfrm>
            <a:off x="5072063" y="2047875"/>
            <a:ext cx="114300" cy="92075"/>
          </a:xfrm>
          <a:custGeom>
            <a:avLst/>
            <a:gdLst>
              <a:gd name="T0" fmla="*/ 112 w 112"/>
              <a:gd name="T1" fmla="*/ 80 h 91"/>
              <a:gd name="T2" fmla="*/ 100 w 112"/>
              <a:gd name="T3" fmla="*/ 91 h 91"/>
              <a:gd name="T4" fmla="*/ 11 w 112"/>
              <a:gd name="T5" fmla="*/ 91 h 91"/>
              <a:gd name="T6" fmla="*/ 0 w 112"/>
              <a:gd name="T7" fmla="*/ 80 h 91"/>
              <a:gd name="T8" fmla="*/ 0 w 112"/>
              <a:gd name="T9" fmla="*/ 12 h 91"/>
              <a:gd name="T10" fmla="*/ 11 w 112"/>
              <a:gd name="T11" fmla="*/ 0 h 91"/>
              <a:gd name="T12" fmla="*/ 99 w 112"/>
              <a:gd name="T13" fmla="*/ 0 h 91"/>
              <a:gd name="T14" fmla="*/ 112 w 112"/>
              <a:gd name="T15" fmla="*/ 12 h 91"/>
              <a:gd name="T16" fmla="*/ 112 w 112"/>
              <a:gd name="T17" fmla="*/ 8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80"/>
                </a:moveTo>
                <a:cubicBezTo>
                  <a:pt x="112" y="86"/>
                  <a:pt x="107" y="91"/>
                  <a:pt x="100" y="91"/>
                </a:cubicBezTo>
                <a:lnTo>
                  <a:pt x="11" y="91"/>
                </a:lnTo>
                <a:cubicBezTo>
                  <a:pt x="5" y="91"/>
                  <a:pt x="0" y="86"/>
                  <a:pt x="0" y="80"/>
                </a:cubicBezTo>
                <a:lnTo>
                  <a:pt x="0" y="12"/>
                </a:lnTo>
                <a:cubicBezTo>
                  <a:pt x="0" y="5"/>
                  <a:pt x="5" y="0"/>
                  <a:pt x="11" y="0"/>
                </a:cubicBezTo>
                <a:lnTo>
                  <a:pt x="99" y="0"/>
                </a:lnTo>
                <a:cubicBezTo>
                  <a:pt x="107" y="0"/>
                  <a:pt x="112" y="5"/>
                  <a:pt x="112" y="12"/>
                </a:cubicBezTo>
                <a:lnTo>
                  <a:pt x="112" y="80"/>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p:cNvSpPr>
            <a:spLocks/>
          </p:cNvSpPr>
          <p:nvPr/>
        </p:nvSpPr>
        <p:spPr bwMode="auto">
          <a:xfrm>
            <a:off x="4933950" y="1889125"/>
            <a:ext cx="665163" cy="160338"/>
          </a:xfrm>
          <a:custGeom>
            <a:avLst/>
            <a:gdLst>
              <a:gd name="T0" fmla="*/ 639 w 651"/>
              <a:gd name="T1" fmla="*/ 0 h 157"/>
              <a:gd name="T2" fmla="*/ 11 w 651"/>
              <a:gd name="T3" fmla="*/ 0 h 157"/>
              <a:gd name="T4" fmla="*/ 0 w 651"/>
              <a:gd name="T5" fmla="*/ 12 h 157"/>
              <a:gd name="T6" fmla="*/ 0 w 651"/>
              <a:gd name="T7" fmla="*/ 146 h 157"/>
              <a:gd name="T8" fmla="*/ 11 w 651"/>
              <a:gd name="T9" fmla="*/ 157 h 157"/>
              <a:gd name="T10" fmla="*/ 79 w 651"/>
              <a:gd name="T11" fmla="*/ 157 h 157"/>
              <a:gd name="T12" fmla="*/ 90 w 651"/>
              <a:gd name="T13" fmla="*/ 146 h 157"/>
              <a:gd name="T14" fmla="*/ 90 w 651"/>
              <a:gd name="T15" fmla="*/ 89 h 157"/>
              <a:gd name="T16" fmla="*/ 560 w 651"/>
              <a:gd name="T17" fmla="*/ 89 h 157"/>
              <a:gd name="T18" fmla="*/ 560 w 651"/>
              <a:gd name="T19" fmla="*/ 146 h 157"/>
              <a:gd name="T20" fmla="*/ 573 w 651"/>
              <a:gd name="T21" fmla="*/ 157 h 157"/>
              <a:gd name="T22" fmla="*/ 638 w 651"/>
              <a:gd name="T23" fmla="*/ 157 h 157"/>
              <a:gd name="T24" fmla="*/ 649 w 651"/>
              <a:gd name="T25" fmla="*/ 146 h 157"/>
              <a:gd name="T26" fmla="*/ 649 w 651"/>
              <a:gd name="T27" fmla="*/ 12 h 157"/>
              <a:gd name="T28" fmla="*/ 639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39" y="0"/>
                </a:moveTo>
                <a:lnTo>
                  <a:pt x="11" y="0"/>
                </a:lnTo>
                <a:cubicBezTo>
                  <a:pt x="5" y="0"/>
                  <a:pt x="0" y="5"/>
                  <a:pt x="0" y="12"/>
                </a:cubicBezTo>
                <a:lnTo>
                  <a:pt x="0" y="146"/>
                </a:lnTo>
                <a:cubicBezTo>
                  <a:pt x="0" y="152"/>
                  <a:pt x="5" y="157"/>
                  <a:pt x="11" y="157"/>
                </a:cubicBezTo>
                <a:lnTo>
                  <a:pt x="79" y="157"/>
                </a:lnTo>
                <a:cubicBezTo>
                  <a:pt x="85" y="157"/>
                  <a:pt x="90" y="152"/>
                  <a:pt x="90" y="146"/>
                </a:cubicBezTo>
                <a:lnTo>
                  <a:pt x="90" y="89"/>
                </a:lnTo>
                <a:lnTo>
                  <a:pt x="560" y="89"/>
                </a:lnTo>
                <a:lnTo>
                  <a:pt x="560" y="146"/>
                </a:lnTo>
                <a:cubicBezTo>
                  <a:pt x="560" y="152"/>
                  <a:pt x="565" y="157"/>
                  <a:pt x="573" y="157"/>
                </a:cubicBezTo>
                <a:lnTo>
                  <a:pt x="638" y="157"/>
                </a:lnTo>
                <a:cubicBezTo>
                  <a:pt x="644" y="157"/>
                  <a:pt x="649" y="152"/>
                  <a:pt x="649" y="146"/>
                </a:cubicBezTo>
                <a:lnTo>
                  <a:pt x="649" y="12"/>
                </a:lnTo>
                <a:cubicBezTo>
                  <a:pt x="651" y="5"/>
                  <a:pt x="646" y="0"/>
                  <a:pt x="639"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p:cNvSpPr>
            <a:spLocks/>
          </p:cNvSpPr>
          <p:nvPr/>
        </p:nvSpPr>
        <p:spPr bwMode="auto">
          <a:xfrm>
            <a:off x="4937125" y="2414588"/>
            <a:ext cx="663575" cy="158750"/>
          </a:xfrm>
          <a:custGeom>
            <a:avLst/>
            <a:gdLst>
              <a:gd name="T0" fmla="*/ 636 w 649"/>
              <a:gd name="T1" fmla="*/ 1 h 156"/>
              <a:gd name="T2" fmla="*/ 572 w 649"/>
              <a:gd name="T3" fmla="*/ 1 h 156"/>
              <a:gd name="T4" fmla="*/ 560 w 649"/>
              <a:gd name="T5" fmla="*/ 13 h 156"/>
              <a:gd name="T6" fmla="*/ 560 w 649"/>
              <a:gd name="T7" fmla="*/ 67 h 156"/>
              <a:gd name="T8" fmla="*/ 89 w 649"/>
              <a:gd name="T9" fmla="*/ 67 h 156"/>
              <a:gd name="T10" fmla="*/ 89 w 649"/>
              <a:gd name="T11" fmla="*/ 11 h 156"/>
              <a:gd name="T12" fmla="*/ 76 w 649"/>
              <a:gd name="T13" fmla="*/ 0 h 156"/>
              <a:gd name="T14" fmla="*/ 11 w 649"/>
              <a:gd name="T15" fmla="*/ 0 h 156"/>
              <a:gd name="T16" fmla="*/ 0 w 649"/>
              <a:gd name="T17" fmla="*/ 13 h 156"/>
              <a:gd name="T18" fmla="*/ 0 w 649"/>
              <a:gd name="T19" fmla="*/ 145 h 156"/>
              <a:gd name="T20" fmla="*/ 11 w 649"/>
              <a:gd name="T21" fmla="*/ 156 h 156"/>
              <a:gd name="T22" fmla="*/ 638 w 649"/>
              <a:gd name="T23" fmla="*/ 156 h 156"/>
              <a:gd name="T24" fmla="*/ 649 w 649"/>
              <a:gd name="T25" fmla="*/ 145 h 156"/>
              <a:gd name="T26" fmla="*/ 649 w 649"/>
              <a:gd name="T27" fmla="*/ 13 h 156"/>
              <a:gd name="T28" fmla="*/ 636 w 649"/>
              <a:gd name="T29" fmla="*/ 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6">
                <a:moveTo>
                  <a:pt x="636" y="1"/>
                </a:moveTo>
                <a:lnTo>
                  <a:pt x="572" y="1"/>
                </a:lnTo>
                <a:cubicBezTo>
                  <a:pt x="565" y="1"/>
                  <a:pt x="560" y="6"/>
                  <a:pt x="560" y="13"/>
                </a:cubicBezTo>
                <a:lnTo>
                  <a:pt x="560" y="67"/>
                </a:lnTo>
                <a:lnTo>
                  <a:pt x="89" y="67"/>
                </a:lnTo>
                <a:lnTo>
                  <a:pt x="89" y="11"/>
                </a:lnTo>
                <a:cubicBezTo>
                  <a:pt x="89" y="5"/>
                  <a:pt x="84" y="0"/>
                  <a:pt x="76" y="0"/>
                </a:cubicBezTo>
                <a:lnTo>
                  <a:pt x="11" y="0"/>
                </a:lnTo>
                <a:cubicBezTo>
                  <a:pt x="5" y="0"/>
                  <a:pt x="0" y="5"/>
                  <a:pt x="0" y="13"/>
                </a:cubicBezTo>
                <a:lnTo>
                  <a:pt x="0" y="145"/>
                </a:lnTo>
                <a:cubicBezTo>
                  <a:pt x="0" y="151"/>
                  <a:pt x="5" y="156"/>
                  <a:pt x="11" y="156"/>
                </a:cubicBezTo>
                <a:lnTo>
                  <a:pt x="638" y="156"/>
                </a:lnTo>
                <a:cubicBezTo>
                  <a:pt x="644" y="156"/>
                  <a:pt x="649" y="151"/>
                  <a:pt x="649" y="145"/>
                </a:cubicBezTo>
                <a:lnTo>
                  <a:pt x="649" y="13"/>
                </a:lnTo>
                <a:cubicBezTo>
                  <a:pt x="648" y="6"/>
                  <a:pt x="643" y="1"/>
                  <a:pt x="636" y="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1"/>
          <p:cNvSpPr>
            <a:spLocks/>
          </p:cNvSpPr>
          <p:nvPr/>
        </p:nvSpPr>
        <p:spPr bwMode="auto">
          <a:xfrm>
            <a:off x="5073650" y="2187575"/>
            <a:ext cx="112713" cy="88900"/>
          </a:xfrm>
          <a:custGeom>
            <a:avLst/>
            <a:gdLst>
              <a:gd name="T0" fmla="*/ 111 w 111"/>
              <a:gd name="T1" fmla="*/ 76 h 88"/>
              <a:gd name="T2" fmla="*/ 99 w 111"/>
              <a:gd name="T3" fmla="*/ 88 h 88"/>
              <a:gd name="T4" fmla="*/ 12 w 111"/>
              <a:gd name="T5" fmla="*/ 88 h 88"/>
              <a:gd name="T6" fmla="*/ 0 w 111"/>
              <a:gd name="T7" fmla="*/ 76 h 88"/>
              <a:gd name="T8" fmla="*/ 0 w 111"/>
              <a:gd name="T9" fmla="*/ 12 h 88"/>
              <a:gd name="T10" fmla="*/ 12 w 111"/>
              <a:gd name="T11" fmla="*/ 0 h 88"/>
              <a:gd name="T12" fmla="*/ 99 w 111"/>
              <a:gd name="T13" fmla="*/ 0 h 88"/>
              <a:gd name="T14" fmla="*/ 111 w 111"/>
              <a:gd name="T15" fmla="*/ 12 h 88"/>
              <a:gd name="T16" fmla="*/ 111 w 111"/>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8">
                <a:moveTo>
                  <a:pt x="111" y="76"/>
                </a:moveTo>
                <a:cubicBezTo>
                  <a:pt x="111" y="83"/>
                  <a:pt x="106" y="88"/>
                  <a:pt x="99" y="88"/>
                </a:cubicBezTo>
                <a:lnTo>
                  <a:pt x="12" y="88"/>
                </a:lnTo>
                <a:cubicBezTo>
                  <a:pt x="5" y="88"/>
                  <a:pt x="0" y="83"/>
                  <a:pt x="0" y="76"/>
                </a:cubicBezTo>
                <a:lnTo>
                  <a:pt x="0" y="12"/>
                </a:lnTo>
                <a:cubicBezTo>
                  <a:pt x="0" y="5"/>
                  <a:pt x="5" y="0"/>
                  <a:pt x="12" y="0"/>
                </a:cubicBezTo>
                <a:lnTo>
                  <a:pt x="99" y="0"/>
                </a:lnTo>
                <a:cubicBezTo>
                  <a:pt x="106" y="0"/>
                  <a:pt x="111" y="5"/>
                  <a:pt x="111" y="12"/>
                </a:cubicBezTo>
                <a:lnTo>
                  <a:pt x="111"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2"/>
          <p:cNvSpPr>
            <a:spLocks/>
          </p:cNvSpPr>
          <p:nvPr/>
        </p:nvSpPr>
        <p:spPr bwMode="auto">
          <a:xfrm>
            <a:off x="5072063" y="2324100"/>
            <a:ext cx="112713" cy="90488"/>
          </a:xfrm>
          <a:custGeom>
            <a:avLst/>
            <a:gdLst>
              <a:gd name="T0" fmla="*/ 110 w 110"/>
              <a:gd name="T1" fmla="*/ 76 h 88"/>
              <a:gd name="T2" fmla="*/ 99 w 110"/>
              <a:gd name="T3" fmla="*/ 88 h 88"/>
              <a:gd name="T4" fmla="*/ 11 w 110"/>
              <a:gd name="T5" fmla="*/ 88 h 88"/>
              <a:gd name="T6" fmla="*/ 0 w 110"/>
              <a:gd name="T7" fmla="*/ 76 h 88"/>
              <a:gd name="T8" fmla="*/ 0 w 110"/>
              <a:gd name="T9" fmla="*/ 12 h 88"/>
              <a:gd name="T10" fmla="*/ 11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5" y="88"/>
                  <a:pt x="99" y="88"/>
                </a:cubicBezTo>
                <a:lnTo>
                  <a:pt x="11" y="88"/>
                </a:lnTo>
                <a:cubicBezTo>
                  <a:pt x="5" y="88"/>
                  <a:pt x="0" y="83"/>
                  <a:pt x="0" y="76"/>
                </a:cubicBezTo>
                <a:lnTo>
                  <a:pt x="0" y="12"/>
                </a:lnTo>
                <a:cubicBezTo>
                  <a:pt x="0" y="5"/>
                  <a:pt x="5" y="0"/>
                  <a:pt x="11" y="0"/>
                </a:cubicBezTo>
                <a:lnTo>
                  <a:pt x="99" y="0"/>
                </a:lnTo>
                <a:cubicBezTo>
                  <a:pt x="105"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23"/>
          <p:cNvSpPr>
            <a:spLocks noChangeArrowheads="1"/>
          </p:cNvSpPr>
          <p:nvPr/>
        </p:nvSpPr>
        <p:spPr bwMode="auto">
          <a:xfrm>
            <a:off x="4786313" y="2582863"/>
            <a:ext cx="10636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Event Hub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7" name="Freeform 24"/>
          <p:cNvSpPr>
            <a:spLocks/>
          </p:cNvSpPr>
          <p:nvPr/>
        </p:nvSpPr>
        <p:spPr bwMode="auto">
          <a:xfrm>
            <a:off x="6483350" y="1892300"/>
            <a:ext cx="623888" cy="681038"/>
          </a:xfrm>
          <a:custGeom>
            <a:avLst/>
            <a:gdLst>
              <a:gd name="T0" fmla="*/ 493 w 610"/>
              <a:gd name="T1" fmla="*/ 455 h 669"/>
              <a:gd name="T2" fmla="*/ 516 w 610"/>
              <a:gd name="T3" fmla="*/ 402 h 669"/>
              <a:gd name="T4" fmla="*/ 610 w 610"/>
              <a:gd name="T5" fmla="*/ 369 h 669"/>
              <a:gd name="T6" fmla="*/ 610 w 610"/>
              <a:gd name="T7" fmla="*/ 294 h 669"/>
              <a:gd name="T8" fmla="*/ 600 w 610"/>
              <a:gd name="T9" fmla="*/ 290 h 669"/>
              <a:gd name="T10" fmla="*/ 518 w 610"/>
              <a:gd name="T11" fmla="*/ 262 h 669"/>
              <a:gd name="T12" fmla="*/ 495 w 610"/>
              <a:gd name="T13" fmla="*/ 209 h 669"/>
              <a:gd name="T14" fmla="*/ 537 w 610"/>
              <a:gd name="T15" fmla="*/ 120 h 669"/>
              <a:gd name="T16" fmla="*/ 485 w 610"/>
              <a:gd name="T17" fmla="*/ 68 h 669"/>
              <a:gd name="T18" fmla="*/ 473 w 610"/>
              <a:gd name="T19" fmla="*/ 74 h 669"/>
              <a:gd name="T20" fmla="*/ 396 w 610"/>
              <a:gd name="T21" fmla="*/ 114 h 669"/>
              <a:gd name="T22" fmla="*/ 343 w 610"/>
              <a:gd name="T23" fmla="*/ 91 h 669"/>
              <a:gd name="T24" fmla="*/ 308 w 610"/>
              <a:gd name="T25" fmla="*/ 0 h 669"/>
              <a:gd name="T26" fmla="*/ 231 w 610"/>
              <a:gd name="T27" fmla="*/ 0 h 669"/>
              <a:gd name="T28" fmla="*/ 228 w 610"/>
              <a:gd name="T29" fmla="*/ 10 h 669"/>
              <a:gd name="T30" fmla="*/ 196 w 610"/>
              <a:gd name="T31" fmla="*/ 89 h 669"/>
              <a:gd name="T32" fmla="*/ 143 w 610"/>
              <a:gd name="T33" fmla="*/ 112 h 669"/>
              <a:gd name="T34" fmla="*/ 53 w 610"/>
              <a:gd name="T35" fmla="*/ 73 h 669"/>
              <a:gd name="T36" fmla="*/ 0 w 610"/>
              <a:gd name="T37" fmla="*/ 125 h 669"/>
              <a:gd name="T38" fmla="*/ 5 w 610"/>
              <a:gd name="T39" fmla="*/ 135 h 669"/>
              <a:gd name="T40" fmla="*/ 30 w 610"/>
              <a:gd name="T41" fmla="*/ 181 h 669"/>
              <a:gd name="T42" fmla="*/ 168 w 610"/>
              <a:gd name="T43" fmla="*/ 147 h 669"/>
              <a:gd name="T44" fmla="*/ 346 w 610"/>
              <a:gd name="T45" fmla="*/ 219 h 669"/>
              <a:gd name="T46" fmla="*/ 379 w 610"/>
              <a:gd name="T47" fmla="*/ 247 h 669"/>
              <a:gd name="T48" fmla="*/ 392 w 610"/>
              <a:gd name="T49" fmla="*/ 267 h 669"/>
              <a:gd name="T50" fmla="*/ 358 w 610"/>
              <a:gd name="T51" fmla="*/ 440 h 669"/>
              <a:gd name="T52" fmla="*/ 219 w 610"/>
              <a:gd name="T53" fmla="*/ 460 h 669"/>
              <a:gd name="T54" fmla="*/ 209 w 610"/>
              <a:gd name="T55" fmla="*/ 455 h 669"/>
              <a:gd name="T56" fmla="*/ 180 w 610"/>
              <a:gd name="T57" fmla="*/ 434 h 669"/>
              <a:gd name="T58" fmla="*/ 170 w 610"/>
              <a:gd name="T59" fmla="*/ 430 h 669"/>
              <a:gd name="T60" fmla="*/ 140 w 610"/>
              <a:gd name="T61" fmla="*/ 444 h 669"/>
              <a:gd name="T62" fmla="*/ 137 w 610"/>
              <a:gd name="T63" fmla="*/ 447 h 669"/>
              <a:gd name="T64" fmla="*/ 26 w 610"/>
              <a:gd name="T65" fmla="*/ 518 h 669"/>
              <a:gd name="T66" fmla="*/ 7 w 610"/>
              <a:gd name="T67" fmla="*/ 547 h 669"/>
              <a:gd name="T68" fmla="*/ 61 w 610"/>
              <a:gd name="T69" fmla="*/ 602 h 669"/>
              <a:gd name="T70" fmla="*/ 71 w 610"/>
              <a:gd name="T71" fmla="*/ 597 h 669"/>
              <a:gd name="T72" fmla="*/ 148 w 610"/>
              <a:gd name="T73" fmla="*/ 557 h 669"/>
              <a:gd name="T74" fmla="*/ 201 w 610"/>
              <a:gd name="T75" fmla="*/ 579 h 669"/>
              <a:gd name="T76" fmla="*/ 231 w 610"/>
              <a:gd name="T77" fmla="*/ 669 h 669"/>
              <a:gd name="T78" fmla="*/ 308 w 610"/>
              <a:gd name="T79" fmla="*/ 669 h 669"/>
              <a:gd name="T80" fmla="*/ 312 w 610"/>
              <a:gd name="T81" fmla="*/ 660 h 669"/>
              <a:gd name="T82" fmla="*/ 340 w 610"/>
              <a:gd name="T83" fmla="*/ 579 h 669"/>
              <a:gd name="T84" fmla="*/ 392 w 610"/>
              <a:gd name="T85" fmla="*/ 556 h 669"/>
              <a:gd name="T86" fmla="*/ 483 w 610"/>
              <a:gd name="T87" fmla="*/ 595 h 669"/>
              <a:gd name="T88" fmla="*/ 536 w 610"/>
              <a:gd name="T89" fmla="*/ 542 h 669"/>
              <a:gd name="T90" fmla="*/ 531 w 610"/>
              <a:gd name="T91" fmla="*/ 533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4"/>
                </a:lnTo>
                <a:lnTo>
                  <a:pt x="600" y="290"/>
                </a:lnTo>
                <a:lnTo>
                  <a:pt x="518" y="262"/>
                </a:lnTo>
                <a:lnTo>
                  <a:pt x="495" y="209"/>
                </a:lnTo>
                <a:lnTo>
                  <a:pt x="537" y="120"/>
                </a:lnTo>
                <a:lnTo>
                  <a:pt x="485" y="68"/>
                </a:lnTo>
                <a:lnTo>
                  <a:pt x="473" y="74"/>
                </a:lnTo>
                <a:lnTo>
                  <a:pt x="396" y="114"/>
                </a:lnTo>
                <a:lnTo>
                  <a:pt x="343" y="91"/>
                </a:lnTo>
                <a:lnTo>
                  <a:pt x="308" y="0"/>
                </a:lnTo>
                <a:lnTo>
                  <a:pt x="231" y="0"/>
                </a:lnTo>
                <a:lnTo>
                  <a:pt x="228" y="10"/>
                </a:lnTo>
                <a:lnTo>
                  <a:pt x="196" y="89"/>
                </a:lnTo>
                <a:lnTo>
                  <a:pt x="143" y="112"/>
                </a:lnTo>
                <a:lnTo>
                  <a:pt x="53" y="73"/>
                </a:lnTo>
                <a:lnTo>
                  <a:pt x="0" y="125"/>
                </a:lnTo>
                <a:lnTo>
                  <a:pt x="5" y="135"/>
                </a:lnTo>
                <a:lnTo>
                  <a:pt x="30" y="181"/>
                </a:lnTo>
                <a:cubicBezTo>
                  <a:pt x="73" y="157"/>
                  <a:pt x="119" y="147"/>
                  <a:pt x="168" y="147"/>
                </a:cubicBezTo>
                <a:cubicBezTo>
                  <a:pt x="236" y="150"/>
                  <a:pt x="298" y="175"/>
                  <a:pt x="346" y="219"/>
                </a:cubicBezTo>
                <a:cubicBezTo>
                  <a:pt x="356" y="228"/>
                  <a:pt x="369" y="234"/>
                  <a:pt x="379" y="247"/>
                </a:cubicBezTo>
                <a:cubicBezTo>
                  <a:pt x="384" y="252"/>
                  <a:pt x="389" y="261"/>
                  <a:pt x="392" y="267"/>
                </a:cubicBezTo>
                <a:cubicBezTo>
                  <a:pt x="425" y="325"/>
                  <a:pt x="412" y="397"/>
                  <a:pt x="358" y="440"/>
                </a:cubicBezTo>
                <a:cubicBezTo>
                  <a:pt x="318" y="473"/>
                  <a:pt x="262" y="478"/>
                  <a:pt x="219" y="460"/>
                </a:cubicBezTo>
                <a:cubicBezTo>
                  <a:pt x="214" y="457"/>
                  <a:pt x="211" y="457"/>
                  <a:pt x="209" y="455"/>
                </a:cubicBezTo>
                <a:cubicBezTo>
                  <a:pt x="199" y="450"/>
                  <a:pt x="188" y="442"/>
                  <a:pt x="180" y="434"/>
                </a:cubicBezTo>
                <a:cubicBezTo>
                  <a:pt x="176" y="434"/>
                  <a:pt x="175" y="430"/>
                  <a:pt x="170" y="430"/>
                </a:cubicBezTo>
                <a:cubicBezTo>
                  <a:pt x="160" y="430"/>
                  <a:pt x="147" y="435"/>
                  <a:pt x="140" y="444"/>
                </a:cubicBezTo>
                <a:lnTo>
                  <a:pt x="137" y="447"/>
                </a:lnTo>
                <a:cubicBezTo>
                  <a:pt x="104" y="480"/>
                  <a:pt x="66" y="505"/>
                  <a:pt x="26" y="518"/>
                </a:cubicBezTo>
                <a:lnTo>
                  <a:pt x="7" y="547"/>
                </a:lnTo>
                <a:lnTo>
                  <a:pt x="61" y="602"/>
                </a:lnTo>
                <a:lnTo>
                  <a:pt x="71" y="597"/>
                </a:lnTo>
                <a:lnTo>
                  <a:pt x="148" y="557"/>
                </a:lnTo>
                <a:lnTo>
                  <a:pt x="201" y="579"/>
                </a:lnTo>
                <a:lnTo>
                  <a:pt x="231" y="669"/>
                </a:lnTo>
                <a:lnTo>
                  <a:pt x="308" y="669"/>
                </a:lnTo>
                <a:lnTo>
                  <a:pt x="312" y="660"/>
                </a:lnTo>
                <a:lnTo>
                  <a:pt x="340" y="579"/>
                </a:lnTo>
                <a:lnTo>
                  <a:pt x="392" y="556"/>
                </a:lnTo>
                <a:lnTo>
                  <a:pt x="483" y="595"/>
                </a:lnTo>
                <a:lnTo>
                  <a:pt x="536" y="542"/>
                </a:lnTo>
                <a:lnTo>
                  <a:pt x="531" y="533"/>
                </a:lnTo>
                <a:lnTo>
                  <a:pt x="493" y="455"/>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5"/>
          <p:cNvSpPr>
            <a:spLocks/>
          </p:cNvSpPr>
          <p:nvPr/>
        </p:nvSpPr>
        <p:spPr bwMode="auto">
          <a:xfrm>
            <a:off x="6267450" y="2139950"/>
            <a:ext cx="512763" cy="184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1 w 501"/>
              <a:gd name="T15" fmla="*/ 106 h 180"/>
              <a:gd name="T16" fmla="*/ 496 w 501"/>
              <a:gd name="T17" fmla="*/ 106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4"/>
                  <a:pt x="10" y="64"/>
                  <a:pt x="5" y="73"/>
                </a:cubicBezTo>
                <a:cubicBezTo>
                  <a:pt x="2" y="76"/>
                  <a:pt x="0" y="81"/>
                  <a:pt x="0" y="86"/>
                </a:cubicBezTo>
                <a:cubicBezTo>
                  <a:pt x="0" y="91"/>
                  <a:pt x="3" y="96"/>
                  <a:pt x="5" y="99"/>
                </a:cubicBezTo>
                <a:cubicBezTo>
                  <a:pt x="76" y="176"/>
                  <a:pt x="191" y="180"/>
                  <a:pt x="264" y="104"/>
                </a:cubicBezTo>
                <a:lnTo>
                  <a:pt x="264" y="101"/>
                </a:lnTo>
                <a:cubicBezTo>
                  <a:pt x="323" y="41"/>
                  <a:pt x="415" y="41"/>
                  <a:pt x="471" y="106"/>
                </a:cubicBezTo>
                <a:cubicBezTo>
                  <a:pt x="480" y="114"/>
                  <a:pt x="491" y="114"/>
                  <a:pt x="496" y="106"/>
                </a:cubicBezTo>
                <a:cubicBezTo>
                  <a:pt x="500" y="102"/>
                  <a:pt x="501" y="97"/>
                  <a:pt x="501" y="92"/>
                </a:cubicBezTo>
                <a:cubicBezTo>
                  <a:pt x="501" y="87"/>
                  <a:pt x="498" y="83"/>
                  <a:pt x="496" y="79"/>
                </a:cubicBezTo>
                <a:cubicBezTo>
                  <a:pt x="429" y="2"/>
                  <a:pt x="313" y="0"/>
                  <a:pt x="241" y="76"/>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
          <p:cNvSpPr>
            <a:spLocks/>
          </p:cNvSpPr>
          <p:nvPr/>
        </p:nvSpPr>
        <p:spPr bwMode="auto">
          <a:xfrm>
            <a:off x="6223000" y="2249488"/>
            <a:ext cx="517525" cy="146050"/>
          </a:xfrm>
          <a:custGeom>
            <a:avLst/>
            <a:gdLst>
              <a:gd name="T0" fmla="*/ 413 w 506"/>
              <a:gd name="T1" fmla="*/ 0 h 144"/>
              <a:gd name="T2" fmla="*/ 331 w 506"/>
              <a:gd name="T3" fmla="*/ 35 h 144"/>
              <a:gd name="T4" fmla="*/ 324 w 506"/>
              <a:gd name="T5" fmla="*/ 41 h 144"/>
              <a:gd name="T6" fmla="*/ 173 w 506"/>
              <a:gd name="T7" fmla="*/ 104 h 144"/>
              <a:gd name="T8" fmla="*/ 24 w 506"/>
              <a:gd name="T9" fmla="*/ 33 h 144"/>
              <a:gd name="T10" fmla="*/ 0 w 506"/>
              <a:gd name="T11" fmla="*/ 33 h 144"/>
              <a:gd name="T12" fmla="*/ 0 w 506"/>
              <a:gd name="T13" fmla="*/ 46 h 144"/>
              <a:gd name="T14" fmla="*/ 4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1"/>
                </a:lnTo>
                <a:cubicBezTo>
                  <a:pt x="285" y="84"/>
                  <a:pt x="229" y="107"/>
                  <a:pt x="173" y="104"/>
                </a:cubicBezTo>
                <a:cubicBezTo>
                  <a:pt x="115" y="104"/>
                  <a:pt x="64" y="76"/>
                  <a:pt x="24" y="33"/>
                </a:cubicBezTo>
                <a:cubicBezTo>
                  <a:pt x="16" y="25"/>
                  <a:pt x="4" y="25"/>
                  <a:pt x="0" y="33"/>
                </a:cubicBezTo>
                <a:cubicBezTo>
                  <a:pt x="0" y="37"/>
                  <a:pt x="0" y="41"/>
                  <a:pt x="0" y="46"/>
                </a:cubicBezTo>
                <a:cubicBezTo>
                  <a:pt x="0" y="51"/>
                  <a:pt x="3" y="56"/>
                  <a:pt x="4" y="60"/>
                </a:cubicBezTo>
                <a:cubicBezTo>
                  <a:pt x="51" y="111"/>
                  <a:pt x="112" y="140"/>
                  <a:pt x="178" y="140"/>
                </a:cubicBezTo>
                <a:cubicBezTo>
                  <a:pt x="243" y="144"/>
                  <a:pt x="303" y="116"/>
                  <a:pt x="354" y="65"/>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
          <p:cNvSpPr>
            <a:spLocks/>
          </p:cNvSpPr>
          <p:nvPr/>
        </p:nvSpPr>
        <p:spPr bwMode="auto">
          <a:xfrm>
            <a:off x="6315075" y="2073275"/>
            <a:ext cx="511175" cy="146050"/>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2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6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7"/>
                  <a:pt x="109" y="107"/>
                  <a:pt x="86" y="107"/>
                </a:cubicBezTo>
                <a:cubicBezTo>
                  <a:pt x="63" y="107"/>
                  <a:pt x="48" y="96"/>
                  <a:pt x="30" y="79"/>
                </a:cubicBezTo>
                <a:cubicBezTo>
                  <a:pt x="22" y="71"/>
                  <a:pt x="10" y="71"/>
                  <a:pt x="5" y="79"/>
                </a:cubicBezTo>
                <a:cubicBezTo>
                  <a:pt x="2" y="83"/>
                  <a:pt x="0" y="88"/>
                  <a:pt x="0" y="92"/>
                </a:cubicBezTo>
                <a:cubicBezTo>
                  <a:pt x="0" y="97"/>
                  <a:pt x="3" y="102"/>
                  <a:pt x="5" y="106"/>
                </a:cubicBezTo>
                <a:cubicBezTo>
                  <a:pt x="28" y="130"/>
                  <a:pt x="56" y="144"/>
                  <a:pt x="86" y="144"/>
                </a:cubicBezTo>
                <a:cubicBezTo>
                  <a:pt x="119" y="144"/>
                  <a:pt x="145" y="134"/>
                  <a:pt x="168" y="109"/>
                </a:cubicBezTo>
                <a:lnTo>
                  <a:pt x="172" y="106"/>
                </a:lnTo>
                <a:cubicBezTo>
                  <a:pt x="172" y="106"/>
                  <a:pt x="175" y="106"/>
                  <a:pt x="175" y="102"/>
                </a:cubicBezTo>
                <a:cubicBezTo>
                  <a:pt x="214" y="59"/>
                  <a:pt x="271" y="36"/>
                  <a:pt x="327" y="36"/>
                </a:cubicBezTo>
                <a:cubicBezTo>
                  <a:pt x="384" y="36"/>
                  <a:pt x="435" y="64"/>
                  <a:pt x="472" y="107"/>
                </a:cubicBezTo>
                <a:cubicBezTo>
                  <a:pt x="480" y="116"/>
                  <a:pt x="491" y="116"/>
                  <a:pt x="496" y="107"/>
                </a:cubicBezTo>
                <a:cubicBezTo>
                  <a:pt x="500" y="104"/>
                  <a:pt x="501" y="99"/>
                  <a:pt x="501" y="94"/>
                </a:cubicBezTo>
                <a:cubicBezTo>
                  <a:pt x="501" y="89"/>
                  <a:pt x="501" y="86"/>
                  <a:pt x="500" y="8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28"/>
          <p:cNvSpPr>
            <a:spLocks noChangeArrowheads="1"/>
          </p:cNvSpPr>
          <p:nvPr/>
        </p:nvSpPr>
        <p:spPr bwMode="auto">
          <a:xfrm>
            <a:off x="5956300" y="2582863"/>
            <a:ext cx="15208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ream Analytic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2" name="Freeform 29"/>
          <p:cNvSpPr>
            <a:spLocks noEditPoints="1"/>
          </p:cNvSpPr>
          <p:nvPr/>
        </p:nvSpPr>
        <p:spPr bwMode="auto">
          <a:xfrm>
            <a:off x="9340850" y="2028825"/>
            <a:ext cx="630238" cy="544513"/>
          </a:xfrm>
          <a:custGeom>
            <a:avLst/>
            <a:gdLst>
              <a:gd name="T0" fmla="*/ 462 w 617"/>
              <a:gd name="T1" fmla="*/ 0 h 534"/>
              <a:gd name="T2" fmla="*/ 154 w 617"/>
              <a:gd name="T3" fmla="*/ 0 h 534"/>
              <a:gd name="T4" fmla="*/ 0 w 617"/>
              <a:gd name="T5" fmla="*/ 267 h 534"/>
              <a:gd name="T6" fmla="*/ 154 w 617"/>
              <a:gd name="T7" fmla="*/ 534 h 534"/>
              <a:gd name="T8" fmla="*/ 462 w 617"/>
              <a:gd name="T9" fmla="*/ 534 h 534"/>
              <a:gd name="T10" fmla="*/ 617 w 617"/>
              <a:gd name="T11" fmla="*/ 267 h 534"/>
              <a:gd name="T12" fmla="*/ 462 w 617"/>
              <a:gd name="T13" fmla="*/ 0 h 534"/>
              <a:gd name="T14" fmla="*/ 463 w 617"/>
              <a:gd name="T15" fmla="*/ 387 h 534"/>
              <a:gd name="T16" fmla="*/ 421 w 617"/>
              <a:gd name="T17" fmla="*/ 428 h 534"/>
              <a:gd name="T18" fmla="*/ 195 w 617"/>
              <a:gd name="T19" fmla="*/ 428 h 534"/>
              <a:gd name="T20" fmla="*/ 153 w 617"/>
              <a:gd name="T21" fmla="*/ 387 h 534"/>
              <a:gd name="T22" fmla="*/ 153 w 617"/>
              <a:gd name="T23" fmla="*/ 148 h 534"/>
              <a:gd name="T24" fmla="*/ 195 w 617"/>
              <a:gd name="T25" fmla="*/ 106 h 534"/>
              <a:gd name="T26" fmla="*/ 363 w 617"/>
              <a:gd name="T27" fmla="*/ 106 h 534"/>
              <a:gd name="T28" fmla="*/ 394 w 617"/>
              <a:gd name="T29" fmla="*/ 106 h 534"/>
              <a:gd name="T30" fmla="*/ 399 w 617"/>
              <a:gd name="T31" fmla="*/ 106 h 534"/>
              <a:gd name="T32" fmla="*/ 463 w 617"/>
              <a:gd name="T33" fmla="*/ 170 h 534"/>
              <a:gd name="T34" fmla="*/ 463 w 617"/>
              <a:gd name="T35" fmla="*/ 38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2" y="0"/>
                </a:moveTo>
                <a:lnTo>
                  <a:pt x="154" y="0"/>
                </a:lnTo>
                <a:lnTo>
                  <a:pt x="0" y="267"/>
                </a:lnTo>
                <a:lnTo>
                  <a:pt x="154" y="534"/>
                </a:lnTo>
                <a:lnTo>
                  <a:pt x="462" y="534"/>
                </a:lnTo>
                <a:lnTo>
                  <a:pt x="617" y="267"/>
                </a:lnTo>
                <a:lnTo>
                  <a:pt x="462" y="0"/>
                </a:lnTo>
                <a:close/>
                <a:moveTo>
                  <a:pt x="463" y="387"/>
                </a:moveTo>
                <a:cubicBezTo>
                  <a:pt x="463" y="410"/>
                  <a:pt x="444" y="428"/>
                  <a:pt x="421" y="428"/>
                </a:cubicBezTo>
                <a:lnTo>
                  <a:pt x="195" y="428"/>
                </a:lnTo>
                <a:cubicBezTo>
                  <a:pt x="172" y="428"/>
                  <a:pt x="153" y="410"/>
                  <a:pt x="153" y="387"/>
                </a:cubicBezTo>
                <a:lnTo>
                  <a:pt x="153" y="148"/>
                </a:lnTo>
                <a:cubicBezTo>
                  <a:pt x="153" y="125"/>
                  <a:pt x="172" y="106"/>
                  <a:pt x="195" y="106"/>
                </a:cubicBezTo>
                <a:lnTo>
                  <a:pt x="363" y="106"/>
                </a:lnTo>
                <a:cubicBezTo>
                  <a:pt x="380" y="106"/>
                  <a:pt x="394" y="106"/>
                  <a:pt x="394" y="106"/>
                </a:cubicBezTo>
                <a:lnTo>
                  <a:pt x="399" y="106"/>
                </a:lnTo>
                <a:lnTo>
                  <a:pt x="463" y="170"/>
                </a:lnTo>
                <a:lnTo>
                  <a:pt x="463" y="387"/>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30"/>
          <p:cNvSpPr>
            <a:spLocks/>
          </p:cNvSpPr>
          <p:nvPr/>
        </p:nvSpPr>
        <p:spPr bwMode="auto">
          <a:xfrm>
            <a:off x="9604375" y="2332038"/>
            <a:ext cx="28575" cy="66675"/>
          </a:xfrm>
          <a:custGeom>
            <a:avLst/>
            <a:gdLst>
              <a:gd name="T0" fmla="*/ 26 w 27"/>
              <a:gd name="T1" fmla="*/ 13 h 65"/>
              <a:gd name="T2" fmla="*/ 24 w 27"/>
              <a:gd name="T3" fmla="*/ 7 h 65"/>
              <a:gd name="T4" fmla="*/ 22 w 27"/>
              <a:gd name="T5" fmla="*/ 3 h 65"/>
              <a:gd name="T6" fmla="*/ 18 w 27"/>
              <a:gd name="T7" fmla="*/ 1 h 65"/>
              <a:gd name="T8" fmla="*/ 14 w 27"/>
              <a:gd name="T9" fmla="*/ 0 h 65"/>
              <a:gd name="T10" fmla="*/ 7 w 27"/>
              <a:gd name="T11" fmla="*/ 2 h 65"/>
              <a:gd name="T12" fmla="*/ 3 w 27"/>
              <a:gd name="T13" fmla="*/ 8 h 65"/>
              <a:gd name="T14" fmla="*/ 0 w 27"/>
              <a:gd name="T15" fmla="*/ 18 h 65"/>
              <a:gd name="T16" fmla="*/ 0 w 27"/>
              <a:gd name="T17" fmla="*/ 32 h 65"/>
              <a:gd name="T18" fmla="*/ 1 w 27"/>
              <a:gd name="T19" fmla="*/ 48 h 65"/>
              <a:gd name="T20" fmla="*/ 3 w 27"/>
              <a:gd name="T21" fmla="*/ 58 h 65"/>
              <a:gd name="T22" fmla="*/ 7 w 27"/>
              <a:gd name="T23" fmla="*/ 63 h 65"/>
              <a:gd name="T24" fmla="*/ 13 w 27"/>
              <a:gd name="T25" fmla="*/ 65 h 65"/>
              <a:gd name="T26" fmla="*/ 18 w 27"/>
              <a:gd name="T27" fmla="*/ 64 h 65"/>
              <a:gd name="T28" fmla="*/ 22 w 27"/>
              <a:gd name="T29" fmla="*/ 61 h 65"/>
              <a:gd name="T30" fmla="*/ 25 w 27"/>
              <a:gd name="T31" fmla="*/ 57 h 65"/>
              <a:gd name="T32" fmla="*/ 26 w 27"/>
              <a:gd name="T33" fmla="*/ 51 h 65"/>
              <a:gd name="T34" fmla="*/ 27 w 27"/>
              <a:gd name="T35" fmla="*/ 43 h 65"/>
              <a:gd name="T36" fmla="*/ 27 w 27"/>
              <a:gd name="T37" fmla="*/ 33 h 65"/>
              <a:gd name="T38" fmla="*/ 27 w 27"/>
              <a:gd name="T39" fmla="*/ 22 h 65"/>
              <a:gd name="T40" fmla="*/ 26 w 27"/>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5">
                <a:moveTo>
                  <a:pt x="26" y="13"/>
                </a:moveTo>
                <a:cubicBezTo>
                  <a:pt x="26" y="11"/>
                  <a:pt x="25" y="9"/>
                  <a:pt x="24" y="7"/>
                </a:cubicBezTo>
                <a:cubicBezTo>
                  <a:pt x="24" y="5"/>
                  <a:pt x="23" y="4"/>
                  <a:pt x="22" y="3"/>
                </a:cubicBezTo>
                <a:cubicBezTo>
                  <a:pt x="21" y="2"/>
                  <a:pt x="19" y="1"/>
                  <a:pt x="18" y="1"/>
                </a:cubicBezTo>
                <a:cubicBezTo>
                  <a:pt x="17" y="0"/>
                  <a:pt x="15" y="0"/>
                  <a:pt x="14" y="0"/>
                </a:cubicBezTo>
                <a:cubicBezTo>
                  <a:pt x="11" y="0"/>
                  <a:pt x="9" y="1"/>
                  <a:pt x="7" y="2"/>
                </a:cubicBezTo>
                <a:cubicBezTo>
                  <a:pt x="5" y="3"/>
                  <a:pt x="4" y="5"/>
                  <a:pt x="3" y="8"/>
                </a:cubicBezTo>
                <a:cubicBezTo>
                  <a:pt x="2" y="11"/>
                  <a:pt x="1" y="14"/>
                  <a:pt x="0" y="18"/>
                </a:cubicBezTo>
                <a:cubicBezTo>
                  <a:pt x="0" y="22"/>
                  <a:pt x="0" y="27"/>
                  <a:pt x="0" y="32"/>
                </a:cubicBezTo>
                <a:cubicBezTo>
                  <a:pt x="0" y="38"/>
                  <a:pt x="0" y="44"/>
                  <a:pt x="1" y="48"/>
                </a:cubicBezTo>
                <a:cubicBezTo>
                  <a:pt x="1" y="52"/>
                  <a:pt x="2" y="56"/>
                  <a:pt x="3" y="58"/>
                </a:cubicBezTo>
                <a:cubicBezTo>
                  <a:pt x="4" y="61"/>
                  <a:pt x="5" y="62"/>
                  <a:pt x="7" y="63"/>
                </a:cubicBezTo>
                <a:cubicBezTo>
                  <a:pt x="9" y="64"/>
                  <a:pt x="11" y="65"/>
                  <a:pt x="13" y="65"/>
                </a:cubicBezTo>
                <a:cubicBezTo>
                  <a:pt x="15" y="65"/>
                  <a:pt x="17" y="65"/>
                  <a:pt x="18" y="64"/>
                </a:cubicBezTo>
                <a:cubicBezTo>
                  <a:pt x="20" y="63"/>
                  <a:pt x="21" y="63"/>
                  <a:pt x="22" y="61"/>
                </a:cubicBezTo>
                <a:cubicBezTo>
                  <a:pt x="23" y="60"/>
                  <a:pt x="24" y="59"/>
                  <a:pt x="25" y="57"/>
                </a:cubicBezTo>
                <a:cubicBezTo>
                  <a:pt x="25" y="55"/>
                  <a:pt x="26" y="53"/>
                  <a:pt x="26" y="51"/>
                </a:cubicBezTo>
                <a:cubicBezTo>
                  <a:pt x="27" y="48"/>
                  <a:pt x="27" y="46"/>
                  <a:pt x="27" y="43"/>
                </a:cubicBezTo>
                <a:cubicBezTo>
                  <a:pt x="27" y="40"/>
                  <a:pt x="27" y="37"/>
                  <a:pt x="27" y="33"/>
                </a:cubicBezTo>
                <a:cubicBezTo>
                  <a:pt x="27" y="29"/>
                  <a:pt x="27" y="25"/>
                  <a:pt x="27" y="22"/>
                </a:cubicBezTo>
                <a:cubicBezTo>
                  <a:pt x="27" y="18"/>
                  <a:pt x="27" y="16"/>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31"/>
          <p:cNvSpPr>
            <a:spLocks/>
          </p:cNvSpPr>
          <p:nvPr/>
        </p:nvSpPr>
        <p:spPr bwMode="auto">
          <a:xfrm>
            <a:off x="9678988" y="2205038"/>
            <a:ext cx="28575" cy="65088"/>
          </a:xfrm>
          <a:custGeom>
            <a:avLst/>
            <a:gdLst>
              <a:gd name="T0" fmla="*/ 26 w 27"/>
              <a:gd name="T1" fmla="*/ 13 h 64"/>
              <a:gd name="T2" fmla="*/ 24 w 27"/>
              <a:gd name="T3" fmla="*/ 6 h 64"/>
              <a:gd name="T4" fmla="*/ 21 w 27"/>
              <a:gd name="T5" fmla="*/ 2 h 64"/>
              <a:gd name="T6" fmla="*/ 18 w 27"/>
              <a:gd name="T7" fmla="*/ 0 h 64"/>
              <a:gd name="T8" fmla="*/ 14 w 27"/>
              <a:gd name="T9" fmla="*/ 0 h 64"/>
              <a:gd name="T10" fmla="*/ 7 w 27"/>
              <a:gd name="T11" fmla="*/ 2 h 64"/>
              <a:gd name="T12" fmla="*/ 2 w 27"/>
              <a:gd name="T13" fmla="*/ 8 h 64"/>
              <a:gd name="T14" fmla="*/ 0 w 27"/>
              <a:gd name="T15" fmla="*/ 18 h 64"/>
              <a:gd name="T16" fmla="*/ 0 w 27"/>
              <a:gd name="T17" fmla="*/ 31 h 64"/>
              <a:gd name="T18" fmla="*/ 0 w 27"/>
              <a:gd name="T19" fmla="*/ 47 h 64"/>
              <a:gd name="T20" fmla="*/ 3 w 27"/>
              <a:gd name="T21" fmla="*/ 58 h 64"/>
              <a:gd name="T22" fmla="*/ 7 w 27"/>
              <a:gd name="T23" fmla="*/ 63 h 64"/>
              <a:gd name="T24" fmla="*/ 13 w 27"/>
              <a:gd name="T25" fmla="*/ 64 h 64"/>
              <a:gd name="T26" fmla="*/ 18 w 27"/>
              <a:gd name="T27" fmla="*/ 63 h 64"/>
              <a:gd name="T28" fmla="*/ 22 w 27"/>
              <a:gd name="T29" fmla="*/ 61 h 64"/>
              <a:gd name="T30" fmla="*/ 24 w 27"/>
              <a:gd name="T31" fmla="*/ 56 h 64"/>
              <a:gd name="T32" fmla="*/ 26 w 27"/>
              <a:gd name="T33" fmla="*/ 50 h 64"/>
              <a:gd name="T34" fmla="*/ 27 w 27"/>
              <a:gd name="T35" fmla="*/ 42 h 64"/>
              <a:gd name="T36" fmla="*/ 27 w 27"/>
              <a:gd name="T37" fmla="*/ 33 h 64"/>
              <a:gd name="T38" fmla="*/ 27 w 27"/>
              <a:gd name="T39" fmla="*/ 21 h 64"/>
              <a:gd name="T40" fmla="*/ 26 w 27"/>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4">
                <a:moveTo>
                  <a:pt x="26" y="13"/>
                </a:moveTo>
                <a:cubicBezTo>
                  <a:pt x="25" y="10"/>
                  <a:pt x="25" y="8"/>
                  <a:pt x="24" y="6"/>
                </a:cubicBezTo>
                <a:cubicBezTo>
                  <a:pt x="23" y="5"/>
                  <a:pt x="23" y="3"/>
                  <a:pt x="21" y="2"/>
                </a:cubicBezTo>
                <a:cubicBezTo>
                  <a:pt x="20" y="1"/>
                  <a:pt x="19" y="1"/>
                  <a:pt x="18" y="0"/>
                </a:cubicBezTo>
                <a:cubicBezTo>
                  <a:pt x="17" y="0"/>
                  <a:pt x="15" y="0"/>
                  <a:pt x="14" y="0"/>
                </a:cubicBezTo>
                <a:cubicBezTo>
                  <a:pt x="11" y="0"/>
                  <a:pt x="9" y="0"/>
                  <a:pt x="7" y="2"/>
                </a:cubicBezTo>
                <a:cubicBezTo>
                  <a:pt x="5" y="3"/>
                  <a:pt x="4" y="5"/>
                  <a:pt x="2" y="8"/>
                </a:cubicBezTo>
                <a:cubicBezTo>
                  <a:pt x="1" y="10"/>
                  <a:pt x="1" y="14"/>
                  <a:pt x="0" y="18"/>
                </a:cubicBezTo>
                <a:cubicBezTo>
                  <a:pt x="0" y="22"/>
                  <a:pt x="0" y="26"/>
                  <a:pt x="0" y="31"/>
                </a:cubicBezTo>
                <a:cubicBezTo>
                  <a:pt x="0" y="38"/>
                  <a:pt x="0" y="43"/>
                  <a:pt x="0" y="47"/>
                </a:cubicBezTo>
                <a:cubicBezTo>
                  <a:pt x="1" y="52"/>
                  <a:pt x="2" y="55"/>
                  <a:pt x="3" y="58"/>
                </a:cubicBezTo>
                <a:cubicBezTo>
                  <a:pt x="4" y="60"/>
                  <a:pt x="5" y="62"/>
                  <a:pt x="7" y="63"/>
                </a:cubicBezTo>
                <a:cubicBezTo>
                  <a:pt x="9" y="64"/>
                  <a:pt x="11" y="64"/>
                  <a:pt x="13" y="64"/>
                </a:cubicBezTo>
                <a:cubicBezTo>
                  <a:pt x="15" y="64"/>
                  <a:pt x="17" y="64"/>
                  <a:pt x="18" y="63"/>
                </a:cubicBezTo>
                <a:cubicBezTo>
                  <a:pt x="20" y="63"/>
                  <a:pt x="21" y="62"/>
                  <a:pt x="22" y="61"/>
                </a:cubicBezTo>
                <a:cubicBezTo>
                  <a:pt x="23" y="60"/>
                  <a:pt x="24" y="58"/>
                  <a:pt x="24" y="56"/>
                </a:cubicBezTo>
                <a:cubicBezTo>
                  <a:pt x="25" y="55"/>
                  <a:pt x="26" y="53"/>
                  <a:pt x="26" y="50"/>
                </a:cubicBezTo>
                <a:cubicBezTo>
                  <a:pt x="27" y="48"/>
                  <a:pt x="27" y="45"/>
                  <a:pt x="27" y="42"/>
                </a:cubicBezTo>
                <a:cubicBezTo>
                  <a:pt x="27" y="39"/>
                  <a:pt x="27" y="36"/>
                  <a:pt x="27" y="33"/>
                </a:cubicBezTo>
                <a:cubicBezTo>
                  <a:pt x="27" y="28"/>
                  <a:pt x="27" y="24"/>
                  <a:pt x="27" y="21"/>
                </a:cubicBezTo>
                <a:cubicBezTo>
                  <a:pt x="27" y="18"/>
                  <a:pt x="26"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32"/>
          <p:cNvSpPr>
            <a:spLocks noEditPoints="1"/>
          </p:cNvSpPr>
          <p:nvPr/>
        </p:nvSpPr>
        <p:spPr bwMode="auto">
          <a:xfrm>
            <a:off x="9521825" y="2160588"/>
            <a:ext cx="269875" cy="282575"/>
          </a:xfrm>
          <a:custGeom>
            <a:avLst/>
            <a:gdLst>
              <a:gd name="T0" fmla="*/ 187 w 264"/>
              <a:gd name="T1" fmla="*/ 0 h 277"/>
              <a:gd name="T2" fmla="*/ 0 w 264"/>
              <a:gd name="T3" fmla="*/ 19 h 277"/>
              <a:gd name="T4" fmla="*/ 19 w 264"/>
              <a:gd name="T5" fmla="*/ 277 h 277"/>
              <a:gd name="T6" fmla="*/ 264 w 264"/>
              <a:gd name="T7" fmla="*/ 258 h 277"/>
              <a:gd name="T8" fmla="*/ 213 w 264"/>
              <a:gd name="T9" fmla="*/ 53 h 277"/>
              <a:gd name="T10" fmla="*/ 213 w 264"/>
              <a:gd name="T11" fmla="*/ 0 h 277"/>
              <a:gd name="T12" fmla="*/ 70 w 264"/>
              <a:gd name="T13" fmla="*/ 46 h 277"/>
              <a:gd name="T14" fmla="*/ 72 w 264"/>
              <a:gd name="T15" fmla="*/ 43 h 277"/>
              <a:gd name="T16" fmla="*/ 93 w 264"/>
              <a:gd name="T17" fmla="*/ 30 h 277"/>
              <a:gd name="T18" fmla="*/ 96 w 264"/>
              <a:gd name="T19" fmla="*/ 30 h 277"/>
              <a:gd name="T20" fmla="*/ 104 w 264"/>
              <a:gd name="T21" fmla="*/ 30 h 277"/>
              <a:gd name="T22" fmla="*/ 108 w 264"/>
              <a:gd name="T23" fmla="*/ 31 h 277"/>
              <a:gd name="T24" fmla="*/ 108 w 264"/>
              <a:gd name="T25" fmla="*/ 107 h 277"/>
              <a:gd name="T26" fmla="*/ 124 w 264"/>
              <a:gd name="T27" fmla="*/ 108 h 277"/>
              <a:gd name="T28" fmla="*/ 125 w 264"/>
              <a:gd name="T29" fmla="*/ 111 h 277"/>
              <a:gd name="T30" fmla="*/ 125 w 264"/>
              <a:gd name="T31" fmla="*/ 118 h 277"/>
              <a:gd name="T32" fmla="*/ 124 w 264"/>
              <a:gd name="T33" fmla="*/ 121 h 277"/>
              <a:gd name="T34" fmla="*/ 73 w 264"/>
              <a:gd name="T35" fmla="*/ 121 h 277"/>
              <a:gd name="T36" fmla="*/ 71 w 264"/>
              <a:gd name="T37" fmla="*/ 120 h 277"/>
              <a:gd name="T38" fmla="*/ 70 w 264"/>
              <a:gd name="T39" fmla="*/ 114 h 277"/>
              <a:gd name="T40" fmla="*/ 71 w 264"/>
              <a:gd name="T41" fmla="*/ 109 h 277"/>
              <a:gd name="T42" fmla="*/ 73 w 264"/>
              <a:gd name="T43" fmla="*/ 107 h 277"/>
              <a:gd name="T44" fmla="*/ 89 w 264"/>
              <a:gd name="T45" fmla="*/ 48 h 277"/>
              <a:gd name="T46" fmla="*/ 72 w 264"/>
              <a:gd name="T47" fmla="*/ 57 h 277"/>
              <a:gd name="T48" fmla="*/ 70 w 264"/>
              <a:gd name="T49" fmla="*/ 55 h 277"/>
              <a:gd name="T50" fmla="*/ 70 w 264"/>
              <a:gd name="T51" fmla="*/ 48 h 277"/>
              <a:gd name="T52" fmla="*/ 121 w 264"/>
              <a:gd name="T53" fmla="*/ 235 h 277"/>
              <a:gd name="T54" fmla="*/ 95 w 264"/>
              <a:gd name="T55" fmla="*/ 248 h 277"/>
              <a:gd name="T56" fmla="*/ 70 w 264"/>
              <a:gd name="T57" fmla="*/ 235 h 277"/>
              <a:gd name="T58" fmla="*/ 63 w 264"/>
              <a:gd name="T59" fmla="*/ 201 h 277"/>
              <a:gd name="T60" fmla="*/ 71 w 264"/>
              <a:gd name="T61" fmla="*/ 166 h 277"/>
              <a:gd name="T62" fmla="*/ 97 w 264"/>
              <a:gd name="T63" fmla="*/ 154 h 277"/>
              <a:gd name="T64" fmla="*/ 122 w 264"/>
              <a:gd name="T65" fmla="*/ 166 h 277"/>
              <a:gd name="T66" fmla="*/ 128 w 264"/>
              <a:gd name="T67" fmla="*/ 200 h 277"/>
              <a:gd name="T68" fmla="*/ 198 w 264"/>
              <a:gd name="T69" fmla="*/ 242 h 277"/>
              <a:gd name="T70" fmla="*/ 197 w 264"/>
              <a:gd name="T71" fmla="*/ 246 h 277"/>
              <a:gd name="T72" fmla="*/ 145 w 264"/>
              <a:gd name="T73" fmla="*/ 246 h 277"/>
              <a:gd name="T74" fmla="*/ 143 w 264"/>
              <a:gd name="T75" fmla="*/ 244 h 277"/>
              <a:gd name="T76" fmla="*/ 143 w 264"/>
              <a:gd name="T77" fmla="*/ 239 h 277"/>
              <a:gd name="T78" fmla="*/ 143 w 264"/>
              <a:gd name="T79" fmla="*/ 233 h 277"/>
              <a:gd name="T80" fmla="*/ 145 w 264"/>
              <a:gd name="T81" fmla="*/ 232 h 277"/>
              <a:gd name="T82" fmla="*/ 162 w 264"/>
              <a:gd name="T83" fmla="*/ 173 h 277"/>
              <a:gd name="T84" fmla="*/ 145 w 264"/>
              <a:gd name="T85" fmla="*/ 182 h 277"/>
              <a:gd name="T86" fmla="*/ 143 w 264"/>
              <a:gd name="T87" fmla="*/ 179 h 277"/>
              <a:gd name="T88" fmla="*/ 143 w 264"/>
              <a:gd name="T89" fmla="*/ 172 h 277"/>
              <a:gd name="T90" fmla="*/ 144 w 264"/>
              <a:gd name="T91" fmla="*/ 169 h 277"/>
              <a:gd name="T92" fmla="*/ 164 w 264"/>
              <a:gd name="T93" fmla="*/ 155 h 277"/>
              <a:gd name="T94" fmla="*/ 167 w 264"/>
              <a:gd name="T95" fmla="*/ 155 h 277"/>
              <a:gd name="T96" fmla="*/ 173 w 264"/>
              <a:gd name="T97" fmla="*/ 155 h 277"/>
              <a:gd name="T98" fmla="*/ 179 w 264"/>
              <a:gd name="T99" fmla="*/ 155 h 277"/>
              <a:gd name="T100" fmla="*/ 181 w 264"/>
              <a:gd name="T101" fmla="*/ 157 h 277"/>
              <a:gd name="T102" fmla="*/ 196 w 264"/>
              <a:gd name="T103" fmla="*/ 232 h 277"/>
              <a:gd name="T104" fmla="*/ 198 w 264"/>
              <a:gd name="T105" fmla="*/ 233 h 277"/>
              <a:gd name="T106" fmla="*/ 198 w 264"/>
              <a:gd name="T107" fmla="*/ 239 h 277"/>
              <a:gd name="T108" fmla="*/ 199 w 264"/>
              <a:gd name="T109" fmla="*/ 95 h 277"/>
              <a:gd name="T110" fmla="*/ 183 w 264"/>
              <a:gd name="T111" fmla="*/ 120 h 277"/>
              <a:gd name="T112" fmla="*/ 152 w 264"/>
              <a:gd name="T113" fmla="*/ 120 h 277"/>
              <a:gd name="T114" fmla="*/ 138 w 264"/>
              <a:gd name="T115" fmla="*/ 96 h 277"/>
              <a:gd name="T116" fmla="*/ 138 w 264"/>
              <a:gd name="T117" fmla="*/ 57 h 277"/>
              <a:gd name="T118" fmla="*/ 154 w 264"/>
              <a:gd name="T119" fmla="*/ 32 h 277"/>
              <a:gd name="T120" fmla="*/ 185 w 264"/>
              <a:gd name="T121" fmla="*/ 32 h 277"/>
              <a:gd name="T122" fmla="*/ 200 w 264"/>
              <a:gd name="T123" fmla="*/ 56 h 277"/>
              <a:gd name="T124" fmla="*/ 199 w 264"/>
              <a:gd name="T125"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0"/>
                </a:moveTo>
                <a:cubicBezTo>
                  <a:pt x="207" y="0"/>
                  <a:pt x="197" y="0"/>
                  <a:pt x="187" y="0"/>
                </a:cubicBezTo>
                <a:lnTo>
                  <a:pt x="19" y="0"/>
                </a:lnTo>
                <a:cubicBezTo>
                  <a:pt x="8" y="0"/>
                  <a:pt x="0" y="9"/>
                  <a:pt x="0" y="19"/>
                </a:cubicBezTo>
                <a:lnTo>
                  <a:pt x="0" y="258"/>
                </a:lnTo>
                <a:cubicBezTo>
                  <a:pt x="0" y="268"/>
                  <a:pt x="8" y="277"/>
                  <a:pt x="19" y="277"/>
                </a:cubicBezTo>
                <a:lnTo>
                  <a:pt x="246" y="277"/>
                </a:lnTo>
                <a:cubicBezTo>
                  <a:pt x="256" y="277"/>
                  <a:pt x="264" y="268"/>
                  <a:pt x="264" y="258"/>
                </a:cubicBezTo>
                <a:lnTo>
                  <a:pt x="264" y="53"/>
                </a:lnTo>
                <a:lnTo>
                  <a:pt x="213" y="53"/>
                </a:lnTo>
                <a:lnTo>
                  <a:pt x="213" y="0"/>
                </a:lnTo>
                <a:lnTo>
                  <a:pt x="213" y="0"/>
                </a:lnTo>
                <a:close/>
                <a:moveTo>
                  <a:pt x="70" y="48"/>
                </a:moveTo>
                <a:cubicBezTo>
                  <a:pt x="70" y="47"/>
                  <a:pt x="70" y="46"/>
                  <a:pt x="70" y="46"/>
                </a:cubicBezTo>
                <a:cubicBezTo>
                  <a:pt x="70" y="45"/>
                  <a:pt x="70" y="45"/>
                  <a:pt x="71" y="45"/>
                </a:cubicBezTo>
                <a:cubicBezTo>
                  <a:pt x="71" y="44"/>
                  <a:pt x="72" y="44"/>
                  <a:pt x="72" y="43"/>
                </a:cubicBezTo>
                <a:lnTo>
                  <a:pt x="92" y="31"/>
                </a:lnTo>
                <a:cubicBezTo>
                  <a:pt x="92" y="31"/>
                  <a:pt x="92" y="31"/>
                  <a:pt x="93" y="30"/>
                </a:cubicBezTo>
                <a:cubicBezTo>
                  <a:pt x="93" y="30"/>
                  <a:pt x="93" y="30"/>
                  <a:pt x="94" y="30"/>
                </a:cubicBezTo>
                <a:cubicBezTo>
                  <a:pt x="94" y="30"/>
                  <a:pt x="95" y="30"/>
                  <a:pt x="96" y="30"/>
                </a:cubicBezTo>
                <a:cubicBezTo>
                  <a:pt x="97" y="30"/>
                  <a:pt x="98" y="30"/>
                  <a:pt x="100" y="30"/>
                </a:cubicBezTo>
                <a:cubicBezTo>
                  <a:pt x="101" y="30"/>
                  <a:pt x="103" y="30"/>
                  <a:pt x="104" y="30"/>
                </a:cubicBezTo>
                <a:cubicBezTo>
                  <a:pt x="105" y="30"/>
                  <a:pt x="106" y="30"/>
                  <a:pt x="106" y="30"/>
                </a:cubicBezTo>
                <a:cubicBezTo>
                  <a:pt x="107" y="31"/>
                  <a:pt x="107" y="31"/>
                  <a:pt x="108" y="31"/>
                </a:cubicBezTo>
                <a:cubicBezTo>
                  <a:pt x="108" y="31"/>
                  <a:pt x="108" y="32"/>
                  <a:pt x="108" y="32"/>
                </a:cubicBezTo>
                <a:lnTo>
                  <a:pt x="108" y="107"/>
                </a:lnTo>
                <a:lnTo>
                  <a:pt x="123" y="107"/>
                </a:lnTo>
                <a:cubicBezTo>
                  <a:pt x="123" y="107"/>
                  <a:pt x="123" y="107"/>
                  <a:pt x="124" y="108"/>
                </a:cubicBezTo>
                <a:cubicBezTo>
                  <a:pt x="124" y="108"/>
                  <a:pt x="124" y="108"/>
                  <a:pt x="125" y="109"/>
                </a:cubicBezTo>
                <a:cubicBezTo>
                  <a:pt x="125" y="109"/>
                  <a:pt x="125" y="110"/>
                  <a:pt x="125" y="111"/>
                </a:cubicBezTo>
                <a:cubicBezTo>
                  <a:pt x="125" y="112"/>
                  <a:pt x="125" y="113"/>
                  <a:pt x="125" y="114"/>
                </a:cubicBezTo>
                <a:cubicBezTo>
                  <a:pt x="125" y="116"/>
                  <a:pt x="125" y="117"/>
                  <a:pt x="125" y="118"/>
                </a:cubicBezTo>
                <a:cubicBezTo>
                  <a:pt x="125" y="119"/>
                  <a:pt x="125" y="119"/>
                  <a:pt x="125" y="120"/>
                </a:cubicBezTo>
                <a:cubicBezTo>
                  <a:pt x="124" y="120"/>
                  <a:pt x="124" y="121"/>
                  <a:pt x="124" y="121"/>
                </a:cubicBezTo>
                <a:cubicBezTo>
                  <a:pt x="123" y="121"/>
                  <a:pt x="123" y="121"/>
                  <a:pt x="123" y="121"/>
                </a:cubicBezTo>
                <a:lnTo>
                  <a:pt x="73" y="121"/>
                </a:lnTo>
                <a:cubicBezTo>
                  <a:pt x="72" y="121"/>
                  <a:pt x="72" y="121"/>
                  <a:pt x="71" y="121"/>
                </a:cubicBezTo>
                <a:cubicBezTo>
                  <a:pt x="71" y="121"/>
                  <a:pt x="71" y="120"/>
                  <a:pt x="71" y="120"/>
                </a:cubicBezTo>
                <a:cubicBezTo>
                  <a:pt x="70" y="119"/>
                  <a:pt x="70" y="119"/>
                  <a:pt x="70" y="118"/>
                </a:cubicBezTo>
                <a:cubicBezTo>
                  <a:pt x="70" y="117"/>
                  <a:pt x="70" y="116"/>
                  <a:pt x="70" y="114"/>
                </a:cubicBezTo>
                <a:cubicBezTo>
                  <a:pt x="70" y="113"/>
                  <a:pt x="70" y="112"/>
                  <a:pt x="70" y="111"/>
                </a:cubicBezTo>
                <a:cubicBezTo>
                  <a:pt x="70" y="110"/>
                  <a:pt x="70" y="109"/>
                  <a:pt x="71" y="109"/>
                </a:cubicBezTo>
                <a:cubicBezTo>
                  <a:pt x="71" y="108"/>
                  <a:pt x="71" y="108"/>
                  <a:pt x="71" y="108"/>
                </a:cubicBezTo>
                <a:cubicBezTo>
                  <a:pt x="72" y="107"/>
                  <a:pt x="72" y="107"/>
                  <a:pt x="73" y="107"/>
                </a:cubicBezTo>
                <a:lnTo>
                  <a:pt x="89" y="107"/>
                </a:lnTo>
                <a:lnTo>
                  <a:pt x="89" y="48"/>
                </a:lnTo>
                <a:lnTo>
                  <a:pt x="75" y="56"/>
                </a:lnTo>
                <a:cubicBezTo>
                  <a:pt x="74" y="57"/>
                  <a:pt x="73" y="57"/>
                  <a:pt x="72" y="57"/>
                </a:cubicBezTo>
                <a:cubicBezTo>
                  <a:pt x="72" y="57"/>
                  <a:pt x="71" y="57"/>
                  <a:pt x="71" y="57"/>
                </a:cubicBezTo>
                <a:cubicBezTo>
                  <a:pt x="70" y="56"/>
                  <a:pt x="70" y="56"/>
                  <a:pt x="70" y="55"/>
                </a:cubicBezTo>
                <a:cubicBezTo>
                  <a:pt x="70" y="54"/>
                  <a:pt x="70" y="52"/>
                  <a:pt x="70" y="50"/>
                </a:cubicBezTo>
                <a:cubicBezTo>
                  <a:pt x="70" y="49"/>
                  <a:pt x="70" y="48"/>
                  <a:pt x="70" y="48"/>
                </a:cubicBezTo>
                <a:close/>
                <a:moveTo>
                  <a:pt x="126" y="220"/>
                </a:moveTo>
                <a:cubicBezTo>
                  <a:pt x="125" y="226"/>
                  <a:pt x="123" y="231"/>
                  <a:pt x="121" y="235"/>
                </a:cubicBezTo>
                <a:cubicBezTo>
                  <a:pt x="118" y="239"/>
                  <a:pt x="115" y="242"/>
                  <a:pt x="110" y="244"/>
                </a:cubicBezTo>
                <a:cubicBezTo>
                  <a:pt x="106" y="246"/>
                  <a:pt x="101" y="248"/>
                  <a:pt x="95" y="248"/>
                </a:cubicBezTo>
                <a:cubicBezTo>
                  <a:pt x="89" y="248"/>
                  <a:pt x="83" y="247"/>
                  <a:pt x="79" y="244"/>
                </a:cubicBezTo>
                <a:cubicBezTo>
                  <a:pt x="75" y="242"/>
                  <a:pt x="72" y="239"/>
                  <a:pt x="70" y="235"/>
                </a:cubicBezTo>
                <a:cubicBezTo>
                  <a:pt x="67" y="231"/>
                  <a:pt x="66" y="226"/>
                  <a:pt x="65" y="221"/>
                </a:cubicBezTo>
                <a:cubicBezTo>
                  <a:pt x="64" y="215"/>
                  <a:pt x="63" y="208"/>
                  <a:pt x="63" y="201"/>
                </a:cubicBezTo>
                <a:cubicBezTo>
                  <a:pt x="63" y="194"/>
                  <a:pt x="64" y="187"/>
                  <a:pt x="65" y="181"/>
                </a:cubicBezTo>
                <a:cubicBezTo>
                  <a:pt x="66" y="175"/>
                  <a:pt x="68" y="170"/>
                  <a:pt x="71" y="166"/>
                </a:cubicBezTo>
                <a:cubicBezTo>
                  <a:pt x="73" y="162"/>
                  <a:pt x="77" y="159"/>
                  <a:pt x="81" y="157"/>
                </a:cubicBezTo>
                <a:cubicBezTo>
                  <a:pt x="85" y="155"/>
                  <a:pt x="90" y="154"/>
                  <a:pt x="97" y="154"/>
                </a:cubicBezTo>
                <a:cubicBezTo>
                  <a:pt x="103" y="154"/>
                  <a:pt x="108" y="155"/>
                  <a:pt x="112" y="157"/>
                </a:cubicBezTo>
                <a:cubicBezTo>
                  <a:pt x="116" y="159"/>
                  <a:pt x="119" y="162"/>
                  <a:pt x="122" y="166"/>
                </a:cubicBezTo>
                <a:cubicBezTo>
                  <a:pt x="124" y="170"/>
                  <a:pt x="126" y="175"/>
                  <a:pt x="127" y="181"/>
                </a:cubicBezTo>
                <a:cubicBezTo>
                  <a:pt x="128" y="186"/>
                  <a:pt x="128" y="193"/>
                  <a:pt x="128" y="200"/>
                </a:cubicBezTo>
                <a:cubicBezTo>
                  <a:pt x="128" y="207"/>
                  <a:pt x="128" y="214"/>
                  <a:pt x="126" y="220"/>
                </a:cubicBezTo>
                <a:close/>
                <a:moveTo>
                  <a:pt x="198" y="242"/>
                </a:moveTo>
                <a:cubicBezTo>
                  <a:pt x="198" y="243"/>
                  <a:pt x="198" y="244"/>
                  <a:pt x="198" y="244"/>
                </a:cubicBezTo>
                <a:cubicBezTo>
                  <a:pt x="197" y="245"/>
                  <a:pt x="197" y="245"/>
                  <a:pt x="197" y="246"/>
                </a:cubicBezTo>
                <a:cubicBezTo>
                  <a:pt x="196" y="246"/>
                  <a:pt x="196" y="246"/>
                  <a:pt x="196" y="246"/>
                </a:cubicBezTo>
                <a:lnTo>
                  <a:pt x="145" y="246"/>
                </a:lnTo>
                <a:cubicBezTo>
                  <a:pt x="145" y="246"/>
                  <a:pt x="145" y="246"/>
                  <a:pt x="144" y="246"/>
                </a:cubicBezTo>
                <a:cubicBezTo>
                  <a:pt x="144" y="245"/>
                  <a:pt x="144" y="245"/>
                  <a:pt x="143" y="244"/>
                </a:cubicBezTo>
                <a:cubicBezTo>
                  <a:pt x="143" y="244"/>
                  <a:pt x="143" y="243"/>
                  <a:pt x="143" y="242"/>
                </a:cubicBezTo>
                <a:cubicBezTo>
                  <a:pt x="143" y="241"/>
                  <a:pt x="143" y="240"/>
                  <a:pt x="143" y="239"/>
                </a:cubicBezTo>
                <a:cubicBezTo>
                  <a:pt x="143" y="238"/>
                  <a:pt x="143" y="236"/>
                  <a:pt x="143" y="236"/>
                </a:cubicBezTo>
                <a:cubicBezTo>
                  <a:pt x="143" y="235"/>
                  <a:pt x="143" y="234"/>
                  <a:pt x="143" y="233"/>
                </a:cubicBezTo>
                <a:cubicBezTo>
                  <a:pt x="144" y="233"/>
                  <a:pt x="144" y="232"/>
                  <a:pt x="144" y="232"/>
                </a:cubicBezTo>
                <a:cubicBezTo>
                  <a:pt x="145" y="232"/>
                  <a:pt x="145" y="232"/>
                  <a:pt x="145" y="232"/>
                </a:cubicBezTo>
                <a:lnTo>
                  <a:pt x="162" y="232"/>
                </a:lnTo>
                <a:lnTo>
                  <a:pt x="162" y="173"/>
                </a:lnTo>
                <a:lnTo>
                  <a:pt x="148" y="181"/>
                </a:lnTo>
                <a:cubicBezTo>
                  <a:pt x="147" y="181"/>
                  <a:pt x="146" y="182"/>
                  <a:pt x="145" y="182"/>
                </a:cubicBezTo>
                <a:cubicBezTo>
                  <a:pt x="144" y="182"/>
                  <a:pt x="144" y="182"/>
                  <a:pt x="143" y="181"/>
                </a:cubicBezTo>
                <a:cubicBezTo>
                  <a:pt x="143" y="181"/>
                  <a:pt x="143" y="180"/>
                  <a:pt x="143" y="179"/>
                </a:cubicBezTo>
                <a:cubicBezTo>
                  <a:pt x="143" y="178"/>
                  <a:pt x="142" y="177"/>
                  <a:pt x="142" y="175"/>
                </a:cubicBezTo>
                <a:cubicBezTo>
                  <a:pt x="142" y="174"/>
                  <a:pt x="143" y="173"/>
                  <a:pt x="143" y="172"/>
                </a:cubicBezTo>
                <a:cubicBezTo>
                  <a:pt x="143" y="172"/>
                  <a:pt x="143" y="171"/>
                  <a:pt x="143" y="170"/>
                </a:cubicBezTo>
                <a:cubicBezTo>
                  <a:pt x="143" y="170"/>
                  <a:pt x="143" y="169"/>
                  <a:pt x="144" y="169"/>
                </a:cubicBezTo>
                <a:cubicBezTo>
                  <a:pt x="144" y="169"/>
                  <a:pt x="144" y="168"/>
                  <a:pt x="145" y="168"/>
                </a:cubicBezTo>
                <a:lnTo>
                  <a:pt x="164" y="155"/>
                </a:lnTo>
                <a:cubicBezTo>
                  <a:pt x="165" y="155"/>
                  <a:pt x="165" y="155"/>
                  <a:pt x="165" y="155"/>
                </a:cubicBezTo>
                <a:cubicBezTo>
                  <a:pt x="166" y="155"/>
                  <a:pt x="166" y="155"/>
                  <a:pt x="167" y="155"/>
                </a:cubicBezTo>
                <a:cubicBezTo>
                  <a:pt x="167" y="155"/>
                  <a:pt x="168" y="155"/>
                  <a:pt x="169" y="155"/>
                </a:cubicBezTo>
                <a:cubicBezTo>
                  <a:pt x="170" y="155"/>
                  <a:pt x="171" y="155"/>
                  <a:pt x="173" y="155"/>
                </a:cubicBezTo>
                <a:cubicBezTo>
                  <a:pt x="174" y="155"/>
                  <a:pt x="176" y="155"/>
                  <a:pt x="177" y="155"/>
                </a:cubicBezTo>
                <a:cubicBezTo>
                  <a:pt x="178" y="155"/>
                  <a:pt x="179" y="155"/>
                  <a:pt x="179" y="155"/>
                </a:cubicBezTo>
                <a:cubicBezTo>
                  <a:pt x="180" y="155"/>
                  <a:pt x="180" y="155"/>
                  <a:pt x="180" y="156"/>
                </a:cubicBezTo>
                <a:cubicBezTo>
                  <a:pt x="181" y="156"/>
                  <a:pt x="181" y="156"/>
                  <a:pt x="181" y="157"/>
                </a:cubicBezTo>
                <a:lnTo>
                  <a:pt x="181" y="232"/>
                </a:lnTo>
                <a:lnTo>
                  <a:pt x="196" y="232"/>
                </a:lnTo>
                <a:cubicBezTo>
                  <a:pt x="196" y="232"/>
                  <a:pt x="196" y="232"/>
                  <a:pt x="197" y="232"/>
                </a:cubicBezTo>
                <a:cubicBezTo>
                  <a:pt x="197" y="232"/>
                  <a:pt x="197" y="233"/>
                  <a:pt x="198" y="233"/>
                </a:cubicBezTo>
                <a:cubicBezTo>
                  <a:pt x="198" y="234"/>
                  <a:pt x="198" y="235"/>
                  <a:pt x="198" y="236"/>
                </a:cubicBezTo>
                <a:cubicBezTo>
                  <a:pt x="198" y="236"/>
                  <a:pt x="198" y="238"/>
                  <a:pt x="198" y="239"/>
                </a:cubicBezTo>
                <a:cubicBezTo>
                  <a:pt x="198" y="240"/>
                  <a:pt x="198" y="241"/>
                  <a:pt x="198" y="242"/>
                </a:cubicBezTo>
                <a:close/>
                <a:moveTo>
                  <a:pt x="199" y="95"/>
                </a:moveTo>
                <a:cubicBezTo>
                  <a:pt x="198" y="101"/>
                  <a:pt x="196" y="106"/>
                  <a:pt x="194" y="110"/>
                </a:cubicBezTo>
                <a:cubicBezTo>
                  <a:pt x="191" y="114"/>
                  <a:pt x="187" y="118"/>
                  <a:pt x="183" y="120"/>
                </a:cubicBezTo>
                <a:cubicBezTo>
                  <a:pt x="179" y="122"/>
                  <a:pt x="174" y="123"/>
                  <a:pt x="168" y="123"/>
                </a:cubicBezTo>
                <a:cubicBezTo>
                  <a:pt x="161" y="123"/>
                  <a:pt x="156" y="122"/>
                  <a:pt x="152" y="120"/>
                </a:cubicBezTo>
                <a:cubicBezTo>
                  <a:pt x="148" y="118"/>
                  <a:pt x="145" y="115"/>
                  <a:pt x="143" y="111"/>
                </a:cubicBezTo>
                <a:cubicBezTo>
                  <a:pt x="140" y="107"/>
                  <a:pt x="138" y="102"/>
                  <a:pt x="138" y="96"/>
                </a:cubicBezTo>
                <a:cubicBezTo>
                  <a:pt x="137" y="90"/>
                  <a:pt x="136" y="84"/>
                  <a:pt x="136" y="76"/>
                </a:cubicBezTo>
                <a:cubicBezTo>
                  <a:pt x="136" y="69"/>
                  <a:pt x="137" y="63"/>
                  <a:pt x="138" y="57"/>
                </a:cubicBezTo>
                <a:cubicBezTo>
                  <a:pt x="139" y="51"/>
                  <a:pt x="141" y="46"/>
                  <a:pt x="144" y="42"/>
                </a:cubicBezTo>
                <a:cubicBezTo>
                  <a:pt x="146" y="38"/>
                  <a:pt x="150" y="34"/>
                  <a:pt x="154" y="32"/>
                </a:cubicBezTo>
                <a:cubicBezTo>
                  <a:pt x="158" y="30"/>
                  <a:pt x="163" y="29"/>
                  <a:pt x="169" y="29"/>
                </a:cubicBezTo>
                <a:cubicBezTo>
                  <a:pt x="176" y="29"/>
                  <a:pt x="181" y="30"/>
                  <a:pt x="185" y="32"/>
                </a:cubicBezTo>
                <a:cubicBezTo>
                  <a:pt x="189" y="34"/>
                  <a:pt x="192" y="37"/>
                  <a:pt x="195" y="41"/>
                </a:cubicBezTo>
                <a:cubicBezTo>
                  <a:pt x="197" y="45"/>
                  <a:pt x="199" y="50"/>
                  <a:pt x="200" y="56"/>
                </a:cubicBezTo>
                <a:cubicBezTo>
                  <a:pt x="201" y="62"/>
                  <a:pt x="201" y="68"/>
                  <a:pt x="201" y="76"/>
                </a:cubicBezTo>
                <a:cubicBezTo>
                  <a:pt x="201" y="83"/>
                  <a:pt x="200" y="89"/>
                  <a:pt x="199" y="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33"/>
          <p:cNvSpPr>
            <a:spLocks noChangeArrowheads="1"/>
          </p:cNvSpPr>
          <p:nvPr/>
        </p:nvSpPr>
        <p:spPr bwMode="auto">
          <a:xfrm>
            <a:off x="9104313" y="2595563"/>
            <a:ext cx="120967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blob</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7" name="Freeform 34"/>
          <p:cNvSpPr>
            <a:spLocks noEditPoints="1"/>
          </p:cNvSpPr>
          <p:nvPr/>
        </p:nvSpPr>
        <p:spPr bwMode="auto">
          <a:xfrm>
            <a:off x="10739438" y="2039938"/>
            <a:ext cx="619125" cy="533400"/>
          </a:xfrm>
          <a:custGeom>
            <a:avLst/>
            <a:gdLst>
              <a:gd name="T0" fmla="*/ 293 w 390"/>
              <a:gd name="T1" fmla="*/ 0 h 336"/>
              <a:gd name="T2" fmla="*/ 98 w 390"/>
              <a:gd name="T3" fmla="*/ 0 h 336"/>
              <a:gd name="T4" fmla="*/ 0 w 390"/>
              <a:gd name="T5" fmla="*/ 168 h 336"/>
              <a:gd name="T6" fmla="*/ 98 w 390"/>
              <a:gd name="T7" fmla="*/ 336 h 336"/>
              <a:gd name="T8" fmla="*/ 293 w 390"/>
              <a:gd name="T9" fmla="*/ 336 h 336"/>
              <a:gd name="T10" fmla="*/ 390 w 390"/>
              <a:gd name="T11" fmla="*/ 168 h 336"/>
              <a:gd name="T12" fmla="*/ 293 w 390"/>
              <a:gd name="T13" fmla="*/ 0 h 336"/>
              <a:gd name="T14" fmla="*/ 185 w 390"/>
              <a:gd name="T15" fmla="*/ 88 h 336"/>
              <a:gd name="T16" fmla="*/ 230 w 390"/>
              <a:gd name="T17" fmla="*/ 88 h 336"/>
              <a:gd name="T18" fmla="*/ 230 w 390"/>
              <a:gd name="T19" fmla="*/ 133 h 336"/>
              <a:gd name="T20" fmla="*/ 185 w 390"/>
              <a:gd name="T21" fmla="*/ 133 h 336"/>
              <a:gd name="T22" fmla="*/ 185 w 390"/>
              <a:gd name="T23" fmla="*/ 88 h 336"/>
              <a:gd name="T24" fmla="*/ 185 w 390"/>
              <a:gd name="T25" fmla="*/ 144 h 336"/>
              <a:gd name="T26" fmla="*/ 230 w 390"/>
              <a:gd name="T27" fmla="*/ 144 h 336"/>
              <a:gd name="T28" fmla="*/ 230 w 390"/>
              <a:gd name="T29" fmla="*/ 189 h 336"/>
              <a:gd name="T30" fmla="*/ 185 w 390"/>
              <a:gd name="T31" fmla="*/ 189 h 336"/>
              <a:gd name="T32" fmla="*/ 185 w 390"/>
              <a:gd name="T33" fmla="*/ 144 h 336"/>
              <a:gd name="T34" fmla="*/ 185 w 390"/>
              <a:gd name="T35" fmla="*/ 201 h 336"/>
              <a:gd name="T36" fmla="*/ 230 w 390"/>
              <a:gd name="T37" fmla="*/ 201 h 336"/>
              <a:gd name="T38" fmla="*/ 230 w 390"/>
              <a:gd name="T39" fmla="*/ 246 h 336"/>
              <a:gd name="T40" fmla="*/ 185 w 390"/>
              <a:gd name="T41" fmla="*/ 246 h 336"/>
              <a:gd name="T42" fmla="*/ 185 w 390"/>
              <a:gd name="T43" fmla="*/ 201 h 336"/>
              <a:gd name="T44" fmla="*/ 129 w 390"/>
              <a:gd name="T45" fmla="*/ 88 h 336"/>
              <a:gd name="T46" fmla="*/ 174 w 390"/>
              <a:gd name="T47" fmla="*/ 88 h 336"/>
              <a:gd name="T48" fmla="*/ 174 w 390"/>
              <a:gd name="T49" fmla="*/ 133 h 336"/>
              <a:gd name="T50" fmla="*/ 129 w 390"/>
              <a:gd name="T51" fmla="*/ 133 h 336"/>
              <a:gd name="T52" fmla="*/ 129 w 390"/>
              <a:gd name="T53" fmla="*/ 88 h 336"/>
              <a:gd name="T54" fmla="*/ 129 w 390"/>
              <a:gd name="T55" fmla="*/ 144 h 336"/>
              <a:gd name="T56" fmla="*/ 174 w 390"/>
              <a:gd name="T57" fmla="*/ 144 h 336"/>
              <a:gd name="T58" fmla="*/ 174 w 390"/>
              <a:gd name="T59" fmla="*/ 189 h 336"/>
              <a:gd name="T60" fmla="*/ 129 w 390"/>
              <a:gd name="T61" fmla="*/ 189 h 336"/>
              <a:gd name="T62" fmla="*/ 129 w 390"/>
              <a:gd name="T63" fmla="*/ 144 h 336"/>
              <a:gd name="T64" fmla="*/ 129 w 390"/>
              <a:gd name="T65" fmla="*/ 201 h 336"/>
              <a:gd name="T66" fmla="*/ 174 w 390"/>
              <a:gd name="T67" fmla="*/ 201 h 336"/>
              <a:gd name="T68" fmla="*/ 174 w 390"/>
              <a:gd name="T69" fmla="*/ 246 h 336"/>
              <a:gd name="T70" fmla="*/ 129 w 390"/>
              <a:gd name="T71" fmla="*/ 246 h 336"/>
              <a:gd name="T72" fmla="*/ 129 w 390"/>
              <a:gd name="T73" fmla="*/ 201 h 336"/>
              <a:gd name="T74" fmla="*/ 287 w 390"/>
              <a:gd name="T75" fmla="*/ 270 h 336"/>
              <a:gd name="T76" fmla="*/ 103 w 390"/>
              <a:gd name="T77" fmla="*/ 270 h 336"/>
              <a:gd name="T78" fmla="*/ 103 w 390"/>
              <a:gd name="T79" fmla="*/ 86 h 336"/>
              <a:gd name="T80" fmla="*/ 115 w 390"/>
              <a:gd name="T81" fmla="*/ 86 h 336"/>
              <a:gd name="T82" fmla="*/ 115 w 390"/>
              <a:gd name="T83" fmla="*/ 258 h 336"/>
              <a:gd name="T84" fmla="*/ 115 w 390"/>
              <a:gd name="T85" fmla="*/ 258 h 336"/>
              <a:gd name="T86" fmla="*/ 115 w 390"/>
              <a:gd name="T87" fmla="*/ 258 h 336"/>
              <a:gd name="T88" fmla="*/ 287 w 390"/>
              <a:gd name="T89" fmla="*/ 258 h 336"/>
              <a:gd name="T90" fmla="*/ 287 w 390"/>
              <a:gd name="T91" fmla="*/ 270 h 336"/>
              <a:gd name="T92" fmla="*/ 288 w 390"/>
              <a:gd name="T93" fmla="*/ 246 h 336"/>
              <a:gd name="T94" fmla="*/ 243 w 390"/>
              <a:gd name="T95" fmla="*/ 246 h 336"/>
              <a:gd name="T96" fmla="*/ 243 w 390"/>
              <a:gd name="T97" fmla="*/ 201 h 336"/>
              <a:gd name="T98" fmla="*/ 288 w 390"/>
              <a:gd name="T99" fmla="*/ 201 h 336"/>
              <a:gd name="T100" fmla="*/ 288 w 390"/>
              <a:gd name="T101" fmla="*/ 246 h 336"/>
              <a:gd name="T102" fmla="*/ 288 w 390"/>
              <a:gd name="T103" fmla="*/ 189 h 336"/>
              <a:gd name="T104" fmla="*/ 243 w 390"/>
              <a:gd name="T105" fmla="*/ 189 h 336"/>
              <a:gd name="T106" fmla="*/ 243 w 390"/>
              <a:gd name="T107" fmla="*/ 144 h 336"/>
              <a:gd name="T108" fmla="*/ 288 w 390"/>
              <a:gd name="T109" fmla="*/ 144 h 336"/>
              <a:gd name="T110" fmla="*/ 288 w 390"/>
              <a:gd name="T111" fmla="*/ 189 h 336"/>
              <a:gd name="T112" fmla="*/ 288 w 390"/>
              <a:gd name="T113" fmla="*/ 133 h 336"/>
              <a:gd name="T114" fmla="*/ 243 w 390"/>
              <a:gd name="T115" fmla="*/ 133 h 336"/>
              <a:gd name="T116" fmla="*/ 243 w 390"/>
              <a:gd name="T117" fmla="*/ 88 h 336"/>
              <a:gd name="T118" fmla="*/ 288 w 390"/>
              <a:gd name="T119" fmla="*/ 88 h 336"/>
              <a:gd name="T120" fmla="*/ 288 w 390"/>
              <a:gd name="T121" fmla="*/ 13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336">
                <a:moveTo>
                  <a:pt x="293" y="0"/>
                </a:moveTo>
                <a:lnTo>
                  <a:pt x="98" y="0"/>
                </a:lnTo>
                <a:lnTo>
                  <a:pt x="0" y="168"/>
                </a:lnTo>
                <a:lnTo>
                  <a:pt x="98" y="336"/>
                </a:lnTo>
                <a:lnTo>
                  <a:pt x="293" y="336"/>
                </a:lnTo>
                <a:lnTo>
                  <a:pt x="390" y="168"/>
                </a:lnTo>
                <a:lnTo>
                  <a:pt x="293" y="0"/>
                </a:lnTo>
                <a:close/>
                <a:moveTo>
                  <a:pt x="185" y="88"/>
                </a:moveTo>
                <a:lnTo>
                  <a:pt x="230" y="88"/>
                </a:lnTo>
                <a:lnTo>
                  <a:pt x="230" y="133"/>
                </a:lnTo>
                <a:lnTo>
                  <a:pt x="185" y="133"/>
                </a:lnTo>
                <a:lnTo>
                  <a:pt x="185" y="88"/>
                </a:lnTo>
                <a:close/>
                <a:moveTo>
                  <a:pt x="185" y="144"/>
                </a:moveTo>
                <a:lnTo>
                  <a:pt x="230" y="144"/>
                </a:lnTo>
                <a:lnTo>
                  <a:pt x="230" y="189"/>
                </a:lnTo>
                <a:lnTo>
                  <a:pt x="185" y="189"/>
                </a:lnTo>
                <a:lnTo>
                  <a:pt x="185" y="144"/>
                </a:lnTo>
                <a:close/>
                <a:moveTo>
                  <a:pt x="185" y="201"/>
                </a:moveTo>
                <a:lnTo>
                  <a:pt x="230" y="201"/>
                </a:lnTo>
                <a:lnTo>
                  <a:pt x="230" y="246"/>
                </a:lnTo>
                <a:lnTo>
                  <a:pt x="185" y="246"/>
                </a:lnTo>
                <a:lnTo>
                  <a:pt x="185" y="201"/>
                </a:lnTo>
                <a:close/>
                <a:moveTo>
                  <a:pt x="129" y="88"/>
                </a:moveTo>
                <a:lnTo>
                  <a:pt x="174" y="88"/>
                </a:lnTo>
                <a:lnTo>
                  <a:pt x="174" y="133"/>
                </a:lnTo>
                <a:lnTo>
                  <a:pt x="129" y="133"/>
                </a:lnTo>
                <a:lnTo>
                  <a:pt x="129" y="88"/>
                </a:lnTo>
                <a:close/>
                <a:moveTo>
                  <a:pt x="129" y="144"/>
                </a:moveTo>
                <a:lnTo>
                  <a:pt x="174" y="144"/>
                </a:lnTo>
                <a:lnTo>
                  <a:pt x="174" y="189"/>
                </a:lnTo>
                <a:lnTo>
                  <a:pt x="129" y="189"/>
                </a:lnTo>
                <a:lnTo>
                  <a:pt x="129" y="144"/>
                </a:lnTo>
                <a:close/>
                <a:moveTo>
                  <a:pt x="129" y="201"/>
                </a:moveTo>
                <a:lnTo>
                  <a:pt x="174" y="201"/>
                </a:lnTo>
                <a:lnTo>
                  <a:pt x="174" y="246"/>
                </a:lnTo>
                <a:lnTo>
                  <a:pt x="129" y="246"/>
                </a:lnTo>
                <a:lnTo>
                  <a:pt x="129" y="201"/>
                </a:lnTo>
                <a:close/>
                <a:moveTo>
                  <a:pt x="287" y="270"/>
                </a:moveTo>
                <a:lnTo>
                  <a:pt x="103" y="270"/>
                </a:lnTo>
                <a:lnTo>
                  <a:pt x="103" y="86"/>
                </a:lnTo>
                <a:lnTo>
                  <a:pt x="115" y="86"/>
                </a:lnTo>
                <a:lnTo>
                  <a:pt x="115" y="258"/>
                </a:lnTo>
                <a:lnTo>
                  <a:pt x="115" y="258"/>
                </a:lnTo>
                <a:lnTo>
                  <a:pt x="115" y="258"/>
                </a:lnTo>
                <a:lnTo>
                  <a:pt x="287" y="258"/>
                </a:lnTo>
                <a:lnTo>
                  <a:pt x="287" y="270"/>
                </a:lnTo>
                <a:close/>
                <a:moveTo>
                  <a:pt x="288" y="246"/>
                </a:moveTo>
                <a:lnTo>
                  <a:pt x="243" y="246"/>
                </a:lnTo>
                <a:lnTo>
                  <a:pt x="243" y="201"/>
                </a:lnTo>
                <a:lnTo>
                  <a:pt x="288" y="201"/>
                </a:lnTo>
                <a:lnTo>
                  <a:pt x="288" y="246"/>
                </a:lnTo>
                <a:close/>
                <a:moveTo>
                  <a:pt x="288" y="189"/>
                </a:moveTo>
                <a:lnTo>
                  <a:pt x="243" y="189"/>
                </a:lnTo>
                <a:lnTo>
                  <a:pt x="243" y="144"/>
                </a:lnTo>
                <a:lnTo>
                  <a:pt x="288" y="144"/>
                </a:lnTo>
                <a:lnTo>
                  <a:pt x="288" y="189"/>
                </a:lnTo>
                <a:close/>
                <a:moveTo>
                  <a:pt x="288" y="133"/>
                </a:moveTo>
                <a:lnTo>
                  <a:pt x="243" y="133"/>
                </a:lnTo>
                <a:lnTo>
                  <a:pt x="243" y="88"/>
                </a:lnTo>
                <a:lnTo>
                  <a:pt x="288" y="88"/>
                </a:lnTo>
                <a:lnTo>
                  <a:pt x="288" y="133"/>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35"/>
          <p:cNvSpPr>
            <a:spLocks noChangeArrowheads="1"/>
          </p:cNvSpPr>
          <p:nvPr/>
        </p:nvSpPr>
        <p:spPr bwMode="auto">
          <a:xfrm>
            <a:off x="10493375" y="2600325"/>
            <a:ext cx="12430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tabl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9" name="Freeform 36"/>
          <p:cNvSpPr>
            <a:spLocks/>
          </p:cNvSpPr>
          <p:nvPr/>
        </p:nvSpPr>
        <p:spPr bwMode="auto">
          <a:xfrm>
            <a:off x="1603375" y="3438525"/>
            <a:ext cx="47625" cy="65088"/>
          </a:xfrm>
          <a:custGeom>
            <a:avLst/>
            <a:gdLst>
              <a:gd name="T0" fmla="*/ 41 w 46"/>
              <a:gd name="T1" fmla="*/ 10 h 64"/>
              <a:gd name="T2" fmla="*/ 34 w 46"/>
              <a:gd name="T3" fmla="*/ 3 h 64"/>
              <a:gd name="T4" fmla="*/ 24 w 46"/>
              <a:gd name="T5" fmla="*/ 0 h 64"/>
              <a:gd name="T6" fmla="*/ 13 w 46"/>
              <a:gd name="T7" fmla="*/ 3 h 64"/>
              <a:gd name="T8" fmla="*/ 6 w 46"/>
              <a:gd name="T9" fmla="*/ 10 h 64"/>
              <a:gd name="T10" fmla="*/ 2 w 46"/>
              <a:gd name="T11" fmla="*/ 20 h 64"/>
              <a:gd name="T12" fmla="*/ 0 w 46"/>
              <a:gd name="T13" fmla="*/ 32 h 64"/>
              <a:gd name="T14" fmla="*/ 2 w 46"/>
              <a:gd name="T15" fmla="*/ 47 h 64"/>
              <a:gd name="T16" fmla="*/ 7 w 46"/>
              <a:gd name="T17" fmla="*/ 57 h 64"/>
              <a:gd name="T18" fmla="*/ 15 w 46"/>
              <a:gd name="T19" fmla="*/ 63 h 64"/>
              <a:gd name="T20" fmla="*/ 23 w 46"/>
              <a:gd name="T21" fmla="*/ 64 h 64"/>
              <a:gd name="T22" fmla="*/ 32 w 46"/>
              <a:gd name="T23" fmla="*/ 63 h 64"/>
              <a:gd name="T24" fmla="*/ 39 w 46"/>
              <a:gd name="T25" fmla="*/ 57 h 64"/>
              <a:gd name="T26" fmla="*/ 44 w 46"/>
              <a:gd name="T27" fmla="*/ 47 h 64"/>
              <a:gd name="T28" fmla="*/ 46 w 46"/>
              <a:gd name="T29" fmla="*/ 33 h 64"/>
              <a:gd name="T30" fmla="*/ 45 w 46"/>
              <a:gd name="T31" fmla="*/ 20 h 64"/>
              <a:gd name="T32" fmla="*/ 41 w 46"/>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64">
                <a:moveTo>
                  <a:pt x="41" y="10"/>
                </a:moveTo>
                <a:cubicBezTo>
                  <a:pt x="39" y="7"/>
                  <a:pt x="37" y="4"/>
                  <a:pt x="34" y="3"/>
                </a:cubicBezTo>
                <a:cubicBezTo>
                  <a:pt x="31" y="1"/>
                  <a:pt x="28" y="0"/>
                  <a:pt x="24" y="0"/>
                </a:cubicBezTo>
                <a:cubicBezTo>
                  <a:pt x="20" y="0"/>
                  <a:pt x="16" y="1"/>
                  <a:pt x="13" y="3"/>
                </a:cubicBezTo>
                <a:cubicBezTo>
                  <a:pt x="10" y="4"/>
                  <a:pt x="8" y="7"/>
                  <a:pt x="6" y="10"/>
                </a:cubicBezTo>
                <a:cubicBezTo>
                  <a:pt x="4" y="13"/>
                  <a:pt x="3" y="16"/>
                  <a:pt x="2" y="20"/>
                </a:cubicBezTo>
                <a:cubicBezTo>
                  <a:pt x="1" y="24"/>
                  <a:pt x="0" y="28"/>
                  <a:pt x="0" y="32"/>
                </a:cubicBezTo>
                <a:cubicBezTo>
                  <a:pt x="0" y="38"/>
                  <a:pt x="1" y="43"/>
                  <a:pt x="2" y="47"/>
                </a:cubicBezTo>
                <a:cubicBezTo>
                  <a:pt x="4" y="51"/>
                  <a:pt x="5" y="54"/>
                  <a:pt x="7" y="57"/>
                </a:cubicBezTo>
                <a:cubicBezTo>
                  <a:pt x="9" y="60"/>
                  <a:pt x="12" y="62"/>
                  <a:pt x="15" y="63"/>
                </a:cubicBezTo>
                <a:cubicBezTo>
                  <a:pt x="17" y="64"/>
                  <a:pt x="20" y="64"/>
                  <a:pt x="23" y="64"/>
                </a:cubicBezTo>
                <a:cubicBezTo>
                  <a:pt x="26" y="64"/>
                  <a:pt x="29" y="64"/>
                  <a:pt x="32" y="63"/>
                </a:cubicBezTo>
                <a:cubicBezTo>
                  <a:pt x="35" y="62"/>
                  <a:pt x="37" y="59"/>
                  <a:pt x="39" y="57"/>
                </a:cubicBezTo>
                <a:cubicBezTo>
                  <a:pt x="41" y="54"/>
                  <a:pt x="43" y="51"/>
                  <a:pt x="44" y="47"/>
                </a:cubicBezTo>
                <a:cubicBezTo>
                  <a:pt x="45" y="43"/>
                  <a:pt x="46" y="39"/>
                  <a:pt x="46" y="33"/>
                </a:cubicBezTo>
                <a:cubicBezTo>
                  <a:pt x="46" y="29"/>
                  <a:pt x="46" y="24"/>
                  <a:pt x="45" y="20"/>
                </a:cubicBezTo>
                <a:cubicBezTo>
                  <a:pt x="44" y="16"/>
                  <a:pt x="42" y="13"/>
                  <a:pt x="41" y="1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7"/>
          <p:cNvSpPr>
            <a:spLocks noEditPoints="1"/>
          </p:cNvSpPr>
          <p:nvPr/>
        </p:nvSpPr>
        <p:spPr bwMode="auto">
          <a:xfrm>
            <a:off x="1389063" y="3136900"/>
            <a:ext cx="471488" cy="625475"/>
          </a:xfrm>
          <a:custGeom>
            <a:avLst/>
            <a:gdLst>
              <a:gd name="T0" fmla="*/ 0 w 462"/>
              <a:gd name="T1" fmla="*/ 91 h 615"/>
              <a:gd name="T2" fmla="*/ 231 w 462"/>
              <a:gd name="T3" fmla="*/ 615 h 615"/>
              <a:gd name="T4" fmla="*/ 462 w 462"/>
              <a:gd name="T5" fmla="*/ 93 h 615"/>
              <a:gd name="T6" fmla="*/ 162 w 462"/>
              <a:gd name="T7" fmla="*/ 361 h 615"/>
              <a:gd name="T8" fmla="*/ 152 w 462"/>
              <a:gd name="T9" fmla="*/ 379 h 615"/>
              <a:gd name="T10" fmla="*/ 128 w 462"/>
              <a:gd name="T11" fmla="*/ 391 h 615"/>
              <a:gd name="T12" fmla="*/ 98 w 462"/>
              <a:gd name="T13" fmla="*/ 392 h 615"/>
              <a:gd name="T14" fmla="*/ 80 w 462"/>
              <a:gd name="T15" fmla="*/ 388 h 615"/>
              <a:gd name="T16" fmla="*/ 73 w 462"/>
              <a:gd name="T17" fmla="*/ 352 h 615"/>
              <a:gd name="T18" fmla="*/ 89 w 462"/>
              <a:gd name="T19" fmla="*/ 361 h 615"/>
              <a:gd name="T20" fmla="*/ 108 w 462"/>
              <a:gd name="T21" fmla="*/ 365 h 615"/>
              <a:gd name="T22" fmla="*/ 118 w 462"/>
              <a:gd name="T23" fmla="*/ 362 h 615"/>
              <a:gd name="T24" fmla="*/ 121 w 462"/>
              <a:gd name="T25" fmla="*/ 356 h 615"/>
              <a:gd name="T26" fmla="*/ 115 w 462"/>
              <a:gd name="T27" fmla="*/ 347 h 615"/>
              <a:gd name="T28" fmla="*/ 101 w 462"/>
              <a:gd name="T29" fmla="*/ 341 h 615"/>
              <a:gd name="T30" fmla="*/ 78 w 462"/>
              <a:gd name="T31" fmla="*/ 325 h 615"/>
              <a:gd name="T32" fmla="*/ 71 w 462"/>
              <a:gd name="T33" fmla="*/ 304 h 615"/>
              <a:gd name="T34" fmla="*/ 85 w 462"/>
              <a:gd name="T35" fmla="*/ 275 h 615"/>
              <a:gd name="T36" fmla="*/ 122 w 462"/>
              <a:gd name="T37" fmla="*/ 264 h 615"/>
              <a:gd name="T38" fmla="*/ 143 w 462"/>
              <a:gd name="T39" fmla="*/ 266 h 615"/>
              <a:gd name="T40" fmla="*/ 156 w 462"/>
              <a:gd name="T41" fmla="*/ 269 h 615"/>
              <a:gd name="T42" fmla="*/ 150 w 462"/>
              <a:gd name="T43" fmla="*/ 298 h 615"/>
              <a:gd name="T44" fmla="*/ 134 w 462"/>
              <a:gd name="T45" fmla="*/ 293 h 615"/>
              <a:gd name="T46" fmla="*/ 115 w 462"/>
              <a:gd name="T47" fmla="*/ 294 h 615"/>
              <a:gd name="T48" fmla="*/ 112 w 462"/>
              <a:gd name="T49" fmla="*/ 304 h 615"/>
              <a:gd name="T50" fmla="*/ 120 w 462"/>
              <a:gd name="T51" fmla="*/ 310 h 615"/>
              <a:gd name="T52" fmla="*/ 142 w 462"/>
              <a:gd name="T53" fmla="*/ 320 h 615"/>
              <a:gd name="T54" fmla="*/ 160 w 462"/>
              <a:gd name="T55" fmla="*/ 339 h 615"/>
              <a:gd name="T56" fmla="*/ 162 w 462"/>
              <a:gd name="T57" fmla="*/ 361 h 615"/>
              <a:gd name="T58" fmla="*/ 228 w 462"/>
              <a:gd name="T59" fmla="*/ 392 h 615"/>
              <a:gd name="T60" fmla="*/ 188 w 462"/>
              <a:gd name="T61" fmla="*/ 374 h 615"/>
              <a:gd name="T62" fmla="*/ 171 w 462"/>
              <a:gd name="T63" fmla="*/ 330 h 615"/>
              <a:gd name="T64" fmla="*/ 189 w 462"/>
              <a:gd name="T65" fmla="*/ 283 h 615"/>
              <a:gd name="T66" fmla="*/ 234 w 462"/>
              <a:gd name="T67" fmla="*/ 264 h 615"/>
              <a:gd name="T68" fmla="*/ 278 w 462"/>
              <a:gd name="T69" fmla="*/ 282 h 615"/>
              <a:gd name="T70" fmla="*/ 295 w 462"/>
              <a:gd name="T71" fmla="*/ 328 h 615"/>
              <a:gd name="T72" fmla="*/ 286 w 462"/>
              <a:gd name="T73" fmla="*/ 364 h 615"/>
              <a:gd name="T74" fmla="*/ 261 w 462"/>
              <a:gd name="T75" fmla="*/ 386 h 615"/>
              <a:gd name="T76" fmla="*/ 255 w 462"/>
              <a:gd name="T77" fmla="*/ 422 h 615"/>
              <a:gd name="T78" fmla="*/ 393 w 462"/>
              <a:gd name="T79" fmla="*/ 390 h 615"/>
              <a:gd name="T80" fmla="*/ 313 w 462"/>
              <a:gd name="T81" fmla="*/ 266 h 615"/>
              <a:gd name="T82" fmla="*/ 350 w 462"/>
              <a:gd name="T83" fmla="*/ 361 h 615"/>
              <a:gd name="T84" fmla="*/ 393 w 462"/>
              <a:gd name="T85" fmla="*/ 390 h 615"/>
              <a:gd name="T86" fmla="*/ 231 w 462"/>
              <a:gd name="T87" fmla="*/ 133 h 615"/>
              <a:gd name="T88" fmla="*/ 231 w 462"/>
              <a:gd name="T89" fmla="*/ 33 h 615"/>
              <a:gd name="T90" fmla="*/ 231 w 462"/>
              <a:gd name="T91" fmla="*/ 13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5">
                <a:moveTo>
                  <a:pt x="231" y="0"/>
                </a:moveTo>
                <a:cubicBezTo>
                  <a:pt x="103" y="0"/>
                  <a:pt x="0" y="43"/>
                  <a:pt x="0" y="91"/>
                </a:cubicBezTo>
                <a:lnTo>
                  <a:pt x="0" y="523"/>
                </a:lnTo>
                <a:cubicBezTo>
                  <a:pt x="0" y="570"/>
                  <a:pt x="103" y="615"/>
                  <a:pt x="231" y="615"/>
                </a:cubicBezTo>
                <a:cubicBezTo>
                  <a:pt x="358" y="615"/>
                  <a:pt x="462" y="572"/>
                  <a:pt x="462" y="525"/>
                </a:cubicBezTo>
                <a:lnTo>
                  <a:pt x="462" y="93"/>
                </a:lnTo>
                <a:cubicBezTo>
                  <a:pt x="462" y="45"/>
                  <a:pt x="358" y="0"/>
                  <a:pt x="231" y="0"/>
                </a:cubicBezTo>
                <a:close/>
                <a:moveTo>
                  <a:pt x="162" y="361"/>
                </a:moveTo>
                <a:cubicBezTo>
                  <a:pt x="161" y="365"/>
                  <a:pt x="160" y="368"/>
                  <a:pt x="158" y="371"/>
                </a:cubicBezTo>
                <a:cubicBezTo>
                  <a:pt x="157" y="374"/>
                  <a:pt x="155" y="376"/>
                  <a:pt x="152" y="379"/>
                </a:cubicBezTo>
                <a:cubicBezTo>
                  <a:pt x="149" y="381"/>
                  <a:pt x="146" y="384"/>
                  <a:pt x="142" y="386"/>
                </a:cubicBezTo>
                <a:cubicBezTo>
                  <a:pt x="138" y="388"/>
                  <a:pt x="133" y="389"/>
                  <a:pt x="128" y="391"/>
                </a:cubicBezTo>
                <a:cubicBezTo>
                  <a:pt x="122" y="392"/>
                  <a:pt x="116" y="392"/>
                  <a:pt x="109" y="392"/>
                </a:cubicBezTo>
                <a:cubicBezTo>
                  <a:pt x="105" y="392"/>
                  <a:pt x="101" y="392"/>
                  <a:pt x="98" y="392"/>
                </a:cubicBezTo>
                <a:cubicBezTo>
                  <a:pt x="94" y="391"/>
                  <a:pt x="91" y="391"/>
                  <a:pt x="88" y="390"/>
                </a:cubicBezTo>
                <a:cubicBezTo>
                  <a:pt x="85" y="390"/>
                  <a:pt x="82" y="389"/>
                  <a:pt x="80" y="388"/>
                </a:cubicBezTo>
                <a:cubicBezTo>
                  <a:pt x="77" y="387"/>
                  <a:pt x="75" y="386"/>
                  <a:pt x="73" y="386"/>
                </a:cubicBezTo>
                <a:lnTo>
                  <a:pt x="73" y="352"/>
                </a:lnTo>
                <a:cubicBezTo>
                  <a:pt x="75" y="353"/>
                  <a:pt x="78" y="355"/>
                  <a:pt x="80" y="356"/>
                </a:cubicBezTo>
                <a:cubicBezTo>
                  <a:pt x="83" y="358"/>
                  <a:pt x="86" y="359"/>
                  <a:pt x="89" y="361"/>
                </a:cubicBezTo>
                <a:cubicBezTo>
                  <a:pt x="92" y="362"/>
                  <a:pt x="95" y="363"/>
                  <a:pt x="98" y="363"/>
                </a:cubicBezTo>
                <a:cubicBezTo>
                  <a:pt x="102" y="364"/>
                  <a:pt x="105" y="365"/>
                  <a:pt x="108" y="365"/>
                </a:cubicBezTo>
                <a:cubicBezTo>
                  <a:pt x="110" y="365"/>
                  <a:pt x="113" y="364"/>
                  <a:pt x="114" y="364"/>
                </a:cubicBezTo>
                <a:cubicBezTo>
                  <a:pt x="116" y="363"/>
                  <a:pt x="117" y="363"/>
                  <a:pt x="118" y="362"/>
                </a:cubicBezTo>
                <a:cubicBezTo>
                  <a:pt x="119" y="361"/>
                  <a:pt x="120" y="360"/>
                  <a:pt x="120" y="359"/>
                </a:cubicBezTo>
                <a:cubicBezTo>
                  <a:pt x="121" y="358"/>
                  <a:pt x="121" y="357"/>
                  <a:pt x="121" y="356"/>
                </a:cubicBezTo>
                <a:cubicBezTo>
                  <a:pt x="121" y="354"/>
                  <a:pt x="120" y="352"/>
                  <a:pt x="119" y="351"/>
                </a:cubicBezTo>
                <a:cubicBezTo>
                  <a:pt x="118" y="350"/>
                  <a:pt x="117" y="348"/>
                  <a:pt x="115" y="347"/>
                </a:cubicBezTo>
                <a:cubicBezTo>
                  <a:pt x="114" y="346"/>
                  <a:pt x="112" y="345"/>
                  <a:pt x="109" y="344"/>
                </a:cubicBezTo>
                <a:cubicBezTo>
                  <a:pt x="107" y="343"/>
                  <a:pt x="104" y="342"/>
                  <a:pt x="101" y="341"/>
                </a:cubicBezTo>
                <a:cubicBezTo>
                  <a:pt x="96" y="339"/>
                  <a:pt x="91" y="336"/>
                  <a:pt x="88" y="334"/>
                </a:cubicBezTo>
                <a:cubicBezTo>
                  <a:pt x="84" y="331"/>
                  <a:pt x="81" y="328"/>
                  <a:pt x="78" y="325"/>
                </a:cubicBezTo>
                <a:cubicBezTo>
                  <a:pt x="76" y="322"/>
                  <a:pt x="74" y="318"/>
                  <a:pt x="73" y="315"/>
                </a:cubicBezTo>
                <a:cubicBezTo>
                  <a:pt x="72" y="311"/>
                  <a:pt x="71" y="308"/>
                  <a:pt x="71" y="304"/>
                </a:cubicBezTo>
                <a:cubicBezTo>
                  <a:pt x="71" y="298"/>
                  <a:pt x="73" y="292"/>
                  <a:pt x="75" y="287"/>
                </a:cubicBezTo>
                <a:cubicBezTo>
                  <a:pt x="77" y="282"/>
                  <a:pt x="81" y="278"/>
                  <a:pt x="85" y="275"/>
                </a:cubicBezTo>
                <a:cubicBezTo>
                  <a:pt x="90" y="272"/>
                  <a:pt x="95" y="269"/>
                  <a:pt x="101" y="267"/>
                </a:cubicBezTo>
                <a:cubicBezTo>
                  <a:pt x="107" y="265"/>
                  <a:pt x="114" y="264"/>
                  <a:pt x="122" y="264"/>
                </a:cubicBezTo>
                <a:cubicBezTo>
                  <a:pt x="126" y="264"/>
                  <a:pt x="130" y="264"/>
                  <a:pt x="133" y="265"/>
                </a:cubicBezTo>
                <a:cubicBezTo>
                  <a:pt x="137" y="265"/>
                  <a:pt x="140" y="265"/>
                  <a:pt x="143" y="266"/>
                </a:cubicBezTo>
                <a:cubicBezTo>
                  <a:pt x="145" y="266"/>
                  <a:pt x="148" y="267"/>
                  <a:pt x="150" y="267"/>
                </a:cubicBezTo>
                <a:cubicBezTo>
                  <a:pt x="152" y="268"/>
                  <a:pt x="154" y="269"/>
                  <a:pt x="156" y="269"/>
                </a:cubicBezTo>
                <a:lnTo>
                  <a:pt x="156" y="301"/>
                </a:lnTo>
                <a:cubicBezTo>
                  <a:pt x="154" y="300"/>
                  <a:pt x="152" y="299"/>
                  <a:pt x="150" y="298"/>
                </a:cubicBezTo>
                <a:cubicBezTo>
                  <a:pt x="148" y="297"/>
                  <a:pt x="145" y="296"/>
                  <a:pt x="143" y="295"/>
                </a:cubicBezTo>
                <a:cubicBezTo>
                  <a:pt x="140" y="294"/>
                  <a:pt x="137" y="293"/>
                  <a:pt x="134" y="293"/>
                </a:cubicBezTo>
                <a:cubicBezTo>
                  <a:pt x="131" y="292"/>
                  <a:pt x="128" y="292"/>
                  <a:pt x="125" y="292"/>
                </a:cubicBezTo>
                <a:cubicBezTo>
                  <a:pt x="121" y="292"/>
                  <a:pt x="118" y="293"/>
                  <a:pt x="115" y="294"/>
                </a:cubicBezTo>
                <a:cubicBezTo>
                  <a:pt x="113" y="296"/>
                  <a:pt x="111" y="298"/>
                  <a:pt x="111" y="301"/>
                </a:cubicBezTo>
                <a:cubicBezTo>
                  <a:pt x="111" y="302"/>
                  <a:pt x="112" y="303"/>
                  <a:pt x="112" y="304"/>
                </a:cubicBezTo>
                <a:cubicBezTo>
                  <a:pt x="113" y="306"/>
                  <a:pt x="114" y="307"/>
                  <a:pt x="115" y="307"/>
                </a:cubicBezTo>
                <a:cubicBezTo>
                  <a:pt x="116" y="308"/>
                  <a:pt x="118" y="309"/>
                  <a:pt x="120" y="310"/>
                </a:cubicBezTo>
                <a:cubicBezTo>
                  <a:pt x="122" y="312"/>
                  <a:pt x="124" y="313"/>
                  <a:pt x="127" y="314"/>
                </a:cubicBezTo>
                <a:cubicBezTo>
                  <a:pt x="132" y="316"/>
                  <a:pt x="137" y="318"/>
                  <a:pt x="142" y="320"/>
                </a:cubicBezTo>
                <a:cubicBezTo>
                  <a:pt x="146" y="323"/>
                  <a:pt x="149" y="326"/>
                  <a:pt x="153" y="329"/>
                </a:cubicBezTo>
                <a:cubicBezTo>
                  <a:pt x="156" y="332"/>
                  <a:pt x="158" y="335"/>
                  <a:pt x="160" y="339"/>
                </a:cubicBezTo>
                <a:cubicBezTo>
                  <a:pt x="162" y="343"/>
                  <a:pt x="163" y="348"/>
                  <a:pt x="163" y="353"/>
                </a:cubicBezTo>
                <a:cubicBezTo>
                  <a:pt x="163" y="356"/>
                  <a:pt x="162" y="359"/>
                  <a:pt x="162" y="361"/>
                </a:cubicBezTo>
                <a:close/>
                <a:moveTo>
                  <a:pt x="255" y="422"/>
                </a:moveTo>
                <a:lnTo>
                  <a:pt x="228" y="392"/>
                </a:lnTo>
                <a:cubicBezTo>
                  <a:pt x="220" y="392"/>
                  <a:pt x="213" y="390"/>
                  <a:pt x="206" y="387"/>
                </a:cubicBezTo>
                <a:cubicBezTo>
                  <a:pt x="199" y="384"/>
                  <a:pt x="193" y="380"/>
                  <a:pt x="188" y="374"/>
                </a:cubicBezTo>
                <a:cubicBezTo>
                  <a:pt x="182" y="369"/>
                  <a:pt x="178" y="363"/>
                  <a:pt x="175" y="355"/>
                </a:cubicBezTo>
                <a:cubicBezTo>
                  <a:pt x="172" y="348"/>
                  <a:pt x="171" y="339"/>
                  <a:pt x="171" y="330"/>
                </a:cubicBezTo>
                <a:cubicBezTo>
                  <a:pt x="171" y="320"/>
                  <a:pt x="172" y="311"/>
                  <a:pt x="175" y="303"/>
                </a:cubicBezTo>
                <a:cubicBezTo>
                  <a:pt x="179" y="295"/>
                  <a:pt x="183" y="288"/>
                  <a:pt x="189" y="283"/>
                </a:cubicBezTo>
                <a:cubicBezTo>
                  <a:pt x="194" y="277"/>
                  <a:pt x="201" y="272"/>
                  <a:pt x="209" y="269"/>
                </a:cubicBezTo>
                <a:cubicBezTo>
                  <a:pt x="216" y="266"/>
                  <a:pt x="225" y="264"/>
                  <a:pt x="234" y="264"/>
                </a:cubicBezTo>
                <a:cubicBezTo>
                  <a:pt x="243" y="264"/>
                  <a:pt x="251" y="266"/>
                  <a:pt x="259" y="269"/>
                </a:cubicBezTo>
                <a:cubicBezTo>
                  <a:pt x="266" y="272"/>
                  <a:pt x="273" y="276"/>
                  <a:pt x="278" y="282"/>
                </a:cubicBezTo>
                <a:cubicBezTo>
                  <a:pt x="284" y="287"/>
                  <a:pt x="288" y="294"/>
                  <a:pt x="291" y="302"/>
                </a:cubicBezTo>
                <a:cubicBezTo>
                  <a:pt x="294" y="309"/>
                  <a:pt x="295" y="318"/>
                  <a:pt x="295" y="328"/>
                </a:cubicBezTo>
                <a:cubicBezTo>
                  <a:pt x="295" y="335"/>
                  <a:pt x="295" y="342"/>
                  <a:pt x="293" y="348"/>
                </a:cubicBezTo>
                <a:cubicBezTo>
                  <a:pt x="291" y="354"/>
                  <a:pt x="289" y="359"/>
                  <a:pt x="286" y="364"/>
                </a:cubicBezTo>
                <a:cubicBezTo>
                  <a:pt x="283" y="369"/>
                  <a:pt x="279" y="374"/>
                  <a:pt x="275" y="377"/>
                </a:cubicBezTo>
                <a:cubicBezTo>
                  <a:pt x="271" y="381"/>
                  <a:pt x="266" y="384"/>
                  <a:pt x="261" y="386"/>
                </a:cubicBezTo>
                <a:lnTo>
                  <a:pt x="303" y="422"/>
                </a:lnTo>
                <a:lnTo>
                  <a:pt x="255" y="422"/>
                </a:lnTo>
                <a:lnTo>
                  <a:pt x="255" y="422"/>
                </a:lnTo>
                <a:close/>
                <a:moveTo>
                  <a:pt x="393" y="390"/>
                </a:moveTo>
                <a:lnTo>
                  <a:pt x="313" y="390"/>
                </a:lnTo>
                <a:lnTo>
                  <a:pt x="313" y="266"/>
                </a:lnTo>
                <a:lnTo>
                  <a:pt x="350" y="266"/>
                </a:lnTo>
                <a:lnTo>
                  <a:pt x="350" y="361"/>
                </a:lnTo>
                <a:lnTo>
                  <a:pt x="393" y="361"/>
                </a:lnTo>
                <a:lnTo>
                  <a:pt x="393" y="390"/>
                </a:lnTo>
                <a:lnTo>
                  <a:pt x="393" y="390"/>
                </a:lnTo>
                <a:close/>
                <a:moveTo>
                  <a:pt x="231" y="133"/>
                </a:moveTo>
                <a:cubicBezTo>
                  <a:pt x="140" y="133"/>
                  <a:pt x="66" y="111"/>
                  <a:pt x="66" y="83"/>
                </a:cubicBezTo>
                <a:cubicBezTo>
                  <a:pt x="66" y="55"/>
                  <a:pt x="140" y="33"/>
                  <a:pt x="231" y="33"/>
                </a:cubicBezTo>
                <a:cubicBezTo>
                  <a:pt x="322" y="33"/>
                  <a:pt x="395" y="55"/>
                  <a:pt x="395" y="83"/>
                </a:cubicBezTo>
                <a:cubicBezTo>
                  <a:pt x="395" y="111"/>
                  <a:pt x="322" y="133"/>
                  <a:pt x="231" y="133"/>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Rectangle 38"/>
          <p:cNvSpPr>
            <a:spLocks noChangeArrowheads="1"/>
          </p:cNvSpPr>
          <p:nvPr/>
        </p:nvSpPr>
        <p:spPr bwMode="auto">
          <a:xfrm>
            <a:off x="1041400" y="3783013"/>
            <a:ext cx="132556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QL databas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2" name="Rectangle 39"/>
          <p:cNvSpPr>
            <a:spLocks noChangeArrowheads="1"/>
          </p:cNvSpPr>
          <p:nvPr/>
        </p:nvSpPr>
        <p:spPr bwMode="auto">
          <a:xfrm>
            <a:off x="1254125" y="4017963"/>
            <a:ext cx="1635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3" name="Rectangle 40"/>
          <p:cNvSpPr>
            <a:spLocks noChangeArrowheads="1"/>
          </p:cNvSpPr>
          <p:nvPr/>
        </p:nvSpPr>
        <p:spPr bwMode="auto">
          <a:xfrm>
            <a:off x="1312863" y="4017963"/>
            <a:ext cx="7366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eneric</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4" name="Rectangle 41"/>
          <p:cNvSpPr>
            <a:spLocks noChangeArrowheads="1"/>
          </p:cNvSpPr>
          <p:nvPr/>
        </p:nvSpPr>
        <p:spPr bwMode="auto">
          <a:xfrm>
            <a:off x="1951038" y="4017963"/>
            <a:ext cx="2127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5" name="Freeform 42"/>
          <p:cNvSpPr>
            <a:spLocks noEditPoints="1"/>
          </p:cNvSpPr>
          <p:nvPr/>
        </p:nvSpPr>
        <p:spPr bwMode="auto">
          <a:xfrm>
            <a:off x="7874000" y="1976438"/>
            <a:ext cx="698500" cy="596900"/>
          </a:xfrm>
          <a:custGeom>
            <a:avLst/>
            <a:gdLst>
              <a:gd name="T0" fmla="*/ 538 w 683"/>
              <a:gd name="T1" fmla="*/ 229 h 586"/>
              <a:gd name="T2" fmla="*/ 517 w 683"/>
              <a:gd name="T3" fmla="*/ 0 h 586"/>
              <a:gd name="T4" fmla="*/ 0 w 683"/>
              <a:gd name="T5" fmla="*/ 21 h 586"/>
              <a:gd name="T6" fmla="*/ 21 w 683"/>
              <a:gd name="T7" fmla="*/ 459 h 586"/>
              <a:gd name="T8" fmla="*/ 376 w 683"/>
              <a:gd name="T9" fmla="*/ 586 h 586"/>
              <a:gd name="T10" fmla="*/ 683 w 683"/>
              <a:gd name="T11" fmla="*/ 408 h 586"/>
              <a:gd name="T12" fmla="*/ 399 w 683"/>
              <a:gd name="T13" fmla="*/ 120 h 586"/>
              <a:gd name="T14" fmla="*/ 498 w 683"/>
              <a:gd name="T15" fmla="*/ 180 h 586"/>
              <a:gd name="T16" fmla="*/ 399 w 683"/>
              <a:gd name="T17" fmla="*/ 120 h 586"/>
              <a:gd name="T18" fmla="*/ 498 w 683"/>
              <a:gd name="T19" fmla="*/ 229 h 586"/>
              <a:gd name="T20" fmla="*/ 399 w 683"/>
              <a:gd name="T21" fmla="*/ 199 h 586"/>
              <a:gd name="T22" fmla="*/ 279 w 683"/>
              <a:gd name="T23" fmla="*/ 120 h 586"/>
              <a:gd name="T24" fmla="*/ 379 w 683"/>
              <a:gd name="T25" fmla="*/ 180 h 586"/>
              <a:gd name="T26" fmla="*/ 279 w 683"/>
              <a:gd name="T27" fmla="*/ 120 h 586"/>
              <a:gd name="T28" fmla="*/ 379 w 683"/>
              <a:gd name="T29" fmla="*/ 199 h 586"/>
              <a:gd name="T30" fmla="*/ 377 w 683"/>
              <a:gd name="T31" fmla="*/ 229 h 586"/>
              <a:gd name="T32" fmla="*/ 279 w 683"/>
              <a:gd name="T33" fmla="*/ 259 h 586"/>
              <a:gd name="T34" fmla="*/ 279 w 683"/>
              <a:gd name="T35" fmla="*/ 279 h 586"/>
              <a:gd name="T36" fmla="*/ 313 w 683"/>
              <a:gd name="T37" fmla="*/ 339 h 586"/>
              <a:gd name="T38" fmla="*/ 279 w 683"/>
              <a:gd name="T39" fmla="*/ 279 h 586"/>
              <a:gd name="T40" fmla="*/ 279 w 683"/>
              <a:gd name="T41" fmla="*/ 397 h 586"/>
              <a:gd name="T42" fmla="*/ 302 w 683"/>
              <a:gd name="T43" fmla="*/ 358 h 586"/>
              <a:gd name="T44" fmla="*/ 41 w 683"/>
              <a:gd name="T45" fmla="*/ 418 h 586"/>
              <a:gd name="T46" fmla="*/ 141 w 683"/>
              <a:gd name="T47" fmla="*/ 358 h 586"/>
              <a:gd name="T48" fmla="*/ 141 w 683"/>
              <a:gd name="T49" fmla="*/ 339 h 586"/>
              <a:gd name="T50" fmla="*/ 41 w 683"/>
              <a:gd name="T51" fmla="*/ 279 h 586"/>
              <a:gd name="T52" fmla="*/ 141 w 683"/>
              <a:gd name="T53" fmla="*/ 339 h 586"/>
              <a:gd name="T54" fmla="*/ 41 w 683"/>
              <a:gd name="T55" fmla="*/ 259 h 586"/>
              <a:gd name="T56" fmla="*/ 141 w 683"/>
              <a:gd name="T57" fmla="*/ 199 h 586"/>
              <a:gd name="T58" fmla="*/ 141 w 683"/>
              <a:gd name="T59" fmla="*/ 180 h 586"/>
              <a:gd name="T60" fmla="*/ 41 w 683"/>
              <a:gd name="T61" fmla="*/ 120 h 586"/>
              <a:gd name="T62" fmla="*/ 141 w 683"/>
              <a:gd name="T63" fmla="*/ 180 h 586"/>
              <a:gd name="T64" fmla="*/ 161 w 683"/>
              <a:gd name="T65" fmla="*/ 418 h 586"/>
              <a:gd name="T66" fmla="*/ 260 w 683"/>
              <a:gd name="T67" fmla="*/ 358 h 586"/>
              <a:gd name="T68" fmla="*/ 260 w 683"/>
              <a:gd name="T69" fmla="*/ 339 h 586"/>
              <a:gd name="T70" fmla="*/ 161 w 683"/>
              <a:gd name="T71" fmla="*/ 279 h 586"/>
              <a:gd name="T72" fmla="*/ 260 w 683"/>
              <a:gd name="T73" fmla="*/ 339 h 586"/>
              <a:gd name="T74" fmla="*/ 161 w 683"/>
              <a:gd name="T75" fmla="*/ 259 h 586"/>
              <a:gd name="T76" fmla="*/ 260 w 683"/>
              <a:gd name="T77" fmla="*/ 199 h 586"/>
              <a:gd name="T78" fmla="*/ 260 w 683"/>
              <a:gd name="T79" fmla="*/ 180 h 586"/>
              <a:gd name="T80" fmla="*/ 161 w 683"/>
              <a:gd name="T81" fmla="*/ 120 h 586"/>
              <a:gd name="T82" fmla="*/ 260 w 683"/>
              <a:gd name="T83" fmla="*/ 180 h 586"/>
              <a:gd name="T84" fmla="*/ 279 w 683"/>
              <a:gd name="T85" fmla="*/ 41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6">
                <a:moveTo>
                  <a:pt x="583"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6"/>
                </a:lnTo>
                <a:lnTo>
                  <a:pt x="581" y="586"/>
                </a:lnTo>
                <a:lnTo>
                  <a:pt x="683" y="408"/>
                </a:lnTo>
                <a:lnTo>
                  <a:pt x="583"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9" y="120"/>
                </a:lnTo>
                <a:lnTo>
                  <a:pt x="379" y="180"/>
                </a:lnTo>
                <a:lnTo>
                  <a:pt x="279" y="180"/>
                </a:lnTo>
                <a:lnTo>
                  <a:pt x="279" y="120"/>
                </a:lnTo>
                <a:close/>
                <a:moveTo>
                  <a:pt x="279" y="199"/>
                </a:moveTo>
                <a:lnTo>
                  <a:pt x="379" y="199"/>
                </a:lnTo>
                <a:lnTo>
                  <a:pt x="379"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7"/>
                </a:lnTo>
                <a:lnTo>
                  <a:pt x="279" y="358"/>
                </a:lnTo>
                <a:lnTo>
                  <a:pt x="302" y="358"/>
                </a:lnTo>
                <a:close/>
                <a:moveTo>
                  <a:pt x="141" y="418"/>
                </a:moveTo>
                <a:lnTo>
                  <a:pt x="41" y="418"/>
                </a:lnTo>
                <a:lnTo>
                  <a:pt x="41" y="358"/>
                </a:lnTo>
                <a:lnTo>
                  <a:pt x="141" y="358"/>
                </a:lnTo>
                <a:lnTo>
                  <a:pt x="141" y="418"/>
                </a:lnTo>
                <a:close/>
                <a:moveTo>
                  <a:pt x="141" y="339"/>
                </a:moveTo>
                <a:lnTo>
                  <a:pt x="41" y="339"/>
                </a:lnTo>
                <a:lnTo>
                  <a:pt x="41" y="279"/>
                </a:lnTo>
                <a:lnTo>
                  <a:pt x="141" y="279"/>
                </a:lnTo>
                <a:lnTo>
                  <a:pt x="141" y="339"/>
                </a:lnTo>
                <a:close/>
                <a:moveTo>
                  <a:pt x="141" y="259"/>
                </a:moveTo>
                <a:lnTo>
                  <a:pt x="41" y="259"/>
                </a:lnTo>
                <a:lnTo>
                  <a:pt x="41" y="199"/>
                </a:lnTo>
                <a:lnTo>
                  <a:pt x="141" y="199"/>
                </a:lnTo>
                <a:lnTo>
                  <a:pt x="141" y="259"/>
                </a:lnTo>
                <a:close/>
                <a:moveTo>
                  <a:pt x="141" y="180"/>
                </a:moveTo>
                <a:lnTo>
                  <a:pt x="41" y="180"/>
                </a:lnTo>
                <a:lnTo>
                  <a:pt x="41" y="120"/>
                </a:lnTo>
                <a:lnTo>
                  <a:pt x="141" y="120"/>
                </a:lnTo>
                <a:lnTo>
                  <a:pt x="141"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6"/>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43"/>
          <p:cNvSpPr>
            <a:spLocks noChangeArrowheads="1"/>
          </p:cNvSpPr>
          <p:nvPr/>
        </p:nvSpPr>
        <p:spPr bwMode="auto">
          <a:xfrm>
            <a:off x="7561263" y="2582863"/>
            <a:ext cx="8175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Storag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7" name="Rectangle 44"/>
          <p:cNvSpPr>
            <a:spLocks noChangeArrowheads="1"/>
          </p:cNvSpPr>
          <p:nvPr/>
        </p:nvSpPr>
        <p:spPr bwMode="auto">
          <a:xfrm>
            <a:off x="8286750"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8" name="Rectangle 45"/>
          <p:cNvSpPr>
            <a:spLocks noChangeArrowheads="1"/>
          </p:cNvSpPr>
          <p:nvPr/>
        </p:nvSpPr>
        <p:spPr bwMode="auto">
          <a:xfrm>
            <a:off x="8345488" y="2582863"/>
            <a:ext cx="5889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zur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9" name="Rectangle 46"/>
          <p:cNvSpPr>
            <a:spLocks noChangeArrowheads="1"/>
          </p:cNvSpPr>
          <p:nvPr/>
        </p:nvSpPr>
        <p:spPr bwMode="auto">
          <a:xfrm>
            <a:off x="8842375"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90" name="Freeform 47"/>
          <p:cNvSpPr>
            <a:spLocks noEditPoints="1"/>
          </p:cNvSpPr>
          <p:nvPr/>
        </p:nvSpPr>
        <p:spPr bwMode="auto">
          <a:xfrm>
            <a:off x="2636838" y="1957388"/>
            <a:ext cx="698500" cy="615950"/>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3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1"/>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1"/>
                  <a:pt x="158" y="63"/>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8"/>
          <p:cNvSpPr>
            <a:spLocks/>
          </p:cNvSpPr>
          <p:nvPr/>
        </p:nvSpPr>
        <p:spPr bwMode="auto">
          <a:xfrm>
            <a:off x="2765425" y="2270125"/>
            <a:ext cx="80963" cy="204788"/>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2"/>
                  <a:pt x="48" y="16"/>
                  <a:pt x="36" y="0"/>
                </a:cubicBezTo>
                <a:cubicBezTo>
                  <a:pt x="11" y="51"/>
                  <a:pt x="2" y="104"/>
                  <a:pt x="0" y="147"/>
                </a:cubicBezTo>
                <a:cubicBezTo>
                  <a:pt x="2" y="150"/>
                  <a:pt x="2" y="153"/>
                  <a:pt x="5" y="156"/>
                </a:cubicBezTo>
                <a:cubicBezTo>
                  <a:pt x="18" y="172"/>
                  <a:pt x="33" y="187"/>
                  <a:pt x="49" y="200"/>
                </a:cubicBezTo>
                <a:cubicBezTo>
                  <a:pt x="46" y="165"/>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49"/>
          <p:cNvSpPr>
            <a:spLocks/>
          </p:cNvSpPr>
          <p:nvPr/>
        </p:nvSpPr>
        <p:spPr bwMode="auto">
          <a:xfrm>
            <a:off x="2828925" y="2116138"/>
            <a:ext cx="161925" cy="16351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7"/>
                  <a:pt x="60" y="37"/>
                  <a:pt x="36" y="64"/>
                </a:cubicBezTo>
                <a:cubicBezTo>
                  <a:pt x="22" y="78"/>
                  <a:pt x="11" y="93"/>
                  <a:pt x="0" y="107"/>
                </a:cubicBezTo>
                <a:cubicBezTo>
                  <a:pt x="11" y="124"/>
                  <a:pt x="25" y="142"/>
                  <a:pt x="42" y="160"/>
                </a:cubicBezTo>
                <a:cubicBezTo>
                  <a:pt x="55" y="142"/>
                  <a:pt x="71" y="123"/>
                  <a:pt x="90" y="105"/>
                </a:cubicBezTo>
                <a:cubicBezTo>
                  <a:pt x="115" y="83"/>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50"/>
          <p:cNvSpPr>
            <a:spLocks/>
          </p:cNvSpPr>
          <p:nvPr/>
        </p:nvSpPr>
        <p:spPr bwMode="auto">
          <a:xfrm>
            <a:off x="2978150" y="2052638"/>
            <a:ext cx="219075" cy="90488"/>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1"/>
                  <a:pt x="0" y="39"/>
                </a:cubicBezTo>
                <a:cubicBezTo>
                  <a:pt x="17" y="57"/>
                  <a:pt x="33" y="74"/>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51"/>
          <p:cNvSpPr>
            <a:spLocks/>
          </p:cNvSpPr>
          <p:nvPr/>
        </p:nvSpPr>
        <p:spPr bwMode="auto">
          <a:xfrm>
            <a:off x="2754313" y="2076450"/>
            <a:ext cx="74613" cy="193675"/>
          </a:xfrm>
          <a:custGeom>
            <a:avLst/>
            <a:gdLst>
              <a:gd name="T0" fmla="*/ 46 w 72"/>
              <a:gd name="T1" fmla="*/ 190 h 190"/>
              <a:gd name="T2" fmla="*/ 72 w 72"/>
              <a:gd name="T3" fmla="*/ 145 h 190"/>
              <a:gd name="T4" fmla="*/ 37 w 72"/>
              <a:gd name="T5" fmla="*/ 0 h 190"/>
              <a:gd name="T6" fmla="*/ 9 w 72"/>
              <a:gd name="T7" fmla="*/ 35 h 190"/>
              <a:gd name="T8" fmla="*/ 46 w 72"/>
              <a:gd name="T9" fmla="*/ 190 h 190"/>
            </a:gdLst>
            <a:ahLst/>
            <a:cxnLst>
              <a:cxn ang="0">
                <a:pos x="T0" y="T1"/>
              </a:cxn>
              <a:cxn ang="0">
                <a:pos x="T2" y="T3"/>
              </a:cxn>
              <a:cxn ang="0">
                <a:pos x="T4" y="T5"/>
              </a:cxn>
              <a:cxn ang="0">
                <a:pos x="T6" y="T7"/>
              </a:cxn>
              <a:cxn ang="0">
                <a:pos x="T8" y="T9"/>
              </a:cxn>
            </a:cxnLst>
            <a:rect l="0" t="0" r="r" b="b"/>
            <a:pathLst>
              <a:path w="72" h="190">
                <a:moveTo>
                  <a:pt x="46" y="190"/>
                </a:moveTo>
                <a:cubicBezTo>
                  <a:pt x="54" y="175"/>
                  <a:pt x="62" y="160"/>
                  <a:pt x="72" y="145"/>
                </a:cubicBezTo>
                <a:cubicBezTo>
                  <a:pt x="31" y="80"/>
                  <a:pt x="33" y="26"/>
                  <a:pt x="37" y="0"/>
                </a:cubicBezTo>
                <a:cubicBezTo>
                  <a:pt x="27" y="11"/>
                  <a:pt x="17" y="23"/>
                  <a:pt x="9" y="35"/>
                </a:cubicBezTo>
                <a:cubicBezTo>
                  <a:pt x="1" y="69"/>
                  <a:pt x="0" y="124"/>
                  <a:pt x="46" y="19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52"/>
          <p:cNvSpPr>
            <a:spLocks/>
          </p:cNvSpPr>
          <p:nvPr/>
        </p:nvSpPr>
        <p:spPr bwMode="auto">
          <a:xfrm>
            <a:off x="2846388" y="2279650"/>
            <a:ext cx="361950" cy="179388"/>
          </a:xfrm>
          <a:custGeom>
            <a:avLst/>
            <a:gdLst>
              <a:gd name="T0" fmla="*/ 75 w 355"/>
              <a:gd name="T1" fmla="*/ 46 h 176"/>
              <a:gd name="T2" fmla="*/ 25 w 355"/>
              <a:gd name="T3" fmla="*/ 0 h 176"/>
              <a:gd name="T4" fmla="*/ 0 w 355"/>
              <a:gd name="T5" fmla="*/ 42 h 176"/>
              <a:gd name="T6" fmla="*/ 46 w 355"/>
              <a:gd name="T7" fmla="*/ 82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5"/>
                </a:cubicBezTo>
                <a:cubicBezTo>
                  <a:pt x="328" y="140"/>
                  <a:pt x="213" y="155"/>
                  <a:pt x="75"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53"/>
          <p:cNvSpPr>
            <a:spLocks/>
          </p:cNvSpPr>
          <p:nvPr/>
        </p:nvSpPr>
        <p:spPr bwMode="auto">
          <a:xfrm>
            <a:off x="2801938" y="2225675"/>
            <a:ext cx="69850" cy="96838"/>
          </a:xfrm>
          <a:custGeom>
            <a:avLst/>
            <a:gdLst>
              <a:gd name="T0" fmla="*/ 0 w 68"/>
              <a:gd name="T1" fmla="*/ 45 h 95"/>
              <a:gd name="T2" fmla="*/ 43 w 68"/>
              <a:gd name="T3" fmla="*/ 95 h 95"/>
              <a:gd name="T4" fmla="*/ 68 w 68"/>
              <a:gd name="T5" fmla="*/ 53 h 95"/>
              <a:gd name="T6" fmla="*/ 26 w 68"/>
              <a:gd name="T7" fmla="*/ 0 h 95"/>
              <a:gd name="T8" fmla="*/ 0 w 68"/>
              <a:gd name="T9" fmla="*/ 45 h 95"/>
            </a:gdLst>
            <a:ahLst/>
            <a:cxnLst>
              <a:cxn ang="0">
                <a:pos x="T0" y="T1"/>
              </a:cxn>
              <a:cxn ang="0">
                <a:pos x="T2" y="T3"/>
              </a:cxn>
              <a:cxn ang="0">
                <a:pos x="T4" y="T5"/>
              </a:cxn>
              <a:cxn ang="0">
                <a:pos x="T6" y="T7"/>
              </a:cxn>
              <a:cxn ang="0">
                <a:pos x="T8" y="T9"/>
              </a:cxn>
            </a:cxnLst>
            <a:rect l="0" t="0" r="r" b="b"/>
            <a:pathLst>
              <a:path w="68" h="95">
                <a:moveTo>
                  <a:pt x="0" y="45"/>
                </a:moveTo>
                <a:cubicBezTo>
                  <a:pt x="12" y="61"/>
                  <a:pt x="26" y="77"/>
                  <a:pt x="43" y="95"/>
                </a:cubicBezTo>
                <a:cubicBezTo>
                  <a:pt x="50" y="81"/>
                  <a:pt x="58" y="67"/>
                  <a:pt x="68" y="53"/>
                </a:cubicBezTo>
                <a:cubicBezTo>
                  <a:pt x="51" y="35"/>
                  <a:pt x="37" y="17"/>
                  <a:pt x="26" y="0"/>
                </a:cubicBezTo>
                <a:cubicBezTo>
                  <a:pt x="16" y="15"/>
                  <a:pt x="8" y="30"/>
                  <a:pt x="0"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54"/>
          <p:cNvSpPr>
            <a:spLocks/>
          </p:cNvSpPr>
          <p:nvPr/>
        </p:nvSpPr>
        <p:spPr bwMode="auto">
          <a:xfrm>
            <a:off x="2990850" y="2143125"/>
            <a:ext cx="257175" cy="215900"/>
          </a:xfrm>
          <a:custGeom>
            <a:avLst/>
            <a:gdLst>
              <a:gd name="T0" fmla="*/ 0 w 251"/>
              <a:gd name="T1" fmla="*/ 23 h 211"/>
              <a:gd name="T2" fmla="*/ 244 w 251"/>
              <a:gd name="T3" fmla="*/ 211 h 211"/>
              <a:gd name="T4" fmla="*/ 251 w 251"/>
              <a:gd name="T5" fmla="*/ 189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4"/>
                  <a:pt x="215" y="191"/>
                  <a:pt x="244" y="211"/>
                </a:cubicBezTo>
                <a:cubicBezTo>
                  <a:pt x="247" y="204"/>
                  <a:pt x="249" y="196"/>
                  <a:pt x="251" y="189"/>
                </a:cubicBezTo>
                <a:cubicBezTo>
                  <a:pt x="220" y="165"/>
                  <a:pt x="136" y="100"/>
                  <a:pt x="36" y="0"/>
                </a:cubicBezTo>
                <a:cubicBezTo>
                  <a:pt x="24" y="7"/>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55"/>
          <p:cNvSpPr>
            <a:spLocks/>
          </p:cNvSpPr>
          <p:nvPr/>
        </p:nvSpPr>
        <p:spPr bwMode="auto">
          <a:xfrm>
            <a:off x="2867025" y="2009775"/>
            <a:ext cx="111125" cy="106363"/>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4"/>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6"/>
          <p:cNvSpPr>
            <a:spLocks/>
          </p:cNvSpPr>
          <p:nvPr/>
        </p:nvSpPr>
        <p:spPr bwMode="auto">
          <a:xfrm>
            <a:off x="2938463" y="2090738"/>
            <a:ext cx="92075" cy="77788"/>
          </a:xfrm>
          <a:custGeom>
            <a:avLst/>
            <a:gdLst>
              <a:gd name="T0" fmla="*/ 41 w 90"/>
              <a:gd name="T1" fmla="*/ 0 h 76"/>
              <a:gd name="T2" fmla="*/ 0 w 90"/>
              <a:gd name="T3" fmla="*/ 26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7"/>
                  <a:pt x="0" y="26"/>
                </a:cubicBezTo>
                <a:cubicBezTo>
                  <a:pt x="15" y="42"/>
                  <a:pt x="31" y="60"/>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7"/>
          <p:cNvSpPr>
            <a:spLocks/>
          </p:cNvSpPr>
          <p:nvPr/>
        </p:nvSpPr>
        <p:spPr bwMode="auto">
          <a:xfrm>
            <a:off x="2938463" y="2089150"/>
            <a:ext cx="92075" cy="80963"/>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3"/>
                  <a:pt x="55" y="79"/>
                </a:cubicBezTo>
                <a:cubicBezTo>
                  <a:pt x="68" y="70"/>
                  <a:pt x="78" y="62"/>
                  <a:pt x="90" y="55"/>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8"/>
          <p:cNvSpPr>
            <a:spLocks/>
          </p:cNvSpPr>
          <p:nvPr/>
        </p:nvSpPr>
        <p:spPr bwMode="auto">
          <a:xfrm>
            <a:off x="3081338" y="2212975"/>
            <a:ext cx="130175" cy="128588"/>
          </a:xfrm>
          <a:custGeom>
            <a:avLst/>
            <a:gdLst>
              <a:gd name="T0" fmla="*/ 29 w 127"/>
              <a:gd name="T1" fmla="*/ 19 h 127"/>
              <a:gd name="T2" fmla="*/ 18 w 127"/>
              <a:gd name="T3" fmla="*/ 98 h 127"/>
              <a:gd name="T4" fmla="*/ 98 w 127"/>
              <a:gd name="T5" fmla="*/ 109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9"/>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59"/>
          <p:cNvSpPr>
            <a:spLocks/>
          </p:cNvSpPr>
          <p:nvPr/>
        </p:nvSpPr>
        <p:spPr bwMode="auto">
          <a:xfrm>
            <a:off x="2963863" y="2359025"/>
            <a:ext cx="120650" cy="119063"/>
          </a:xfrm>
          <a:custGeom>
            <a:avLst/>
            <a:gdLst>
              <a:gd name="T0" fmla="*/ 27 w 118"/>
              <a:gd name="T1" fmla="*/ 17 h 118"/>
              <a:gd name="T2" fmla="*/ 18 w 118"/>
              <a:gd name="T3" fmla="*/ 90 h 118"/>
              <a:gd name="T4" fmla="*/ 91 w 118"/>
              <a:gd name="T5" fmla="*/ 100 h 118"/>
              <a:gd name="T6" fmla="*/ 101 w 118"/>
              <a:gd name="T7" fmla="*/ 27 h 118"/>
              <a:gd name="T8" fmla="*/ 27 w 118"/>
              <a:gd name="T9" fmla="*/ 17 h 118"/>
            </a:gdLst>
            <a:ahLst/>
            <a:cxnLst>
              <a:cxn ang="0">
                <a:pos x="T0" y="T1"/>
              </a:cxn>
              <a:cxn ang="0">
                <a:pos x="T2" y="T3"/>
              </a:cxn>
              <a:cxn ang="0">
                <a:pos x="T4" y="T5"/>
              </a:cxn>
              <a:cxn ang="0">
                <a:pos x="T6" y="T7"/>
              </a:cxn>
              <a:cxn ang="0">
                <a:pos x="T8" y="T9"/>
              </a:cxn>
            </a:cxnLst>
            <a:rect l="0" t="0" r="r" b="b"/>
            <a:pathLst>
              <a:path w="118" h="118">
                <a:moveTo>
                  <a:pt x="27" y="17"/>
                </a:moveTo>
                <a:cubicBezTo>
                  <a:pt x="5" y="35"/>
                  <a:pt x="0" y="68"/>
                  <a:pt x="18" y="90"/>
                </a:cubicBezTo>
                <a:cubicBezTo>
                  <a:pt x="35" y="113"/>
                  <a:pt x="68" y="118"/>
                  <a:pt x="91" y="100"/>
                </a:cubicBezTo>
                <a:cubicBezTo>
                  <a:pt x="114" y="83"/>
                  <a:pt x="118" y="50"/>
                  <a:pt x="101" y="27"/>
                </a:cubicBezTo>
                <a:cubicBezTo>
                  <a:pt x="83" y="4"/>
                  <a:pt x="50" y="0"/>
                  <a:pt x="27" y="1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0"/>
          <p:cNvSpPr>
            <a:spLocks/>
          </p:cNvSpPr>
          <p:nvPr/>
        </p:nvSpPr>
        <p:spPr bwMode="auto">
          <a:xfrm>
            <a:off x="2747963" y="2178050"/>
            <a:ext cx="182563" cy="184150"/>
          </a:xfrm>
          <a:custGeom>
            <a:avLst/>
            <a:gdLst>
              <a:gd name="T0" fmla="*/ 41 w 179"/>
              <a:gd name="T1" fmla="*/ 27 h 180"/>
              <a:gd name="T2" fmla="*/ 26 w 179"/>
              <a:gd name="T3" fmla="*/ 138 h 180"/>
              <a:gd name="T4" fmla="*/ 138 w 179"/>
              <a:gd name="T5" fmla="*/ 153 h 180"/>
              <a:gd name="T6" fmla="*/ 153 w 179"/>
              <a:gd name="T7" fmla="*/ 42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4"/>
                  <a:pt x="26" y="138"/>
                </a:cubicBezTo>
                <a:cubicBezTo>
                  <a:pt x="53" y="173"/>
                  <a:pt x="103" y="180"/>
                  <a:pt x="138" y="153"/>
                </a:cubicBezTo>
                <a:cubicBezTo>
                  <a:pt x="173" y="127"/>
                  <a:pt x="179" y="77"/>
                  <a:pt x="153" y="42"/>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Rectangle 61"/>
          <p:cNvSpPr>
            <a:spLocks noChangeArrowheads="1"/>
          </p:cNvSpPr>
          <p:nvPr/>
        </p:nvSpPr>
        <p:spPr bwMode="auto">
          <a:xfrm>
            <a:off x="2587625" y="2590800"/>
            <a:ext cx="8985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Web App</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5" name="Freeform 62"/>
          <p:cNvSpPr>
            <a:spLocks noEditPoints="1"/>
          </p:cNvSpPr>
          <p:nvPr/>
        </p:nvSpPr>
        <p:spPr bwMode="auto">
          <a:xfrm>
            <a:off x="3876675" y="3155950"/>
            <a:ext cx="504825" cy="533400"/>
          </a:xfrm>
          <a:custGeom>
            <a:avLst/>
            <a:gdLst>
              <a:gd name="T0" fmla="*/ 222 w 318"/>
              <a:gd name="T1" fmla="*/ 96 h 336"/>
              <a:gd name="T2" fmla="*/ 222 w 318"/>
              <a:gd name="T3" fmla="*/ 39 h 336"/>
              <a:gd name="T4" fmla="*/ 241 w 318"/>
              <a:gd name="T5" fmla="*/ 39 h 336"/>
              <a:gd name="T6" fmla="*/ 241 w 318"/>
              <a:gd name="T7" fmla="*/ 0 h 336"/>
              <a:gd name="T8" fmla="*/ 77 w 318"/>
              <a:gd name="T9" fmla="*/ 0 h 336"/>
              <a:gd name="T10" fmla="*/ 77 w 318"/>
              <a:gd name="T11" fmla="*/ 39 h 336"/>
              <a:gd name="T12" fmla="*/ 96 w 318"/>
              <a:gd name="T13" fmla="*/ 39 h 336"/>
              <a:gd name="T14" fmla="*/ 96 w 318"/>
              <a:gd name="T15" fmla="*/ 96 h 336"/>
              <a:gd name="T16" fmla="*/ 0 w 318"/>
              <a:gd name="T17" fmla="*/ 289 h 336"/>
              <a:gd name="T18" fmla="*/ 29 w 318"/>
              <a:gd name="T19" fmla="*/ 336 h 336"/>
              <a:gd name="T20" fmla="*/ 289 w 318"/>
              <a:gd name="T21" fmla="*/ 336 h 336"/>
              <a:gd name="T22" fmla="*/ 318 w 318"/>
              <a:gd name="T23" fmla="*/ 289 h 336"/>
              <a:gd name="T24" fmla="*/ 222 w 318"/>
              <a:gd name="T25" fmla="*/ 96 h 336"/>
              <a:gd name="T26" fmla="*/ 145 w 318"/>
              <a:gd name="T27" fmla="*/ 144 h 336"/>
              <a:gd name="T28" fmla="*/ 67 w 318"/>
              <a:gd name="T29" fmla="*/ 298 h 336"/>
              <a:gd name="T30" fmla="*/ 49 w 318"/>
              <a:gd name="T31" fmla="*/ 298 h 336"/>
              <a:gd name="T32" fmla="*/ 39 w 318"/>
              <a:gd name="T33" fmla="*/ 289 h 336"/>
              <a:gd name="T34" fmla="*/ 135 w 318"/>
              <a:gd name="T35" fmla="*/ 106 h 336"/>
              <a:gd name="T36" fmla="*/ 135 w 318"/>
              <a:gd name="T37" fmla="*/ 39 h 336"/>
              <a:gd name="T38" fmla="*/ 183 w 318"/>
              <a:gd name="T39" fmla="*/ 39 h 336"/>
              <a:gd name="T40" fmla="*/ 183 w 318"/>
              <a:gd name="T41" fmla="*/ 106 h 336"/>
              <a:gd name="T42" fmla="*/ 203 w 318"/>
              <a:gd name="T43" fmla="*/ 144 h 336"/>
              <a:gd name="T44" fmla="*/ 145 w 318"/>
              <a:gd name="T45" fmla="*/ 14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36">
                <a:moveTo>
                  <a:pt x="222" y="96"/>
                </a:moveTo>
                <a:lnTo>
                  <a:pt x="222" y="39"/>
                </a:lnTo>
                <a:lnTo>
                  <a:pt x="241" y="39"/>
                </a:lnTo>
                <a:lnTo>
                  <a:pt x="241" y="0"/>
                </a:lnTo>
                <a:lnTo>
                  <a:pt x="77" y="0"/>
                </a:lnTo>
                <a:lnTo>
                  <a:pt x="77" y="39"/>
                </a:lnTo>
                <a:lnTo>
                  <a:pt x="96" y="39"/>
                </a:lnTo>
                <a:lnTo>
                  <a:pt x="96" y="96"/>
                </a:lnTo>
                <a:lnTo>
                  <a:pt x="0" y="289"/>
                </a:lnTo>
                <a:lnTo>
                  <a:pt x="29" y="336"/>
                </a:lnTo>
                <a:lnTo>
                  <a:pt x="289" y="336"/>
                </a:lnTo>
                <a:lnTo>
                  <a:pt x="318" y="289"/>
                </a:lnTo>
                <a:lnTo>
                  <a:pt x="222" y="96"/>
                </a:lnTo>
                <a:close/>
                <a:moveTo>
                  <a:pt x="145" y="144"/>
                </a:moveTo>
                <a:lnTo>
                  <a:pt x="67" y="298"/>
                </a:lnTo>
                <a:lnTo>
                  <a:pt x="49" y="298"/>
                </a:lnTo>
                <a:lnTo>
                  <a:pt x="39" y="289"/>
                </a:lnTo>
                <a:lnTo>
                  <a:pt x="135" y="106"/>
                </a:lnTo>
                <a:lnTo>
                  <a:pt x="135" y="39"/>
                </a:lnTo>
                <a:lnTo>
                  <a:pt x="183" y="39"/>
                </a:lnTo>
                <a:lnTo>
                  <a:pt x="183" y="106"/>
                </a:lnTo>
                <a:lnTo>
                  <a:pt x="203" y="144"/>
                </a:lnTo>
                <a:lnTo>
                  <a:pt x="145" y="144"/>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3"/>
          <p:cNvSpPr>
            <a:spLocks noChangeArrowheads="1"/>
          </p:cNvSpPr>
          <p:nvPr/>
        </p:nvSpPr>
        <p:spPr bwMode="auto">
          <a:xfrm>
            <a:off x="3767138" y="3706813"/>
            <a:ext cx="8842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Machin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7" name="Rectangle 64"/>
          <p:cNvSpPr>
            <a:spLocks noChangeArrowheads="1"/>
          </p:cNvSpPr>
          <p:nvPr/>
        </p:nvSpPr>
        <p:spPr bwMode="auto">
          <a:xfrm>
            <a:off x="3762375" y="3905250"/>
            <a:ext cx="8509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Learning</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8" name="Freeform 65"/>
          <p:cNvSpPr>
            <a:spLocks noEditPoints="1"/>
          </p:cNvSpPr>
          <p:nvPr/>
        </p:nvSpPr>
        <p:spPr bwMode="auto">
          <a:xfrm>
            <a:off x="4978400" y="3257550"/>
            <a:ext cx="622300" cy="619125"/>
          </a:xfrm>
          <a:custGeom>
            <a:avLst/>
            <a:gdLst>
              <a:gd name="T0" fmla="*/ 304 w 608"/>
              <a:gd name="T1" fmla="*/ 0 h 608"/>
              <a:gd name="T2" fmla="*/ 0 w 608"/>
              <a:gd name="T3" fmla="*/ 304 h 608"/>
              <a:gd name="T4" fmla="*/ 304 w 608"/>
              <a:gd name="T5" fmla="*/ 608 h 608"/>
              <a:gd name="T6" fmla="*/ 608 w 608"/>
              <a:gd name="T7" fmla="*/ 304 h 608"/>
              <a:gd name="T8" fmla="*/ 304 w 608"/>
              <a:gd name="T9" fmla="*/ 0 h 608"/>
              <a:gd name="T10" fmla="*/ 385 w 608"/>
              <a:gd name="T11" fmla="*/ 568 h 608"/>
              <a:gd name="T12" fmla="*/ 385 w 608"/>
              <a:gd name="T13" fmla="*/ 516 h 608"/>
              <a:gd name="T14" fmla="*/ 357 w 608"/>
              <a:gd name="T15" fmla="*/ 467 h 608"/>
              <a:gd name="T16" fmla="*/ 361 w 608"/>
              <a:gd name="T17" fmla="*/ 467 h 608"/>
              <a:gd name="T18" fmla="*/ 416 w 608"/>
              <a:gd name="T19" fmla="*/ 454 h 608"/>
              <a:gd name="T20" fmla="*/ 474 w 608"/>
              <a:gd name="T21" fmla="*/ 419 h 608"/>
              <a:gd name="T22" fmla="*/ 501 w 608"/>
              <a:gd name="T23" fmla="*/ 357 h 608"/>
              <a:gd name="T24" fmla="*/ 501 w 608"/>
              <a:gd name="T25" fmla="*/ 285 h 608"/>
              <a:gd name="T26" fmla="*/ 471 w 608"/>
              <a:gd name="T27" fmla="*/ 233 h 608"/>
              <a:gd name="T28" fmla="*/ 478 w 608"/>
              <a:gd name="T29" fmla="*/ 192 h 608"/>
              <a:gd name="T30" fmla="*/ 468 w 608"/>
              <a:gd name="T31" fmla="*/ 151 h 608"/>
              <a:gd name="T32" fmla="*/ 431 w 608"/>
              <a:gd name="T33" fmla="*/ 156 h 608"/>
              <a:gd name="T34" fmla="*/ 383 w 608"/>
              <a:gd name="T35" fmla="*/ 183 h 608"/>
              <a:gd name="T36" fmla="*/ 345 w 608"/>
              <a:gd name="T37" fmla="*/ 175 h 608"/>
              <a:gd name="T38" fmla="*/ 304 w 608"/>
              <a:gd name="T39" fmla="*/ 172 h 608"/>
              <a:gd name="T40" fmla="*/ 263 w 608"/>
              <a:gd name="T41" fmla="*/ 175 h 608"/>
              <a:gd name="T42" fmla="*/ 225 w 608"/>
              <a:gd name="T43" fmla="*/ 183 h 608"/>
              <a:gd name="T44" fmla="*/ 177 w 608"/>
              <a:gd name="T45" fmla="*/ 156 h 608"/>
              <a:gd name="T46" fmla="*/ 141 w 608"/>
              <a:gd name="T47" fmla="*/ 151 h 608"/>
              <a:gd name="T48" fmla="*/ 131 w 608"/>
              <a:gd name="T49" fmla="*/ 192 h 608"/>
              <a:gd name="T50" fmla="*/ 138 w 608"/>
              <a:gd name="T51" fmla="*/ 233 h 608"/>
              <a:gd name="T52" fmla="*/ 108 w 608"/>
              <a:gd name="T53" fmla="*/ 285 h 608"/>
              <a:gd name="T54" fmla="*/ 108 w 608"/>
              <a:gd name="T55" fmla="*/ 357 h 608"/>
              <a:gd name="T56" fmla="*/ 135 w 608"/>
              <a:gd name="T57" fmla="*/ 419 h 608"/>
              <a:gd name="T58" fmla="*/ 193 w 608"/>
              <a:gd name="T59" fmla="*/ 454 h 608"/>
              <a:gd name="T60" fmla="*/ 248 w 608"/>
              <a:gd name="T61" fmla="*/ 467 h 608"/>
              <a:gd name="T62" fmla="*/ 252 w 608"/>
              <a:gd name="T63" fmla="*/ 467 h 608"/>
              <a:gd name="T64" fmla="*/ 224 w 608"/>
              <a:gd name="T65" fmla="*/ 516 h 608"/>
              <a:gd name="T66" fmla="*/ 224 w 608"/>
              <a:gd name="T67" fmla="*/ 568 h 608"/>
              <a:gd name="T68" fmla="*/ 29 w 608"/>
              <a:gd name="T69" fmla="*/ 304 h 608"/>
              <a:gd name="T70" fmla="*/ 304 w 608"/>
              <a:gd name="T71" fmla="*/ 29 h 608"/>
              <a:gd name="T72" fmla="*/ 580 w 608"/>
              <a:gd name="T73" fmla="*/ 304 h 608"/>
              <a:gd name="T74" fmla="*/ 385 w 608"/>
              <a:gd name="T75" fmla="*/ 56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8" h="608">
                <a:moveTo>
                  <a:pt x="304" y="0"/>
                </a:moveTo>
                <a:cubicBezTo>
                  <a:pt x="137" y="0"/>
                  <a:pt x="0" y="137"/>
                  <a:pt x="0" y="304"/>
                </a:cubicBezTo>
                <a:cubicBezTo>
                  <a:pt x="0" y="472"/>
                  <a:pt x="137" y="608"/>
                  <a:pt x="304" y="608"/>
                </a:cubicBezTo>
                <a:cubicBezTo>
                  <a:pt x="472" y="608"/>
                  <a:pt x="608" y="472"/>
                  <a:pt x="608" y="304"/>
                </a:cubicBezTo>
                <a:cubicBezTo>
                  <a:pt x="608" y="137"/>
                  <a:pt x="472" y="0"/>
                  <a:pt x="304" y="0"/>
                </a:cubicBezTo>
                <a:close/>
                <a:moveTo>
                  <a:pt x="385" y="568"/>
                </a:moveTo>
                <a:lnTo>
                  <a:pt x="385" y="516"/>
                </a:lnTo>
                <a:cubicBezTo>
                  <a:pt x="385" y="496"/>
                  <a:pt x="374" y="479"/>
                  <a:pt x="357" y="467"/>
                </a:cubicBezTo>
                <a:cubicBezTo>
                  <a:pt x="358" y="467"/>
                  <a:pt x="359" y="467"/>
                  <a:pt x="361" y="467"/>
                </a:cubicBezTo>
                <a:cubicBezTo>
                  <a:pt x="390" y="463"/>
                  <a:pt x="416" y="454"/>
                  <a:pt x="416" y="454"/>
                </a:cubicBezTo>
                <a:cubicBezTo>
                  <a:pt x="416" y="454"/>
                  <a:pt x="454" y="443"/>
                  <a:pt x="474" y="419"/>
                </a:cubicBezTo>
                <a:cubicBezTo>
                  <a:pt x="495" y="394"/>
                  <a:pt x="501" y="357"/>
                  <a:pt x="501" y="357"/>
                </a:cubicBezTo>
                <a:cubicBezTo>
                  <a:pt x="501" y="357"/>
                  <a:pt x="508" y="316"/>
                  <a:pt x="501" y="285"/>
                </a:cubicBezTo>
                <a:cubicBezTo>
                  <a:pt x="494" y="254"/>
                  <a:pt x="471" y="233"/>
                  <a:pt x="471" y="233"/>
                </a:cubicBezTo>
                <a:cubicBezTo>
                  <a:pt x="471" y="233"/>
                  <a:pt x="479" y="213"/>
                  <a:pt x="478" y="192"/>
                </a:cubicBezTo>
                <a:cubicBezTo>
                  <a:pt x="477" y="172"/>
                  <a:pt x="468" y="151"/>
                  <a:pt x="468" y="151"/>
                </a:cubicBezTo>
                <a:cubicBezTo>
                  <a:pt x="468" y="151"/>
                  <a:pt x="450" y="149"/>
                  <a:pt x="431" y="156"/>
                </a:cubicBezTo>
                <a:cubicBezTo>
                  <a:pt x="408" y="165"/>
                  <a:pt x="383" y="183"/>
                  <a:pt x="383" y="183"/>
                </a:cubicBezTo>
                <a:cubicBezTo>
                  <a:pt x="383" y="183"/>
                  <a:pt x="366" y="178"/>
                  <a:pt x="345" y="175"/>
                </a:cubicBezTo>
                <a:cubicBezTo>
                  <a:pt x="326" y="172"/>
                  <a:pt x="304" y="172"/>
                  <a:pt x="304" y="172"/>
                </a:cubicBezTo>
                <a:cubicBezTo>
                  <a:pt x="304" y="172"/>
                  <a:pt x="282" y="172"/>
                  <a:pt x="263" y="175"/>
                </a:cubicBezTo>
                <a:cubicBezTo>
                  <a:pt x="243" y="178"/>
                  <a:pt x="225" y="183"/>
                  <a:pt x="225" y="183"/>
                </a:cubicBezTo>
                <a:cubicBezTo>
                  <a:pt x="225" y="183"/>
                  <a:pt x="201" y="165"/>
                  <a:pt x="177" y="156"/>
                </a:cubicBezTo>
                <a:cubicBezTo>
                  <a:pt x="159" y="149"/>
                  <a:pt x="141" y="151"/>
                  <a:pt x="141" y="151"/>
                </a:cubicBezTo>
                <a:cubicBezTo>
                  <a:pt x="141" y="151"/>
                  <a:pt x="132" y="172"/>
                  <a:pt x="131" y="192"/>
                </a:cubicBezTo>
                <a:cubicBezTo>
                  <a:pt x="130" y="213"/>
                  <a:pt x="138" y="233"/>
                  <a:pt x="138" y="233"/>
                </a:cubicBezTo>
                <a:cubicBezTo>
                  <a:pt x="138" y="233"/>
                  <a:pt x="115" y="254"/>
                  <a:pt x="108" y="285"/>
                </a:cubicBezTo>
                <a:cubicBezTo>
                  <a:pt x="101" y="316"/>
                  <a:pt x="108" y="357"/>
                  <a:pt x="108" y="357"/>
                </a:cubicBezTo>
                <a:cubicBezTo>
                  <a:pt x="108" y="357"/>
                  <a:pt x="114" y="394"/>
                  <a:pt x="135" y="419"/>
                </a:cubicBezTo>
                <a:cubicBezTo>
                  <a:pt x="155" y="443"/>
                  <a:pt x="193" y="454"/>
                  <a:pt x="193" y="454"/>
                </a:cubicBezTo>
                <a:cubicBezTo>
                  <a:pt x="193" y="454"/>
                  <a:pt x="219" y="463"/>
                  <a:pt x="248" y="467"/>
                </a:cubicBezTo>
                <a:cubicBezTo>
                  <a:pt x="249" y="467"/>
                  <a:pt x="251" y="467"/>
                  <a:pt x="252" y="467"/>
                </a:cubicBezTo>
                <a:cubicBezTo>
                  <a:pt x="235" y="479"/>
                  <a:pt x="224" y="496"/>
                  <a:pt x="224" y="516"/>
                </a:cubicBezTo>
                <a:lnTo>
                  <a:pt x="224" y="568"/>
                </a:lnTo>
                <a:cubicBezTo>
                  <a:pt x="111" y="534"/>
                  <a:pt x="29" y="429"/>
                  <a:pt x="29" y="304"/>
                </a:cubicBezTo>
                <a:cubicBezTo>
                  <a:pt x="29" y="152"/>
                  <a:pt x="152" y="29"/>
                  <a:pt x="304" y="29"/>
                </a:cubicBezTo>
                <a:cubicBezTo>
                  <a:pt x="457" y="29"/>
                  <a:pt x="580" y="152"/>
                  <a:pt x="580" y="304"/>
                </a:cubicBezTo>
                <a:cubicBezTo>
                  <a:pt x="580" y="429"/>
                  <a:pt x="498" y="534"/>
                  <a:pt x="385" y="56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Rectangle 66"/>
          <p:cNvSpPr>
            <a:spLocks noChangeArrowheads="1"/>
          </p:cNvSpPr>
          <p:nvPr/>
        </p:nvSpPr>
        <p:spPr bwMode="auto">
          <a:xfrm>
            <a:off x="4751388" y="3922713"/>
            <a:ext cx="11779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Hub cod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0" name="Freeform 67"/>
          <p:cNvSpPr>
            <a:spLocks/>
          </p:cNvSpPr>
          <p:nvPr/>
        </p:nvSpPr>
        <p:spPr bwMode="auto">
          <a:xfrm>
            <a:off x="6223000" y="3257550"/>
            <a:ext cx="669925" cy="668338"/>
          </a:xfrm>
          <a:custGeom>
            <a:avLst/>
            <a:gdLst>
              <a:gd name="T0" fmla="*/ 639 w 655"/>
              <a:gd name="T1" fmla="*/ 300 h 656"/>
              <a:gd name="T2" fmla="*/ 356 w 655"/>
              <a:gd name="T3" fmla="*/ 16 h 656"/>
              <a:gd name="T4" fmla="*/ 299 w 655"/>
              <a:gd name="T5" fmla="*/ 16 h 656"/>
              <a:gd name="T6" fmla="*/ 238 w 655"/>
              <a:gd name="T7" fmla="*/ 77 h 656"/>
              <a:gd name="T8" fmla="*/ 311 w 655"/>
              <a:gd name="T9" fmla="*/ 150 h 656"/>
              <a:gd name="T10" fmla="*/ 329 w 655"/>
              <a:gd name="T11" fmla="*/ 147 h 656"/>
              <a:gd name="T12" fmla="*/ 378 w 655"/>
              <a:gd name="T13" fmla="*/ 196 h 656"/>
              <a:gd name="T14" fmla="*/ 375 w 655"/>
              <a:gd name="T15" fmla="*/ 214 h 656"/>
              <a:gd name="T16" fmla="*/ 447 w 655"/>
              <a:gd name="T17" fmla="*/ 286 h 656"/>
              <a:gd name="T18" fmla="*/ 465 w 655"/>
              <a:gd name="T19" fmla="*/ 282 h 656"/>
              <a:gd name="T20" fmla="*/ 514 w 655"/>
              <a:gd name="T21" fmla="*/ 332 h 656"/>
              <a:gd name="T22" fmla="*/ 465 w 655"/>
              <a:gd name="T23" fmla="*/ 381 h 656"/>
              <a:gd name="T24" fmla="*/ 415 w 655"/>
              <a:gd name="T25" fmla="*/ 332 h 656"/>
              <a:gd name="T26" fmla="*/ 419 w 655"/>
              <a:gd name="T27" fmla="*/ 314 h 656"/>
              <a:gd name="T28" fmla="*/ 351 w 655"/>
              <a:gd name="T29" fmla="*/ 246 h 656"/>
              <a:gd name="T30" fmla="*/ 351 w 655"/>
              <a:gd name="T31" fmla="*/ 422 h 656"/>
              <a:gd name="T32" fmla="*/ 378 w 655"/>
              <a:gd name="T33" fmla="*/ 466 h 656"/>
              <a:gd name="T34" fmla="*/ 329 w 655"/>
              <a:gd name="T35" fmla="*/ 516 h 656"/>
              <a:gd name="T36" fmla="*/ 280 w 655"/>
              <a:gd name="T37" fmla="*/ 466 h 656"/>
              <a:gd name="T38" fmla="*/ 312 w 655"/>
              <a:gd name="T39" fmla="*/ 421 h 656"/>
              <a:gd name="T40" fmla="*/ 312 w 655"/>
              <a:gd name="T41" fmla="*/ 242 h 656"/>
              <a:gd name="T42" fmla="*/ 280 w 655"/>
              <a:gd name="T43" fmla="*/ 196 h 656"/>
              <a:gd name="T44" fmla="*/ 283 w 655"/>
              <a:gd name="T45" fmla="*/ 178 h 656"/>
              <a:gd name="T46" fmla="*/ 210 w 655"/>
              <a:gd name="T47" fmla="*/ 105 h 656"/>
              <a:gd name="T48" fmla="*/ 15 w 655"/>
              <a:gd name="T49" fmla="*/ 300 h 656"/>
              <a:gd name="T50" fmla="*/ 15 w 655"/>
              <a:gd name="T51" fmla="*/ 357 h 656"/>
              <a:gd name="T52" fmla="*/ 299 w 655"/>
              <a:gd name="T53" fmla="*/ 640 h 656"/>
              <a:gd name="T54" fmla="*/ 356 w 655"/>
              <a:gd name="T55" fmla="*/ 640 h 656"/>
              <a:gd name="T56" fmla="*/ 640 w 655"/>
              <a:gd name="T57" fmla="*/ 357 h 656"/>
              <a:gd name="T58" fmla="*/ 639 w 655"/>
              <a:gd name="T59" fmla="*/ 30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5" h="656">
                <a:moveTo>
                  <a:pt x="639" y="300"/>
                </a:moveTo>
                <a:lnTo>
                  <a:pt x="356" y="16"/>
                </a:lnTo>
                <a:cubicBezTo>
                  <a:pt x="340" y="0"/>
                  <a:pt x="315" y="0"/>
                  <a:pt x="299" y="16"/>
                </a:cubicBezTo>
                <a:lnTo>
                  <a:pt x="238" y="77"/>
                </a:lnTo>
                <a:lnTo>
                  <a:pt x="311" y="150"/>
                </a:lnTo>
                <a:cubicBezTo>
                  <a:pt x="317" y="148"/>
                  <a:pt x="323" y="147"/>
                  <a:pt x="329" y="147"/>
                </a:cubicBezTo>
                <a:cubicBezTo>
                  <a:pt x="356" y="147"/>
                  <a:pt x="378" y="169"/>
                  <a:pt x="378" y="196"/>
                </a:cubicBezTo>
                <a:cubicBezTo>
                  <a:pt x="378" y="202"/>
                  <a:pt x="377" y="209"/>
                  <a:pt x="375" y="214"/>
                </a:cubicBezTo>
                <a:lnTo>
                  <a:pt x="447" y="286"/>
                </a:lnTo>
                <a:cubicBezTo>
                  <a:pt x="452" y="283"/>
                  <a:pt x="458" y="282"/>
                  <a:pt x="465" y="282"/>
                </a:cubicBezTo>
                <a:cubicBezTo>
                  <a:pt x="492" y="282"/>
                  <a:pt x="514" y="305"/>
                  <a:pt x="514" y="332"/>
                </a:cubicBezTo>
                <a:cubicBezTo>
                  <a:pt x="514" y="359"/>
                  <a:pt x="492" y="381"/>
                  <a:pt x="465" y="381"/>
                </a:cubicBezTo>
                <a:cubicBezTo>
                  <a:pt x="437" y="381"/>
                  <a:pt x="415" y="359"/>
                  <a:pt x="415" y="332"/>
                </a:cubicBezTo>
                <a:cubicBezTo>
                  <a:pt x="415" y="325"/>
                  <a:pt x="416" y="319"/>
                  <a:pt x="419" y="314"/>
                </a:cubicBezTo>
                <a:lnTo>
                  <a:pt x="351" y="246"/>
                </a:lnTo>
                <a:lnTo>
                  <a:pt x="351" y="422"/>
                </a:lnTo>
                <a:cubicBezTo>
                  <a:pt x="367" y="431"/>
                  <a:pt x="378" y="447"/>
                  <a:pt x="378" y="466"/>
                </a:cubicBezTo>
                <a:cubicBezTo>
                  <a:pt x="378" y="494"/>
                  <a:pt x="356" y="516"/>
                  <a:pt x="329" y="516"/>
                </a:cubicBezTo>
                <a:cubicBezTo>
                  <a:pt x="302" y="516"/>
                  <a:pt x="280" y="494"/>
                  <a:pt x="280" y="466"/>
                </a:cubicBezTo>
                <a:cubicBezTo>
                  <a:pt x="280" y="445"/>
                  <a:pt x="293" y="428"/>
                  <a:pt x="312" y="421"/>
                </a:cubicBezTo>
                <a:lnTo>
                  <a:pt x="312" y="242"/>
                </a:lnTo>
                <a:cubicBezTo>
                  <a:pt x="293" y="235"/>
                  <a:pt x="280" y="217"/>
                  <a:pt x="280" y="196"/>
                </a:cubicBezTo>
                <a:cubicBezTo>
                  <a:pt x="280" y="190"/>
                  <a:pt x="281" y="184"/>
                  <a:pt x="283" y="178"/>
                </a:cubicBezTo>
                <a:lnTo>
                  <a:pt x="210" y="105"/>
                </a:lnTo>
                <a:lnTo>
                  <a:pt x="15" y="300"/>
                </a:lnTo>
                <a:cubicBezTo>
                  <a:pt x="0" y="316"/>
                  <a:pt x="0" y="341"/>
                  <a:pt x="15" y="357"/>
                </a:cubicBezTo>
                <a:lnTo>
                  <a:pt x="299" y="640"/>
                </a:lnTo>
                <a:cubicBezTo>
                  <a:pt x="315" y="656"/>
                  <a:pt x="340" y="656"/>
                  <a:pt x="356" y="640"/>
                </a:cubicBezTo>
                <a:lnTo>
                  <a:pt x="640" y="357"/>
                </a:lnTo>
                <a:cubicBezTo>
                  <a:pt x="655" y="341"/>
                  <a:pt x="655" y="316"/>
                  <a:pt x="639" y="30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68"/>
          <p:cNvSpPr>
            <a:spLocks noChangeArrowheads="1"/>
          </p:cNvSpPr>
          <p:nvPr/>
        </p:nvSpPr>
        <p:spPr bwMode="auto">
          <a:xfrm>
            <a:off x="5975350" y="3971925"/>
            <a:ext cx="127635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 repository</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2" name="Freeform 69"/>
          <p:cNvSpPr>
            <a:spLocks/>
          </p:cNvSpPr>
          <p:nvPr/>
        </p:nvSpPr>
        <p:spPr bwMode="auto">
          <a:xfrm>
            <a:off x="3984625" y="2339975"/>
            <a:ext cx="161925" cy="233363"/>
          </a:xfrm>
          <a:custGeom>
            <a:avLst/>
            <a:gdLst>
              <a:gd name="T0" fmla="*/ 69 w 102"/>
              <a:gd name="T1" fmla="*/ 0 h 147"/>
              <a:gd name="T2" fmla="*/ 32 w 102"/>
              <a:gd name="T3" fmla="*/ 0 h 147"/>
              <a:gd name="T4" fmla="*/ 32 w 102"/>
              <a:gd name="T5" fmla="*/ 78 h 147"/>
              <a:gd name="T6" fmla="*/ 0 w 102"/>
              <a:gd name="T7" fmla="*/ 78 h 147"/>
              <a:gd name="T8" fmla="*/ 51 w 102"/>
              <a:gd name="T9" fmla="*/ 147 h 147"/>
              <a:gd name="T10" fmla="*/ 102 w 102"/>
              <a:gd name="T11" fmla="*/ 78 h 147"/>
              <a:gd name="T12" fmla="*/ 69 w 102"/>
              <a:gd name="T13" fmla="*/ 78 h 147"/>
              <a:gd name="T14" fmla="*/ 69 w 102"/>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47">
                <a:moveTo>
                  <a:pt x="69" y="0"/>
                </a:moveTo>
                <a:lnTo>
                  <a:pt x="32" y="0"/>
                </a:lnTo>
                <a:lnTo>
                  <a:pt x="32" y="78"/>
                </a:lnTo>
                <a:lnTo>
                  <a:pt x="0" y="78"/>
                </a:lnTo>
                <a:lnTo>
                  <a:pt x="51" y="147"/>
                </a:lnTo>
                <a:lnTo>
                  <a:pt x="102" y="78"/>
                </a:lnTo>
                <a:lnTo>
                  <a:pt x="69" y="78"/>
                </a:lnTo>
                <a:lnTo>
                  <a:pt x="69"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70"/>
          <p:cNvSpPr>
            <a:spLocks noChangeArrowheads="1"/>
          </p:cNvSpPr>
          <p:nvPr/>
        </p:nvSpPr>
        <p:spPr bwMode="auto">
          <a:xfrm>
            <a:off x="3992563" y="2154238"/>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71"/>
          <p:cNvSpPr>
            <a:spLocks noChangeArrowheads="1"/>
          </p:cNvSpPr>
          <p:nvPr/>
        </p:nvSpPr>
        <p:spPr bwMode="auto">
          <a:xfrm>
            <a:off x="3992563" y="2216150"/>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 name="Rectangle 72"/>
          <p:cNvSpPr>
            <a:spLocks noChangeArrowheads="1"/>
          </p:cNvSpPr>
          <p:nvPr/>
        </p:nvSpPr>
        <p:spPr bwMode="auto">
          <a:xfrm>
            <a:off x="3992563" y="2278063"/>
            <a:ext cx="142875" cy="41275"/>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3"/>
          <p:cNvSpPr>
            <a:spLocks/>
          </p:cNvSpPr>
          <p:nvPr/>
        </p:nvSpPr>
        <p:spPr bwMode="auto">
          <a:xfrm>
            <a:off x="3887788" y="1992313"/>
            <a:ext cx="206375" cy="342900"/>
          </a:xfrm>
          <a:custGeom>
            <a:avLst/>
            <a:gdLst>
              <a:gd name="T0" fmla="*/ 186 w 202"/>
              <a:gd name="T1" fmla="*/ 0 h 337"/>
              <a:gd name="T2" fmla="*/ 19 w 202"/>
              <a:gd name="T3" fmla="*/ 0 h 337"/>
              <a:gd name="T4" fmla="*/ 1 w 202"/>
              <a:gd name="T5" fmla="*/ 20 h 337"/>
              <a:gd name="T6" fmla="*/ 0 w 202"/>
              <a:gd name="T7" fmla="*/ 337 h 337"/>
              <a:gd name="T8" fmla="*/ 60 w 202"/>
              <a:gd name="T9" fmla="*/ 337 h 337"/>
              <a:gd name="T10" fmla="*/ 60 w 202"/>
              <a:gd name="T11" fmla="*/ 61 h 337"/>
              <a:gd name="T12" fmla="*/ 140 w 202"/>
              <a:gd name="T13" fmla="*/ 61 h 337"/>
              <a:gd name="T14" fmla="*/ 140 w 202"/>
              <a:gd name="T15" fmla="*/ 141 h 337"/>
              <a:gd name="T16" fmla="*/ 200 w 202"/>
              <a:gd name="T17" fmla="*/ 141 h 337"/>
              <a:gd name="T18" fmla="*/ 200 w 202"/>
              <a:gd name="T19" fmla="*/ 18 h 337"/>
              <a:gd name="T20" fmla="*/ 186 w 202"/>
              <a:gd name="T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337">
                <a:moveTo>
                  <a:pt x="186" y="0"/>
                </a:moveTo>
                <a:lnTo>
                  <a:pt x="19" y="0"/>
                </a:lnTo>
                <a:cubicBezTo>
                  <a:pt x="13" y="0"/>
                  <a:pt x="1" y="0"/>
                  <a:pt x="1" y="20"/>
                </a:cubicBezTo>
                <a:lnTo>
                  <a:pt x="0" y="337"/>
                </a:lnTo>
                <a:lnTo>
                  <a:pt x="60" y="337"/>
                </a:lnTo>
                <a:lnTo>
                  <a:pt x="60" y="61"/>
                </a:lnTo>
                <a:lnTo>
                  <a:pt x="140" y="61"/>
                </a:lnTo>
                <a:lnTo>
                  <a:pt x="140" y="141"/>
                </a:lnTo>
                <a:lnTo>
                  <a:pt x="200" y="141"/>
                </a:lnTo>
                <a:lnTo>
                  <a:pt x="200" y="18"/>
                </a:lnTo>
                <a:cubicBezTo>
                  <a:pt x="202" y="0"/>
                  <a:pt x="192" y="0"/>
                  <a:pt x="186"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4"/>
          <p:cNvSpPr>
            <a:spLocks/>
          </p:cNvSpPr>
          <p:nvPr/>
        </p:nvSpPr>
        <p:spPr bwMode="auto">
          <a:xfrm>
            <a:off x="3887788" y="2276475"/>
            <a:ext cx="123825" cy="165100"/>
          </a:xfrm>
          <a:custGeom>
            <a:avLst/>
            <a:gdLst>
              <a:gd name="T0" fmla="*/ 60 w 121"/>
              <a:gd name="T1" fmla="*/ 0 h 161"/>
              <a:gd name="T2" fmla="*/ 0 w 121"/>
              <a:gd name="T3" fmla="*/ 0 h 161"/>
              <a:gd name="T4" fmla="*/ 0 w 121"/>
              <a:gd name="T5" fmla="*/ 142 h 161"/>
              <a:gd name="T6" fmla="*/ 22 w 121"/>
              <a:gd name="T7" fmla="*/ 161 h 161"/>
              <a:gd name="T8" fmla="*/ 121 w 121"/>
              <a:gd name="T9" fmla="*/ 161 h 161"/>
              <a:gd name="T10" fmla="*/ 121 w 121"/>
              <a:gd name="T11" fmla="*/ 101 h 161"/>
              <a:gd name="T12" fmla="*/ 61 w 121"/>
              <a:gd name="T13" fmla="*/ 101 h 161"/>
              <a:gd name="T14" fmla="*/ 60 w 121"/>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1">
                <a:moveTo>
                  <a:pt x="60" y="0"/>
                </a:moveTo>
                <a:lnTo>
                  <a:pt x="0" y="0"/>
                </a:lnTo>
                <a:lnTo>
                  <a:pt x="0" y="142"/>
                </a:lnTo>
                <a:cubicBezTo>
                  <a:pt x="0" y="146"/>
                  <a:pt x="18" y="161"/>
                  <a:pt x="22" y="161"/>
                </a:cubicBezTo>
                <a:lnTo>
                  <a:pt x="121" y="161"/>
                </a:lnTo>
                <a:lnTo>
                  <a:pt x="121" y="101"/>
                </a:lnTo>
                <a:lnTo>
                  <a:pt x="61" y="101"/>
                </a:lnTo>
                <a:lnTo>
                  <a:pt x="60"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75"/>
          <p:cNvSpPr>
            <a:spLocks/>
          </p:cNvSpPr>
          <p:nvPr/>
        </p:nvSpPr>
        <p:spPr bwMode="auto">
          <a:xfrm>
            <a:off x="4114800" y="2058988"/>
            <a:ext cx="266700" cy="381000"/>
          </a:xfrm>
          <a:custGeom>
            <a:avLst/>
            <a:gdLst>
              <a:gd name="T0" fmla="*/ 166 w 261"/>
              <a:gd name="T1" fmla="*/ 195 h 374"/>
              <a:gd name="T2" fmla="*/ 149 w 261"/>
              <a:gd name="T3" fmla="*/ 195 h 374"/>
              <a:gd name="T4" fmla="*/ 0 w 261"/>
              <a:gd name="T5" fmla="*/ 0 h 374"/>
              <a:gd name="T6" fmla="*/ 0 w 261"/>
              <a:gd name="T7" fmla="*/ 57 h 374"/>
              <a:gd name="T8" fmla="*/ 85 w 261"/>
              <a:gd name="T9" fmla="*/ 213 h 374"/>
              <a:gd name="T10" fmla="*/ 83 w 261"/>
              <a:gd name="T11" fmla="*/ 253 h 374"/>
              <a:gd name="T12" fmla="*/ 164 w 261"/>
              <a:gd name="T13" fmla="*/ 251 h 374"/>
              <a:gd name="T14" fmla="*/ 202 w 261"/>
              <a:gd name="T15" fmla="*/ 278 h 374"/>
              <a:gd name="T16" fmla="*/ 202 w 261"/>
              <a:gd name="T17" fmla="*/ 314 h 374"/>
              <a:gd name="T18" fmla="*/ 0 w 261"/>
              <a:gd name="T19" fmla="*/ 314 h 374"/>
              <a:gd name="T20" fmla="*/ 0 w 261"/>
              <a:gd name="T21" fmla="*/ 374 h 374"/>
              <a:gd name="T22" fmla="*/ 238 w 261"/>
              <a:gd name="T23" fmla="*/ 374 h 374"/>
              <a:gd name="T24" fmla="*/ 261 w 261"/>
              <a:gd name="T25" fmla="*/ 353 h 374"/>
              <a:gd name="T26" fmla="*/ 261 w 261"/>
              <a:gd name="T27" fmla="*/ 277 h 374"/>
              <a:gd name="T28" fmla="*/ 166 w 261"/>
              <a:gd name="T29" fmla="*/ 19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4">
                <a:moveTo>
                  <a:pt x="166" y="195"/>
                </a:moveTo>
                <a:lnTo>
                  <a:pt x="149" y="195"/>
                </a:lnTo>
                <a:cubicBezTo>
                  <a:pt x="139" y="74"/>
                  <a:pt x="81" y="16"/>
                  <a:pt x="0" y="0"/>
                </a:cubicBezTo>
                <a:lnTo>
                  <a:pt x="0" y="57"/>
                </a:lnTo>
                <a:cubicBezTo>
                  <a:pt x="60" y="77"/>
                  <a:pt x="83" y="136"/>
                  <a:pt x="85" y="213"/>
                </a:cubicBezTo>
                <a:lnTo>
                  <a:pt x="83" y="253"/>
                </a:lnTo>
                <a:lnTo>
                  <a:pt x="164" y="251"/>
                </a:lnTo>
                <a:cubicBezTo>
                  <a:pt x="185" y="251"/>
                  <a:pt x="202" y="257"/>
                  <a:pt x="202" y="278"/>
                </a:cubicBezTo>
                <a:lnTo>
                  <a:pt x="202" y="314"/>
                </a:lnTo>
                <a:lnTo>
                  <a:pt x="0" y="314"/>
                </a:lnTo>
                <a:lnTo>
                  <a:pt x="0" y="374"/>
                </a:lnTo>
                <a:lnTo>
                  <a:pt x="238" y="374"/>
                </a:lnTo>
                <a:cubicBezTo>
                  <a:pt x="242" y="374"/>
                  <a:pt x="261" y="357"/>
                  <a:pt x="261" y="353"/>
                </a:cubicBezTo>
                <a:lnTo>
                  <a:pt x="261" y="277"/>
                </a:lnTo>
                <a:cubicBezTo>
                  <a:pt x="261" y="228"/>
                  <a:pt x="218" y="195"/>
                  <a:pt x="166" y="1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76"/>
          <p:cNvSpPr>
            <a:spLocks noChangeArrowheads="1"/>
          </p:cNvSpPr>
          <p:nvPr/>
        </p:nvSpPr>
        <p:spPr bwMode="auto">
          <a:xfrm>
            <a:off x="3657600" y="2595563"/>
            <a:ext cx="11763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ervice Bus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0" name="Freeform 77"/>
          <p:cNvSpPr>
            <a:spLocks/>
          </p:cNvSpPr>
          <p:nvPr/>
        </p:nvSpPr>
        <p:spPr bwMode="auto">
          <a:xfrm>
            <a:off x="2992438" y="3616325"/>
            <a:ext cx="95250" cy="122238"/>
          </a:xfrm>
          <a:custGeom>
            <a:avLst/>
            <a:gdLst>
              <a:gd name="T0" fmla="*/ 83 w 92"/>
              <a:gd name="T1" fmla="*/ 36 h 120"/>
              <a:gd name="T2" fmla="*/ 65 w 92"/>
              <a:gd name="T3" fmla="*/ 0 h 120"/>
              <a:gd name="T4" fmla="*/ 39 w 92"/>
              <a:gd name="T5" fmla="*/ 68 h 120"/>
              <a:gd name="T6" fmla="*/ 1 w 92"/>
              <a:gd name="T7" fmla="*/ 108 h 120"/>
              <a:gd name="T8" fmla="*/ 12 w 92"/>
              <a:gd name="T9" fmla="*/ 120 h 120"/>
              <a:gd name="T10" fmla="*/ 76 w 92"/>
              <a:gd name="T11" fmla="*/ 120 h 120"/>
              <a:gd name="T12" fmla="*/ 92 w 92"/>
              <a:gd name="T13" fmla="*/ 102 h 120"/>
              <a:gd name="T14" fmla="*/ 84 w 92"/>
              <a:gd name="T15" fmla="*/ 82 h 120"/>
              <a:gd name="T16" fmla="*/ 83 w 92"/>
              <a:gd name="T17"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6"/>
                </a:moveTo>
                <a:cubicBezTo>
                  <a:pt x="79" y="23"/>
                  <a:pt x="65" y="0"/>
                  <a:pt x="65" y="0"/>
                </a:cubicBezTo>
                <a:cubicBezTo>
                  <a:pt x="65" y="0"/>
                  <a:pt x="62" y="34"/>
                  <a:pt x="39" y="68"/>
                </a:cubicBezTo>
                <a:cubicBezTo>
                  <a:pt x="16" y="102"/>
                  <a:pt x="1" y="108"/>
                  <a:pt x="1" y="108"/>
                </a:cubicBezTo>
                <a:cubicBezTo>
                  <a:pt x="1" y="108"/>
                  <a:pt x="0" y="119"/>
                  <a:pt x="12" y="120"/>
                </a:cubicBezTo>
                <a:cubicBezTo>
                  <a:pt x="16" y="120"/>
                  <a:pt x="68" y="120"/>
                  <a:pt x="76" y="120"/>
                </a:cubicBezTo>
                <a:cubicBezTo>
                  <a:pt x="85" y="120"/>
                  <a:pt x="92" y="112"/>
                  <a:pt x="92" y="102"/>
                </a:cubicBezTo>
                <a:cubicBezTo>
                  <a:pt x="92" y="93"/>
                  <a:pt x="84" y="82"/>
                  <a:pt x="84" y="82"/>
                </a:cubicBezTo>
                <a:cubicBezTo>
                  <a:pt x="84" y="82"/>
                  <a:pt x="85" y="47"/>
                  <a:pt x="83" y="3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8"/>
          <p:cNvSpPr>
            <a:spLocks/>
          </p:cNvSpPr>
          <p:nvPr/>
        </p:nvSpPr>
        <p:spPr bwMode="auto">
          <a:xfrm>
            <a:off x="2565400" y="3571875"/>
            <a:ext cx="92075" cy="123825"/>
          </a:xfrm>
          <a:custGeom>
            <a:avLst/>
            <a:gdLst>
              <a:gd name="T0" fmla="*/ 44 w 89"/>
              <a:gd name="T1" fmla="*/ 0 h 121"/>
              <a:gd name="T2" fmla="*/ 44 w 89"/>
              <a:gd name="T3" fmla="*/ 0 h 121"/>
              <a:gd name="T4" fmla="*/ 12 w 89"/>
              <a:gd name="T5" fmla="*/ 38 h 121"/>
              <a:gd name="T6" fmla="*/ 8 w 89"/>
              <a:gd name="T7" fmla="*/ 65 h 121"/>
              <a:gd name="T8" fmla="*/ 71 w 89"/>
              <a:gd name="T9" fmla="*/ 113 h 121"/>
              <a:gd name="T10" fmla="*/ 89 w 89"/>
              <a:gd name="T11" fmla="*/ 95 h 121"/>
              <a:gd name="T12" fmla="*/ 67 w 89"/>
              <a:gd name="T13" fmla="*/ 58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2" y="38"/>
                </a:cubicBezTo>
                <a:cubicBezTo>
                  <a:pt x="0" y="54"/>
                  <a:pt x="8" y="65"/>
                  <a:pt x="8" y="65"/>
                </a:cubicBezTo>
                <a:cubicBezTo>
                  <a:pt x="8" y="65"/>
                  <a:pt x="42" y="121"/>
                  <a:pt x="71" y="113"/>
                </a:cubicBezTo>
                <a:cubicBezTo>
                  <a:pt x="80" y="110"/>
                  <a:pt x="89" y="95"/>
                  <a:pt x="89" y="95"/>
                </a:cubicBezTo>
                <a:cubicBezTo>
                  <a:pt x="89" y="95"/>
                  <a:pt x="76" y="79"/>
                  <a:pt x="67" y="58"/>
                </a:cubicBezTo>
                <a:cubicBezTo>
                  <a:pt x="56" y="36"/>
                  <a:pt x="46" y="4"/>
                  <a:pt x="44"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9"/>
          <p:cNvSpPr>
            <a:spLocks noEditPoints="1"/>
          </p:cNvSpPr>
          <p:nvPr/>
        </p:nvSpPr>
        <p:spPr bwMode="auto">
          <a:xfrm>
            <a:off x="2557463" y="3155950"/>
            <a:ext cx="831850" cy="609600"/>
          </a:xfrm>
          <a:custGeom>
            <a:avLst/>
            <a:gdLst>
              <a:gd name="T0" fmla="*/ 767 w 814"/>
              <a:gd name="T1" fmla="*/ 27 h 598"/>
              <a:gd name="T2" fmla="*/ 703 w 814"/>
              <a:gd name="T3" fmla="*/ 73 h 598"/>
              <a:gd name="T4" fmla="*/ 669 w 814"/>
              <a:gd name="T5" fmla="*/ 251 h 598"/>
              <a:gd name="T6" fmla="*/ 678 w 814"/>
              <a:gd name="T7" fmla="*/ 187 h 598"/>
              <a:gd name="T8" fmla="*/ 659 w 814"/>
              <a:gd name="T9" fmla="*/ 174 h 598"/>
              <a:gd name="T10" fmla="*/ 633 w 814"/>
              <a:gd name="T11" fmla="*/ 152 h 598"/>
              <a:gd name="T12" fmla="*/ 642 w 814"/>
              <a:gd name="T13" fmla="*/ 132 h 598"/>
              <a:gd name="T14" fmla="*/ 613 w 814"/>
              <a:gd name="T15" fmla="*/ 87 h 598"/>
              <a:gd name="T16" fmla="*/ 604 w 814"/>
              <a:gd name="T17" fmla="*/ 77 h 598"/>
              <a:gd name="T18" fmla="*/ 352 w 814"/>
              <a:gd name="T19" fmla="*/ 72 h 598"/>
              <a:gd name="T20" fmla="*/ 357 w 814"/>
              <a:gd name="T21" fmla="*/ 81 h 598"/>
              <a:gd name="T22" fmla="*/ 253 w 814"/>
              <a:gd name="T23" fmla="*/ 160 h 598"/>
              <a:gd name="T24" fmla="*/ 220 w 814"/>
              <a:gd name="T25" fmla="*/ 291 h 598"/>
              <a:gd name="T26" fmla="*/ 272 w 814"/>
              <a:gd name="T27" fmla="*/ 265 h 598"/>
              <a:gd name="T28" fmla="*/ 270 w 814"/>
              <a:gd name="T29" fmla="*/ 386 h 598"/>
              <a:gd name="T30" fmla="*/ 389 w 814"/>
              <a:gd name="T31" fmla="*/ 347 h 598"/>
              <a:gd name="T32" fmla="*/ 406 w 814"/>
              <a:gd name="T33" fmla="*/ 159 h 598"/>
              <a:gd name="T34" fmla="*/ 408 w 814"/>
              <a:gd name="T35" fmla="*/ 371 h 598"/>
              <a:gd name="T36" fmla="*/ 262 w 814"/>
              <a:gd name="T37" fmla="*/ 409 h 598"/>
              <a:gd name="T38" fmla="*/ 216 w 814"/>
              <a:gd name="T39" fmla="*/ 330 h 598"/>
              <a:gd name="T40" fmla="*/ 171 w 814"/>
              <a:gd name="T41" fmla="*/ 257 h 598"/>
              <a:gd name="T42" fmla="*/ 254 w 814"/>
              <a:gd name="T43" fmla="*/ 133 h 598"/>
              <a:gd name="T44" fmla="*/ 47 w 814"/>
              <a:gd name="T45" fmla="*/ 269 h 598"/>
              <a:gd name="T46" fmla="*/ 35 w 814"/>
              <a:gd name="T47" fmla="*/ 235 h 598"/>
              <a:gd name="T48" fmla="*/ 5 w 814"/>
              <a:gd name="T49" fmla="*/ 230 h 598"/>
              <a:gd name="T50" fmla="*/ 31 w 814"/>
              <a:gd name="T51" fmla="*/ 292 h 598"/>
              <a:gd name="T52" fmla="*/ 69 w 814"/>
              <a:gd name="T53" fmla="*/ 397 h 598"/>
              <a:gd name="T54" fmla="*/ 111 w 814"/>
              <a:gd name="T55" fmla="*/ 529 h 598"/>
              <a:gd name="T56" fmla="*/ 193 w 814"/>
              <a:gd name="T57" fmla="*/ 582 h 598"/>
              <a:gd name="T58" fmla="*/ 221 w 814"/>
              <a:gd name="T59" fmla="*/ 508 h 598"/>
              <a:gd name="T60" fmla="*/ 280 w 814"/>
              <a:gd name="T61" fmla="*/ 485 h 598"/>
              <a:gd name="T62" fmla="*/ 333 w 814"/>
              <a:gd name="T63" fmla="*/ 492 h 598"/>
              <a:gd name="T64" fmla="*/ 303 w 814"/>
              <a:gd name="T65" fmla="*/ 557 h 598"/>
              <a:gd name="T66" fmla="*/ 436 w 814"/>
              <a:gd name="T67" fmla="*/ 514 h 598"/>
              <a:gd name="T68" fmla="*/ 455 w 814"/>
              <a:gd name="T69" fmla="*/ 368 h 598"/>
              <a:gd name="T70" fmla="*/ 499 w 814"/>
              <a:gd name="T71" fmla="*/ 381 h 598"/>
              <a:gd name="T72" fmla="*/ 616 w 814"/>
              <a:gd name="T73" fmla="*/ 370 h 598"/>
              <a:gd name="T74" fmla="*/ 568 w 814"/>
              <a:gd name="T75" fmla="*/ 401 h 598"/>
              <a:gd name="T76" fmla="*/ 682 w 814"/>
              <a:gd name="T77" fmla="*/ 363 h 598"/>
              <a:gd name="T78" fmla="*/ 463 w 814"/>
              <a:gd name="T79" fmla="*/ 159 h 598"/>
              <a:gd name="T80" fmla="*/ 522 w 814"/>
              <a:gd name="T81" fmla="*/ 109 h 598"/>
              <a:gd name="T82" fmla="*/ 463 w 814"/>
              <a:gd name="T83" fmla="*/ 159 h 598"/>
              <a:gd name="T84" fmla="*/ 514 w 814"/>
              <a:gd name="T85" fmla="*/ 227 h 598"/>
              <a:gd name="T86" fmla="*/ 526 w 814"/>
              <a:gd name="T87" fmla="*/ 205 h 598"/>
              <a:gd name="T88" fmla="*/ 507 w 814"/>
              <a:gd name="T89" fmla="*/ 186 h 598"/>
              <a:gd name="T90" fmla="*/ 491 w 814"/>
              <a:gd name="T91" fmla="*/ 201 h 598"/>
              <a:gd name="T92" fmla="*/ 564 w 814"/>
              <a:gd name="T93" fmla="*/ 148 h 598"/>
              <a:gd name="T94" fmla="*/ 548 w 814"/>
              <a:gd name="T95" fmla="*/ 156 h 598"/>
              <a:gd name="T96" fmla="*/ 567 w 814"/>
              <a:gd name="T97" fmla="*/ 179 h 598"/>
              <a:gd name="T98" fmla="*/ 589 w 814"/>
              <a:gd name="T99" fmla="*/ 174 h 598"/>
              <a:gd name="T100" fmla="*/ 748 w 814"/>
              <a:gd name="T101" fmla="*/ 77 h 598"/>
              <a:gd name="T102" fmla="*/ 714 w 814"/>
              <a:gd name="T103" fmla="*/ 80 h 598"/>
              <a:gd name="T104" fmla="*/ 768 w 814"/>
              <a:gd name="T105" fmla="*/ 4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8">
                <a:moveTo>
                  <a:pt x="809" y="163"/>
                </a:moveTo>
                <a:cubicBezTo>
                  <a:pt x="805" y="56"/>
                  <a:pt x="775" y="27"/>
                  <a:pt x="767" y="27"/>
                </a:cubicBezTo>
                <a:cubicBezTo>
                  <a:pt x="756" y="28"/>
                  <a:pt x="752" y="46"/>
                  <a:pt x="740" y="54"/>
                </a:cubicBezTo>
                <a:cubicBezTo>
                  <a:pt x="723" y="66"/>
                  <a:pt x="712" y="64"/>
                  <a:pt x="703" y="73"/>
                </a:cubicBezTo>
                <a:cubicBezTo>
                  <a:pt x="693" y="83"/>
                  <a:pt x="712" y="107"/>
                  <a:pt x="710" y="171"/>
                </a:cubicBezTo>
                <a:cubicBezTo>
                  <a:pt x="707" y="230"/>
                  <a:pt x="669" y="251"/>
                  <a:pt x="669" y="251"/>
                </a:cubicBezTo>
                <a:cubicBezTo>
                  <a:pt x="669" y="251"/>
                  <a:pt x="687" y="226"/>
                  <a:pt x="689" y="208"/>
                </a:cubicBezTo>
                <a:cubicBezTo>
                  <a:pt x="692" y="194"/>
                  <a:pt x="684" y="192"/>
                  <a:pt x="678" y="187"/>
                </a:cubicBezTo>
                <a:cubicBezTo>
                  <a:pt x="667" y="178"/>
                  <a:pt x="646" y="202"/>
                  <a:pt x="640" y="208"/>
                </a:cubicBezTo>
                <a:cubicBezTo>
                  <a:pt x="650" y="197"/>
                  <a:pt x="665" y="185"/>
                  <a:pt x="659" y="174"/>
                </a:cubicBezTo>
                <a:cubicBezTo>
                  <a:pt x="648" y="156"/>
                  <a:pt x="625" y="168"/>
                  <a:pt x="620" y="170"/>
                </a:cubicBezTo>
                <a:cubicBezTo>
                  <a:pt x="625" y="167"/>
                  <a:pt x="636" y="163"/>
                  <a:pt x="633" y="152"/>
                </a:cubicBezTo>
                <a:cubicBezTo>
                  <a:pt x="629" y="133"/>
                  <a:pt x="610" y="137"/>
                  <a:pt x="608" y="138"/>
                </a:cubicBezTo>
                <a:cubicBezTo>
                  <a:pt x="616" y="134"/>
                  <a:pt x="620" y="130"/>
                  <a:pt x="642" y="132"/>
                </a:cubicBezTo>
                <a:cubicBezTo>
                  <a:pt x="654" y="132"/>
                  <a:pt x="651" y="119"/>
                  <a:pt x="643" y="110"/>
                </a:cubicBezTo>
                <a:cubicBezTo>
                  <a:pt x="631" y="95"/>
                  <a:pt x="623" y="90"/>
                  <a:pt x="613" y="87"/>
                </a:cubicBezTo>
                <a:cubicBezTo>
                  <a:pt x="602" y="83"/>
                  <a:pt x="580" y="85"/>
                  <a:pt x="580" y="85"/>
                </a:cubicBezTo>
                <a:cubicBezTo>
                  <a:pt x="580" y="85"/>
                  <a:pt x="595" y="76"/>
                  <a:pt x="604" y="77"/>
                </a:cubicBezTo>
                <a:cubicBezTo>
                  <a:pt x="593" y="62"/>
                  <a:pt x="557" y="8"/>
                  <a:pt x="496" y="5"/>
                </a:cubicBezTo>
                <a:cubicBezTo>
                  <a:pt x="385" y="0"/>
                  <a:pt x="352" y="72"/>
                  <a:pt x="352" y="72"/>
                </a:cubicBezTo>
                <a:lnTo>
                  <a:pt x="406" y="69"/>
                </a:lnTo>
                <a:cubicBezTo>
                  <a:pt x="406" y="69"/>
                  <a:pt x="390" y="76"/>
                  <a:pt x="357" y="81"/>
                </a:cubicBezTo>
                <a:cubicBezTo>
                  <a:pt x="332" y="85"/>
                  <a:pt x="333" y="85"/>
                  <a:pt x="325" y="87"/>
                </a:cubicBezTo>
                <a:cubicBezTo>
                  <a:pt x="313" y="90"/>
                  <a:pt x="281" y="128"/>
                  <a:pt x="253" y="160"/>
                </a:cubicBezTo>
                <a:cubicBezTo>
                  <a:pt x="224" y="193"/>
                  <a:pt x="194" y="234"/>
                  <a:pt x="194" y="250"/>
                </a:cubicBezTo>
                <a:cubicBezTo>
                  <a:pt x="194" y="266"/>
                  <a:pt x="211" y="277"/>
                  <a:pt x="220" y="291"/>
                </a:cubicBezTo>
                <a:cubicBezTo>
                  <a:pt x="230" y="304"/>
                  <a:pt x="232" y="311"/>
                  <a:pt x="232" y="311"/>
                </a:cubicBezTo>
                <a:lnTo>
                  <a:pt x="272" y="265"/>
                </a:lnTo>
                <a:lnTo>
                  <a:pt x="225" y="360"/>
                </a:lnTo>
                <a:cubicBezTo>
                  <a:pt x="225" y="360"/>
                  <a:pt x="247" y="389"/>
                  <a:pt x="270" y="386"/>
                </a:cubicBezTo>
                <a:cubicBezTo>
                  <a:pt x="288" y="383"/>
                  <a:pt x="327" y="352"/>
                  <a:pt x="352" y="348"/>
                </a:cubicBezTo>
                <a:cubicBezTo>
                  <a:pt x="378" y="342"/>
                  <a:pt x="389" y="347"/>
                  <a:pt x="389" y="347"/>
                </a:cubicBezTo>
                <a:cubicBezTo>
                  <a:pt x="389" y="347"/>
                  <a:pt x="406" y="300"/>
                  <a:pt x="398" y="268"/>
                </a:cubicBezTo>
                <a:cubicBezTo>
                  <a:pt x="383" y="209"/>
                  <a:pt x="394" y="178"/>
                  <a:pt x="406" y="159"/>
                </a:cubicBezTo>
                <a:cubicBezTo>
                  <a:pt x="397" y="236"/>
                  <a:pt x="423" y="242"/>
                  <a:pt x="421" y="292"/>
                </a:cubicBezTo>
                <a:cubicBezTo>
                  <a:pt x="420" y="330"/>
                  <a:pt x="408" y="371"/>
                  <a:pt x="408" y="371"/>
                </a:cubicBezTo>
                <a:cubicBezTo>
                  <a:pt x="408" y="371"/>
                  <a:pt x="371" y="359"/>
                  <a:pt x="342" y="374"/>
                </a:cubicBezTo>
                <a:cubicBezTo>
                  <a:pt x="314" y="389"/>
                  <a:pt x="289" y="409"/>
                  <a:pt x="262" y="409"/>
                </a:cubicBezTo>
                <a:cubicBezTo>
                  <a:pt x="234" y="409"/>
                  <a:pt x="196" y="360"/>
                  <a:pt x="196" y="360"/>
                </a:cubicBezTo>
                <a:lnTo>
                  <a:pt x="216" y="330"/>
                </a:lnTo>
                <a:cubicBezTo>
                  <a:pt x="216" y="330"/>
                  <a:pt x="213" y="321"/>
                  <a:pt x="205" y="311"/>
                </a:cubicBezTo>
                <a:cubicBezTo>
                  <a:pt x="193" y="296"/>
                  <a:pt x="172" y="274"/>
                  <a:pt x="171" y="257"/>
                </a:cubicBezTo>
                <a:cubicBezTo>
                  <a:pt x="170" y="227"/>
                  <a:pt x="200" y="194"/>
                  <a:pt x="211" y="182"/>
                </a:cubicBezTo>
                <a:cubicBezTo>
                  <a:pt x="221" y="168"/>
                  <a:pt x="254" y="133"/>
                  <a:pt x="254" y="133"/>
                </a:cubicBezTo>
                <a:cubicBezTo>
                  <a:pt x="254" y="133"/>
                  <a:pt x="159" y="147"/>
                  <a:pt x="119" y="193"/>
                </a:cubicBezTo>
                <a:cubicBezTo>
                  <a:pt x="72" y="250"/>
                  <a:pt x="65" y="266"/>
                  <a:pt x="47" y="269"/>
                </a:cubicBezTo>
                <a:cubicBezTo>
                  <a:pt x="30" y="272"/>
                  <a:pt x="23" y="253"/>
                  <a:pt x="23" y="253"/>
                </a:cubicBezTo>
                <a:cubicBezTo>
                  <a:pt x="23" y="253"/>
                  <a:pt x="36" y="251"/>
                  <a:pt x="35" y="235"/>
                </a:cubicBezTo>
                <a:cubicBezTo>
                  <a:pt x="32" y="209"/>
                  <a:pt x="39" y="194"/>
                  <a:pt x="39" y="194"/>
                </a:cubicBezTo>
                <a:cubicBezTo>
                  <a:pt x="39" y="194"/>
                  <a:pt x="11" y="212"/>
                  <a:pt x="5" y="230"/>
                </a:cubicBezTo>
                <a:cubicBezTo>
                  <a:pt x="0" y="247"/>
                  <a:pt x="12" y="253"/>
                  <a:pt x="12" y="253"/>
                </a:cubicBezTo>
                <a:cubicBezTo>
                  <a:pt x="12" y="253"/>
                  <a:pt x="12" y="285"/>
                  <a:pt x="31" y="292"/>
                </a:cubicBezTo>
                <a:cubicBezTo>
                  <a:pt x="50" y="300"/>
                  <a:pt x="65" y="294"/>
                  <a:pt x="65" y="294"/>
                </a:cubicBezTo>
                <a:cubicBezTo>
                  <a:pt x="65" y="294"/>
                  <a:pt x="53" y="353"/>
                  <a:pt x="69" y="397"/>
                </a:cubicBezTo>
                <a:cubicBezTo>
                  <a:pt x="85" y="440"/>
                  <a:pt x="118" y="488"/>
                  <a:pt x="118" y="488"/>
                </a:cubicBezTo>
                <a:cubicBezTo>
                  <a:pt x="118" y="488"/>
                  <a:pt x="115" y="521"/>
                  <a:pt x="111" y="529"/>
                </a:cubicBezTo>
                <a:cubicBezTo>
                  <a:pt x="109" y="537"/>
                  <a:pt x="96" y="556"/>
                  <a:pt x="115" y="570"/>
                </a:cubicBezTo>
                <a:cubicBezTo>
                  <a:pt x="134" y="583"/>
                  <a:pt x="182" y="589"/>
                  <a:pt x="193" y="582"/>
                </a:cubicBezTo>
                <a:cubicBezTo>
                  <a:pt x="204" y="575"/>
                  <a:pt x="201" y="556"/>
                  <a:pt x="202" y="549"/>
                </a:cubicBezTo>
                <a:cubicBezTo>
                  <a:pt x="204" y="542"/>
                  <a:pt x="219" y="515"/>
                  <a:pt x="221" y="508"/>
                </a:cubicBezTo>
                <a:cubicBezTo>
                  <a:pt x="223" y="500"/>
                  <a:pt x="223" y="459"/>
                  <a:pt x="220" y="446"/>
                </a:cubicBezTo>
                <a:cubicBezTo>
                  <a:pt x="223" y="453"/>
                  <a:pt x="235" y="484"/>
                  <a:pt x="280" y="485"/>
                </a:cubicBezTo>
                <a:cubicBezTo>
                  <a:pt x="321" y="487"/>
                  <a:pt x="334" y="465"/>
                  <a:pt x="334" y="450"/>
                </a:cubicBezTo>
                <a:cubicBezTo>
                  <a:pt x="334" y="457"/>
                  <a:pt x="337" y="487"/>
                  <a:pt x="333" y="492"/>
                </a:cubicBezTo>
                <a:cubicBezTo>
                  <a:pt x="329" y="498"/>
                  <a:pt x="317" y="502"/>
                  <a:pt x="304" y="508"/>
                </a:cubicBezTo>
                <a:cubicBezTo>
                  <a:pt x="292" y="517"/>
                  <a:pt x="276" y="525"/>
                  <a:pt x="303" y="557"/>
                </a:cubicBezTo>
                <a:cubicBezTo>
                  <a:pt x="333" y="595"/>
                  <a:pt x="338" y="598"/>
                  <a:pt x="364" y="578"/>
                </a:cubicBezTo>
                <a:cubicBezTo>
                  <a:pt x="390" y="557"/>
                  <a:pt x="417" y="538"/>
                  <a:pt x="436" y="514"/>
                </a:cubicBezTo>
                <a:cubicBezTo>
                  <a:pt x="455" y="489"/>
                  <a:pt x="489" y="400"/>
                  <a:pt x="489" y="400"/>
                </a:cubicBezTo>
                <a:cubicBezTo>
                  <a:pt x="489" y="400"/>
                  <a:pt x="469" y="386"/>
                  <a:pt x="455" y="368"/>
                </a:cubicBezTo>
                <a:cubicBezTo>
                  <a:pt x="446" y="355"/>
                  <a:pt x="443" y="347"/>
                  <a:pt x="443" y="347"/>
                </a:cubicBezTo>
                <a:cubicBezTo>
                  <a:pt x="443" y="347"/>
                  <a:pt x="470" y="374"/>
                  <a:pt x="499" y="381"/>
                </a:cubicBezTo>
                <a:cubicBezTo>
                  <a:pt x="510" y="393"/>
                  <a:pt x="527" y="410"/>
                  <a:pt x="542" y="416"/>
                </a:cubicBezTo>
                <a:cubicBezTo>
                  <a:pt x="598" y="439"/>
                  <a:pt x="616" y="370"/>
                  <a:pt x="616" y="370"/>
                </a:cubicBezTo>
                <a:lnTo>
                  <a:pt x="608" y="368"/>
                </a:lnTo>
                <a:cubicBezTo>
                  <a:pt x="608" y="368"/>
                  <a:pt x="593" y="404"/>
                  <a:pt x="568" y="401"/>
                </a:cubicBezTo>
                <a:cubicBezTo>
                  <a:pt x="519" y="396"/>
                  <a:pt x="534" y="295"/>
                  <a:pt x="534" y="295"/>
                </a:cubicBezTo>
                <a:cubicBezTo>
                  <a:pt x="534" y="295"/>
                  <a:pt x="583" y="366"/>
                  <a:pt x="682" y="363"/>
                </a:cubicBezTo>
                <a:cubicBezTo>
                  <a:pt x="744" y="364"/>
                  <a:pt x="814" y="294"/>
                  <a:pt x="809" y="163"/>
                </a:cubicBezTo>
                <a:close/>
                <a:moveTo>
                  <a:pt x="463" y="159"/>
                </a:moveTo>
                <a:cubicBezTo>
                  <a:pt x="463" y="159"/>
                  <a:pt x="468" y="113"/>
                  <a:pt x="477" y="106"/>
                </a:cubicBezTo>
                <a:cubicBezTo>
                  <a:pt x="489" y="98"/>
                  <a:pt x="522" y="109"/>
                  <a:pt x="522" y="109"/>
                </a:cubicBezTo>
                <a:cubicBezTo>
                  <a:pt x="522" y="109"/>
                  <a:pt x="502" y="109"/>
                  <a:pt x="489" y="119"/>
                </a:cubicBezTo>
                <a:cubicBezTo>
                  <a:pt x="478" y="129"/>
                  <a:pt x="463" y="159"/>
                  <a:pt x="463" y="159"/>
                </a:cubicBezTo>
                <a:close/>
                <a:moveTo>
                  <a:pt x="542" y="200"/>
                </a:moveTo>
                <a:cubicBezTo>
                  <a:pt x="527" y="212"/>
                  <a:pt x="514" y="227"/>
                  <a:pt x="514" y="227"/>
                </a:cubicBezTo>
                <a:cubicBezTo>
                  <a:pt x="514" y="227"/>
                  <a:pt x="517" y="220"/>
                  <a:pt x="519" y="216"/>
                </a:cubicBezTo>
                <a:cubicBezTo>
                  <a:pt x="522" y="211"/>
                  <a:pt x="526" y="205"/>
                  <a:pt x="526" y="205"/>
                </a:cubicBezTo>
                <a:cubicBezTo>
                  <a:pt x="526" y="205"/>
                  <a:pt x="521" y="204"/>
                  <a:pt x="514" y="197"/>
                </a:cubicBezTo>
                <a:cubicBezTo>
                  <a:pt x="510" y="193"/>
                  <a:pt x="508" y="189"/>
                  <a:pt x="507" y="186"/>
                </a:cubicBezTo>
                <a:cubicBezTo>
                  <a:pt x="507" y="186"/>
                  <a:pt x="504" y="187"/>
                  <a:pt x="500" y="192"/>
                </a:cubicBezTo>
                <a:cubicBezTo>
                  <a:pt x="496" y="194"/>
                  <a:pt x="491" y="201"/>
                  <a:pt x="491" y="201"/>
                </a:cubicBezTo>
                <a:cubicBezTo>
                  <a:pt x="491" y="201"/>
                  <a:pt x="504" y="175"/>
                  <a:pt x="523" y="162"/>
                </a:cubicBezTo>
                <a:cubicBezTo>
                  <a:pt x="544" y="148"/>
                  <a:pt x="564" y="148"/>
                  <a:pt x="564" y="148"/>
                </a:cubicBezTo>
                <a:cubicBezTo>
                  <a:pt x="564" y="148"/>
                  <a:pt x="561" y="148"/>
                  <a:pt x="555" y="152"/>
                </a:cubicBezTo>
                <a:cubicBezTo>
                  <a:pt x="548" y="156"/>
                  <a:pt x="548" y="156"/>
                  <a:pt x="548" y="156"/>
                </a:cubicBezTo>
                <a:cubicBezTo>
                  <a:pt x="548" y="156"/>
                  <a:pt x="555" y="159"/>
                  <a:pt x="560" y="164"/>
                </a:cubicBezTo>
                <a:cubicBezTo>
                  <a:pt x="565" y="171"/>
                  <a:pt x="567" y="179"/>
                  <a:pt x="567" y="179"/>
                </a:cubicBezTo>
                <a:cubicBezTo>
                  <a:pt x="567" y="179"/>
                  <a:pt x="568" y="179"/>
                  <a:pt x="575" y="177"/>
                </a:cubicBezTo>
                <a:cubicBezTo>
                  <a:pt x="582" y="174"/>
                  <a:pt x="589" y="174"/>
                  <a:pt x="589" y="174"/>
                </a:cubicBezTo>
                <a:cubicBezTo>
                  <a:pt x="589" y="174"/>
                  <a:pt x="564" y="182"/>
                  <a:pt x="542" y="200"/>
                </a:cubicBezTo>
                <a:close/>
                <a:moveTo>
                  <a:pt x="748" y="77"/>
                </a:moveTo>
                <a:cubicBezTo>
                  <a:pt x="731" y="90"/>
                  <a:pt x="714" y="91"/>
                  <a:pt x="712" y="85"/>
                </a:cubicBezTo>
                <a:cubicBezTo>
                  <a:pt x="710" y="80"/>
                  <a:pt x="714" y="80"/>
                  <a:pt x="714" y="80"/>
                </a:cubicBezTo>
                <a:cubicBezTo>
                  <a:pt x="714" y="80"/>
                  <a:pt x="731" y="73"/>
                  <a:pt x="741" y="66"/>
                </a:cubicBezTo>
                <a:cubicBezTo>
                  <a:pt x="753" y="57"/>
                  <a:pt x="764" y="35"/>
                  <a:pt x="768" y="41"/>
                </a:cubicBezTo>
                <a:cubicBezTo>
                  <a:pt x="772" y="47"/>
                  <a:pt x="761" y="68"/>
                  <a:pt x="748" y="77"/>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80"/>
          <p:cNvSpPr>
            <a:spLocks noChangeArrowheads="1"/>
          </p:cNvSpPr>
          <p:nvPr/>
        </p:nvSpPr>
        <p:spPr bwMode="auto">
          <a:xfrm>
            <a:off x="2547938" y="3792538"/>
            <a:ext cx="9652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HDInsigh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7303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s</a:t>
            </a:r>
            <a:endParaRPr lang="en-US" dirty="0"/>
          </a:p>
        </p:txBody>
      </p:sp>
      <p:sp>
        <p:nvSpPr>
          <p:cNvPr id="12" name="Rim outline and Backfill" hidden="1"/>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D1D1D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1" name="Red LED"/>
          <p:cNvGrpSpPr>
            <a:grpSpLocks noChangeAspect="1"/>
          </p:cNvGrpSpPr>
          <p:nvPr/>
        </p:nvGrpSpPr>
        <p:grpSpPr>
          <a:xfrm>
            <a:off x="1839816" y="2391507"/>
            <a:ext cx="813628" cy="3462558"/>
            <a:chOff x="1839816" y="2391507"/>
            <a:chExt cx="813628" cy="3462558"/>
          </a:xfrm>
        </p:grpSpPr>
        <p:sp>
          <p:nvSpPr>
            <p:cNvPr id="28"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9"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Bottom Fill"/>
            <p:cNvSpPr>
              <a:spLocks noChangeArrowheads="1"/>
            </p:cNvSpPr>
            <p:nvPr/>
          </p:nvSpPr>
          <p:spPr bwMode="auto">
            <a:xfrm>
              <a:off x="1839816" y="2977006"/>
              <a:ext cx="746070" cy="520879"/>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00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32" name="Green LED"/>
          <p:cNvGrpSpPr>
            <a:grpSpLocks noChangeAspect="1"/>
          </p:cNvGrpSpPr>
          <p:nvPr/>
        </p:nvGrpSpPr>
        <p:grpSpPr>
          <a:xfrm>
            <a:off x="2862629" y="2391507"/>
            <a:ext cx="813628" cy="3462558"/>
            <a:chOff x="1839816" y="2391507"/>
            <a:chExt cx="813628" cy="3462558"/>
          </a:xfrm>
        </p:grpSpPr>
        <p:sp>
          <p:nvSpPr>
            <p:cNvPr id="33"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5"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Bottom Fill"/>
            <p:cNvSpPr>
              <a:spLocks noChangeArrowheads="1"/>
            </p:cNvSpPr>
            <p:nvPr/>
          </p:nvSpPr>
          <p:spPr bwMode="auto">
            <a:xfrm>
              <a:off x="1839816" y="2977006"/>
              <a:ext cx="746070" cy="520879"/>
            </a:xfrm>
            <a:prstGeom prst="ellipse">
              <a:avLst/>
            </a:pr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3" name="Blue LED"/>
          <p:cNvGrpSpPr>
            <a:grpSpLocks noChangeAspect="1"/>
          </p:cNvGrpSpPr>
          <p:nvPr/>
        </p:nvGrpSpPr>
        <p:grpSpPr>
          <a:xfrm>
            <a:off x="3885442" y="2391507"/>
            <a:ext cx="813628" cy="3462558"/>
            <a:chOff x="1839816" y="2391507"/>
            <a:chExt cx="813628" cy="3462558"/>
          </a:xfrm>
        </p:grpSpPr>
        <p:sp>
          <p:nvSpPr>
            <p:cNvPr id="44"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5"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6"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Bottom Fill"/>
            <p:cNvSpPr>
              <a:spLocks noChangeArrowheads="1"/>
            </p:cNvSpPr>
            <p:nvPr/>
          </p:nvSpPr>
          <p:spPr bwMode="auto">
            <a:xfrm>
              <a:off x="1839816" y="2977006"/>
              <a:ext cx="746070" cy="520879"/>
            </a:xfrm>
            <a:prstGeom prst="ellipse">
              <a:avLst/>
            </a:pr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00E6">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54" name="Yellow LED"/>
          <p:cNvGrpSpPr>
            <a:grpSpLocks noChangeAspect="1"/>
          </p:cNvGrpSpPr>
          <p:nvPr/>
        </p:nvGrpSpPr>
        <p:grpSpPr>
          <a:xfrm>
            <a:off x="4908255" y="2391507"/>
            <a:ext cx="813628" cy="3462558"/>
            <a:chOff x="1839816" y="2391507"/>
            <a:chExt cx="813628" cy="3462558"/>
          </a:xfrm>
        </p:grpSpPr>
        <p:sp>
          <p:nvSpPr>
            <p:cNvPr id="55"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6"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7"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Bottom Fill"/>
            <p:cNvSpPr>
              <a:spLocks noChangeArrowheads="1"/>
            </p:cNvSpPr>
            <p:nvPr/>
          </p:nvSpPr>
          <p:spPr bwMode="auto">
            <a:xfrm>
              <a:off x="1839816" y="2977006"/>
              <a:ext cx="746070" cy="520879"/>
            </a:xfrm>
            <a:prstGeom prst="ellipse">
              <a:avLst/>
            </a:pr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65" name="Clear LED"/>
          <p:cNvGrpSpPr>
            <a:grpSpLocks noChangeAspect="1"/>
          </p:cNvGrpSpPr>
          <p:nvPr/>
        </p:nvGrpSpPr>
        <p:grpSpPr>
          <a:xfrm>
            <a:off x="5931068" y="2391507"/>
            <a:ext cx="813628" cy="3462558"/>
            <a:chOff x="1839816" y="2391507"/>
            <a:chExt cx="813628" cy="3462558"/>
          </a:xfrm>
        </p:grpSpPr>
        <p:sp>
          <p:nvSpPr>
            <p:cNvPr id="66"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8"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Bottom Fill"/>
            <p:cNvSpPr>
              <a:spLocks noChangeArrowheads="1"/>
            </p:cNvSpPr>
            <p:nvPr/>
          </p:nvSpPr>
          <p:spPr bwMode="auto">
            <a:xfrm>
              <a:off x="1839816" y="2977006"/>
              <a:ext cx="746070" cy="520879"/>
            </a:xfrm>
            <a:prstGeom prst="ellipse">
              <a:avLst/>
            </a:pr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chemeClr val="bg1">
                <a:alpha val="25000"/>
              </a:scheme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25648425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stors</a:t>
            </a:r>
            <a:endParaRPr lang="en-US" dirty="0"/>
          </a:p>
        </p:txBody>
      </p:sp>
      <p:grpSp>
        <p:nvGrpSpPr>
          <p:cNvPr id="84" name="Group 83"/>
          <p:cNvGrpSpPr>
            <a:grpSpLocks noChangeAspect="1"/>
          </p:cNvGrpSpPr>
          <p:nvPr/>
        </p:nvGrpSpPr>
        <p:grpSpPr>
          <a:xfrm>
            <a:off x="5183579" y="700543"/>
            <a:ext cx="4626633" cy="1449071"/>
            <a:chOff x="7230470" y="700543"/>
            <a:chExt cx="4626633" cy="1449071"/>
          </a:xfrm>
        </p:grpSpPr>
        <p:grpSp>
          <p:nvGrpSpPr>
            <p:cNvPr id="26" name="Group 25"/>
            <p:cNvGrpSpPr/>
            <p:nvPr/>
          </p:nvGrpSpPr>
          <p:grpSpPr>
            <a:xfrm>
              <a:off x="8126466" y="700543"/>
              <a:ext cx="2834640" cy="624245"/>
              <a:chOff x="3218816" y="2486026"/>
              <a:chExt cx="5392103" cy="1187450"/>
            </a:xfrm>
          </p:grpSpPr>
          <p:sp>
            <p:nvSpPr>
              <p:cNvPr id="27"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4" name="Group 43"/>
            <p:cNvGrpSpPr/>
            <p:nvPr/>
          </p:nvGrpSpPr>
          <p:grpSpPr>
            <a:xfrm>
              <a:off x="7230470" y="1774061"/>
              <a:ext cx="4626633" cy="375553"/>
              <a:chOff x="7230470" y="1774061"/>
              <a:chExt cx="4626633" cy="375553"/>
            </a:xfrm>
          </p:grpSpPr>
          <p:sp>
            <p:nvSpPr>
              <p:cNvPr id="36" name="TextBox 35"/>
              <p:cNvSpPr txBox="1"/>
              <p:nvPr/>
            </p:nvSpPr>
            <p:spPr>
              <a:xfrm>
                <a:off x="7230470" y="1774061"/>
                <a:ext cx="922047" cy="369332"/>
              </a:xfrm>
              <a:prstGeom prst="rect">
                <a:avLst/>
              </a:prstGeom>
              <a:noFill/>
            </p:spPr>
            <p:txBody>
              <a:bodyPr wrap="none" rtlCol="0">
                <a:spAutoFit/>
              </a:bodyPr>
              <a:lstStyle/>
              <a:p>
                <a:r>
                  <a:rPr lang="en-US" dirty="0" smtClean="0"/>
                  <a:t>1</a:t>
                </a:r>
                <a:r>
                  <a:rPr lang="en-US" baseline="30000" dirty="0" smtClean="0"/>
                  <a:t>st</a:t>
                </a:r>
                <a:r>
                  <a:rPr lang="en-US" dirty="0" smtClean="0"/>
                  <a:t> Digit</a:t>
                </a:r>
                <a:endParaRPr lang="en-US" dirty="0"/>
              </a:p>
            </p:txBody>
          </p:sp>
          <p:sp>
            <p:nvSpPr>
              <p:cNvPr id="37" name="TextBox 36"/>
              <p:cNvSpPr txBox="1"/>
              <p:nvPr/>
            </p:nvSpPr>
            <p:spPr>
              <a:xfrm>
                <a:off x="8332090" y="1780282"/>
                <a:ext cx="984565" cy="369332"/>
              </a:xfrm>
              <a:prstGeom prst="rect">
                <a:avLst/>
              </a:prstGeom>
              <a:noFill/>
            </p:spPr>
            <p:txBody>
              <a:bodyPr wrap="none" rtlCol="0">
                <a:spAutoFit/>
              </a:bodyPr>
              <a:lstStyle/>
              <a:p>
                <a:r>
                  <a:rPr lang="en-US" dirty="0" smtClean="0"/>
                  <a:t>2</a:t>
                </a:r>
                <a:r>
                  <a:rPr lang="en-US" baseline="30000" dirty="0" smtClean="0"/>
                  <a:t>nd</a:t>
                </a:r>
                <a:r>
                  <a:rPr lang="en-US" dirty="0" smtClean="0"/>
                  <a:t> Digit</a:t>
                </a:r>
                <a:endParaRPr lang="en-US" dirty="0"/>
              </a:p>
            </p:txBody>
          </p:sp>
          <p:sp>
            <p:nvSpPr>
              <p:cNvPr id="38" name="TextBox 37"/>
              <p:cNvSpPr txBox="1"/>
              <p:nvPr/>
            </p:nvSpPr>
            <p:spPr>
              <a:xfrm>
                <a:off x="9496228" y="1774061"/>
                <a:ext cx="1085554" cy="369332"/>
              </a:xfrm>
              <a:prstGeom prst="rect">
                <a:avLst/>
              </a:prstGeom>
              <a:noFill/>
            </p:spPr>
            <p:txBody>
              <a:bodyPr wrap="none" rtlCol="0">
                <a:spAutoFit/>
              </a:bodyPr>
              <a:lstStyle/>
              <a:p>
                <a:r>
                  <a:rPr lang="en-US" dirty="0" smtClean="0"/>
                  <a:t>Multiplier</a:t>
                </a:r>
                <a:endParaRPr lang="en-US" dirty="0"/>
              </a:p>
            </p:txBody>
          </p:sp>
          <p:sp>
            <p:nvSpPr>
              <p:cNvPr id="39" name="TextBox 38"/>
              <p:cNvSpPr txBox="1"/>
              <p:nvPr/>
            </p:nvSpPr>
            <p:spPr>
              <a:xfrm>
                <a:off x="10761354" y="1774061"/>
                <a:ext cx="1095749" cy="369332"/>
              </a:xfrm>
              <a:prstGeom prst="rect">
                <a:avLst/>
              </a:prstGeom>
              <a:noFill/>
            </p:spPr>
            <p:txBody>
              <a:bodyPr wrap="none" rtlCol="0">
                <a:spAutoFit/>
              </a:bodyPr>
              <a:lstStyle/>
              <a:p>
                <a:r>
                  <a:rPr lang="en-US" dirty="0" smtClean="0"/>
                  <a:t>Tolerance</a:t>
                </a:r>
              </a:p>
            </p:txBody>
          </p:sp>
        </p:grpSp>
        <p:sp>
          <p:nvSpPr>
            <p:cNvPr id="40" name="Freeform 39"/>
            <p:cNvSpPr/>
            <p:nvPr/>
          </p:nvSpPr>
          <p:spPr>
            <a:xfrm>
              <a:off x="7782560" y="1363980"/>
              <a:ext cx="1249680" cy="4622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1178560"/>
                <a:gd name="connsiteY0" fmla="*/ 414020 h 414020"/>
                <a:gd name="connsiteX1" fmla="*/ 416560 w 1178560"/>
                <a:gd name="connsiteY1" fmla="*/ 251460 h 414020"/>
                <a:gd name="connsiteX2" fmla="*/ 1178560 w 1178560"/>
                <a:gd name="connsiteY2" fmla="*/ 0 h 414020"/>
                <a:gd name="connsiteX0" fmla="*/ 0 w 1178560"/>
                <a:gd name="connsiteY0" fmla="*/ 414020 h 414020"/>
                <a:gd name="connsiteX1" fmla="*/ 833120 w 1178560"/>
                <a:gd name="connsiteY1" fmla="*/ 231140 h 414020"/>
                <a:gd name="connsiteX2" fmla="*/ 1178560 w 1178560"/>
                <a:gd name="connsiteY2" fmla="*/ 0 h 414020"/>
                <a:gd name="connsiteX0" fmla="*/ 0 w 1249680"/>
                <a:gd name="connsiteY0" fmla="*/ 462280 h 462280"/>
                <a:gd name="connsiteX1" fmla="*/ 904240 w 1249680"/>
                <a:gd name="connsiteY1" fmla="*/ 231140 h 462280"/>
                <a:gd name="connsiteX2" fmla="*/ 1249680 w 1249680"/>
                <a:gd name="connsiteY2" fmla="*/ 0 h 462280"/>
              </a:gdLst>
              <a:ahLst/>
              <a:cxnLst>
                <a:cxn ang="0">
                  <a:pos x="connsiteX0" y="connsiteY0"/>
                </a:cxn>
                <a:cxn ang="0">
                  <a:pos x="connsiteX1" y="connsiteY1"/>
                </a:cxn>
                <a:cxn ang="0">
                  <a:pos x="connsiteX2" y="connsiteY2"/>
                </a:cxn>
              </a:cxnLst>
              <a:rect l="l" t="t" r="r" b="b"/>
              <a:pathLst>
                <a:path w="1249680" h="462280">
                  <a:moveTo>
                    <a:pt x="0" y="462280"/>
                  </a:moveTo>
                  <a:lnTo>
                    <a:pt x="904240" y="231140"/>
                  </a:lnTo>
                  <a:lnTo>
                    <a:pt x="124968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9692821" y="1367790"/>
              <a:ext cx="360680" cy="45593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760730 w 760730"/>
                <a:gd name="connsiteY0" fmla="*/ 402590 h 402590"/>
                <a:gd name="connsiteX1" fmla="*/ 0 w 760730"/>
                <a:gd name="connsiteY1" fmla="*/ 247650 h 402590"/>
                <a:gd name="connsiteX2" fmla="*/ 349250 w 760730"/>
                <a:gd name="connsiteY2" fmla="*/ 0 h 402590"/>
                <a:gd name="connsiteX0" fmla="*/ 411480 w 411480"/>
                <a:gd name="connsiteY0" fmla="*/ 402590 h 402590"/>
                <a:gd name="connsiteX1" fmla="*/ 128270 w 411480"/>
                <a:gd name="connsiteY1" fmla="*/ 222250 h 402590"/>
                <a:gd name="connsiteX2" fmla="*/ 0 w 411480"/>
                <a:gd name="connsiteY2" fmla="*/ 0 h 402590"/>
                <a:gd name="connsiteX0" fmla="*/ 360680 w 360680"/>
                <a:gd name="connsiteY0" fmla="*/ 455930 h 455930"/>
                <a:gd name="connsiteX1" fmla="*/ 128270 w 360680"/>
                <a:gd name="connsiteY1" fmla="*/ 222250 h 455930"/>
                <a:gd name="connsiteX2" fmla="*/ 0 w 360680"/>
                <a:gd name="connsiteY2" fmla="*/ 0 h 455930"/>
              </a:gdLst>
              <a:ahLst/>
              <a:cxnLst>
                <a:cxn ang="0">
                  <a:pos x="connsiteX0" y="connsiteY0"/>
                </a:cxn>
                <a:cxn ang="0">
                  <a:pos x="connsiteX1" y="connsiteY1"/>
                </a:cxn>
                <a:cxn ang="0">
                  <a:pos x="connsiteX2" y="connsiteY2"/>
                </a:cxn>
              </a:cxnLst>
              <a:rect l="l" t="t" r="r" b="b"/>
              <a:pathLst>
                <a:path w="360680" h="455930">
                  <a:moveTo>
                    <a:pt x="360680" y="455930"/>
                  </a:moveTo>
                  <a:lnTo>
                    <a:pt x="128270" y="22225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10172919" y="1374140"/>
              <a:ext cx="1032510" cy="4495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1672590 w 1672590"/>
                <a:gd name="connsiteY0" fmla="*/ 375920 h 375920"/>
                <a:gd name="connsiteX1" fmla="*/ 911860 w 1672590"/>
                <a:gd name="connsiteY1" fmla="*/ 220980 h 375920"/>
                <a:gd name="connsiteX2" fmla="*/ 0 w 1672590"/>
                <a:gd name="connsiteY2" fmla="*/ 0 h 375920"/>
                <a:gd name="connsiteX0" fmla="*/ 1672590 w 1672590"/>
                <a:gd name="connsiteY0" fmla="*/ 375920 h 375920"/>
                <a:gd name="connsiteX1" fmla="*/ 313690 w 1672590"/>
                <a:gd name="connsiteY1" fmla="*/ 186690 h 375920"/>
                <a:gd name="connsiteX2" fmla="*/ 0 w 1672590"/>
                <a:gd name="connsiteY2" fmla="*/ 0 h 375920"/>
                <a:gd name="connsiteX0" fmla="*/ 1358900 w 1358900"/>
                <a:gd name="connsiteY0" fmla="*/ 396240 h 396240"/>
                <a:gd name="connsiteX1" fmla="*/ 0 w 1358900"/>
                <a:gd name="connsiteY1" fmla="*/ 207010 h 396240"/>
                <a:gd name="connsiteX2" fmla="*/ 336550 w 1358900"/>
                <a:gd name="connsiteY2" fmla="*/ 0 h 396240"/>
                <a:gd name="connsiteX0" fmla="*/ 1022350 w 1022350"/>
                <a:gd name="connsiteY0" fmla="*/ 396240 h 396240"/>
                <a:gd name="connsiteX1" fmla="*/ 349250 w 1022350"/>
                <a:gd name="connsiteY1" fmla="*/ 222250 h 396240"/>
                <a:gd name="connsiteX2" fmla="*/ 0 w 1022350"/>
                <a:gd name="connsiteY2" fmla="*/ 0 h 396240"/>
                <a:gd name="connsiteX0" fmla="*/ 1027430 w 1027430"/>
                <a:gd name="connsiteY0" fmla="*/ 431800 h 431800"/>
                <a:gd name="connsiteX1" fmla="*/ 349250 w 1027430"/>
                <a:gd name="connsiteY1" fmla="*/ 222250 h 431800"/>
                <a:gd name="connsiteX2" fmla="*/ 0 w 1027430"/>
                <a:gd name="connsiteY2" fmla="*/ 0 h 431800"/>
                <a:gd name="connsiteX0" fmla="*/ 1019810 w 1019810"/>
                <a:gd name="connsiteY0" fmla="*/ 469900 h 469900"/>
                <a:gd name="connsiteX1" fmla="*/ 349250 w 1019810"/>
                <a:gd name="connsiteY1" fmla="*/ 222250 h 469900"/>
                <a:gd name="connsiteX2" fmla="*/ 0 w 1019810"/>
                <a:gd name="connsiteY2" fmla="*/ 0 h 469900"/>
                <a:gd name="connsiteX0" fmla="*/ 1032510 w 1032510"/>
                <a:gd name="connsiteY0" fmla="*/ 449580 h 449580"/>
                <a:gd name="connsiteX1" fmla="*/ 349250 w 1032510"/>
                <a:gd name="connsiteY1" fmla="*/ 222250 h 449580"/>
                <a:gd name="connsiteX2" fmla="*/ 0 w 1032510"/>
                <a:gd name="connsiteY2" fmla="*/ 0 h 449580"/>
                <a:gd name="connsiteX0" fmla="*/ 1032510 w 1032510"/>
                <a:gd name="connsiteY0" fmla="*/ 449580 h 449580"/>
                <a:gd name="connsiteX1" fmla="*/ 344170 w 1032510"/>
                <a:gd name="connsiteY1" fmla="*/ 224790 h 449580"/>
                <a:gd name="connsiteX2" fmla="*/ 0 w 1032510"/>
                <a:gd name="connsiteY2" fmla="*/ 0 h 449580"/>
              </a:gdLst>
              <a:ahLst/>
              <a:cxnLst>
                <a:cxn ang="0">
                  <a:pos x="connsiteX0" y="connsiteY0"/>
                </a:cxn>
                <a:cxn ang="0">
                  <a:pos x="connsiteX1" y="connsiteY1"/>
                </a:cxn>
                <a:cxn ang="0">
                  <a:pos x="connsiteX2" y="connsiteY2"/>
                </a:cxn>
              </a:cxnLst>
              <a:rect l="l" t="t" r="r" b="b"/>
              <a:pathLst>
                <a:path w="1032510" h="449580">
                  <a:moveTo>
                    <a:pt x="1032510" y="449580"/>
                  </a:moveTo>
                  <a:lnTo>
                    <a:pt x="344170" y="22479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8798867" y="1369060"/>
              <a:ext cx="553720" cy="45720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513080"/>
                <a:gd name="connsiteY0" fmla="*/ 408940 h 408940"/>
                <a:gd name="connsiteX1" fmla="*/ 416560 w 513080"/>
                <a:gd name="connsiteY1" fmla="*/ 246380 h 408940"/>
                <a:gd name="connsiteX2" fmla="*/ 513080 w 513080"/>
                <a:gd name="connsiteY2" fmla="*/ 0 h 408940"/>
                <a:gd name="connsiteX0" fmla="*/ 0 w 513080"/>
                <a:gd name="connsiteY0" fmla="*/ 408940 h 408940"/>
                <a:gd name="connsiteX1" fmla="*/ 309880 w 513080"/>
                <a:gd name="connsiteY1" fmla="*/ 228600 h 408940"/>
                <a:gd name="connsiteX2" fmla="*/ 513080 w 513080"/>
                <a:gd name="connsiteY2" fmla="*/ 0 h 408940"/>
                <a:gd name="connsiteX0" fmla="*/ 0 w 553720"/>
                <a:gd name="connsiteY0" fmla="*/ 457200 h 457200"/>
                <a:gd name="connsiteX1" fmla="*/ 350520 w 553720"/>
                <a:gd name="connsiteY1" fmla="*/ 228600 h 457200"/>
                <a:gd name="connsiteX2" fmla="*/ 553720 w 553720"/>
                <a:gd name="connsiteY2" fmla="*/ 0 h 457200"/>
                <a:gd name="connsiteX0" fmla="*/ 0 w 553720"/>
                <a:gd name="connsiteY0" fmla="*/ 457200 h 457200"/>
                <a:gd name="connsiteX1" fmla="*/ 391160 w 553720"/>
                <a:gd name="connsiteY1" fmla="*/ 220980 h 457200"/>
                <a:gd name="connsiteX2" fmla="*/ 553720 w 553720"/>
                <a:gd name="connsiteY2" fmla="*/ 0 h 457200"/>
              </a:gdLst>
              <a:ahLst/>
              <a:cxnLst>
                <a:cxn ang="0">
                  <a:pos x="connsiteX0" y="connsiteY0"/>
                </a:cxn>
                <a:cxn ang="0">
                  <a:pos x="connsiteX1" y="connsiteY1"/>
                </a:cxn>
                <a:cxn ang="0">
                  <a:pos x="connsiteX2" y="connsiteY2"/>
                </a:cxn>
              </a:cxnLst>
              <a:rect l="l" t="t" r="r" b="b"/>
              <a:pathLst>
                <a:path w="553720" h="457200">
                  <a:moveTo>
                    <a:pt x="0" y="457200"/>
                  </a:moveTo>
                  <a:lnTo>
                    <a:pt x="391160" y="220980"/>
                  </a:lnTo>
                  <a:lnTo>
                    <a:pt x="55372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6" name="Table 45"/>
          <p:cNvGraphicFramePr>
            <a:graphicFrameLocks noGrp="1"/>
          </p:cNvGraphicFramePr>
          <p:nvPr>
            <p:extLst>
              <p:ext uri="{D42A27DB-BD31-4B8C-83A1-F6EECF244321}">
                <p14:modId xmlns:p14="http://schemas.microsoft.com/office/powerpoint/2010/main" val="188768848"/>
              </p:ext>
            </p:extLst>
          </p:nvPr>
        </p:nvGraphicFramePr>
        <p:xfrm>
          <a:off x="4778832" y="2683470"/>
          <a:ext cx="5436126" cy="3962400"/>
        </p:xfrm>
        <a:graphic>
          <a:graphicData uri="http://schemas.openxmlformats.org/drawingml/2006/table">
            <a:tbl>
              <a:tblPr firstRow="1" bandRow="1">
                <a:tableStyleId>{5C22544A-7EE6-4342-B048-85BDC9FD1C3A}</a:tableStyleId>
              </a:tblPr>
              <a:tblGrid>
                <a:gridCol w="906021"/>
                <a:gridCol w="906021"/>
                <a:gridCol w="906021"/>
                <a:gridCol w="798023"/>
                <a:gridCol w="1014019"/>
                <a:gridCol w="906021"/>
              </a:tblGrid>
              <a:tr h="301858">
                <a:tc>
                  <a:txBody>
                    <a:bodyPr/>
                    <a:lstStyle/>
                    <a:p>
                      <a:r>
                        <a:rPr lang="en-US" sz="1400" dirty="0" smtClean="0"/>
                        <a:t>Color</a:t>
                      </a:r>
                      <a:endParaRPr lang="en-US" sz="1400" dirty="0"/>
                    </a:p>
                  </a:txBody>
                  <a:tcPr marL="45720" marR="45720" anchor="ctr"/>
                </a:tc>
                <a:tc>
                  <a:txBody>
                    <a:bodyPr/>
                    <a:lstStyle/>
                    <a:p>
                      <a:r>
                        <a:rPr lang="en-US" sz="1400" dirty="0" smtClean="0"/>
                        <a:t>Name</a:t>
                      </a:r>
                      <a:endParaRPr lang="en-US" sz="1400" dirty="0"/>
                    </a:p>
                  </a:txBody>
                  <a:tcPr marL="45720" marR="45720" anchor="ctr"/>
                </a:tc>
                <a:tc>
                  <a:txBody>
                    <a:bodyPr/>
                    <a:lstStyle/>
                    <a:p>
                      <a:r>
                        <a:rPr lang="en-US" sz="1400" dirty="0" smtClean="0"/>
                        <a:t>1</a:t>
                      </a:r>
                      <a:r>
                        <a:rPr lang="en-US" sz="1400" baseline="30000" dirty="0" smtClean="0"/>
                        <a:t>st</a:t>
                      </a:r>
                      <a:r>
                        <a:rPr lang="en-US" sz="1400" dirty="0" smtClean="0"/>
                        <a:t> Digit</a:t>
                      </a:r>
                      <a:endParaRPr lang="en-US" sz="1400" dirty="0"/>
                    </a:p>
                  </a:txBody>
                  <a:tcPr marL="45720" marR="45720" anchor="ctr"/>
                </a:tc>
                <a:tc>
                  <a:txBody>
                    <a:bodyPr/>
                    <a:lstStyle/>
                    <a:p>
                      <a:r>
                        <a:rPr lang="en-US" sz="1400" dirty="0" smtClean="0"/>
                        <a:t>2</a:t>
                      </a:r>
                      <a:r>
                        <a:rPr lang="en-US" sz="1400" baseline="30000" dirty="0" smtClean="0"/>
                        <a:t>nd</a:t>
                      </a:r>
                      <a:r>
                        <a:rPr lang="en-US" sz="1400" dirty="0" smtClean="0"/>
                        <a:t> Digit</a:t>
                      </a:r>
                      <a:endParaRPr lang="en-US" sz="1400" dirty="0"/>
                    </a:p>
                  </a:txBody>
                  <a:tcPr marL="45720" marR="45720" anchor="ctr"/>
                </a:tc>
                <a:tc>
                  <a:txBody>
                    <a:bodyPr/>
                    <a:lstStyle/>
                    <a:p>
                      <a:r>
                        <a:rPr lang="en-US" sz="1400" dirty="0" smtClean="0"/>
                        <a:t>Multiplier</a:t>
                      </a:r>
                      <a:endParaRPr lang="en-US" sz="1400" dirty="0"/>
                    </a:p>
                  </a:txBody>
                  <a:tcPr marL="45720" marR="45720" anchor="ctr"/>
                </a:tc>
                <a:tc>
                  <a:txBody>
                    <a:bodyPr/>
                    <a:lstStyle/>
                    <a:p>
                      <a:r>
                        <a:rPr lang="en-US" sz="1400" dirty="0" smtClean="0"/>
                        <a:t>Tolerance</a:t>
                      </a:r>
                      <a:endParaRPr lang="en-US" sz="1400" dirty="0"/>
                    </a:p>
                  </a:txBody>
                  <a:tcPr marL="45720" marR="45720" anchor="ctr"/>
                </a:tc>
              </a:tr>
              <a:tr h="301858">
                <a:tc>
                  <a:txBody>
                    <a:bodyPr/>
                    <a:lstStyle/>
                    <a:p>
                      <a:endParaRPr lang="en-US" sz="1400" dirty="0"/>
                    </a:p>
                  </a:txBody>
                  <a:tcPr marL="45720" marR="45720" anchor="ctr">
                    <a:solidFill>
                      <a:srgbClr val="000000"/>
                    </a:solidFill>
                  </a:tcPr>
                </a:tc>
                <a:tc>
                  <a:txBody>
                    <a:bodyPr/>
                    <a:lstStyle/>
                    <a:p>
                      <a:r>
                        <a:rPr lang="en-US" sz="1400" dirty="0" smtClean="0"/>
                        <a:t>Black</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X1</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993300"/>
                    </a:solidFill>
                  </a:tcPr>
                </a:tc>
                <a:tc>
                  <a:txBody>
                    <a:bodyPr/>
                    <a:lstStyle/>
                    <a:p>
                      <a:r>
                        <a:rPr lang="en-US" sz="1400" dirty="0" smtClean="0"/>
                        <a:t>Brown</a:t>
                      </a:r>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X10</a:t>
                      </a:r>
                      <a:endParaRPr lang="en-US" sz="1400" dirty="0"/>
                    </a:p>
                  </a:txBody>
                  <a:tcPr marL="45720" marR="45720" anchor="ctr"/>
                </a:tc>
                <a:tc>
                  <a:txBody>
                    <a:bodyPr/>
                    <a:lstStyle/>
                    <a:p>
                      <a:r>
                        <a:rPr lang="en-US" sz="1400" dirty="0" smtClean="0"/>
                        <a:t>1%</a:t>
                      </a:r>
                      <a:endParaRPr lang="en-US" sz="1400" dirty="0"/>
                    </a:p>
                  </a:txBody>
                  <a:tcPr marL="45720" marR="45720" anchor="ctr"/>
                </a:tc>
              </a:tr>
              <a:tr h="301858">
                <a:tc>
                  <a:txBody>
                    <a:bodyPr/>
                    <a:lstStyle/>
                    <a:p>
                      <a:endParaRPr lang="en-US" sz="1400" dirty="0"/>
                    </a:p>
                  </a:txBody>
                  <a:tcPr marL="45720" marR="45720" anchor="ctr">
                    <a:solidFill>
                      <a:srgbClr val="FF0000"/>
                    </a:solidFill>
                  </a:tcPr>
                </a:tc>
                <a:tc>
                  <a:txBody>
                    <a:bodyPr/>
                    <a:lstStyle/>
                    <a:p>
                      <a:r>
                        <a:rPr lang="en-US" sz="1400" dirty="0" smtClean="0"/>
                        <a:t>Red</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X1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C000"/>
                    </a:solidFill>
                  </a:tcPr>
                </a:tc>
                <a:tc>
                  <a:txBody>
                    <a:bodyPr/>
                    <a:lstStyle/>
                    <a:p>
                      <a:r>
                        <a:rPr lang="en-US" sz="1400" dirty="0" smtClean="0"/>
                        <a:t>Orange</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X1,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00"/>
                    </a:solidFill>
                  </a:tcPr>
                </a:tc>
                <a:tc>
                  <a:txBody>
                    <a:bodyPr/>
                    <a:lstStyle/>
                    <a:p>
                      <a:r>
                        <a:rPr lang="en-US" sz="1400" dirty="0" smtClean="0"/>
                        <a:t>Yellow</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X1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B050"/>
                    </a:solidFill>
                  </a:tcPr>
                </a:tc>
                <a:tc>
                  <a:txBody>
                    <a:bodyPr/>
                    <a:lstStyle/>
                    <a:p>
                      <a:r>
                        <a:rPr lang="en-US" sz="1400" dirty="0" smtClean="0"/>
                        <a:t>Green</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X1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70C0"/>
                    </a:solidFill>
                  </a:tcPr>
                </a:tc>
                <a:tc>
                  <a:txBody>
                    <a:bodyPr/>
                    <a:lstStyle/>
                    <a:p>
                      <a:r>
                        <a:rPr lang="en-US" sz="1400" dirty="0" smtClean="0"/>
                        <a:t>Blue</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X1,0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7030A0"/>
                    </a:solidFill>
                  </a:tcPr>
                </a:tc>
                <a:tc>
                  <a:txBody>
                    <a:bodyPr/>
                    <a:lstStyle/>
                    <a:p>
                      <a:r>
                        <a:rPr lang="en-US" sz="1400" dirty="0" smtClean="0"/>
                        <a:t>Violet</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bg1">
                        <a:lumMod val="50000"/>
                      </a:schemeClr>
                    </a:solidFill>
                  </a:tcPr>
                </a:tc>
                <a:tc>
                  <a:txBody>
                    <a:bodyPr/>
                    <a:lstStyle/>
                    <a:p>
                      <a:r>
                        <a:rPr lang="en-US" sz="1400" dirty="0" smtClean="0"/>
                        <a:t>Grey</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FF"/>
                    </a:solidFill>
                  </a:tcPr>
                </a:tc>
                <a:tc>
                  <a:txBody>
                    <a:bodyPr/>
                    <a:lstStyle/>
                    <a:p>
                      <a:r>
                        <a:rPr lang="en-US" sz="1400" dirty="0" smtClean="0"/>
                        <a:t>White</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accent6">
                        <a:lumMod val="50000"/>
                      </a:schemeClr>
                    </a:solidFill>
                  </a:tcPr>
                </a:tc>
                <a:tc>
                  <a:txBody>
                    <a:bodyPr/>
                    <a:lstStyle/>
                    <a:p>
                      <a:r>
                        <a:rPr lang="en-US" sz="1400" dirty="0" smtClean="0"/>
                        <a:t>Gold</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c>
                  <a:txBody>
                    <a:bodyPr/>
                    <a:lstStyle/>
                    <a:p>
                      <a:r>
                        <a:rPr lang="en-US" sz="1400" dirty="0" smtClean="0"/>
                        <a:t>X0.1</a:t>
                      </a:r>
                      <a:endParaRPr lang="en-US" sz="1400" dirty="0"/>
                    </a:p>
                  </a:txBody>
                  <a:tcPr marL="45720" marR="45720" anchor="ctr"/>
                </a:tc>
                <a:tc>
                  <a:txBody>
                    <a:bodyPr/>
                    <a:lstStyle/>
                    <a:p>
                      <a:r>
                        <a:rPr lang="en-US" sz="1400" dirty="0" smtClean="0"/>
                        <a:t>5%</a:t>
                      </a:r>
                      <a:endParaRPr lang="en-US" sz="1400" dirty="0"/>
                    </a:p>
                  </a:txBody>
                  <a:tcPr marL="45720" marR="45720" anchor="ctr"/>
                </a:tc>
              </a:tr>
              <a:tr h="301858">
                <a:tc>
                  <a:txBody>
                    <a:bodyPr/>
                    <a:lstStyle/>
                    <a:p>
                      <a:endParaRPr lang="en-US" sz="1400" dirty="0"/>
                    </a:p>
                  </a:txBody>
                  <a:tcPr marL="45720" marR="45720" anchor="ctr">
                    <a:solidFill>
                      <a:schemeClr val="bg1">
                        <a:lumMod val="75000"/>
                      </a:schemeClr>
                    </a:solidFill>
                  </a:tcPr>
                </a:tc>
                <a:tc>
                  <a:txBody>
                    <a:bodyPr/>
                    <a:lstStyle/>
                    <a:p>
                      <a:r>
                        <a:rPr lang="en-US" sz="1400" dirty="0" smtClean="0"/>
                        <a:t>Silver</a:t>
                      </a:r>
                      <a:endParaRPr lang="en-US" sz="1400" dirty="0"/>
                    </a:p>
                  </a:txBody>
                  <a:tcPr marL="45720" marR="45720" anchor="ctr"/>
                </a:tc>
                <a:tc>
                  <a:txBody>
                    <a:bodyPr/>
                    <a:lstStyle/>
                    <a:p>
                      <a:endParaRPr lang="en-US" sz="1400"/>
                    </a:p>
                  </a:txBody>
                  <a:tcPr marL="45720" marR="45720" anchor="ctr"/>
                </a:tc>
                <a:tc>
                  <a:txBody>
                    <a:bodyPr/>
                    <a:lstStyle/>
                    <a:p>
                      <a:endParaRPr lang="en-US" sz="1400"/>
                    </a:p>
                  </a:txBody>
                  <a:tcPr marL="45720" marR="45720" anchor="ctr"/>
                </a:tc>
                <a:tc>
                  <a:txBody>
                    <a:bodyPr/>
                    <a:lstStyle/>
                    <a:p>
                      <a:r>
                        <a:rPr lang="en-US" sz="1400" dirty="0" smtClean="0"/>
                        <a:t>X0.01</a:t>
                      </a:r>
                      <a:endParaRPr lang="en-US" sz="1400" dirty="0"/>
                    </a:p>
                  </a:txBody>
                  <a:tcPr marL="45720" marR="45720" anchor="ctr"/>
                </a:tc>
                <a:tc>
                  <a:txBody>
                    <a:bodyPr/>
                    <a:lstStyle/>
                    <a:p>
                      <a:r>
                        <a:rPr lang="en-US" sz="1400" dirty="0" smtClean="0"/>
                        <a:t>10%</a:t>
                      </a:r>
                      <a:endParaRPr lang="en-US" sz="1400" dirty="0"/>
                    </a:p>
                  </a:txBody>
                  <a:tcPr marL="45720" marR="45720" anchor="ctr"/>
                </a:tc>
              </a:tr>
            </a:tbl>
          </a:graphicData>
        </a:graphic>
      </p:graphicFrame>
      <p:grpSp>
        <p:nvGrpSpPr>
          <p:cNvPr id="81" name="Group 80"/>
          <p:cNvGrpSpPr>
            <a:grpSpLocks noChangeAspect="1"/>
          </p:cNvGrpSpPr>
          <p:nvPr/>
        </p:nvGrpSpPr>
        <p:grpSpPr>
          <a:xfrm>
            <a:off x="891356" y="1630013"/>
            <a:ext cx="2834640" cy="1438210"/>
            <a:chOff x="891356" y="1869505"/>
            <a:chExt cx="2834640" cy="1438210"/>
          </a:xfrm>
        </p:grpSpPr>
        <p:grpSp>
          <p:nvGrpSpPr>
            <p:cNvPr id="25" name="Group 24"/>
            <p:cNvGrpSpPr/>
            <p:nvPr/>
          </p:nvGrpSpPr>
          <p:grpSpPr>
            <a:xfrm>
              <a:off x="891356" y="2683470"/>
              <a:ext cx="2834640" cy="624245"/>
              <a:chOff x="3218816" y="2486026"/>
              <a:chExt cx="5392103" cy="1187450"/>
            </a:xfrm>
          </p:grpSpPr>
          <p:sp>
            <p:nvSpPr>
              <p:cNvPr id="23"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47" name="TextBox 46"/>
            <p:cNvSpPr txBox="1"/>
            <p:nvPr/>
          </p:nvSpPr>
          <p:spPr>
            <a:xfrm>
              <a:off x="1531459" y="1869505"/>
              <a:ext cx="1481496" cy="769441"/>
            </a:xfrm>
            <a:prstGeom prst="rect">
              <a:avLst/>
            </a:prstGeom>
            <a:noFill/>
          </p:spPr>
          <p:txBody>
            <a:bodyPr wrap="none" rtlCol="0">
              <a:spAutoFit/>
            </a:bodyPr>
            <a:lstStyle/>
            <a:p>
              <a:r>
                <a:rPr lang="en-US" sz="4400" dirty="0" smtClean="0"/>
                <a:t>220</a:t>
              </a:r>
              <a:r>
                <a:rPr lang="el-GR" sz="4400" dirty="0" smtClean="0"/>
                <a:t>Ω</a:t>
              </a:r>
              <a:endParaRPr lang="el-GR" sz="4400" dirty="0"/>
            </a:p>
          </p:txBody>
        </p:sp>
      </p:grpSp>
      <p:grpSp>
        <p:nvGrpSpPr>
          <p:cNvPr id="82" name="Group 81"/>
          <p:cNvGrpSpPr>
            <a:grpSpLocks noChangeAspect="1"/>
          </p:cNvGrpSpPr>
          <p:nvPr/>
        </p:nvGrpSpPr>
        <p:grpSpPr>
          <a:xfrm>
            <a:off x="891356" y="3333627"/>
            <a:ext cx="2834640" cy="1438210"/>
            <a:chOff x="891356" y="3632989"/>
            <a:chExt cx="2834640" cy="1438210"/>
          </a:xfrm>
        </p:grpSpPr>
        <p:grpSp>
          <p:nvGrpSpPr>
            <p:cNvPr id="59" name="Group 58"/>
            <p:cNvGrpSpPr/>
            <p:nvPr/>
          </p:nvGrpSpPr>
          <p:grpSpPr>
            <a:xfrm>
              <a:off x="891356" y="4446954"/>
              <a:ext cx="2834640" cy="624245"/>
              <a:chOff x="3218816" y="2486026"/>
              <a:chExt cx="5392103" cy="1187450"/>
            </a:xfrm>
          </p:grpSpPr>
          <p:sp>
            <p:nvSpPr>
              <p:cNvPr id="60"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Color Band 2"/>
              <p:cNvSpPr>
                <a:spLocks noChangeArrowheads="1"/>
              </p:cNvSpPr>
              <p:nvPr/>
            </p:nvSpPr>
            <p:spPr bwMode="auto">
              <a:xfrm>
                <a:off x="5395913"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69" name="TextBox 68"/>
            <p:cNvSpPr txBox="1"/>
            <p:nvPr/>
          </p:nvSpPr>
          <p:spPr>
            <a:xfrm>
              <a:off x="1531459" y="3632989"/>
              <a:ext cx="1481496" cy="769441"/>
            </a:xfrm>
            <a:prstGeom prst="rect">
              <a:avLst/>
            </a:prstGeom>
            <a:noFill/>
          </p:spPr>
          <p:txBody>
            <a:bodyPr wrap="none" rtlCol="0">
              <a:spAutoFit/>
            </a:bodyPr>
            <a:lstStyle/>
            <a:p>
              <a:r>
                <a:rPr lang="en-US" sz="4400" dirty="0" smtClean="0"/>
                <a:t>330</a:t>
              </a:r>
              <a:r>
                <a:rPr lang="el-GR" sz="4400" dirty="0" smtClean="0"/>
                <a:t>Ω</a:t>
              </a:r>
              <a:endParaRPr lang="el-GR" sz="4400" dirty="0"/>
            </a:p>
          </p:txBody>
        </p:sp>
      </p:grpSp>
      <p:grpSp>
        <p:nvGrpSpPr>
          <p:cNvPr id="83" name="Group 82"/>
          <p:cNvGrpSpPr>
            <a:grpSpLocks noChangeAspect="1"/>
          </p:cNvGrpSpPr>
          <p:nvPr/>
        </p:nvGrpSpPr>
        <p:grpSpPr>
          <a:xfrm>
            <a:off x="891356" y="5037242"/>
            <a:ext cx="2834640" cy="1438210"/>
            <a:chOff x="891356" y="5276734"/>
            <a:chExt cx="2834640" cy="1438210"/>
          </a:xfrm>
        </p:grpSpPr>
        <p:grpSp>
          <p:nvGrpSpPr>
            <p:cNvPr id="70" name="Group 69"/>
            <p:cNvGrpSpPr/>
            <p:nvPr/>
          </p:nvGrpSpPr>
          <p:grpSpPr>
            <a:xfrm>
              <a:off x="891356" y="6090699"/>
              <a:ext cx="2834640" cy="624245"/>
              <a:chOff x="3218816" y="2486026"/>
              <a:chExt cx="5392103" cy="1187450"/>
            </a:xfrm>
          </p:grpSpPr>
          <p:sp>
            <p:nvSpPr>
              <p:cNvPr id="71"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Multiplier"/>
              <p:cNvSpPr>
                <a:spLocks noChangeArrowheads="1"/>
              </p:cNvSpPr>
              <p:nvPr/>
            </p:nvSpPr>
            <p:spPr bwMode="auto">
              <a:xfrm>
                <a:off x="6040438"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Color Band 2"/>
              <p:cNvSpPr>
                <a:spLocks noChangeArrowheads="1"/>
              </p:cNvSpPr>
              <p:nvPr/>
            </p:nvSpPr>
            <p:spPr bwMode="auto">
              <a:xfrm>
                <a:off x="5395913" y="2597151"/>
                <a:ext cx="322263" cy="9652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99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80" name="TextBox 79"/>
            <p:cNvSpPr txBox="1"/>
            <p:nvPr/>
          </p:nvSpPr>
          <p:spPr>
            <a:xfrm>
              <a:off x="1531459" y="5276734"/>
              <a:ext cx="1487908" cy="769441"/>
            </a:xfrm>
            <a:prstGeom prst="rect">
              <a:avLst/>
            </a:prstGeom>
            <a:noFill/>
          </p:spPr>
          <p:txBody>
            <a:bodyPr wrap="none" rtlCol="0">
              <a:spAutoFit/>
            </a:bodyPr>
            <a:lstStyle/>
            <a:p>
              <a:r>
                <a:rPr lang="en-US" sz="4400" dirty="0" smtClean="0"/>
                <a:t>10K</a:t>
              </a:r>
              <a:r>
                <a:rPr lang="el-GR" sz="4400" dirty="0" smtClean="0"/>
                <a:t>Ω</a:t>
              </a:r>
              <a:endParaRPr lang="el-GR" sz="4400" dirty="0"/>
            </a:p>
          </p:txBody>
        </p:sp>
      </p:grpSp>
    </p:spTree>
    <p:extLst>
      <p:ext uri="{BB962C8B-B14F-4D97-AF65-F5344CB8AC3E}">
        <p14:creationId xmlns:p14="http://schemas.microsoft.com/office/powerpoint/2010/main" val="41125726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USB Type B Cable End"/>
          <p:cNvGrpSpPr>
            <a:grpSpLocks noChangeAspect="1"/>
          </p:cNvGrpSpPr>
          <p:nvPr/>
        </p:nvGrpSpPr>
        <p:grpSpPr>
          <a:xfrm>
            <a:off x="536432" y="2704932"/>
            <a:ext cx="3918913" cy="1001912"/>
            <a:chOff x="5571080" y="3090863"/>
            <a:chExt cx="2638998" cy="674688"/>
          </a:xfrm>
        </p:grpSpPr>
        <p:sp>
          <p:nvSpPr>
            <p:cNvPr id="28"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 name="USB Type A Cable End"/>
          <p:cNvGrpSpPr>
            <a:grpSpLocks noChangeAspect="1"/>
          </p:cNvGrpSpPr>
          <p:nvPr/>
        </p:nvGrpSpPr>
        <p:grpSpPr>
          <a:xfrm>
            <a:off x="562858" y="3920003"/>
            <a:ext cx="3882187" cy="1148637"/>
            <a:chOff x="5595811" y="3039873"/>
            <a:chExt cx="2614267" cy="773493"/>
          </a:xfrm>
        </p:grpSpPr>
        <p:sp>
          <p:nvSpPr>
            <p:cNvPr id="35"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 name="USB Type B Cable End"/>
          <p:cNvGrpSpPr>
            <a:grpSpLocks noChangeAspect="1"/>
          </p:cNvGrpSpPr>
          <p:nvPr/>
        </p:nvGrpSpPr>
        <p:grpSpPr>
          <a:xfrm>
            <a:off x="536432" y="2704932"/>
            <a:ext cx="3918913" cy="1001912"/>
            <a:chOff x="5571080" y="3090863"/>
            <a:chExt cx="2638998" cy="674688"/>
          </a:xfrm>
        </p:grpSpPr>
        <p:sp>
          <p:nvSpPr>
            <p:cNvPr id="19"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 name="USB Type A Cable End"/>
          <p:cNvGrpSpPr>
            <a:grpSpLocks noChangeAspect="1"/>
          </p:cNvGrpSpPr>
          <p:nvPr/>
        </p:nvGrpSpPr>
        <p:grpSpPr>
          <a:xfrm>
            <a:off x="562858" y="3920003"/>
            <a:ext cx="3882187" cy="1148637"/>
            <a:chOff x="5595811" y="3039873"/>
            <a:chExt cx="2614267" cy="773493"/>
          </a:xfrm>
        </p:grpSpPr>
        <p:sp>
          <p:nvSpPr>
            <p:cNvPr id="52"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smtClean="0"/>
              <a:t>cables</a:t>
            </a:r>
            <a:endParaRPr lang="en-US" dirty="0"/>
          </a:p>
        </p:txBody>
      </p:sp>
      <p:grpSp>
        <p:nvGrpSpPr>
          <p:cNvPr id="17" name="USB Micro Male Cable End"/>
          <p:cNvGrpSpPr>
            <a:grpSpLocks noChangeAspect="1"/>
          </p:cNvGrpSpPr>
          <p:nvPr/>
        </p:nvGrpSpPr>
        <p:grpSpPr>
          <a:xfrm>
            <a:off x="536431" y="1825349"/>
            <a:ext cx="3910013" cy="674688"/>
            <a:chOff x="4138613" y="3090863"/>
            <a:chExt cx="3910013" cy="674688"/>
          </a:xfrm>
        </p:grpSpPr>
        <p:sp>
          <p:nvSpPr>
            <p:cNvPr id="6"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Male End"/>
            <p:cNvSpPr>
              <a:spLocks noChangeArrowheads="1"/>
            </p:cNvSpPr>
            <p:nvPr/>
          </p:nvSpPr>
          <p:spPr bwMode="auto">
            <a:xfrm>
              <a:off x="7648576" y="3230563"/>
              <a:ext cx="400050"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Springs"/>
            <p:cNvSpPr>
              <a:spLocks/>
            </p:cNvSpPr>
            <p:nvPr/>
          </p:nvSpPr>
          <p:spPr bwMode="auto">
            <a:xfrm>
              <a:off x="7737476" y="3270251"/>
              <a:ext cx="261938" cy="287337"/>
            </a:xfrm>
            <a:custGeom>
              <a:avLst/>
              <a:gdLst>
                <a:gd name="connsiteX0" fmla="*/ 19122 w 261938"/>
                <a:gd name="connsiteY0" fmla="*/ 246062 h 287337"/>
                <a:gd name="connsiteX1" fmla="*/ 242816 w 261938"/>
                <a:gd name="connsiteY1" fmla="*/ 246062 h 287337"/>
                <a:gd name="connsiteX2" fmla="*/ 261938 w 261938"/>
                <a:gd name="connsiteY2" fmla="*/ 265251 h 287337"/>
                <a:gd name="connsiteX3" fmla="*/ 261938 w 261938"/>
                <a:gd name="connsiteY3" fmla="*/ 268148 h 287337"/>
                <a:gd name="connsiteX4" fmla="*/ 242816 w 261938"/>
                <a:gd name="connsiteY4" fmla="*/ 287337 h 287337"/>
                <a:gd name="connsiteX5" fmla="*/ 19122 w 261938"/>
                <a:gd name="connsiteY5" fmla="*/ 287337 h 287337"/>
                <a:gd name="connsiteX6" fmla="*/ 0 w 261938"/>
                <a:gd name="connsiteY6" fmla="*/ 268148 h 287337"/>
                <a:gd name="connsiteX7" fmla="*/ 0 w 261938"/>
                <a:gd name="connsiteY7" fmla="*/ 265251 h 287337"/>
                <a:gd name="connsiteX8" fmla="*/ 19122 w 261938"/>
                <a:gd name="connsiteY8" fmla="*/ 246062 h 287337"/>
                <a:gd name="connsiteX9" fmla="*/ 65907 w 261938"/>
                <a:gd name="connsiteY9" fmla="*/ 165100 h 287337"/>
                <a:gd name="connsiteX10" fmla="*/ 246472 w 261938"/>
                <a:gd name="connsiteY10" fmla="*/ 165100 h 287337"/>
                <a:gd name="connsiteX11" fmla="*/ 261938 w 261938"/>
                <a:gd name="connsiteY11" fmla="*/ 184289 h 287337"/>
                <a:gd name="connsiteX12" fmla="*/ 261938 w 261938"/>
                <a:gd name="connsiteY12" fmla="*/ 187186 h 287337"/>
                <a:gd name="connsiteX13" fmla="*/ 246472 w 261938"/>
                <a:gd name="connsiteY13" fmla="*/ 206375 h 287337"/>
                <a:gd name="connsiteX14" fmla="*/ 65907 w 261938"/>
                <a:gd name="connsiteY14" fmla="*/ 206375 h 287337"/>
                <a:gd name="connsiteX15" fmla="*/ 50800 w 261938"/>
                <a:gd name="connsiteY15" fmla="*/ 187186 h 287337"/>
                <a:gd name="connsiteX16" fmla="*/ 50800 w 261938"/>
                <a:gd name="connsiteY16" fmla="*/ 184289 h 287337"/>
                <a:gd name="connsiteX17" fmla="*/ 65907 w 261938"/>
                <a:gd name="connsiteY17" fmla="*/ 165100 h 287337"/>
                <a:gd name="connsiteX18" fmla="*/ 65907 w 261938"/>
                <a:gd name="connsiteY18" fmla="*/ 82550 h 287337"/>
                <a:gd name="connsiteX19" fmla="*/ 246472 w 261938"/>
                <a:gd name="connsiteY19" fmla="*/ 82550 h 287337"/>
                <a:gd name="connsiteX20" fmla="*/ 261938 w 261938"/>
                <a:gd name="connsiteY20" fmla="*/ 101572 h 287337"/>
                <a:gd name="connsiteX21" fmla="*/ 261938 w 261938"/>
                <a:gd name="connsiteY21" fmla="*/ 104802 h 287337"/>
                <a:gd name="connsiteX22" fmla="*/ 246472 w 261938"/>
                <a:gd name="connsiteY22" fmla="*/ 123825 h 287337"/>
                <a:gd name="connsiteX23" fmla="*/ 65907 w 261938"/>
                <a:gd name="connsiteY23" fmla="*/ 123825 h 287337"/>
                <a:gd name="connsiteX24" fmla="*/ 50800 w 261938"/>
                <a:gd name="connsiteY24" fmla="*/ 104802 h 287337"/>
                <a:gd name="connsiteX25" fmla="*/ 50800 w 261938"/>
                <a:gd name="connsiteY25" fmla="*/ 101572 h 287337"/>
                <a:gd name="connsiteX26" fmla="*/ 65907 w 261938"/>
                <a:gd name="connsiteY26" fmla="*/ 82550 h 287337"/>
                <a:gd name="connsiteX27" fmla="*/ 19122 w 261938"/>
                <a:gd name="connsiteY27" fmla="*/ 0 h 287337"/>
                <a:gd name="connsiteX28" fmla="*/ 242816 w 261938"/>
                <a:gd name="connsiteY28" fmla="*/ 0 h 287337"/>
                <a:gd name="connsiteX29" fmla="*/ 261938 w 261938"/>
                <a:gd name="connsiteY29" fmla="*/ 19189 h 287337"/>
                <a:gd name="connsiteX30" fmla="*/ 261938 w 261938"/>
                <a:gd name="connsiteY30" fmla="*/ 22086 h 287337"/>
                <a:gd name="connsiteX31" fmla="*/ 242816 w 261938"/>
                <a:gd name="connsiteY31" fmla="*/ 41275 h 287337"/>
                <a:gd name="connsiteX32" fmla="*/ 19122 w 261938"/>
                <a:gd name="connsiteY32" fmla="*/ 41275 h 287337"/>
                <a:gd name="connsiteX33" fmla="*/ 0 w 261938"/>
                <a:gd name="connsiteY33" fmla="*/ 22086 h 287337"/>
                <a:gd name="connsiteX34" fmla="*/ 0 w 261938"/>
                <a:gd name="connsiteY34" fmla="*/ 19189 h 287337"/>
                <a:gd name="connsiteX35" fmla="*/ 19122 w 261938"/>
                <a:gd name="connsiteY35" fmla="*/ 0 h 28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287337">
                  <a:moveTo>
                    <a:pt x="19122" y="246062"/>
                  </a:moveTo>
                  <a:lnTo>
                    <a:pt x="242816" y="246062"/>
                  </a:lnTo>
                  <a:cubicBezTo>
                    <a:pt x="253279" y="246062"/>
                    <a:pt x="261938" y="254752"/>
                    <a:pt x="261938" y="265251"/>
                  </a:cubicBezTo>
                  <a:lnTo>
                    <a:pt x="261938" y="268148"/>
                  </a:lnTo>
                  <a:cubicBezTo>
                    <a:pt x="261938" y="278648"/>
                    <a:pt x="253279" y="287337"/>
                    <a:pt x="242816" y="287337"/>
                  </a:cubicBezTo>
                  <a:lnTo>
                    <a:pt x="19122" y="287337"/>
                  </a:lnTo>
                  <a:cubicBezTo>
                    <a:pt x="8659" y="287337"/>
                    <a:pt x="0" y="278648"/>
                    <a:pt x="0" y="268148"/>
                  </a:cubicBezTo>
                  <a:lnTo>
                    <a:pt x="0" y="265251"/>
                  </a:lnTo>
                  <a:cubicBezTo>
                    <a:pt x="0" y="254752"/>
                    <a:pt x="8659" y="246062"/>
                    <a:pt x="19122" y="246062"/>
                  </a:cubicBezTo>
                  <a:close/>
                  <a:moveTo>
                    <a:pt x="65907" y="165100"/>
                  </a:moveTo>
                  <a:lnTo>
                    <a:pt x="246472" y="165100"/>
                  </a:lnTo>
                  <a:cubicBezTo>
                    <a:pt x="255104" y="165100"/>
                    <a:pt x="261938" y="173790"/>
                    <a:pt x="261938" y="184289"/>
                  </a:cubicBezTo>
                  <a:lnTo>
                    <a:pt x="261938" y="187186"/>
                  </a:lnTo>
                  <a:cubicBezTo>
                    <a:pt x="261938" y="198048"/>
                    <a:pt x="255104" y="206375"/>
                    <a:pt x="246472" y="206375"/>
                  </a:cubicBezTo>
                  <a:lnTo>
                    <a:pt x="65907" y="206375"/>
                  </a:lnTo>
                  <a:cubicBezTo>
                    <a:pt x="57634" y="206375"/>
                    <a:pt x="50800" y="198048"/>
                    <a:pt x="50800" y="187186"/>
                  </a:cubicBezTo>
                  <a:lnTo>
                    <a:pt x="50800" y="184289"/>
                  </a:lnTo>
                  <a:cubicBezTo>
                    <a:pt x="50800" y="173790"/>
                    <a:pt x="57634" y="165100"/>
                    <a:pt x="65907" y="165100"/>
                  </a:cubicBezTo>
                  <a:close/>
                  <a:moveTo>
                    <a:pt x="65907" y="82550"/>
                  </a:moveTo>
                  <a:lnTo>
                    <a:pt x="246472" y="82550"/>
                  </a:lnTo>
                  <a:cubicBezTo>
                    <a:pt x="255104" y="82550"/>
                    <a:pt x="261938" y="91164"/>
                    <a:pt x="261938" y="101572"/>
                  </a:cubicBezTo>
                  <a:lnTo>
                    <a:pt x="261938" y="104802"/>
                  </a:lnTo>
                  <a:cubicBezTo>
                    <a:pt x="261938" y="115211"/>
                    <a:pt x="255104" y="123825"/>
                    <a:pt x="246472" y="123825"/>
                  </a:cubicBezTo>
                  <a:lnTo>
                    <a:pt x="65907" y="123825"/>
                  </a:lnTo>
                  <a:cubicBezTo>
                    <a:pt x="57634" y="123825"/>
                    <a:pt x="50800" y="115211"/>
                    <a:pt x="50800" y="104802"/>
                  </a:cubicBezTo>
                  <a:lnTo>
                    <a:pt x="50800" y="101572"/>
                  </a:lnTo>
                  <a:cubicBezTo>
                    <a:pt x="50800" y="91164"/>
                    <a:pt x="57634" y="82550"/>
                    <a:pt x="65907" y="82550"/>
                  </a:cubicBezTo>
                  <a:close/>
                  <a:moveTo>
                    <a:pt x="19122" y="0"/>
                  </a:moveTo>
                  <a:lnTo>
                    <a:pt x="242816" y="0"/>
                  </a:lnTo>
                  <a:cubicBezTo>
                    <a:pt x="253279" y="0"/>
                    <a:pt x="261938" y="8327"/>
                    <a:pt x="261938" y="19189"/>
                  </a:cubicBezTo>
                  <a:lnTo>
                    <a:pt x="261938" y="22086"/>
                  </a:lnTo>
                  <a:cubicBezTo>
                    <a:pt x="261938" y="32585"/>
                    <a:pt x="253279" y="41275"/>
                    <a:pt x="242816" y="41275"/>
                  </a:cubicBezTo>
                  <a:lnTo>
                    <a:pt x="19122" y="41275"/>
                  </a:lnTo>
                  <a:cubicBezTo>
                    <a:pt x="8659" y="41275"/>
                    <a:pt x="0" y="32585"/>
                    <a:pt x="0" y="22086"/>
                  </a:cubicBezTo>
                  <a:lnTo>
                    <a:pt x="0" y="19189"/>
                  </a:lnTo>
                  <a:cubicBezTo>
                    <a:pt x="0" y="8327"/>
                    <a:pt x="8659" y="0"/>
                    <a:pt x="19122" y="0"/>
                  </a:cubicBez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3" name="Cable"/>
            <p:cNvSpPr>
              <a:spLocks/>
            </p:cNvSpPr>
            <p:nvPr/>
          </p:nvSpPr>
          <p:spPr bwMode="auto">
            <a:xfrm>
              <a:off x="4138613" y="3338513"/>
              <a:ext cx="1790700" cy="17621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 name="USB Logo"/>
          <p:cNvSpPr>
            <a:spLocks noChangeAspect="1"/>
          </p:cNvSpPr>
          <p:nvPr/>
        </p:nvSpPr>
        <p:spPr bwMode="auto">
          <a:xfrm rot="16200000">
            <a:off x="4579085" y="1831541"/>
            <a:ext cx="1477446" cy="662304"/>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Power Cable"/>
          <p:cNvGrpSpPr>
            <a:grpSpLocks noChangeAspect="1"/>
          </p:cNvGrpSpPr>
          <p:nvPr/>
        </p:nvGrpSpPr>
        <p:grpSpPr>
          <a:xfrm>
            <a:off x="6076788" y="2897188"/>
            <a:ext cx="3910013" cy="484188"/>
            <a:chOff x="536575" y="2897188"/>
            <a:chExt cx="3910013" cy="484188"/>
          </a:xfrm>
        </p:grpSpPr>
        <p:sp>
          <p:nvSpPr>
            <p:cNvPr id="21" name="End  Molding"/>
            <p:cNvSpPr>
              <a:spLocks/>
            </p:cNvSpPr>
            <p:nvPr/>
          </p:nvSpPr>
          <p:spPr bwMode="auto">
            <a:xfrm>
              <a:off x="2308225" y="2897188"/>
              <a:ext cx="1592263" cy="484188"/>
            </a:xfrm>
            <a:custGeom>
              <a:avLst/>
              <a:gdLst>
                <a:gd name="T0" fmla="*/ 4335 w 4420"/>
                <a:gd name="T1" fmla="*/ 3 h 1342"/>
                <a:gd name="T2" fmla="*/ 86 w 4420"/>
                <a:gd name="T3" fmla="*/ 229 h 1342"/>
                <a:gd name="T4" fmla="*/ 0 w 4420"/>
                <a:gd name="T5" fmla="*/ 305 h 1342"/>
                <a:gd name="T6" fmla="*/ 0 w 4420"/>
                <a:gd name="T7" fmla="*/ 671 h 1342"/>
                <a:gd name="T8" fmla="*/ 0 w 4420"/>
                <a:gd name="T9" fmla="*/ 1037 h 1342"/>
                <a:gd name="T10" fmla="*/ 86 w 4420"/>
                <a:gd name="T11" fmla="*/ 1114 h 1342"/>
                <a:gd name="T12" fmla="*/ 4335 w 4420"/>
                <a:gd name="T13" fmla="*/ 1340 h 1342"/>
                <a:gd name="T14" fmla="*/ 4420 w 4420"/>
                <a:gd name="T15" fmla="*/ 1263 h 1342"/>
                <a:gd name="T16" fmla="*/ 4420 w 4420"/>
                <a:gd name="T17" fmla="*/ 671 h 1342"/>
                <a:gd name="T18" fmla="*/ 4420 w 4420"/>
                <a:gd name="T19" fmla="*/ 80 h 1342"/>
                <a:gd name="T20" fmla="*/ 4335 w 4420"/>
                <a:gd name="T21" fmla="*/ 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0" h="1342">
                  <a:moveTo>
                    <a:pt x="4335" y="3"/>
                  </a:moveTo>
                  <a:lnTo>
                    <a:pt x="86" y="229"/>
                  </a:lnTo>
                  <a:cubicBezTo>
                    <a:pt x="39" y="231"/>
                    <a:pt x="0" y="263"/>
                    <a:pt x="0" y="305"/>
                  </a:cubicBezTo>
                  <a:lnTo>
                    <a:pt x="0" y="671"/>
                  </a:lnTo>
                  <a:lnTo>
                    <a:pt x="0" y="1037"/>
                  </a:lnTo>
                  <a:cubicBezTo>
                    <a:pt x="0" y="1080"/>
                    <a:pt x="39" y="1112"/>
                    <a:pt x="86" y="1114"/>
                  </a:cubicBezTo>
                  <a:lnTo>
                    <a:pt x="4335" y="1340"/>
                  </a:lnTo>
                  <a:cubicBezTo>
                    <a:pt x="4382" y="1342"/>
                    <a:pt x="4420" y="1306"/>
                    <a:pt x="4420" y="1263"/>
                  </a:cubicBezTo>
                  <a:lnTo>
                    <a:pt x="4420" y="671"/>
                  </a:lnTo>
                  <a:lnTo>
                    <a:pt x="4420" y="80"/>
                  </a:lnTo>
                  <a:cubicBezTo>
                    <a:pt x="4420" y="37"/>
                    <a:pt x="4382" y="0"/>
                    <a:pt x="4335" y="3"/>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Barrel"/>
            <p:cNvSpPr>
              <a:spLocks/>
            </p:cNvSpPr>
            <p:nvPr/>
          </p:nvSpPr>
          <p:spPr bwMode="auto">
            <a:xfrm>
              <a:off x="3900488" y="2978151"/>
              <a:ext cx="460375" cy="320675"/>
            </a:xfrm>
            <a:custGeom>
              <a:avLst/>
              <a:gdLst>
                <a:gd name="T0" fmla="*/ 0 w 290"/>
                <a:gd name="T1" fmla="*/ 0 h 202"/>
                <a:gd name="T2" fmla="*/ 0 w 290"/>
                <a:gd name="T3" fmla="*/ 202 h 202"/>
                <a:gd name="T4" fmla="*/ 265 w 290"/>
                <a:gd name="T5" fmla="*/ 202 h 202"/>
                <a:gd name="T6" fmla="*/ 277 w 290"/>
                <a:gd name="T7" fmla="*/ 186 h 202"/>
                <a:gd name="T8" fmla="*/ 290 w 290"/>
                <a:gd name="T9" fmla="*/ 202 h 202"/>
                <a:gd name="T10" fmla="*/ 290 w 290"/>
                <a:gd name="T11" fmla="*/ 0 h 202"/>
                <a:gd name="T12" fmla="*/ 277 w 290"/>
                <a:gd name="T13" fmla="*/ 17 h 202"/>
                <a:gd name="T14" fmla="*/ 265 w 290"/>
                <a:gd name="T15" fmla="*/ 0 h 202"/>
                <a:gd name="T16" fmla="*/ 0 w 290"/>
                <a:gd name="T1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202">
                  <a:moveTo>
                    <a:pt x="0" y="0"/>
                  </a:moveTo>
                  <a:lnTo>
                    <a:pt x="0" y="202"/>
                  </a:lnTo>
                  <a:lnTo>
                    <a:pt x="265" y="202"/>
                  </a:lnTo>
                  <a:lnTo>
                    <a:pt x="277" y="186"/>
                  </a:lnTo>
                  <a:lnTo>
                    <a:pt x="290" y="202"/>
                  </a:lnTo>
                  <a:lnTo>
                    <a:pt x="290" y="0"/>
                  </a:lnTo>
                  <a:lnTo>
                    <a:pt x="277" y="17"/>
                  </a:lnTo>
                  <a:lnTo>
                    <a:pt x="265" y="0"/>
                  </a:lnTo>
                  <a:lnTo>
                    <a:pt x="0" y="0"/>
                  </a:lnTo>
                  <a:close/>
                </a:path>
              </a:pathLst>
            </a:custGeom>
            <a:solidFill>
              <a:srgbClr val="A1958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Black Tip"/>
            <p:cNvSpPr>
              <a:spLocks noChangeArrowheads="1"/>
            </p:cNvSpPr>
            <p:nvPr/>
          </p:nvSpPr>
          <p:spPr bwMode="auto">
            <a:xfrm>
              <a:off x="4360863" y="2978151"/>
              <a:ext cx="85725" cy="320675"/>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able"/>
            <p:cNvSpPr>
              <a:spLocks/>
            </p:cNvSpPr>
            <p:nvPr/>
          </p:nvSpPr>
          <p:spPr bwMode="auto">
            <a:xfrm>
              <a:off x="536575" y="3051176"/>
              <a:ext cx="2136775" cy="176213"/>
            </a:xfrm>
            <a:custGeom>
              <a:avLst/>
              <a:gdLst>
                <a:gd name="T0" fmla="*/ 63 w 5933"/>
                <a:gd name="T1" fmla="*/ 0 h 485"/>
                <a:gd name="T2" fmla="*/ 5870 w 5933"/>
                <a:gd name="T3" fmla="*/ 0 h 485"/>
                <a:gd name="T4" fmla="*/ 5933 w 5933"/>
                <a:gd name="T5" fmla="*/ 53 h 485"/>
                <a:gd name="T6" fmla="*/ 5933 w 5933"/>
                <a:gd name="T7" fmla="*/ 432 h 485"/>
                <a:gd name="T8" fmla="*/ 5870 w 5933"/>
                <a:gd name="T9" fmla="*/ 485 h 485"/>
                <a:gd name="T10" fmla="*/ 63 w 5933"/>
                <a:gd name="T11" fmla="*/ 485 h 485"/>
                <a:gd name="T12" fmla="*/ 0 w 5933"/>
                <a:gd name="T13" fmla="*/ 432 h 485"/>
                <a:gd name="T14" fmla="*/ 0 w 5933"/>
                <a:gd name="T15" fmla="*/ 53 h 485"/>
                <a:gd name="T16" fmla="*/ 63 w 5933"/>
                <a:gd name="T17"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3" h="485">
                  <a:moveTo>
                    <a:pt x="63" y="0"/>
                  </a:moveTo>
                  <a:lnTo>
                    <a:pt x="5870" y="0"/>
                  </a:lnTo>
                  <a:cubicBezTo>
                    <a:pt x="5905" y="0"/>
                    <a:pt x="5933" y="24"/>
                    <a:pt x="5933" y="53"/>
                  </a:cubicBezTo>
                  <a:lnTo>
                    <a:pt x="5933" y="432"/>
                  </a:lnTo>
                  <a:cubicBezTo>
                    <a:pt x="5933" y="461"/>
                    <a:pt x="5905" y="485"/>
                    <a:pt x="5870" y="485"/>
                  </a:cubicBezTo>
                  <a:lnTo>
                    <a:pt x="63" y="485"/>
                  </a:lnTo>
                  <a:cubicBezTo>
                    <a:pt x="28" y="485"/>
                    <a:pt x="0" y="461"/>
                    <a:pt x="0" y="432"/>
                  </a:cubicBezTo>
                  <a:lnTo>
                    <a:pt x="0" y="53"/>
                  </a:lnTo>
                  <a:cubicBezTo>
                    <a:pt x="0" y="24"/>
                    <a:pt x="28" y="0"/>
                    <a:pt x="6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Hightlight"/>
            <p:cNvSpPr>
              <a:spLocks/>
            </p:cNvSpPr>
            <p:nvPr/>
          </p:nvSpPr>
          <p:spPr bwMode="auto">
            <a:xfrm>
              <a:off x="3948113" y="3014663"/>
              <a:ext cx="373063" cy="41275"/>
            </a:xfrm>
            <a:custGeom>
              <a:avLst/>
              <a:gdLst>
                <a:gd name="T0" fmla="*/ 76 w 1035"/>
                <a:gd name="T1" fmla="*/ 0 h 114"/>
                <a:gd name="T2" fmla="*/ 959 w 1035"/>
                <a:gd name="T3" fmla="*/ 0 h 114"/>
                <a:gd name="T4" fmla="*/ 1035 w 1035"/>
                <a:gd name="T5" fmla="*/ 53 h 114"/>
                <a:gd name="T6" fmla="*/ 1035 w 1035"/>
                <a:gd name="T7" fmla="*/ 61 h 114"/>
                <a:gd name="T8" fmla="*/ 959 w 1035"/>
                <a:gd name="T9" fmla="*/ 114 h 114"/>
                <a:gd name="T10" fmla="*/ 76 w 1035"/>
                <a:gd name="T11" fmla="*/ 114 h 114"/>
                <a:gd name="T12" fmla="*/ 0 w 1035"/>
                <a:gd name="T13" fmla="*/ 61 h 114"/>
                <a:gd name="T14" fmla="*/ 0 w 1035"/>
                <a:gd name="T15" fmla="*/ 53 h 114"/>
                <a:gd name="T16" fmla="*/ 76 w 1035"/>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5" h="114">
                  <a:moveTo>
                    <a:pt x="76" y="0"/>
                  </a:moveTo>
                  <a:lnTo>
                    <a:pt x="959" y="0"/>
                  </a:lnTo>
                  <a:cubicBezTo>
                    <a:pt x="1001" y="0"/>
                    <a:pt x="1035" y="23"/>
                    <a:pt x="1035" y="53"/>
                  </a:cubicBezTo>
                  <a:lnTo>
                    <a:pt x="1035" y="61"/>
                  </a:lnTo>
                  <a:cubicBezTo>
                    <a:pt x="1035" y="90"/>
                    <a:pt x="1001" y="114"/>
                    <a:pt x="959" y="114"/>
                  </a:cubicBezTo>
                  <a:lnTo>
                    <a:pt x="76" y="114"/>
                  </a:lnTo>
                  <a:cubicBezTo>
                    <a:pt x="34" y="114"/>
                    <a:pt x="0" y="90"/>
                    <a:pt x="0" y="61"/>
                  </a:cubicBezTo>
                  <a:lnTo>
                    <a:pt x="0" y="53"/>
                  </a:lnTo>
                  <a:cubicBezTo>
                    <a:pt x="0" y="23"/>
                    <a:pt x="34" y="0"/>
                    <a:pt x="76"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0" name="Ethernet Cable Male End"/>
          <p:cNvGrpSpPr/>
          <p:nvPr/>
        </p:nvGrpSpPr>
        <p:grpSpPr>
          <a:xfrm>
            <a:off x="6109789" y="3770698"/>
            <a:ext cx="5030028" cy="1184137"/>
            <a:chOff x="-10162304" y="1"/>
            <a:chExt cx="27239260" cy="6412494"/>
          </a:xfrm>
        </p:grpSpPr>
        <p:sp>
          <p:nvSpPr>
            <p:cNvPr id="1071"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662057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646721" y="2658545"/>
            <a:ext cx="3827306" cy="2768450"/>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923732" y="3012167"/>
            <a:ext cx="2768450" cy="2061205"/>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9544913" y="3833680"/>
            <a:ext cx="1526088" cy="418178"/>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7252951" y="4546600"/>
            <a:ext cx="1940659" cy="456858"/>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Ethernet Cable Male End"/>
          <p:cNvGrpSpPr/>
          <p:nvPr/>
        </p:nvGrpSpPr>
        <p:grpSpPr>
          <a:xfrm rot="10800000">
            <a:off x="4356748" y="4546600"/>
            <a:ext cx="2946676" cy="456858"/>
            <a:chOff x="-24282847" y="1"/>
            <a:chExt cx="41359803" cy="6412494"/>
          </a:xfrm>
        </p:grpSpPr>
        <p:sp>
          <p:nvSpPr>
            <p:cNvPr id="31" name="Cable"/>
            <p:cNvSpPr>
              <a:spLocks/>
            </p:cNvSpPr>
            <p:nvPr/>
          </p:nvSpPr>
          <p:spPr bwMode="auto">
            <a:xfrm>
              <a:off x="-24282847" y="1847401"/>
              <a:ext cx="23817795" cy="2717735"/>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10716928" y="5038509"/>
            <a:ext cx="377424" cy="269246"/>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Tree>
    <p:extLst>
      <p:ext uri="{BB962C8B-B14F-4D97-AF65-F5344CB8AC3E}">
        <p14:creationId xmlns:p14="http://schemas.microsoft.com/office/powerpoint/2010/main" val="34562348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2350280" y="3693239"/>
            <a:ext cx="2670764" cy="1931875"/>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126129" y="3940003"/>
            <a:ext cx="1931875" cy="143834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8559600" y="4513270"/>
            <a:ext cx="1064932" cy="291812"/>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6960227" y="5010758"/>
            <a:ext cx="1354227" cy="318804"/>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9377454" y="5354021"/>
            <a:ext cx="263373" cy="187885"/>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37" name="Ethernet Cable Male End"/>
          <p:cNvGrpSpPr/>
          <p:nvPr/>
        </p:nvGrpSpPr>
        <p:grpSpPr>
          <a:xfrm rot="10800000">
            <a:off x="5034464" y="5010758"/>
            <a:ext cx="1354227" cy="318804"/>
            <a:chOff x="-10162304" y="1"/>
            <a:chExt cx="27239260" cy="6412494"/>
          </a:xfrm>
        </p:grpSpPr>
        <p:sp>
          <p:nvSpPr>
            <p:cNvPr id="38"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Ethernet Cable Male End"/>
          <p:cNvGrpSpPr/>
          <p:nvPr/>
        </p:nvGrpSpPr>
        <p:grpSpPr>
          <a:xfrm rot="16200000">
            <a:off x="5573761" y="4329432"/>
            <a:ext cx="1497765" cy="318804"/>
            <a:chOff x="-13049463" y="1"/>
            <a:chExt cx="30126419" cy="6412494"/>
          </a:xfrm>
        </p:grpSpPr>
        <p:sp>
          <p:nvSpPr>
            <p:cNvPr id="52"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Ethernet Cable Male End"/>
          <p:cNvGrpSpPr/>
          <p:nvPr/>
        </p:nvGrpSpPr>
        <p:grpSpPr>
          <a:xfrm rot="16200000">
            <a:off x="6279422" y="4329432"/>
            <a:ext cx="1497765" cy="318804"/>
            <a:chOff x="-13049463" y="1"/>
            <a:chExt cx="30126419" cy="6412494"/>
          </a:xfrm>
        </p:grpSpPr>
        <p:sp>
          <p:nvSpPr>
            <p:cNvPr id="59"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5568224" y="3118754"/>
            <a:ext cx="2221743" cy="580916"/>
            <a:chOff x="5507264" y="3118754"/>
            <a:chExt cx="2221743" cy="580916"/>
          </a:xfrm>
        </p:grpSpPr>
        <p:sp>
          <p:nvSpPr>
            <p:cNvPr id="9" name="Rounded Rectangle 8"/>
            <p:cNvSpPr/>
            <p:nvPr/>
          </p:nvSpPr>
          <p:spPr>
            <a:xfrm>
              <a:off x="5507264" y="3118754"/>
              <a:ext cx="2221743" cy="554141"/>
            </a:xfrm>
            <a:prstGeom prst="roundRect">
              <a:avLst>
                <a:gd name="adj" fmla="val 593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5781974" y="3565693"/>
              <a:ext cx="1672322" cy="133977"/>
              <a:chOff x="5836532" y="3565693"/>
              <a:chExt cx="1672322" cy="133977"/>
            </a:xfrm>
          </p:grpSpPr>
          <p:sp>
            <p:nvSpPr>
              <p:cNvPr id="10" name="Rectangle 9"/>
              <p:cNvSpPr/>
              <p:nvPr/>
            </p:nvSpPr>
            <p:spPr>
              <a:xfrm>
                <a:off x="618236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88370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653303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836532"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722829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Up Arrow 11"/>
          <p:cNvSpPr/>
          <p:nvPr/>
        </p:nvSpPr>
        <p:spPr>
          <a:xfrm>
            <a:off x="6436779" y="2627316"/>
            <a:ext cx="484632" cy="43593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0" name="Cloud Icon 02"/>
          <p:cNvSpPr>
            <a:spLocks noChangeAspect="1"/>
          </p:cNvSpPr>
          <p:nvPr/>
        </p:nvSpPr>
        <p:spPr bwMode="auto">
          <a:xfrm>
            <a:off x="6322642" y="2021429"/>
            <a:ext cx="718016" cy="49000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74051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 SD Cards</a:t>
            </a:r>
            <a:endParaRPr lang="en-US" dirty="0"/>
          </a:p>
        </p:txBody>
      </p:sp>
      <p:grpSp>
        <p:nvGrpSpPr>
          <p:cNvPr id="103" name="Micro SD Card"/>
          <p:cNvGrpSpPr/>
          <p:nvPr/>
        </p:nvGrpSpPr>
        <p:grpSpPr>
          <a:xfrm>
            <a:off x="1371918" y="2298751"/>
            <a:ext cx="3177377" cy="2266665"/>
            <a:chOff x="1371918" y="2298751"/>
            <a:chExt cx="3177377" cy="2266665"/>
          </a:xfrm>
        </p:grpSpPr>
        <p:sp>
          <p:nvSpPr>
            <p:cNvPr id="29" name="Card"/>
            <p:cNvSpPr>
              <a:spLocks/>
            </p:cNvSpPr>
            <p:nvPr/>
          </p:nvSpPr>
          <p:spPr bwMode="auto">
            <a:xfrm>
              <a:off x="1371918" y="2298751"/>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Triangle"/>
            <p:cNvSpPr>
              <a:spLocks/>
            </p:cNvSpPr>
            <p:nvPr/>
          </p:nvSpPr>
          <p:spPr bwMode="auto">
            <a:xfrm>
              <a:off x="4124295" y="2460656"/>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Micro SD Logo"/>
            <p:cNvSpPr>
              <a:spLocks noChangeAspect="1"/>
            </p:cNvSpPr>
            <p:nvPr/>
          </p:nvSpPr>
          <p:spPr bwMode="auto">
            <a:xfrm>
              <a:off x="2820035" y="3357651"/>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91" name="Curve"/>
            <p:cNvSpPr>
              <a:spLocks noChangeAspect="1"/>
            </p:cNvSpPr>
            <p:nvPr/>
          </p:nvSpPr>
          <p:spPr>
            <a:xfrm>
              <a:off x="1569652" y="2312670"/>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16GB"/>
            <p:cNvGrpSpPr/>
            <p:nvPr/>
          </p:nvGrpSpPr>
          <p:grpSpPr>
            <a:xfrm>
              <a:off x="1938584" y="2622560"/>
              <a:ext cx="1084523" cy="473896"/>
              <a:chOff x="1938584" y="2622560"/>
              <a:chExt cx="1084523" cy="473896"/>
            </a:xfrm>
          </p:grpSpPr>
          <p:sp>
            <p:nvSpPr>
              <p:cNvPr id="97" name="GB"/>
              <p:cNvSpPr/>
              <p:nvPr/>
            </p:nvSpPr>
            <p:spPr>
              <a:xfrm>
                <a:off x="2616963" y="2855301"/>
                <a:ext cx="406144" cy="239453"/>
              </a:xfrm>
              <a:custGeom>
                <a:avLst/>
                <a:gdLst/>
                <a:ahLst/>
                <a:cxnLst/>
                <a:rect l="l" t="t" r="r" b="b"/>
                <a:pathLst>
                  <a:path w="280578" h="165422">
                    <a:moveTo>
                      <a:pt x="198648" y="90859"/>
                    </a:moveTo>
                    <a:lnTo>
                      <a:pt x="198648" y="141535"/>
                    </a:lnTo>
                    <a:lnTo>
                      <a:pt x="221307" y="141535"/>
                    </a:lnTo>
                    <a:cubicBezTo>
                      <a:pt x="231204" y="141535"/>
                      <a:pt x="238850" y="139247"/>
                      <a:pt x="244245" y="134670"/>
                    </a:cubicBezTo>
                    <a:cubicBezTo>
                      <a:pt x="249640" y="130094"/>
                      <a:pt x="252338" y="123787"/>
                      <a:pt x="252338" y="115751"/>
                    </a:cubicBezTo>
                    <a:cubicBezTo>
                      <a:pt x="252338" y="99156"/>
                      <a:pt x="240841" y="90859"/>
                      <a:pt x="217847" y="90859"/>
                    </a:cubicBezTo>
                    <a:close/>
                    <a:moveTo>
                      <a:pt x="198648" y="23998"/>
                    </a:moveTo>
                    <a:lnTo>
                      <a:pt x="198648" y="69540"/>
                    </a:lnTo>
                    <a:lnTo>
                      <a:pt x="215838" y="69540"/>
                    </a:lnTo>
                    <a:cubicBezTo>
                      <a:pt x="225065" y="69540"/>
                      <a:pt x="232302" y="67363"/>
                      <a:pt x="237548" y="63010"/>
                    </a:cubicBezTo>
                    <a:cubicBezTo>
                      <a:pt x="242794" y="58656"/>
                      <a:pt x="245417" y="52499"/>
                      <a:pt x="245417" y="44536"/>
                    </a:cubicBezTo>
                    <a:cubicBezTo>
                      <a:pt x="245417" y="30844"/>
                      <a:pt x="236265" y="23998"/>
                      <a:pt x="217959" y="23998"/>
                    </a:cubicBezTo>
                    <a:close/>
                    <a:moveTo>
                      <a:pt x="172194" y="2678"/>
                    </a:moveTo>
                    <a:lnTo>
                      <a:pt x="222982" y="2678"/>
                    </a:lnTo>
                    <a:cubicBezTo>
                      <a:pt x="238460" y="2678"/>
                      <a:pt x="250719" y="6064"/>
                      <a:pt x="259761" y="12836"/>
                    </a:cubicBezTo>
                    <a:cubicBezTo>
                      <a:pt x="268802" y="19608"/>
                      <a:pt x="273323" y="28426"/>
                      <a:pt x="273323" y="39290"/>
                    </a:cubicBezTo>
                    <a:cubicBezTo>
                      <a:pt x="273323" y="48369"/>
                      <a:pt x="270755" y="56257"/>
                      <a:pt x="265621" y="62954"/>
                    </a:cubicBezTo>
                    <a:cubicBezTo>
                      <a:pt x="260486" y="69651"/>
                      <a:pt x="253380" y="74414"/>
                      <a:pt x="244301" y="77241"/>
                    </a:cubicBezTo>
                    <a:lnTo>
                      <a:pt x="244301" y="77688"/>
                    </a:lnTo>
                    <a:cubicBezTo>
                      <a:pt x="255315" y="78953"/>
                      <a:pt x="264114" y="83027"/>
                      <a:pt x="270700" y="89910"/>
                    </a:cubicBezTo>
                    <a:cubicBezTo>
                      <a:pt x="277285" y="96794"/>
                      <a:pt x="280578" y="105742"/>
                      <a:pt x="280578" y="116755"/>
                    </a:cubicBezTo>
                    <a:cubicBezTo>
                      <a:pt x="280578" y="130447"/>
                      <a:pt x="275183" y="141535"/>
                      <a:pt x="264393" y="150018"/>
                    </a:cubicBezTo>
                    <a:cubicBezTo>
                      <a:pt x="253603" y="158502"/>
                      <a:pt x="239985" y="162743"/>
                      <a:pt x="223540" y="162743"/>
                    </a:cubicBezTo>
                    <a:lnTo>
                      <a:pt x="172194" y="162743"/>
                    </a:lnTo>
                    <a:close/>
                    <a:moveTo>
                      <a:pt x="85167" y="0"/>
                    </a:moveTo>
                    <a:cubicBezTo>
                      <a:pt x="102952" y="0"/>
                      <a:pt x="117909" y="2604"/>
                      <a:pt x="130039" y="7813"/>
                    </a:cubicBezTo>
                    <a:lnTo>
                      <a:pt x="130039" y="35160"/>
                    </a:lnTo>
                    <a:cubicBezTo>
                      <a:pt x="117760" y="26975"/>
                      <a:pt x="103138" y="22882"/>
                      <a:pt x="86171" y="22882"/>
                    </a:cubicBezTo>
                    <a:cubicBezTo>
                      <a:pt x="69131" y="22882"/>
                      <a:pt x="55159" y="28500"/>
                      <a:pt x="44258" y="39737"/>
                    </a:cubicBezTo>
                    <a:cubicBezTo>
                      <a:pt x="33356" y="50973"/>
                      <a:pt x="27905" y="65521"/>
                      <a:pt x="27905" y="83381"/>
                    </a:cubicBezTo>
                    <a:cubicBezTo>
                      <a:pt x="27905" y="101761"/>
                      <a:pt x="32593" y="116216"/>
                      <a:pt x="41969" y="126745"/>
                    </a:cubicBezTo>
                    <a:cubicBezTo>
                      <a:pt x="51346" y="137275"/>
                      <a:pt x="64070" y="142540"/>
                      <a:pt x="80144" y="142540"/>
                    </a:cubicBezTo>
                    <a:cubicBezTo>
                      <a:pt x="91157" y="142540"/>
                      <a:pt x="100682" y="140419"/>
                      <a:pt x="108719" y="136177"/>
                    </a:cubicBezTo>
                    <a:lnTo>
                      <a:pt x="108719" y="98115"/>
                    </a:lnTo>
                    <a:lnTo>
                      <a:pt x="75009" y="98115"/>
                    </a:lnTo>
                    <a:lnTo>
                      <a:pt x="75009" y="75790"/>
                    </a:lnTo>
                    <a:lnTo>
                      <a:pt x="135173" y="75790"/>
                    </a:lnTo>
                    <a:lnTo>
                      <a:pt x="135173" y="151804"/>
                    </a:lnTo>
                    <a:cubicBezTo>
                      <a:pt x="118504" y="160883"/>
                      <a:pt x="99938" y="165422"/>
                      <a:pt x="79474" y="165422"/>
                    </a:cubicBezTo>
                    <a:cubicBezTo>
                      <a:pt x="55810" y="165422"/>
                      <a:pt x="36649" y="158055"/>
                      <a:pt x="21989" y="143321"/>
                    </a:cubicBezTo>
                    <a:cubicBezTo>
                      <a:pt x="7330" y="128587"/>
                      <a:pt x="0" y="109091"/>
                      <a:pt x="0" y="84832"/>
                    </a:cubicBezTo>
                    <a:cubicBezTo>
                      <a:pt x="0" y="60052"/>
                      <a:pt x="8018" y="39718"/>
                      <a:pt x="24054" y="23831"/>
                    </a:cubicBezTo>
                    <a:cubicBezTo>
                      <a:pt x="40091" y="7943"/>
                      <a:pt x="60461" y="0"/>
                      <a:pt x="851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16"/>
              <p:cNvSpPr/>
              <p:nvPr/>
            </p:nvSpPr>
            <p:spPr>
              <a:xfrm>
                <a:off x="1938584" y="2622560"/>
                <a:ext cx="583658" cy="473896"/>
              </a:xfrm>
              <a:custGeom>
                <a:avLst/>
                <a:gdLst/>
                <a:ahLst/>
                <a:cxnLst/>
                <a:rect l="l" t="t" r="r" b="b"/>
                <a:pathLst>
                  <a:path w="204974" h="166427">
                    <a:moveTo>
                      <a:pt x="152400" y="83381"/>
                    </a:moveTo>
                    <a:cubicBezTo>
                      <a:pt x="147935" y="83381"/>
                      <a:pt x="144010" y="84181"/>
                      <a:pt x="140624" y="85780"/>
                    </a:cubicBezTo>
                    <a:cubicBezTo>
                      <a:pt x="137238" y="87380"/>
                      <a:pt x="134392" y="89483"/>
                      <a:pt x="132085" y="92087"/>
                    </a:cubicBezTo>
                    <a:cubicBezTo>
                      <a:pt x="129778" y="94691"/>
                      <a:pt x="128048" y="97668"/>
                      <a:pt x="126895" y="101017"/>
                    </a:cubicBezTo>
                    <a:cubicBezTo>
                      <a:pt x="125741" y="104365"/>
                      <a:pt x="125165" y="107788"/>
                      <a:pt x="125165" y="111286"/>
                    </a:cubicBezTo>
                    <a:cubicBezTo>
                      <a:pt x="125165" y="115081"/>
                      <a:pt x="125704" y="118969"/>
                      <a:pt x="126783" y="122950"/>
                    </a:cubicBezTo>
                    <a:cubicBezTo>
                      <a:pt x="127862" y="126931"/>
                      <a:pt x="129518" y="130559"/>
                      <a:pt x="131750" y="133833"/>
                    </a:cubicBezTo>
                    <a:cubicBezTo>
                      <a:pt x="133983" y="137108"/>
                      <a:pt x="136829" y="139805"/>
                      <a:pt x="140289" y="141926"/>
                    </a:cubicBezTo>
                    <a:cubicBezTo>
                      <a:pt x="143750" y="144047"/>
                      <a:pt x="147861" y="145107"/>
                      <a:pt x="152623" y="145107"/>
                    </a:cubicBezTo>
                    <a:cubicBezTo>
                      <a:pt x="156865" y="145107"/>
                      <a:pt x="160623" y="144326"/>
                      <a:pt x="163897" y="142763"/>
                    </a:cubicBezTo>
                    <a:cubicBezTo>
                      <a:pt x="167171" y="141200"/>
                      <a:pt x="169906" y="139042"/>
                      <a:pt x="172101" y="136289"/>
                    </a:cubicBezTo>
                    <a:cubicBezTo>
                      <a:pt x="174297" y="133536"/>
                      <a:pt x="175971" y="130280"/>
                      <a:pt x="177124" y="126522"/>
                    </a:cubicBezTo>
                    <a:cubicBezTo>
                      <a:pt x="178278" y="122764"/>
                      <a:pt x="178854" y="118690"/>
                      <a:pt x="178854" y="114300"/>
                    </a:cubicBezTo>
                    <a:cubicBezTo>
                      <a:pt x="178854" y="109686"/>
                      <a:pt x="178315" y="105482"/>
                      <a:pt x="177236" y="101686"/>
                    </a:cubicBezTo>
                    <a:cubicBezTo>
                      <a:pt x="176157" y="97891"/>
                      <a:pt x="174520" y="94636"/>
                      <a:pt x="172325" y="91920"/>
                    </a:cubicBezTo>
                    <a:cubicBezTo>
                      <a:pt x="170129" y="89203"/>
                      <a:pt x="167376" y="87101"/>
                      <a:pt x="164065" y="85613"/>
                    </a:cubicBezTo>
                    <a:cubicBezTo>
                      <a:pt x="160753" y="84125"/>
                      <a:pt x="156865" y="83381"/>
                      <a:pt x="152400" y="83381"/>
                    </a:cubicBezTo>
                    <a:close/>
                    <a:moveTo>
                      <a:pt x="166130" y="893"/>
                    </a:moveTo>
                    <a:cubicBezTo>
                      <a:pt x="172157" y="893"/>
                      <a:pt x="177645" y="1302"/>
                      <a:pt x="182594" y="2120"/>
                    </a:cubicBezTo>
                    <a:cubicBezTo>
                      <a:pt x="187542" y="2939"/>
                      <a:pt x="191505" y="4055"/>
                      <a:pt x="194481" y="5469"/>
                    </a:cubicBezTo>
                    <a:lnTo>
                      <a:pt x="194481" y="28798"/>
                    </a:lnTo>
                    <a:cubicBezTo>
                      <a:pt x="190686" y="26863"/>
                      <a:pt x="186631" y="25226"/>
                      <a:pt x="182315" y="23887"/>
                    </a:cubicBezTo>
                    <a:cubicBezTo>
                      <a:pt x="177999" y="22547"/>
                      <a:pt x="173050" y="21877"/>
                      <a:pt x="167469" y="21877"/>
                    </a:cubicBezTo>
                    <a:cubicBezTo>
                      <a:pt x="161218" y="21877"/>
                      <a:pt x="155451" y="23142"/>
                      <a:pt x="150168" y="25672"/>
                    </a:cubicBezTo>
                    <a:cubicBezTo>
                      <a:pt x="144884" y="28203"/>
                      <a:pt x="140326" y="31905"/>
                      <a:pt x="136494" y="36779"/>
                    </a:cubicBezTo>
                    <a:cubicBezTo>
                      <a:pt x="132662" y="41653"/>
                      <a:pt x="129648" y="47680"/>
                      <a:pt x="127453" y="54861"/>
                    </a:cubicBezTo>
                    <a:cubicBezTo>
                      <a:pt x="125258" y="62042"/>
                      <a:pt x="124123" y="70321"/>
                      <a:pt x="124048" y="79697"/>
                    </a:cubicBezTo>
                    <a:lnTo>
                      <a:pt x="124718" y="79697"/>
                    </a:lnTo>
                    <a:cubicBezTo>
                      <a:pt x="128141" y="74414"/>
                      <a:pt x="132773" y="70246"/>
                      <a:pt x="138615" y="67196"/>
                    </a:cubicBezTo>
                    <a:cubicBezTo>
                      <a:pt x="144456" y="64145"/>
                      <a:pt x="151321" y="62619"/>
                      <a:pt x="159209" y="62619"/>
                    </a:cubicBezTo>
                    <a:cubicBezTo>
                      <a:pt x="166204" y="62619"/>
                      <a:pt x="172511" y="63754"/>
                      <a:pt x="178129" y="66023"/>
                    </a:cubicBezTo>
                    <a:cubicBezTo>
                      <a:pt x="183747" y="68293"/>
                      <a:pt x="188547" y="71567"/>
                      <a:pt x="192528" y="75846"/>
                    </a:cubicBezTo>
                    <a:cubicBezTo>
                      <a:pt x="196509" y="80125"/>
                      <a:pt x="199579" y="85334"/>
                      <a:pt x="201737" y="91473"/>
                    </a:cubicBezTo>
                    <a:cubicBezTo>
                      <a:pt x="203895" y="97612"/>
                      <a:pt x="204974" y="104514"/>
                      <a:pt x="204974" y="112179"/>
                    </a:cubicBezTo>
                    <a:cubicBezTo>
                      <a:pt x="204974" y="120216"/>
                      <a:pt x="203653" y="127545"/>
                      <a:pt x="201011" y="134168"/>
                    </a:cubicBezTo>
                    <a:cubicBezTo>
                      <a:pt x="198369" y="140791"/>
                      <a:pt x="194705" y="146502"/>
                      <a:pt x="190016" y="151302"/>
                    </a:cubicBezTo>
                    <a:cubicBezTo>
                      <a:pt x="185328" y="156102"/>
                      <a:pt x="179766" y="159822"/>
                      <a:pt x="173329" y="162464"/>
                    </a:cubicBezTo>
                    <a:cubicBezTo>
                      <a:pt x="166892" y="165106"/>
                      <a:pt x="159916" y="166427"/>
                      <a:pt x="152400" y="166427"/>
                    </a:cubicBezTo>
                    <a:cubicBezTo>
                      <a:pt x="144363" y="166427"/>
                      <a:pt x="136978" y="164864"/>
                      <a:pt x="130243" y="161739"/>
                    </a:cubicBezTo>
                    <a:cubicBezTo>
                      <a:pt x="123509" y="158613"/>
                      <a:pt x="117705" y="153962"/>
                      <a:pt x="112830" y="147786"/>
                    </a:cubicBezTo>
                    <a:cubicBezTo>
                      <a:pt x="107956" y="141610"/>
                      <a:pt x="104180" y="133926"/>
                      <a:pt x="101501" y="124736"/>
                    </a:cubicBezTo>
                    <a:cubicBezTo>
                      <a:pt x="98822" y="115546"/>
                      <a:pt x="97483" y="104886"/>
                      <a:pt x="97483" y="92757"/>
                    </a:cubicBezTo>
                    <a:cubicBezTo>
                      <a:pt x="97483" y="77948"/>
                      <a:pt x="99250" y="64814"/>
                      <a:pt x="102785" y="53354"/>
                    </a:cubicBezTo>
                    <a:cubicBezTo>
                      <a:pt x="106319" y="41895"/>
                      <a:pt x="111175" y="32295"/>
                      <a:pt x="117351" y="24556"/>
                    </a:cubicBezTo>
                    <a:cubicBezTo>
                      <a:pt x="123528" y="16817"/>
                      <a:pt x="130783" y="10938"/>
                      <a:pt x="139117" y="6920"/>
                    </a:cubicBezTo>
                    <a:cubicBezTo>
                      <a:pt x="147452" y="2902"/>
                      <a:pt x="156456" y="893"/>
                      <a:pt x="166130" y="893"/>
                    </a:cubicBezTo>
                    <a:close/>
                    <a:moveTo>
                      <a:pt x="48555" y="0"/>
                    </a:moveTo>
                    <a:lnTo>
                      <a:pt x="59494" y="0"/>
                    </a:lnTo>
                    <a:lnTo>
                      <a:pt x="59494" y="163636"/>
                    </a:lnTo>
                    <a:lnTo>
                      <a:pt x="33598" y="163636"/>
                    </a:lnTo>
                    <a:lnTo>
                      <a:pt x="33598" y="31700"/>
                    </a:lnTo>
                    <a:cubicBezTo>
                      <a:pt x="28910" y="35049"/>
                      <a:pt x="23868" y="37895"/>
                      <a:pt x="18473" y="40239"/>
                    </a:cubicBezTo>
                    <a:cubicBezTo>
                      <a:pt x="13078" y="42583"/>
                      <a:pt x="6921" y="44648"/>
                      <a:pt x="0" y="46434"/>
                    </a:cubicBezTo>
                    <a:lnTo>
                      <a:pt x="0" y="24333"/>
                    </a:lnTo>
                    <a:cubicBezTo>
                      <a:pt x="4316" y="22919"/>
                      <a:pt x="8483" y="21431"/>
                      <a:pt x="12502" y="19868"/>
                    </a:cubicBezTo>
                    <a:cubicBezTo>
                      <a:pt x="16520" y="18305"/>
                      <a:pt x="20483" y="16557"/>
                      <a:pt x="24389" y="14622"/>
                    </a:cubicBezTo>
                    <a:cubicBezTo>
                      <a:pt x="28296" y="12687"/>
                      <a:pt x="32240" y="10529"/>
                      <a:pt x="36221" y="8148"/>
                    </a:cubicBezTo>
                    <a:cubicBezTo>
                      <a:pt x="40202" y="5767"/>
                      <a:pt x="44314" y="3051"/>
                      <a:pt x="485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3" name="Group 112"/>
          <p:cNvGrpSpPr/>
          <p:nvPr/>
        </p:nvGrpSpPr>
        <p:grpSpPr>
          <a:xfrm>
            <a:off x="4816158" y="2298750"/>
            <a:ext cx="3177377" cy="2266665"/>
            <a:chOff x="4816158" y="2298750"/>
            <a:chExt cx="3177377" cy="2266665"/>
          </a:xfrm>
        </p:grpSpPr>
        <p:sp>
          <p:nvSpPr>
            <p:cNvPr id="105"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Windows 8 Icon"/>
            <p:cNvSpPr>
              <a:spLocks noChangeAspect="1"/>
            </p:cNvSpPr>
            <p:nvPr/>
          </p:nvSpPr>
          <p:spPr>
            <a:xfrm>
              <a:off x="5773085" y="2728998"/>
              <a:ext cx="1255604" cy="1257306"/>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123" name="Group 122"/>
          <p:cNvGrpSpPr/>
          <p:nvPr/>
        </p:nvGrpSpPr>
        <p:grpSpPr>
          <a:xfrm>
            <a:off x="8260398" y="2298749"/>
            <a:ext cx="3177377" cy="2266665"/>
            <a:chOff x="6848672" y="5188716"/>
            <a:chExt cx="3177377" cy="2266665"/>
          </a:xfrm>
        </p:grpSpPr>
        <p:sp>
          <p:nvSpPr>
            <p:cNvPr id="115" name="Card"/>
            <p:cNvSpPr>
              <a:spLocks/>
            </p:cNvSpPr>
            <p:nvPr/>
          </p:nvSpPr>
          <p:spPr bwMode="auto">
            <a:xfrm>
              <a:off x="6848672" y="5188716"/>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Triangle"/>
            <p:cNvSpPr>
              <a:spLocks/>
            </p:cNvSpPr>
            <p:nvPr/>
          </p:nvSpPr>
          <p:spPr bwMode="auto">
            <a:xfrm>
              <a:off x="9601049" y="5350621"/>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Micro SD Logo"/>
            <p:cNvSpPr>
              <a:spLocks noChangeAspect="1"/>
            </p:cNvSpPr>
            <p:nvPr/>
          </p:nvSpPr>
          <p:spPr bwMode="auto">
            <a:xfrm>
              <a:off x="8296789" y="6247616"/>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8" name="Curve"/>
            <p:cNvSpPr>
              <a:spLocks noChangeAspect="1"/>
            </p:cNvSpPr>
            <p:nvPr/>
          </p:nvSpPr>
          <p:spPr>
            <a:xfrm>
              <a:off x="7046406" y="5202635"/>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Windows 8 Icon"/>
            <p:cNvSpPr>
              <a:spLocks noChangeAspect="1"/>
            </p:cNvSpPr>
            <p:nvPr/>
          </p:nvSpPr>
          <p:spPr>
            <a:xfrm>
              <a:off x="7568535" y="5454794"/>
              <a:ext cx="528602" cy="52931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
        <p:nvSpPr>
          <p:cNvPr id="124" name="TextBox 123"/>
          <p:cNvSpPr txBox="1"/>
          <p:nvPr/>
        </p:nvSpPr>
        <p:spPr>
          <a:xfrm>
            <a:off x="2113938" y="1638243"/>
            <a:ext cx="2571538" cy="369332"/>
          </a:xfrm>
          <a:prstGeom prst="rect">
            <a:avLst/>
          </a:prstGeom>
          <a:noFill/>
        </p:spPr>
        <p:txBody>
          <a:bodyPr wrap="none" rtlCol="0">
            <a:spAutoFit/>
          </a:bodyPr>
          <a:lstStyle/>
          <a:p>
            <a:r>
              <a:rPr lang="en-US" dirty="0" smtClean="0"/>
              <a:t>Font: Segoe UI </a:t>
            </a:r>
            <a:r>
              <a:rPr lang="en-US" dirty="0" err="1" smtClean="0"/>
              <a:t>Semibold</a:t>
            </a:r>
            <a:endParaRPr lang="en-US" dirty="0"/>
          </a:p>
        </p:txBody>
      </p:sp>
      <p:sp>
        <p:nvSpPr>
          <p:cNvPr id="125" name="Freeform 124"/>
          <p:cNvSpPr/>
          <p:nvPr/>
        </p:nvSpPr>
        <p:spPr>
          <a:xfrm>
            <a:off x="1822895" y="1817915"/>
            <a:ext cx="408675" cy="772885"/>
          </a:xfrm>
          <a:custGeom>
            <a:avLst/>
            <a:gdLst>
              <a:gd name="connsiteX0" fmla="*/ 0 w 119743"/>
              <a:gd name="connsiteY0" fmla="*/ 0 h 696685"/>
              <a:gd name="connsiteX1" fmla="*/ 119743 w 119743"/>
              <a:gd name="connsiteY1" fmla="*/ 696685 h 696685"/>
              <a:gd name="connsiteX2" fmla="*/ 119743 w 119743"/>
              <a:gd name="connsiteY2" fmla="*/ 696685 h 696685"/>
              <a:gd name="connsiteX0" fmla="*/ 184936 w 304679"/>
              <a:gd name="connsiteY0" fmla="*/ 0 h 696685"/>
              <a:gd name="connsiteX1" fmla="*/ 304679 w 304679"/>
              <a:gd name="connsiteY1" fmla="*/ 696685 h 696685"/>
              <a:gd name="connsiteX2" fmla="*/ 304679 w 304679"/>
              <a:gd name="connsiteY2" fmla="*/ 696685 h 696685"/>
              <a:gd name="connsiteX0" fmla="*/ 220463 w 220463"/>
              <a:gd name="connsiteY0" fmla="*/ 0 h 685799"/>
              <a:gd name="connsiteX1" fmla="*/ 155149 w 220463"/>
              <a:gd name="connsiteY1" fmla="*/ 685799 h 685799"/>
              <a:gd name="connsiteX2" fmla="*/ 155149 w 220463"/>
              <a:gd name="connsiteY2" fmla="*/ 685799 h 685799"/>
              <a:gd name="connsiteX0" fmla="*/ 297542 w 297542"/>
              <a:gd name="connsiteY0" fmla="*/ 0 h 685799"/>
              <a:gd name="connsiteX1" fmla="*/ 232228 w 297542"/>
              <a:gd name="connsiteY1" fmla="*/ 685799 h 685799"/>
              <a:gd name="connsiteX2" fmla="*/ 232228 w 297542"/>
              <a:gd name="connsiteY2" fmla="*/ 685799 h 685799"/>
              <a:gd name="connsiteX0" fmla="*/ 302009 w 345552"/>
              <a:gd name="connsiteY0" fmla="*/ 0 h 772885"/>
              <a:gd name="connsiteX1" fmla="*/ 236695 w 345552"/>
              <a:gd name="connsiteY1" fmla="*/ 685799 h 772885"/>
              <a:gd name="connsiteX2" fmla="*/ 345552 w 345552"/>
              <a:gd name="connsiteY2" fmla="*/ 772885 h 772885"/>
              <a:gd name="connsiteX0" fmla="*/ 346046 w 389589"/>
              <a:gd name="connsiteY0" fmla="*/ 0 h 772885"/>
              <a:gd name="connsiteX1" fmla="*/ 150104 w 389589"/>
              <a:gd name="connsiteY1" fmla="*/ 533399 h 772885"/>
              <a:gd name="connsiteX2" fmla="*/ 389589 w 389589"/>
              <a:gd name="connsiteY2" fmla="*/ 772885 h 772885"/>
              <a:gd name="connsiteX0" fmla="*/ 0 w 43543"/>
              <a:gd name="connsiteY0" fmla="*/ 0 h 772885"/>
              <a:gd name="connsiteX1" fmla="*/ 43543 w 43543"/>
              <a:gd name="connsiteY1" fmla="*/ 772885 h 772885"/>
              <a:gd name="connsiteX0" fmla="*/ 295348 w 338891"/>
              <a:gd name="connsiteY0" fmla="*/ 0 h 772885"/>
              <a:gd name="connsiteX1" fmla="*/ 338891 w 338891"/>
              <a:gd name="connsiteY1" fmla="*/ 772885 h 772885"/>
              <a:gd name="connsiteX0" fmla="*/ 365132 w 408675"/>
              <a:gd name="connsiteY0" fmla="*/ 0 h 772885"/>
              <a:gd name="connsiteX1" fmla="*/ 408675 w 408675"/>
              <a:gd name="connsiteY1" fmla="*/ 772885 h 772885"/>
              <a:gd name="connsiteX0" fmla="*/ 365132 w 408675"/>
              <a:gd name="connsiteY0" fmla="*/ 0 h 772885"/>
              <a:gd name="connsiteX1" fmla="*/ 408675 w 408675"/>
              <a:gd name="connsiteY1" fmla="*/ 772885 h 772885"/>
            </a:gdLst>
            <a:ahLst/>
            <a:cxnLst>
              <a:cxn ang="0">
                <a:pos x="connsiteX0" y="connsiteY0"/>
              </a:cxn>
              <a:cxn ang="0">
                <a:pos x="connsiteX1" y="connsiteY1"/>
              </a:cxn>
            </a:cxnLst>
            <a:rect l="l" t="t" r="r" b="b"/>
            <a:pathLst>
              <a:path w="408675" h="772885">
                <a:moveTo>
                  <a:pt x="365132" y="0"/>
                </a:moveTo>
                <a:cubicBezTo>
                  <a:pt x="-317039" y="94342"/>
                  <a:pt x="111132" y="460829"/>
                  <a:pt x="408675" y="772885"/>
                </a:cubicBezTo>
              </a:path>
            </a:pathLst>
          </a:custGeom>
          <a:noFill/>
          <a:ln w="5715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Micro SD Logo"/>
          <p:cNvSpPr>
            <a:spLocks noChangeAspect="1"/>
          </p:cNvSpPr>
          <p:nvPr/>
        </p:nvSpPr>
        <p:spPr bwMode="auto">
          <a:xfrm>
            <a:off x="2162400" y="5229669"/>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43134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logo</a:t>
            </a:r>
            <a:endParaRPr lang="en-US" dirty="0"/>
          </a:p>
        </p:txBody>
      </p:sp>
      <p:grpSp>
        <p:nvGrpSpPr>
          <p:cNvPr id="3" name="Group 2"/>
          <p:cNvGrpSpPr/>
          <p:nvPr/>
        </p:nvGrpSpPr>
        <p:grpSpPr>
          <a:xfrm>
            <a:off x="822960" y="2009571"/>
            <a:ext cx="10878792" cy="3644780"/>
            <a:chOff x="333596" y="333170"/>
            <a:chExt cx="11729320" cy="3929738"/>
          </a:xfrm>
        </p:grpSpPr>
        <p:sp>
          <p:nvSpPr>
            <p:cNvPr id="4" name="Freeform 3"/>
            <p:cNvSpPr>
              <a:spLocks noChangeArrowheads="1"/>
            </p:cNvSpPr>
            <p:nvPr/>
          </p:nvSpPr>
          <p:spPr bwMode="auto">
            <a:xfrm>
              <a:off x="333596" y="333170"/>
              <a:ext cx="4679549" cy="3929738"/>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4"/>
            <p:cNvSpPr/>
            <p:nvPr/>
          </p:nvSpPr>
          <p:spPr>
            <a:xfrm>
              <a:off x="5437366" y="571361"/>
              <a:ext cx="6625550"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42079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If </a:t>
            </a:r>
            <a:r>
              <a:rPr lang="en-US" sz="2400" i="1" dirty="0">
                <a:solidFill>
                  <a:schemeClr val="accent2"/>
                </a:solidFill>
              </a:rPr>
              <a:t>we had computers that knew everything there was to know about things</a:t>
            </a:r>
            <a:r>
              <a:rPr lang="en-US" sz="2400" i="1" dirty="0"/>
              <a:t>—using data they gathered without any help from us—</a:t>
            </a:r>
            <a:r>
              <a:rPr lang="en-US" sz="2400" i="1" dirty="0">
                <a:solidFill>
                  <a:schemeClr val="accent2"/>
                </a:solidFill>
              </a:rPr>
              <a:t>we would be able to track and count everything, and greatly reduce waste, loss and cost</a:t>
            </a:r>
            <a:r>
              <a:rPr lang="en-US" sz="2400" i="1" dirty="0"/>
              <a:t>. We would know when things needed replacing, repairing or recalling, and whether they were fresh or past their best</a:t>
            </a:r>
            <a:r>
              <a:rPr lang="en-US" sz="2400" i="1" dirty="0" smtClean="0"/>
              <a:t>.”</a:t>
            </a:r>
            <a:endParaRPr lang="en-US" sz="2400" i="1" dirty="0"/>
          </a:p>
        </p:txBody>
      </p:sp>
    </p:spTree>
    <p:extLst>
      <p:ext uri="{BB962C8B-B14F-4D97-AF65-F5344CB8AC3E}">
        <p14:creationId xmlns:p14="http://schemas.microsoft.com/office/powerpoint/2010/main" val="37446145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We </a:t>
            </a:r>
            <a:r>
              <a:rPr lang="en-US" sz="2400" i="1" dirty="0">
                <a:solidFill>
                  <a:schemeClr val="accent2"/>
                </a:solidFill>
              </a:rPr>
              <a:t>need to empower computers with their own means of gathering information, so they can see, hear and smell the world for themselves, in all its random glory</a:t>
            </a:r>
            <a:r>
              <a:rPr lang="en-US" sz="2400" i="1" dirty="0"/>
              <a:t>. RFID and sensor technology enable computers to observe, identify and understand the world—without the limitations of human-entered data</a:t>
            </a:r>
            <a:r>
              <a:rPr lang="en-US" sz="2400" i="1" dirty="0" smtClean="0"/>
              <a:t>.”</a:t>
            </a:r>
            <a:endParaRPr lang="en-US" sz="2400" i="1" dirty="0"/>
          </a:p>
        </p:txBody>
      </p:sp>
    </p:spTree>
    <p:extLst>
      <p:ext uri="{BB962C8B-B14F-4D97-AF65-F5344CB8AC3E}">
        <p14:creationId xmlns:p14="http://schemas.microsoft.com/office/powerpoint/2010/main" val="1408357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DevOps Theme">
  <a:themeElements>
    <a:clrScheme name="Field Notes White Colors">
      <a:dk1>
        <a:srgbClr val="1E313B"/>
      </a:dk1>
      <a:lt1>
        <a:srgbClr val="FFFFFF"/>
      </a:lt1>
      <a:dk2>
        <a:srgbClr val="3C454F"/>
      </a:dk2>
      <a:lt2>
        <a:srgbClr val="E0E0F2"/>
      </a:lt2>
      <a:accent1>
        <a:srgbClr val="71B1D1"/>
      </a:accent1>
      <a:accent2>
        <a:srgbClr val="FF8E00"/>
      </a:accent2>
      <a:accent3>
        <a:srgbClr val="8CC53D"/>
      </a:accent3>
      <a:accent4>
        <a:srgbClr val="EC2276"/>
      </a:accent4>
      <a:accent5>
        <a:srgbClr val="9B4F96"/>
      </a:accent5>
      <a:accent6>
        <a:srgbClr val="FCD116"/>
      </a:accent6>
      <a:hlink>
        <a:srgbClr val="0072C6"/>
      </a:hlink>
      <a:folHlink>
        <a:srgbClr val="0072C6"/>
      </a:folHlink>
    </a:clrScheme>
    <a:fontScheme name="IoT Fonts">
      <a:majorFont>
        <a:latin typeface="Segoe UI Black"/>
        <a:ea typeface=""/>
        <a:cs typeface=""/>
      </a:majorFont>
      <a:minorFont>
        <a:latin typeface="Segoe U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 DevOps Theme" id="{7FF1F243-228B-4FA3-84E2-ADE0AC2B36B7}" vid="{5C7DF221-C612-4DC4-8B27-6E904B50FB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42</TotalTime>
  <Words>3377</Words>
  <Application>Microsoft Office PowerPoint</Application>
  <PresentationFormat>Widescreen</PresentationFormat>
  <Paragraphs>612</Paragraphs>
  <Slides>77</Slides>
  <Notes>16</Notes>
  <HiddenSlides>1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90" baseType="lpstr">
      <vt:lpstr>Times New Roman</vt:lpstr>
      <vt:lpstr>Segoe UI Semibold</vt:lpstr>
      <vt:lpstr>Segoe UI Black</vt:lpstr>
      <vt:lpstr>Segoe Light</vt:lpstr>
      <vt:lpstr>Symbol</vt:lpstr>
      <vt:lpstr>Calibri</vt:lpstr>
      <vt:lpstr>Segoe UI Light</vt:lpstr>
      <vt:lpstr>Segoe UI</vt:lpstr>
      <vt:lpstr>Arial</vt:lpstr>
      <vt:lpstr>Cooper Black</vt:lpstr>
      <vt:lpstr>Courier New</vt:lpstr>
      <vt:lpstr>Azure DevOps Theme</vt:lpstr>
      <vt:lpstr>think-cell Slide</vt:lpstr>
      <vt:lpstr>IoT Camp  SEATTLE</vt:lpstr>
      <vt:lpstr>Logistics stuff</vt:lpstr>
      <vt:lpstr>Overview</vt:lpstr>
      <vt:lpstr>What is the “internet of things”</vt:lpstr>
      <vt:lpstr>Cisco’s Definition</vt:lpstr>
      <vt:lpstr>A phrase coined</vt:lpstr>
      <vt:lpstr>PowerPoint Presentation</vt:lpstr>
      <vt:lpstr>PowerPoint Presentation</vt:lpstr>
      <vt:lpstr>PowerPoint Presentation</vt:lpstr>
      <vt:lpstr>A rose by any other name</vt:lpstr>
      <vt:lpstr>CONNECTED “THINGS” vs  people</vt:lpstr>
      <vt:lpstr>enablers</vt:lpstr>
      <vt:lpstr>Devices &amp; things</vt:lpstr>
      <vt:lpstr>The Quantified self</vt:lpstr>
      <vt:lpstr>Heineken’s “Smart bottle”</vt:lpstr>
      <vt:lpstr>Placemeter</vt:lpstr>
      <vt:lpstr>PowerPoint Presentation</vt:lpstr>
      <vt:lpstr>Building a better mousetrap</vt:lpstr>
      <vt:lpstr>THE MAKER REVOLUTION</vt:lpstr>
      <vt:lpstr>3D printing &amp; milling</vt:lpstr>
      <vt:lpstr>Maker spaces, places and FAIRES</vt:lpstr>
      <vt:lpstr>Crowdfunding</vt:lpstr>
      <vt:lpstr>How do they communicate?</vt:lpstr>
      <vt:lpstr>Connection paths</vt:lpstr>
      <vt:lpstr>Ipv4 (32bit) address space</vt:lpstr>
      <vt:lpstr>Ipv6 (128bit) address space</vt:lpstr>
      <vt:lpstr>wireless, SWARMS, and CLOUDS</vt:lpstr>
      <vt:lpstr>standards</vt:lpstr>
      <vt:lpstr>PowerPoint Presentation</vt:lpstr>
      <vt:lpstr>That sounds like a lot of data</vt:lpstr>
      <vt:lpstr>How much data is out there? HARD TO SAY!</vt:lpstr>
      <vt:lpstr>Giga, tera, exa, peta, zetta , yotta</vt:lpstr>
      <vt:lpstr>OUCH. THAT HURTS MY BRAIN</vt:lpstr>
      <vt:lpstr>Cloud computing</vt:lpstr>
      <vt:lpstr>Microsoft and  The Internet of your things</vt:lpstr>
      <vt:lpstr>Is it “Internet of things” or… “thing on the internet”?</vt:lpstr>
      <vt:lpstr>Cloud Based IoT Solutions</vt:lpstr>
      <vt:lpstr>IoT Device &amp; Cloud Patterns</vt:lpstr>
      <vt:lpstr>IoT Device &amp; Cloud Patterns</vt:lpstr>
      <vt:lpstr>IoT Device &amp; Cloud Patterns</vt:lpstr>
      <vt:lpstr>Microsoft Azure IoT services </vt:lpstr>
      <vt:lpstr>Devices</vt:lpstr>
      <vt:lpstr>Microsoft’s view</vt:lpstr>
      <vt:lpstr>PowerPoint Presentation</vt:lpstr>
      <vt:lpstr>Microsoft’s view</vt:lpstr>
      <vt:lpstr>The journey to one Windows…</vt:lpstr>
      <vt:lpstr>on a full range of devices…</vt:lpstr>
      <vt:lpstr>tuned to each form factor…</vt:lpstr>
      <vt:lpstr>with a universal app platform...</vt:lpstr>
      <vt:lpstr>and some pretty cool devices.</vt:lpstr>
      <vt:lpstr>.NET Micro Framework and Gadgeteer</vt:lpstr>
      <vt:lpstr>Gadgeteer on Windows</vt:lpstr>
      <vt:lpstr>Connect the dots hands-on labs</vt:lpstr>
      <vt:lpstr>What is Connect the dots?</vt:lpstr>
      <vt:lpstr>MAKE SURE YOU USE MY FORK!!!!!!!!!</vt:lpstr>
      <vt:lpstr>PowerPoint Presentation</vt:lpstr>
      <vt:lpstr>LAB WORKFLOW</vt:lpstr>
      <vt:lpstr>MAKE SURE YOU USE MY FORK!!!!!!!!!</vt:lpstr>
      <vt:lpstr>USE THE .HTML or .PDF LAB DOCS</vt:lpstr>
      <vt:lpstr>Connect the Dots and Rockets</vt:lpstr>
      <vt:lpstr>You will need to pair (or triple) up… </vt:lpstr>
      <vt:lpstr>USB STICKS</vt:lpstr>
      <vt:lpstr>MAKE SURE YOU USE MY FORK!!!!!!!!!</vt:lpstr>
      <vt:lpstr>USE THE .HTML or .PDF LAB DOCS</vt:lpstr>
      <vt:lpstr>arduino</vt:lpstr>
      <vt:lpstr>GALILEO BOARD</vt:lpstr>
      <vt:lpstr>RASPBERRY PI</vt:lpstr>
      <vt:lpstr>FEZ SPIDER MAIN BOARD</vt:lpstr>
      <vt:lpstr>Sparkfun weather shield</vt:lpstr>
      <vt:lpstr>Connect the dots azure icons</vt:lpstr>
      <vt:lpstr>LEDs</vt:lpstr>
      <vt:lpstr>Resistors</vt:lpstr>
      <vt:lpstr>cables</vt:lpstr>
      <vt:lpstr>PowerPoint Presentation</vt:lpstr>
      <vt:lpstr>PowerPoint Presentation</vt:lpstr>
      <vt:lpstr>Micro SD Cards</vt:lpstr>
      <vt:lpstr>Connect the dots log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t Stateham</dc:creator>
  <cp:lastModifiedBy>Bret Stateham</cp:lastModifiedBy>
  <cp:revision>115</cp:revision>
  <dcterms:created xsi:type="dcterms:W3CDTF">2014-08-25T15:37:49Z</dcterms:created>
  <dcterms:modified xsi:type="dcterms:W3CDTF">2015-06-04T08:25:10Z</dcterms:modified>
</cp:coreProperties>
</file>